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charts/chart1.xml" ContentType="application/vnd.openxmlformats-officedocument.drawingml.chart+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charts/chart2.xml" ContentType="application/vnd.openxmlformats-officedocument.drawingml.chart+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9"/>
  </p:notesMasterIdLst>
  <p:handoutMasterIdLst>
    <p:handoutMasterId r:id="rId60"/>
  </p:handoutMasterIdLst>
  <p:sldIdLst>
    <p:sldId id="262" r:id="rId2"/>
    <p:sldId id="311" r:id="rId3"/>
    <p:sldId id="312" r:id="rId4"/>
    <p:sldId id="313" r:id="rId5"/>
    <p:sldId id="314" r:id="rId6"/>
    <p:sldId id="315" r:id="rId7"/>
    <p:sldId id="316" r:id="rId8"/>
    <p:sldId id="317" r:id="rId9"/>
    <p:sldId id="318" r:id="rId10"/>
    <p:sldId id="319" r:id="rId11"/>
    <p:sldId id="320" r:id="rId12"/>
    <p:sldId id="321" r:id="rId13"/>
    <p:sldId id="322" r:id="rId14"/>
    <p:sldId id="264" r:id="rId15"/>
    <p:sldId id="323" r:id="rId16"/>
    <p:sldId id="271" r:id="rId17"/>
    <p:sldId id="273" r:id="rId18"/>
    <p:sldId id="272" r:id="rId19"/>
    <p:sldId id="267" r:id="rId20"/>
    <p:sldId id="274" r:id="rId21"/>
    <p:sldId id="269"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 id="308" r:id="rId56"/>
    <p:sldId id="309" r:id="rId57"/>
    <p:sldId id="310" r:id="rId5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456" userDrawn="1">
          <p15:clr>
            <a:srgbClr val="A4A3A4"/>
          </p15:clr>
        </p15:guide>
        <p15:guide id="2" orient="horz" pos="3888">
          <p15:clr>
            <a:srgbClr val="A4A3A4"/>
          </p15:clr>
        </p15:guide>
        <p15:guide id="3" orient="horz" pos="864">
          <p15:clr>
            <a:srgbClr val="A4A3A4"/>
          </p15:clr>
        </p15:guide>
        <p15:guide id="4" pos="2880">
          <p15:clr>
            <a:srgbClr val="A4A3A4"/>
          </p15:clr>
        </p15:guide>
        <p15:guide id="5" pos="192">
          <p15:clr>
            <a:srgbClr val="A4A3A4"/>
          </p15:clr>
        </p15:guide>
        <p15:guide id="6"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4C3C"/>
    <a:srgbClr val="F1C40F"/>
    <a:srgbClr val="7F8C8D"/>
    <a:srgbClr val="EEEEF2"/>
    <a:srgbClr val="8D291F"/>
    <a:srgbClr val="C0392B"/>
    <a:srgbClr val="2ECC71"/>
    <a:srgbClr val="D6DADC"/>
    <a:srgbClr val="3498DB"/>
    <a:srgbClr val="1E86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8370" autoAdjust="0"/>
  </p:normalViewPr>
  <p:slideViewPr>
    <p:cSldViewPr showGuides="1">
      <p:cViewPr>
        <p:scale>
          <a:sx n="76" d="100"/>
          <a:sy n="76" d="100"/>
        </p:scale>
        <p:origin x="-648" y="42"/>
      </p:cViewPr>
      <p:guideLst>
        <p:guide orient="horz" pos="3456"/>
        <p:guide orient="horz" pos="3888"/>
        <p:guide orient="horz" pos="864"/>
        <p:guide pos="2880"/>
        <p:guide pos="192"/>
        <p:guide pos="5568"/>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Feuille_de_calcul_Microsoft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Feuille_de_calcul_Microsoft_Excel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HALLENGE</c:v>
                </c:pt>
              </c:strCache>
            </c:strRef>
          </c:tx>
          <c:spPr>
            <a:solidFill>
              <a:srgbClr val="E74C3C"/>
            </a:solidFill>
            <a:ln>
              <a:noFill/>
            </a:ln>
            <a:effectLst/>
          </c:spPr>
          <c:invertIfNegative val="0"/>
          <c:cat>
            <c:strRef>
              <c:f>Sheet1!$A$2</c:f>
              <c:strCache>
                <c:ptCount val="1"/>
                <c:pt idx="0">
                  <c:v>IMPROVE</c:v>
                </c:pt>
              </c:strCache>
            </c:strRef>
          </c:cat>
          <c:val>
            <c:numRef>
              <c:f>Sheet1!$B$2</c:f>
              <c:numCache>
                <c:formatCode>General</c:formatCode>
                <c:ptCount val="1"/>
                <c:pt idx="0">
                  <c:v>3</c:v>
                </c:pt>
              </c:numCache>
            </c:numRef>
          </c:val>
        </c:ser>
        <c:ser>
          <c:idx val="1"/>
          <c:order val="1"/>
          <c:tx>
            <c:strRef>
              <c:f>Sheet1!$C$1</c:f>
              <c:strCache>
                <c:ptCount val="1"/>
                <c:pt idx="0">
                  <c:v>SOLUTIONS</c:v>
                </c:pt>
              </c:strCache>
            </c:strRef>
          </c:tx>
          <c:spPr>
            <a:solidFill>
              <a:srgbClr val="C0392B"/>
            </a:solidFill>
            <a:ln>
              <a:noFill/>
            </a:ln>
            <a:effectLst/>
          </c:spPr>
          <c:invertIfNegative val="0"/>
          <c:cat>
            <c:strRef>
              <c:f>Sheet1!$A$2</c:f>
              <c:strCache>
                <c:ptCount val="1"/>
                <c:pt idx="0">
                  <c:v>IMPROVE</c:v>
                </c:pt>
              </c:strCache>
            </c:strRef>
          </c:cat>
          <c:val>
            <c:numRef>
              <c:f>Sheet1!$C$2</c:f>
              <c:numCache>
                <c:formatCode>General</c:formatCode>
                <c:ptCount val="1"/>
                <c:pt idx="0">
                  <c:v>6</c:v>
                </c:pt>
              </c:numCache>
            </c:numRef>
          </c:val>
        </c:ser>
        <c:ser>
          <c:idx val="2"/>
          <c:order val="2"/>
          <c:tx>
            <c:strRef>
              <c:f>Sheet1!$D$1</c:f>
              <c:strCache>
                <c:ptCount val="1"/>
                <c:pt idx="0">
                  <c:v>RESULT</c:v>
                </c:pt>
              </c:strCache>
            </c:strRef>
          </c:tx>
          <c:spPr>
            <a:solidFill>
              <a:srgbClr val="8D291F"/>
            </a:solidFill>
            <a:ln>
              <a:noFill/>
            </a:ln>
            <a:effectLst/>
          </c:spPr>
          <c:invertIfNegative val="0"/>
          <c:cat>
            <c:strRef>
              <c:f>Sheet1!$A$2</c:f>
              <c:strCache>
                <c:ptCount val="1"/>
                <c:pt idx="0">
                  <c:v>IMPROVE</c:v>
                </c:pt>
              </c:strCache>
            </c:strRef>
          </c:cat>
          <c:val>
            <c:numRef>
              <c:f>Sheet1!$D$2</c:f>
              <c:numCache>
                <c:formatCode>General</c:formatCode>
                <c:ptCount val="1"/>
                <c:pt idx="0">
                  <c:v>12</c:v>
                </c:pt>
              </c:numCache>
            </c:numRef>
          </c:val>
        </c:ser>
        <c:dLbls>
          <c:showLegendKey val="0"/>
          <c:showVal val="0"/>
          <c:showCatName val="0"/>
          <c:showSerName val="0"/>
          <c:showPercent val="0"/>
          <c:showBubbleSize val="0"/>
        </c:dLbls>
        <c:gapWidth val="219"/>
        <c:overlap val="-27"/>
        <c:axId val="140437376"/>
        <c:axId val="140438912"/>
      </c:barChart>
      <c:catAx>
        <c:axId val="140437376"/>
        <c:scaling>
          <c:orientation val="minMax"/>
        </c:scaling>
        <c:delete val="1"/>
        <c:axPos val="b"/>
        <c:numFmt formatCode="General" sourceLinked="1"/>
        <c:majorTickMark val="none"/>
        <c:minorTickMark val="none"/>
        <c:tickLblPos val="nextTo"/>
        <c:crossAx val="140438912"/>
        <c:crosses val="autoZero"/>
        <c:auto val="1"/>
        <c:lblAlgn val="ctr"/>
        <c:lblOffset val="100"/>
        <c:noMultiLvlLbl val="0"/>
      </c:catAx>
      <c:valAx>
        <c:axId val="1404389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7F8C8D"/>
                </a:solidFill>
                <a:latin typeface="Calibri Light" panose="020F0302020204030204" pitchFamily="34" charset="0"/>
                <a:ea typeface="+mn-ea"/>
                <a:cs typeface="+mn-cs"/>
              </a:defRPr>
            </a:pPr>
            <a:endParaRPr lang="en-US"/>
          </a:p>
        </c:txPr>
        <c:crossAx val="140437376"/>
        <c:crosses val="autoZero"/>
        <c:crossBetween val="between"/>
      </c:valAx>
      <c:spPr>
        <a:noFill/>
        <a:ln>
          <a:noFill/>
        </a:ln>
        <a:effectLst/>
      </c:spPr>
    </c:plotArea>
    <c:legend>
      <c:legendPos val="b"/>
      <c:layout>
        <c:manualLayout>
          <c:xMode val="edge"/>
          <c:yMode val="edge"/>
          <c:x val="7.1440523059617539E-2"/>
          <c:y val="0.87253310798448358"/>
          <c:w val="0.78271395763029628"/>
          <c:h val="9.4033125754398705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7F8C8D"/>
              </a:solidFill>
              <a:latin typeface="Calibri Light" panose="020F0302020204030204"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Sheet1!$B$1</c:f>
              <c:strCache>
                <c:ptCount val="1"/>
                <c:pt idx="0">
                  <c:v>Series 1</c:v>
                </c:pt>
              </c:strCache>
            </c:strRef>
          </c:tx>
          <c:spPr>
            <a:solidFill>
              <a:schemeClr val="accent1">
                <a:lumMod val="75000"/>
              </a:schemeClr>
            </a:solidFill>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spPr>
            <a:solidFill>
              <a:srgbClr val="1B8A0A"/>
            </a:solidFill>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er>
        <c:dLbls>
          <c:showLegendKey val="0"/>
          <c:showVal val="0"/>
          <c:showCatName val="0"/>
          <c:showSerName val="0"/>
          <c:showPercent val="0"/>
          <c:showBubbleSize val="0"/>
        </c:dLbls>
        <c:gapWidth val="150"/>
        <c:axId val="70379008"/>
        <c:axId val="70380544"/>
      </c:barChart>
      <c:catAx>
        <c:axId val="70379008"/>
        <c:scaling>
          <c:orientation val="minMax"/>
        </c:scaling>
        <c:delete val="0"/>
        <c:axPos val="l"/>
        <c:majorTickMark val="out"/>
        <c:minorTickMark val="none"/>
        <c:tickLblPos val="nextTo"/>
        <c:crossAx val="70380544"/>
        <c:crosses val="autoZero"/>
        <c:auto val="1"/>
        <c:lblAlgn val="ctr"/>
        <c:lblOffset val="100"/>
        <c:noMultiLvlLbl val="0"/>
      </c:catAx>
      <c:valAx>
        <c:axId val="70380544"/>
        <c:scaling>
          <c:orientation val="minMax"/>
        </c:scaling>
        <c:delete val="0"/>
        <c:axPos val="b"/>
        <c:majorGridlines/>
        <c:numFmt formatCode="General" sourceLinked="1"/>
        <c:majorTickMark val="out"/>
        <c:minorTickMark val="none"/>
        <c:tickLblPos val="nextTo"/>
        <c:crossAx val="70379008"/>
        <c:crosses val="autoZero"/>
        <c:crossBetween val="between"/>
      </c:valAx>
    </c:plotArea>
    <c:legend>
      <c:legendPos val="r"/>
      <c:layout/>
      <c:overlay val="0"/>
    </c:legend>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71AAF0E-A907-4533-B82B-60710A241A10}" type="datetimeFigureOut">
              <a:rPr lang="en-US" smtClean="0"/>
              <a:t>2/7/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149B866-FBFD-41FE-9130-92945F90027F}" type="slidenum">
              <a:rPr lang="en-US" smtClean="0"/>
              <a:t>‹N°›</a:t>
            </a:fld>
            <a:endParaRPr lang="en-US"/>
          </a:p>
        </p:txBody>
      </p:sp>
    </p:spTree>
    <p:extLst>
      <p:ext uri="{BB962C8B-B14F-4D97-AF65-F5344CB8AC3E}">
        <p14:creationId xmlns:p14="http://schemas.microsoft.com/office/powerpoint/2010/main" val="107125102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543B2C5-8A54-4F64-9712-7B04B9149682}" type="datetimeFigureOut">
              <a:rPr lang="en-US" smtClean="0"/>
              <a:t>2/7/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5C88946-91C5-42E1-9363-BFED7E2068E4}" type="slidenum">
              <a:rPr lang="en-US" smtClean="0"/>
              <a:t>‹N°›</a:t>
            </a:fld>
            <a:endParaRPr lang="en-US"/>
          </a:p>
        </p:txBody>
      </p:sp>
    </p:spTree>
    <p:extLst>
      <p:ext uri="{BB962C8B-B14F-4D97-AF65-F5344CB8AC3E}">
        <p14:creationId xmlns:p14="http://schemas.microsoft.com/office/powerpoint/2010/main" val="3383035141"/>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1843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CF5AAFDD-8346-46FB-B619-35ED83490942}" type="slidenum">
              <a:rPr lang="en-US" sz="1200"/>
              <a:pPr eaLnBrk="1" hangingPunct="1"/>
              <a:t>38</a:t>
            </a:fld>
            <a:endParaRPr lang="en-US"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2048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4C67C143-B5A5-4652-962C-4662F7D6974E}" type="slidenum">
              <a:rPr lang="en-US" sz="1200"/>
              <a:pPr eaLnBrk="1" hangingPunct="1"/>
              <a:t>39</a:t>
            </a:fld>
            <a:endParaRPr lang="en-US" sz="12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2253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10FE7595-F781-4167-A40E-FAB7743372AD}" type="slidenum">
              <a:rPr lang="en-US" sz="1200"/>
              <a:pPr eaLnBrk="1" hangingPunct="1"/>
              <a:t>40</a:t>
            </a:fld>
            <a:endParaRPr lang="en-US"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2457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62D16504-FD5D-4A76-A77E-3EE408183A9C}" type="slidenum">
              <a:rPr lang="en-US" sz="1200"/>
              <a:pPr eaLnBrk="1" hangingPunct="1"/>
              <a:t>41</a:t>
            </a:fld>
            <a:endParaRPr lang="en-US"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2662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D8E82D5F-EDDB-4724-A1FE-3E8225DE28ED}" type="slidenum">
              <a:rPr lang="en-US" sz="1200"/>
              <a:pPr eaLnBrk="1" hangingPunct="1"/>
              <a:t>42</a:t>
            </a:fld>
            <a:endParaRPr lang="en-US" sz="12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2867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F7A5D291-0731-4BB7-95C5-41FD3A9700B8}" type="slidenum">
              <a:rPr lang="en-US" sz="1200"/>
              <a:pPr eaLnBrk="1" hangingPunct="1"/>
              <a:t>43</a:t>
            </a:fld>
            <a:endParaRPr lang="en-US"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3072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F344021A-72FD-4720-87E0-4450996F1FAD}" type="slidenum">
              <a:rPr lang="en-US" sz="1200"/>
              <a:pPr eaLnBrk="1" hangingPunct="1"/>
              <a:t>44</a:t>
            </a:fld>
            <a:endParaRPr lang="en-US" sz="12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11658" y="762000"/>
            <a:ext cx="4267200" cy="304800"/>
          </a:xfrm>
          <a:prstGeom prst="rect">
            <a:avLst/>
          </a:prstGeom>
        </p:spPr>
        <p:txBody>
          <a:bodyPr anchor="ctr"/>
          <a:lstStyle>
            <a:lvl1pPr marL="0" indent="0" algn="l">
              <a:buNone/>
              <a:defRPr sz="1600" baseline="0">
                <a:solidFill>
                  <a:srgbClr val="595959"/>
                </a:solidFill>
                <a:latin typeface="Calibri Light" panose="020F0302020204030204" pitchFamily="34" charset="0"/>
              </a:defRPr>
            </a:lvl1pPr>
          </a:lstStyle>
          <a:p>
            <a:pPr lvl="0"/>
            <a:r>
              <a:rPr lang="en-US" dirty="0" smtClean="0"/>
              <a:t>THIS IS EXAMPLE TEXT</a:t>
            </a:r>
            <a:endParaRPr lang="en-US" dirty="0"/>
          </a:p>
        </p:txBody>
      </p:sp>
      <p:sp>
        <p:nvSpPr>
          <p:cNvPr id="13" name="Text Placeholder 12"/>
          <p:cNvSpPr>
            <a:spLocks noGrp="1"/>
          </p:cNvSpPr>
          <p:nvPr>
            <p:ph type="body" sz="quarter" idx="14" hasCustomPrompt="1"/>
          </p:nvPr>
        </p:nvSpPr>
        <p:spPr>
          <a:xfrm>
            <a:off x="311658" y="274638"/>
            <a:ext cx="6546342" cy="487362"/>
          </a:xfrm>
          <a:prstGeom prst="rect">
            <a:avLst/>
          </a:prstGeom>
        </p:spPr>
        <p:txBody>
          <a:bodyPr anchor="ctr"/>
          <a:lstStyle>
            <a:lvl1pPr marL="0" indent="0" algn="l">
              <a:buNone/>
              <a:defRPr sz="3200">
                <a:solidFill>
                  <a:srgbClr val="595959"/>
                </a:solidFill>
                <a:latin typeface="Calibri Light" panose="020F0302020204030204" pitchFamily="34" charset="0"/>
              </a:defRPr>
            </a:lvl1pPr>
          </a:lstStyle>
          <a:p>
            <a:pPr lvl="0"/>
            <a:r>
              <a:rPr lang="en-US" dirty="0" smtClean="0"/>
              <a:t>CLICK TO EDIT MASTER TITLE STYLE</a:t>
            </a:r>
            <a:endParaRPr lang="en-US" dirty="0"/>
          </a:p>
        </p:txBody>
      </p:sp>
      <p:sp>
        <p:nvSpPr>
          <p:cNvPr id="3" name="Date Placeholder 2"/>
          <p:cNvSpPr>
            <a:spLocks noGrp="1"/>
          </p:cNvSpPr>
          <p:nvPr>
            <p:ph type="dt" sz="half" idx="15"/>
          </p:nvPr>
        </p:nvSpPr>
        <p:spPr/>
        <p:txBody>
          <a:bodyPr/>
          <a:lstStyle/>
          <a:p>
            <a:r>
              <a:rPr lang="en-US" smtClean="0"/>
              <a:t>www.domainname.com</a:t>
            </a:r>
            <a:endParaRPr lang="en-US"/>
          </a:p>
        </p:txBody>
      </p:sp>
      <p:sp>
        <p:nvSpPr>
          <p:cNvPr id="4" name="Footer Placeholder 3"/>
          <p:cNvSpPr>
            <a:spLocks noGrp="1"/>
          </p:cNvSpPr>
          <p:nvPr>
            <p:ph type="ftr" sz="quarter" idx="16"/>
          </p:nvPr>
        </p:nvSpPr>
        <p:spPr/>
        <p:txBody>
          <a:bodyPr/>
          <a:lstStyle/>
          <a:p>
            <a:r>
              <a:rPr lang="en-US" smtClean="0"/>
              <a:t>Logo Company</a:t>
            </a:r>
            <a:endParaRPr lang="en-US" dirty="0"/>
          </a:p>
        </p:txBody>
      </p:sp>
      <p:sp>
        <p:nvSpPr>
          <p:cNvPr id="7" name="Slide Number Placeholder 6"/>
          <p:cNvSpPr>
            <a:spLocks noGrp="1"/>
          </p:cNvSpPr>
          <p:nvPr>
            <p:ph type="sldNum" sz="quarter" idx="17"/>
          </p:nvPr>
        </p:nvSpPr>
        <p:spPr/>
        <p:txBody>
          <a:bodyPr/>
          <a:lstStyle/>
          <a:p>
            <a:fld id="{3101D46F-57A9-43DB-8B55-C38BE2226748}" type="slidenum">
              <a:rPr lang="en-US" smtClean="0"/>
              <a:pPr/>
              <a:t>‹N°›</a:t>
            </a:fld>
            <a:endParaRPr lang="en-US"/>
          </a:p>
        </p:txBody>
      </p:sp>
    </p:spTree>
    <p:extLst>
      <p:ext uri="{BB962C8B-B14F-4D97-AF65-F5344CB8AC3E}">
        <p14:creationId xmlns:p14="http://schemas.microsoft.com/office/powerpoint/2010/main" val="2512548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fld id="{8C0725FC-C8E4-47F4-A3FC-0EE00E3F937A}" type="datetimeFigureOut">
              <a:rPr lang="en-US"/>
              <a:pPr/>
              <a:t>2/7/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193017ED-C7FB-41A8-8C47-453B59C98DCC}" type="slidenum">
              <a:rPr lang="en-US"/>
              <a:pPr/>
              <a:t>‹N°›</a:t>
            </a:fld>
            <a:endParaRPr lang="en-US"/>
          </a:p>
        </p:txBody>
      </p:sp>
    </p:spTree>
    <p:extLst>
      <p:ext uri="{BB962C8B-B14F-4D97-AF65-F5344CB8AC3E}">
        <p14:creationId xmlns:p14="http://schemas.microsoft.com/office/powerpoint/2010/main" val="2756247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7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
        <p:nvSpPr>
          <p:cNvPr id="8" name="Slide Number Placeholder 5"/>
          <p:cNvSpPr>
            <a:spLocks noGrp="1"/>
          </p:cNvSpPr>
          <p:nvPr>
            <p:ph type="sldNum" sz="quarter" idx="12"/>
          </p:nvPr>
        </p:nvSpPr>
        <p:spPr>
          <a:xfrm>
            <a:off x="492125" y="6356351"/>
            <a:ext cx="2057400" cy="365125"/>
          </a:xfrm>
        </p:spPr>
        <p:txBody>
          <a:bodyPr/>
          <a:lstStyle/>
          <a:p>
            <a:fld id="{AACE8A1A-EF06-42BD-8183-7D22FECA910D}" type="slidenum">
              <a:rPr lang="en-US" smtClean="0"/>
              <a:pPr/>
              <a:t>‹N°›</a:t>
            </a:fld>
            <a:r>
              <a:rPr lang="en-US" dirty="0" smtClean="0"/>
              <a:t>|</a:t>
            </a:r>
            <a:endParaRPr lang="en-US" dirty="0"/>
          </a:p>
        </p:txBody>
      </p:sp>
    </p:spTree>
    <p:extLst>
      <p:ext uri="{BB962C8B-B14F-4D97-AF65-F5344CB8AC3E}">
        <p14:creationId xmlns:p14="http://schemas.microsoft.com/office/powerpoint/2010/main" val="17216846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
        <p:nvSpPr>
          <p:cNvPr id="8" name="Slide Number Placeholder 5"/>
          <p:cNvSpPr>
            <a:spLocks noGrp="1"/>
          </p:cNvSpPr>
          <p:nvPr>
            <p:ph type="sldNum" sz="quarter" idx="12"/>
          </p:nvPr>
        </p:nvSpPr>
        <p:spPr>
          <a:xfrm>
            <a:off x="492125" y="6356351"/>
            <a:ext cx="2057400" cy="365125"/>
          </a:xfrm>
        </p:spPr>
        <p:txBody>
          <a:bodyPr/>
          <a:lstStyle/>
          <a:p>
            <a:fld id="{AACE8A1A-EF06-42BD-8183-7D22FECA910D}" type="slidenum">
              <a:rPr lang="en-US" smtClean="0"/>
              <a:pPr/>
              <a:t>‹N°›</a:t>
            </a:fld>
            <a:r>
              <a:rPr lang="en-US" dirty="0" smtClean="0"/>
              <a:t>|</a:t>
            </a:r>
            <a:endParaRPr lang="en-US" dirty="0"/>
          </a:p>
        </p:txBody>
      </p:sp>
    </p:spTree>
    <p:extLst>
      <p:ext uri="{BB962C8B-B14F-4D97-AF65-F5344CB8AC3E}">
        <p14:creationId xmlns:p14="http://schemas.microsoft.com/office/powerpoint/2010/main" val="1721684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17212B"/>
        </a:solid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311658" y="762000"/>
            <a:ext cx="4267200" cy="304800"/>
          </a:xfrm>
          <a:prstGeom prst="rect">
            <a:avLst/>
          </a:prstGeom>
        </p:spPr>
        <p:txBody>
          <a:bodyPr anchor="ctr"/>
          <a:lstStyle>
            <a:lvl1pPr marL="0" indent="0" algn="l">
              <a:buNone/>
              <a:defRPr sz="1600" cap="all" baseline="0">
                <a:solidFill>
                  <a:srgbClr val="D5D5D5"/>
                </a:solidFill>
                <a:latin typeface="Calibri Light" panose="020F0302020204030204" pitchFamily="34" charset="0"/>
              </a:defRPr>
            </a:lvl1pPr>
          </a:lstStyle>
          <a:p>
            <a:pPr lvl="0"/>
            <a:r>
              <a:rPr lang="en-US" dirty="0" smtClean="0"/>
              <a:t>THIS IS EXAMPLE TEXT</a:t>
            </a:r>
            <a:endParaRPr lang="en-US" dirty="0"/>
          </a:p>
        </p:txBody>
      </p:sp>
      <p:sp>
        <p:nvSpPr>
          <p:cNvPr id="9" name="Text Placeholder 12"/>
          <p:cNvSpPr>
            <a:spLocks noGrp="1"/>
          </p:cNvSpPr>
          <p:nvPr>
            <p:ph type="body" sz="quarter" idx="14" hasCustomPrompt="1"/>
          </p:nvPr>
        </p:nvSpPr>
        <p:spPr>
          <a:xfrm>
            <a:off x="311658" y="274638"/>
            <a:ext cx="8527542" cy="487362"/>
          </a:xfrm>
          <a:prstGeom prst="rect">
            <a:avLst/>
          </a:prstGeom>
        </p:spPr>
        <p:txBody>
          <a:bodyPr anchor="ctr"/>
          <a:lstStyle>
            <a:lvl1pPr marL="0" indent="0" algn="l">
              <a:buNone/>
              <a:defRPr sz="3200">
                <a:solidFill>
                  <a:srgbClr val="FFFFFF"/>
                </a:solidFill>
                <a:latin typeface="Calibri Light" pitchFamily="34" charset="0"/>
              </a:defRPr>
            </a:lvl1pPr>
          </a:lstStyle>
          <a:p>
            <a:pPr lvl="0"/>
            <a:r>
              <a:rPr lang="en-US" dirty="0" smtClean="0"/>
              <a:t>CLICK TO EDIT MASTER TITLE STYLE</a:t>
            </a:r>
            <a:endParaRPr lang="en-US" dirty="0"/>
          </a:p>
        </p:txBody>
      </p:sp>
      <p:sp>
        <p:nvSpPr>
          <p:cNvPr id="11" name="Date Placeholder 2"/>
          <p:cNvSpPr>
            <a:spLocks noGrp="1"/>
          </p:cNvSpPr>
          <p:nvPr>
            <p:ph type="dt" sz="half" idx="15"/>
          </p:nvPr>
        </p:nvSpPr>
        <p:spPr>
          <a:xfrm>
            <a:off x="6858000" y="6483841"/>
            <a:ext cx="2133600" cy="383193"/>
          </a:xfrm>
        </p:spPr>
        <p:txBody>
          <a:bodyPr/>
          <a:lstStyle/>
          <a:p>
            <a:r>
              <a:rPr lang="en-US" smtClean="0"/>
              <a:t>www.domainname.com</a:t>
            </a:r>
            <a:endParaRPr lang="en-US" dirty="0"/>
          </a:p>
        </p:txBody>
      </p:sp>
      <p:sp>
        <p:nvSpPr>
          <p:cNvPr id="12" name="Footer Placeholder 3"/>
          <p:cNvSpPr>
            <a:spLocks noGrp="1"/>
          </p:cNvSpPr>
          <p:nvPr>
            <p:ph type="ftr" sz="quarter" idx="16"/>
          </p:nvPr>
        </p:nvSpPr>
        <p:spPr>
          <a:xfrm>
            <a:off x="152400" y="6484937"/>
            <a:ext cx="1333500" cy="381000"/>
          </a:xfrm>
        </p:spPr>
        <p:txBody>
          <a:bodyPr/>
          <a:lstStyle/>
          <a:p>
            <a:r>
              <a:rPr lang="en-US" smtClean="0"/>
              <a:t>Logo Company</a:t>
            </a:r>
            <a:endParaRPr lang="en-US" dirty="0"/>
          </a:p>
        </p:txBody>
      </p:sp>
      <p:sp>
        <p:nvSpPr>
          <p:cNvPr id="14" name="Slide Number Placeholder 9"/>
          <p:cNvSpPr>
            <a:spLocks noGrp="1"/>
          </p:cNvSpPr>
          <p:nvPr>
            <p:ph type="sldNum" sz="quarter" idx="17"/>
          </p:nvPr>
        </p:nvSpPr>
        <p:spPr>
          <a:xfrm>
            <a:off x="4343400" y="6492875"/>
            <a:ext cx="457200" cy="365125"/>
          </a:xfrm>
        </p:spPr>
        <p:txBody>
          <a:bodyPr/>
          <a:lstStyle/>
          <a:p>
            <a:fld id="{3101D46F-57A9-43DB-8B55-C38BE2226748}" type="slidenum">
              <a:rPr lang="en-US" smtClean="0"/>
              <a:pPr/>
              <a:t>‹N°›</a:t>
            </a:fld>
            <a:endParaRPr lang="en-US"/>
          </a:p>
        </p:txBody>
      </p:sp>
    </p:spTree>
    <p:extLst>
      <p:ext uri="{BB962C8B-B14F-4D97-AF65-F5344CB8AC3E}">
        <p14:creationId xmlns:p14="http://schemas.microsoft.com/office/powerpoint/2010/main" val="12326409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
        <p:nvSpPr>
          <p:cNvPr id="8" name="Slide Number Placeholder 5"/>
          <p:cNvSpPr>
            <a:spLocks noGrp="1"/>
          </p:cNvSpPr>
          <p:nvPr>
            <p:ph type="sldNum" sz="quarter" idx="12"/>
          </p:nvPr>
        </p:nvSpPr>
        <p:spPr>
          <a:xfrm>
            <a:off x="492125" y="6356351"/>
            <a:ext cx="2057400" cy="365125"/>
          </a:xfrm>
        </p:spPr>
        <p:txBody>
          <a:bodyPr/>
          <a:lstStyle/>
          <a:p>
            <a:fld id="{AACE8A1A-EF06-42BD-8183-7D22FECA910D}" type="slidenum">
              <a:rPr lang="en-US" smtClean="0"/>
              <a:pPr/>
              <a:t>‹N°›</a:t>
            </a:fld>
            <a:r>
              <a:rPr lang="en-US" dirty="0" smtClean="0"/>
              <a:t>|</a:t>
            </a:r>
            <a:endParaRPr lang="en-US" dirty="0"/>
          </a:p>
        </p:txBody>
      </p:sp>
    </p:spTree>
    <p:extLst>
      <p:ext uri="{BB962C8B-B14F-4D97-AF65-F5344CB8AC3E}">
        <p14:creationId xmlns:p14="http://schemas.microsoft.com/office/powerpoint/2010/main" val="17216846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0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
        <p:nvSpPr>
          <p:cNvPr id="8" name="Slide Number Placeholder 5"/>
          <p:cNvSpPr>
            <a:spLocks noGrp="1"/>
          </p:cNvSpPr>
          <p:nvPr>
            <p:ph type="sldNum" sz="quarter" idx="12"/>
          </p:nvPr>
        </p:nvSpPr>
        <p:spPr>
          <a:xfrm>
            <a:off x="492125" y="6356351"/>
            <a:ext cx="2057400" cy="365125"/>
          </a:xfrm>
        </p:spPr>
        <p:txBody>
          <a:bodyPr/>
          <a:lstStyle/>
          <a:p>
            <a:fld id="{AACE8A1A-EF06-42BD-8183-7D22FECA910D}" type="slidenum">
              <a:rPr lang="en-US" smtClean="0"/>
              <a:pPr/>
              <a:t>‹N°›</a:t>
            </a:fld>
            <a:r>
              <a:rPr lang="en-US" dirty="0" smtClean="0"/>
              <a:t>|</a:t>
            </a:r>
            <a:endParaRPr lang="en-US" dirty="0"/>
          </a:p>
        </p:txBody>
      </p:sp>
    </p:spTree>
    <p:extLst>
      <p:ext uri="{BB962C8B-B14F-4D97-AF65-F5344CB8AC3E}">
        <p14:creationId xmlns:p14="http://schemas.microsoft.com/office/powerpoint/2010/main" val="17216846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
        <p:nvSpPr>
          <p:cNvPr id="8" name="Slide Number Placeholder 5"/>
          <p:cNvSpPr>
            <a:spLocks noGrp="1"/>
          </p:cNvSpPr>
          <p:nvPr>
            <p:ph type="sldNum" sz="quarter" idx="12"/>
          </p:nvPr>
        </p:nvSpPr>
        <p:spPr>
          <a:xfrm>
            <a:off x="492125" y="6356351"/>
            <a:ext cx="2057400" cy="365125"/>
          </a:xfrm>
        </p:spPr>
        <p:txBody>
          <a:bodyPr/>
          <a:lstStyle/>
          <a:p>
            <a:fld id="{AACE8A1A-EF06-42BD-8183-7D22FECA910D}" type="slidenum">
              <a:rPr lang="en-US" smtClean="0"/>
              <a:pPr/>
              <a:t>‹N°›</a:t>
            </a:fld>
            <a:r>
              <a:rPr lang="en-US" dirty="0" smtClean="0"/>
              <a:t>|</a:t>
            </a:r>
            <a:endParaRPr lang="en-US" dirty="0"/>
          </a:p>
        </p:txBody>
      </p:sp>
    </p:spTree>
    <p:extLst>
      <p:ext uri="{BB962C8B-B14F-4D97-AF65-F5344CB8AC3E}">
        <p14:creationId xmlns:p14="http://schemas.microsoft.com/office/powerpoint/2010/main" val="1721684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
        <p:nvSpPr>
          <p:cNvPr id="8" name="Slide Number Placeholder 5"/>
          <p:cNvSpPr>
            <a:spLocks noGrp="1"/>
          </p:cNvSpPr>
          <p:nvPr>
            <p:ph type="sldNum" sz="quarter" idx="12"/>
          </p:nvPr>
        </p:nvSpPr>
        <p:spPr>
          <a:xfrm>
            <a:off x="492125" y="6356351"/>
            <a:ext cx="2057400" cy="365125"/>
          </a:xfrm>
        </p:spPr>
        <p:txBody>
          <a:bodyPr/>
          <a:lstStyle/>
          <a:p>
            <a:fld id="{AACE8A1A-EF06-42BD-8183-7D22FECA910D}" type="slidenum">
              <a:rPr lang="en-US" smtClean="0"/>
              <a:pPr/>
              <a:t>‹N°›</a:t>
            </a:fld>
            <a:r>
              <a:rPr lang="en-US" dirty="0" smtClean="0"/>
              <a:t>|</a:t>
            </a:r>
            <a:endParaRPr lang="en-US" dirty="0"/>
          </a:p>
        </p:txBody>
      </p:sp>
    </p:spTree>
    <p:extLst>
      <p:ext uri="{BB962C8B-B14F-4D97-AF65-F5344CB8AC3E}">
        <p14:creationId xmlns:p14="http://schemas.microsoft.com/office/powerpoint/2010/main" val="1721684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3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22378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595113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5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595113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6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59511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7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595113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8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59511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11658" y="762000"/>
            <a:ext cx="4267200" cy="304800"/>
          </a:xfrm>
          <a:prstGeom prst="rect">
            <a:avLst/>
          </a:prstGeom>
        </p:spPr>
        <p:txBody>
          <a:bodyPr anchor="ctr"/>
          <a:lstStyle>
            <a:lvl1pPr marL="0" indent="0" algn="l">
              <a:buNone/>
              <a:defRPr sz="1600" baseline="0">
                <a:solidFill>
                  <a:srgbClr val="2B3131"/>
                </a:solidFill>
                <a:latin typeface="Calibri Light" panose="020F0302020204030204" pitchFamily="34" charset="0"/>
              </a:defRPr>
            </a:lvl1pPr>
          </a:lstStyle>
          <a:p>
            <a:pPr lvl="0"/>
            <a:r>
              <a:rPr lang="en-US" dirty="0" smtClean="0"/>
              <a:t>THIS IS EXAMPLE TEXT</a:t>
            </a:r>
            <a:endParaRPr lang="en-US" dirty="0"/>
          </a:p>
        </p:txBody>
      </p:sp>
      <p:sp>
        <p:nvSpPr>
          <p:cNvPr id="13" name="Text Placeholder 12"/>
          <p:cNvSpPr>
            <a:spLocks noGrp="1"/>
          </p:cNvSpPr>
          <p:nvPr>
            <p:ph type="body" sz="quarter" idx="14" hasCustomPrompt="1"/>
          </p:nvPr>
        </p:nvSpPr>
        <p:spPr>
          <a:xfrm>
            <a:off x="311658" y="274638"/>
            <a:ext cx="6546342" cy="487362"/>
          </a:xfrm>
          <a:prstGeom prst="rect">
            <a:avLst/>
          </a:prstGeom>
        </p:spPr>
        <p:txBody>
          <a:bodyPr anchor="ctr"/>
          <a:lstStyle>
            <a:lvl1pPr marL="0" indent="0" algn="l">
              <a:buNone/>
              <a:defRPr sz="3200">
                <a:solidFill>
                  <a:srgbClr val="2B3131"/>
                </a:solidFill>
                <a:latin typeface="Calibri Light" panose="020F0302020204030204" pitchFamily="34" charset="0"/>
              </a:defRPr>
            </a:lvl1pPr>
          </a:lstStyle>
          <a:p>
            <a:pPr lvl="0"/>
            <a:r>
              <a:rPr lang="en-US" dirty="0" smtClean="0"/>
              <a:t>CLICK TO EDIT MASTER TITLE STYLE</a:t>
            </a:r>
            <a:endParaRPr lang="en-US" dirty="0"/>
          </a:p>
        </p:txBody>
      </p:sp>
      <p:sp>
        <p:nvSpPr>
          <p:cNvPr id="3" name="Date Placeholder 2"/>
          <p:cNvSpPr>
            <a:spLocks noGrp="1"/>
          </p:cNvSpPr>
          <p:nvPr>
            <p:ph type="dt" sz="half" idx="15"/>
          </p:nvPr>
        </p:nvSpPr>
        <p:spPr/>
        <p:txBody>
          <a:bodyPr/>
          <a:lstStyle/>
          <a:p>
            <a:r>
              <a:rPr lang="en-US" smtClean="0"/>
              <a:t>www.domainname.com</a:t>
            </a:r>
            <a:endParaRPr lang="en-US" dirty="0"/>
          </a:p>
        </p:txBody>
      </p:sp>
      <p:sp>
        <p:nvSpPr>
          <p:cNvPr id="4" name="Footer Placeholder 3"/>
          <p:cNvSpPr>
            <a:spLocks noGrp="1"/>
          </p:cNvSpPr>
          <p:nvPr>
            <p:ph type="ftr" sz="quarter" idx="16"/>
          </p:nvPr>
        </p:nvSpPr>
        <p:spPr/>
        <p:txBody>
          <a:bodyPr/>
          <a:lstStyle/>
          <a:p>
            <a:r>
              <a:rPr lang="en-US" smtClean="0"/>
              <a:t>Logo Company</a:t>
            </a:r>
            <a:endParaRPr lang="en-US" dirty="0"/>
          </a:p>
        </p:txBody>
      </p:sp>
      <p:sp>
        <p:nvSpPr>
          <p:cNvPr id="10" name="Slide Number Placeholder 9"/>
          <p:cNvSpPr>
            <a:spLocks noGrp="1"/>
          </p:cNvSpPr>
          <p:nvPr>
            <p:ph type="sldNum" sz="quarter" idx="17"/>
          </p:nvPr>
        </p:nvSpPr>
        <p:spPr/>
        <p:txBody>
          <a:bodyPr/>
          <a:lstStyle/>
          <a:p>
            <a:fld id="{3101D46F-57A9-43DB-8B55-C38BE2226748}" type="slidenum">
              <a:rPr lang="en-US" smtClean="0"/>
              <a:pPr/>
              <a:t>‹N°›</a:t>
            </a:fld>
            <a:endParaRPr lang="en-US"/>
          </a:p>
        </p:txBody>
      </p:sp>
    </p:spTree>
    <p:extLst>
      <p:ext uri="{BB962C8B-B14F-4D97-AF65-F5344CB8AC3E}">
        <p14:creationId xmlns:p14="http://schemas.microsoft.com/office/powerpoint/2010/main" val="105948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9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595113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0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atin typeface="+mn-lt"/>
              </a:defRPr>
            </a:lvl1pPr>
          </a:lstStyle>
          <a:p>
            <a:r>
              <a:rPr lang="en-US" smtClean="0"/>
              <a:t>PRESENTER NAME</a:t>
            </a:r>
            <a:endParaRPr lang="en-US"/>
          </a:p>
        </p:txBody>
      </p:sp>
      <p:sp>
        <p:nvSpPr>
          <p:cNvPr id="5" name="Footer Placeholder 4"/>
          <p:cNvSpPr>
            <a:spLocks noGrp="1"/>
          </p:cNvSpPr>
          <p:nvPr>
            <p:ph type="ftr" sz="quarter" idx="11"/>
          </p:nvPr>
        </p:nvSpPr>
        <p:spPr/>
        <p:txBody>
          <a:bodyPr/>
          <a:lstStyle>
            <a:lvl1pPr>
              <a:defRPr>
                <a:latin typeface="+mn-lt"/>
              </a:defRPr>
            </a:lvl1pPr>
          </a:lstStyle>
          <a:p>
            <a:r>
              <a:rPr lang="en-US" smtClean="0"/>
              <a:t>COMPANY NAME</a:t>
            </a:r>
            <a:endParaRPr lang="en-US"/>
          </a:p>
        </p:txBody>
      </p:sp>
      <p:sp>
        <p:nvSpPr>
          <p:cNvPr id="6" name="Slide Number Placeholder 5"/>
          <p:cNvSpPr>
            <a:spLocks noGrp="1"/>
          </p:cNvSpPr>
          <p:nvPr>
            <p:ph type="sldNum" sz="quarter" idx="12"/>
          </p:nvPr>
        </p:nvSpPr>
        <p:spPr/>
        <p:txBody>
          <a:bodyPr/>
          <a:lstStyle>
            <a:lvl1pPr>
              <a:defRPr>
                <a:latin typeface="+mn-lt"/>
              </a:defRPr>
            </a:lvl1pPr>
          </a:lstStyle>
          <a:p>
            <a:fld id="{AACE8A1A-EF06-42BD-8183-7D22FECA910D}" type="slidenum">
              <a:rPr lang="en-US" smtClean="0"/>
              <a:pPr/>
              <a:t>‹N°›</a:t>
            </a:fld>
            <a:r>
              <a:rPr lang="en-US"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18924569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atin typeface="+mn-lt"/>
              </a:defRPr>
            </a:lvl1pPr>
          </a:lstStyle>
          <a:p>
            <a:r>
              <a:rPr lang="en-US" smtClean="0"/>
              <a:t>PRESENTER NAME</a:t>
            </a:r>
            <a:endParaRPr lang="en-US"/>
          </a:p>
        </p:txBody>
      </p:sp>
      <p:sp>
        <p:nvSpPr>
          <p:cNvPr id="5" name="Footer Placeholder 4"/>
          <p:cNvSpPr>
            <a:spLocks noGrp="1"/>
          </p:cNvSpPr>
          <p:nvPr>
            <p:ph type="ftr" sz="quarter" idx="11"/>
          </p:nvPr>
        </p:nvSpPr>
        <p:spPr/>
        <p:txBody>
          <a:bodyPr/>
          <a:lstStyle>
            <a:lvl1pPr>
              <a:defRPr>
                <a:latin typeface="+mn-lt"/>
              </a:defRPr>
            </a:lvl1pPr>
          </a:lstStyle>
          <a:p>
            <a:r>
              <a:rPr lang="en-US" smtClean="0"/>
              <a:t>COMPANY NAME</a:t>
            </a:r>
            <a:endParaRPr lang="en-US"/>
          </a:p>
        </p:txBody>
      </p:sp>
      <p:sp>
        <p:nvSpPr>
          <p:cNvPr id="6" name="Slide Number Placeholder 5"/>
          <p:cNvSpPr>
            <a:spLocks noGrp="1"/>
          </p:cNvSpPr>
          <p:nvPr>
            <p:ph type="sldNum" sz="quarter" idx="12"/>
          </p:nvPr>
        </p:nvSpPr>
        <p:spPr/>
        <p:txBody>
          <a:bodyPr/>
          <a:lstStyle>
            <a:lvl1pPr>
              <a:defRPr>
                <a:latin typeface="+mn-lt"/>
              </a:defRPr>
            </a:lvl1pPr>
          </a:lstStyle>
          <a:p>
            <a:fld id="{AACE8A1A-EF06-42BD-8183-7D22FECA910D}" type="slidenum">
              <a:rPr lang="en-US" smtClean="0"/>
              <a:pPr/>
              <a:t>‹N°›</a:t>
            </a:fld>
            <a:r>
              <a:rPr lang="en-US"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18924569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2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atin typeface="+mn-lt"/>
              </a:defRPr>
            </a:lvl1pPr>
          </a:lstStyle>
          <a:p>
            <a:r>
              <a:rPr lang="en-US" smtClean="0"/>
              <a:t>PRESENTER NAME</a:t>
            </a:r>
            <a:endParaRPr lang="en-US"/>
          </a:p>
        </p:txBody>
      </p:sp>
      <p:sp>
        <p:nvSpPr>
          <p:cNvPr id="5" name="Footer Placeholder 4"/>
          <p:cNvSpPr>
            <a:spLocks noGrp="1"/>
          </p:cNvSpPr>
          <p:nvPr>
            <p:ph type="ftr" sz="quarter" idx="11"/>
          </p:nvPr>
        </p:nvSpPr>
        <p:spPr/>
        <p:txBody>
          <a:bodyPr/>
          <a:lstStyle>
            <a:lvl1pPr>
              <a:defRPr>
                <a:latin typeface="+mn-lt"/>
              </a:defRPr>
            </a:lvl1pPr>
          </a:lstStyle>
          <a:p>
            <a:r>
              <a:rPr lang="en-US" smtClean="0"/>
              <a:t>COMPANY NAME</a:t>
            </a:r>
            <a:endParaRPr lang="en-US"/>
          </a:p>
        </p:txBody>
      </p:sp>
      <p:sp>
        <p:nvSpPr>
          <p:cNvPr id="6" name="Slide Number Placeholder 5"/>
          <p:cNvSpPr>
            <a:spLocks noGrp="1"/>
          </p:cNvSpPr>
          <p:nvPr>
            <p:ph type="sldNum" sz="quarter" idx="12"/>
          </p:nvPr>
        </p:nvSpPr>
        <p:spPr/>
        <p:txBody>
          <a:bodyPr/>
          <a:lstStyle>
            <a:lvl1pPr>
              <a:defRPr>
                <a:latin typeface="+mn-lt"/>
              </a:defRPr>
            </a:lvl1pPr>
          </a:lstStyle>
          <a:p>
            <a:fld id="{AACE8A1A-EF06-42BD-8183-7D22FECA910D}" type="slidenum">
              <a:rPr lang="en-US" smtClean="0"/>
              <a:pPr/>
              <a:t>‹N°›</a:t>
            </a:fld>
            <a:r>
              <a:rPr lang="en-US"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20383137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10234962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2"/>
            </p:custDataLst>
          </p:nvPr>
        </p:nvCxnSpPr>
        <p:spPr>
          <a:xfrm>
            <a:off x="3407834"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Tree>
    <p:custDataLst>
      <p:tags r:id="rId1"/>
    </p:custDataLst>
    <p:extLst>
      <p:ext uri="{BB962C8B-B14F-4D97-AF65-F5344CB8AC3E}">
        <p14:creationId xmlns:p14="http://schemas.microsoft.com/office/powerpoint/2010/main" val="34230720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EEE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1658" y="274638"/>
            <a:ext cx="6546342" cy="487362"/>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6" name="Slide Number Placeholder 5"/>
          <p:cNvSpPr>
            <a:spLocks noGrp="1"/>
          </p:cNvSpPr>
          <p:nvPr>
            <p:ph type="sldNum" sz="quarter" idx="4"/>
          </p:nvPr>
        </p:nvSpPr>
        <p:spPr>
          <a:xfrm>
            <a:off x="4343400" y="6492875"/>
            <a:ext cx="457200" cy="365125"/>
          </a:xfrm>
          <a:prstGeom prst="rect">
            <a:avLst/>
          </a:prstGeom>
        </p:spPr>
        <p:txBody>
          <a:bodyPr vert="horz" lIns="91440" tIns="45720" rIns="91440" bIns="45720" rtlCol="0" anchor="ctr"/>
          <a:lstStyle>
            <a:lvl1pPr algn="ctr">
              <a:defRPr sz="900">
                <a:solidFill>
                  <a:srgbClr val="7F8C8D"/>
                </a:solidFill>
              </a:defRPr>
            </a:lvl1pPr>
          </a:lstStyle>
          <a:p>
            <a:fld id="{3101D46F-57A9-43DB-8B55-C38BE2226748}" type="slidenum">
              <a:rPr lang="en-US" smtClean="0"/>
              <a:pPr/>
              <a:t>‹N°›</a:t>
            </a:fld>
            <a:endParaRPr lang="en-US"/>
          </a:p>
        </p:txBody>
      </p:sp>
      <p:sp>
        <p:nvSpPr>
          <p:cNvPr id="5" name="Footer Placeholder 4"/>
          <p:cNvSpPr>
            <a:spLocks noGrp="1"/>
          </p:cNvSpPr>
          <p:nvPr>
            <p:ph type="ftr" sz="quarter" idx="3"/>
          </p:nvPr>
        </p:nvSpPr>
        <p:spPr>
          <a:xfrm>
            <a:off x="152400" y="6484937"/>
            <a:ext cx="1333500" cy="381000"/>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US" dirty="0" smtClean="0"/>
              <a:t>Logo Company</a:t>
            </a:r>
            <a:endParaRPr lang="en-US" dirty="0"/>
          </a:p>
        </p:txBody>
      </p:sp>
      <p:sp>
        <p:nvSpPr>
          <p:cNvPr id="3" name="Date Placeholder 2"/>
          <p:cNvSpPr>
            <a:spLocks noGrp="1"/>
          </p:cNvSpPr>
          <p:nvPr>
            <p:ph type="dt" sz="half" idx="2"/>
          </p:nvPr>
        </p:nvSpPr>
        <p:spPr>
          <a:xfrm>
            <a:off x="6858000" y="6483841"/>
            <a:ext cx="2133600" cy="383193"/>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US" smtClean="0"/>
              <a:t>www.domainname.com</a:t>
            </a:r>
            <a:endParaRPr lang="en-US" dirty="0"/>
          </a:p>
        </p:txBody>
      </p:sp>
    </p:spTree>
    <p:extLst>
      <p:ext uri="{BB962C8B-B14F-4D97-AF65-F5344CB8AC3E}">
        <p14:creationId xmlns:p14="http://schemas.microsoft.com/office/powerpoint/2010/main" val="3006621178"/>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Lst>
  <p:hf hdr="0"/>
  <p:txStyles>
    <p:titleStyle>
      <a:lvl1pPr algn="l" defTabSz="914400" rtl="0" eaLnBrk="1" latinLnBrk="0" hangingPunct="1">
        <a:spcBef>
          <a:spcPct val="0"/>
        </a:spcBef>
        <a:buNone/>
        <a:defRPr lang="en-US" sz="2800" kern="1200" dirty="0">
          <a:solidFill>
            <a:srgbClr val="595959"/>
          </a:solidFill>
          <a:latin typeface="Calibri Light" panose="020F030202020403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4.xml"/><Relationship Id="rId1" Type="http://schemas.openxmlformats.org/officeDocument/2006/relationships/tags" Target="../tags/tag5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0.xml"/><Relationship Id="rId1" Type="http://schemas.openxmlformats.org/officeDocument/2006/relationships/tags" Target="../tags/tag59.xml"/></Relationships>
</file>

<file path=ppt/slides/_rels/slide1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49.xml"/></Relationships>
</file>

<file path=ppt/slides/_rels/slide20.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4"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chart" Target="../charts/chart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0.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1.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3.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74.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75.xml"/></Relationships>
</file>

<file path=ppt/slides/_rels/slide28.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tags" Target="../tags/tag92.xml"/><Relationship Id="rId3" Type="http://schemas.openxmlformats.org/officeDocument/2006/relationships/tags" Target="../tags/tag77.xml"/><Relationship Id="rId21" Type="http://schemas.openxmlformats.org/officeDocument/2006/relationships/tags" Target="../tags/tag95.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5" Type="http://schemas.openxmlformats.org/officeDocument/2006/relationships/image" Target="../media/image1.emf"/><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tags" Target="../tags/tag94.xml"/><Relationship Id="rId1" Type="http://schemas.openxmlformats.org/officeDocument/2006/relationships/vmlDrawing" Target="../drawings/vmlDrawing1.vml"/><Relationship Id="rId6" Type="http://schemas.openxmlformats.org/officeDocument/2006/relationships/tags" Target="../tags/tag80.xml"/><Relationship Id="rId11" Type="http://schemas.openxmlformats.org/officeDocument/2006/relationships/tags" Target="../tags/tag85.xml"/><Relationship Id="rId24" Type="http://schemas.openxmlformats.org/officeDocument/2006/relationships/oleObject" Target="../embeddings/oleObject1.bin"/><Relationship Id="rId5" Type="http://schemas.openxmlformats.org/officeDocument/2006/relationships/tags" Target="../tags/tag79.xml"/><Relationship Id="rId15" Type="http://schemas.openxmlformats.org/officeDocument/2006/relationships/tags" Target="../tags/tag89.xml"/><Relationship Id="rId23" Type="http://schemas.openxmlformats.org/officeDocument/2006/relationships/slideLayout" Target="../slideLayouts/slideLayout10.xml"/><Relationship Id="rId10" Type="http://schemas.openxmlformats.org/officeDocument/2006/relationships/tags" Target="../tags/tag84.xml"/><Relationship Id="rId19" Type="http://schemas.openxmlformats.org/officeDocument/2006/relationships/tags" Target="../tags/tag93.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tags" Target="../tags/tag9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9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2.xml"/><Relationship Id="rId1" Type="http://schemas.openxmlformats.org/officeDocument/2006/relationships/tags" Target="../tags/tag50.xml"/></Relationships>
</file>

<file path=ppt/slides/_rels/slide30.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2.vml"/><Relationship Id="rId6" Type="http://schemas.openxmlformats.org/officeDocument/2006/relationships/tags" Target="../tags/tag102.xml"/><Relationship Id="rId11" Type="http://schemas.openxmlformats.org/officeDocument/2006/relationships/oleObject" Target="../embeddings/oleObject2.bin"/><Relationship Id="rId5" Type="http://schemas.openxmlformats.org/officeDocument/2006/relationships/tags" Target="../tags/tag101.xml"/><Relationship Id="rId10" Type="http://schemas.openxmlformats.org/officeDocument/2006/relationships/slideLayout" Target="../slideLayouts/slideLayout12.xml"/><Relationship Id="rId4" Type="http://schemas.openxmlformats.org/officeDocument/2006/relationships/tags" Target="../tags/tag100.xml"/><Relationship Id="rId9" Type="http://schemas.openxmlformats.org/officeDocument/2006/relationships/tags" Target="../tags/tag10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06.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07.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8.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10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3.xml"/><Relationship Id="rId1" Type="http://schemas.openxmlformats.org/officeDocument/2006/relationships/tags" Target="../tags/tag5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tags" Target="../tags/tag127.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chart" Target="../charts/chart2.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tags" Target="../tags/tag124.xml"/><Relationship Id="rId10" Type="http://schemas.openxmlformats.org/officeDocument/2006/relationships/tags" Target="../tags/tag119.xml"/><Relationship Id="rId19" Type="http://schemas.openxmlformats.org/officeDocument/2006/relationships/slideLayout" Target="../slideLayouts/slideLayout18.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s/_rels/slide46.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slideLayout" Target="../slideLayouts/slideLayout19.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5" Type="http://schemas.openxmlformats.org/officeDocument/2006/relationships/tags" Target="../tags/tag132.xml"/><Relationship Id="rId10" Type="http://schemas.openxmlformats.org/officeDocument/2006/relationships/tags" Target="../tags/tag137.xml"/><Relationship Id="rId4" Type="http://schemas.openxmlformats.org/officeDocument/2006/relationships/tags" Target="../tags/tag131.xml"/><Relationship Id="rId9" Type="http://schemas.openxmlformats.org/officeDocument/2006/relationships/tags" Target="../tags/tag1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4"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cxnSp>
        <p:nvCxnSpPr>
          <p:cNvPr id="24" name="Straight Connector 23"/>
          <p:cNvCxnSpPr>
            <a:endCxn id="44" idx="1"/>
          </p:cNvCxnSpPr>
          <p:nvPr>
            <p:custDataLst>
              <p:tags r:id="rId1"/>
            </p:custDataLst>
          </p:nvPr>
        </p:nvCxnSpPr>
        <p:spPr>
          <a:xfrm>
            <a:off x="0" y="6334155"/>
            <a:ext cx="4074169" cy="0"/>
          </a:xfrm>
          <a:prstGeom prst="line">
            <a:avLst/>
          </a:prstGeom>
          <a:ln w="12700">
            <a:solidFill>
              <a:srgbClr val="F1C40F"/>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44" idx="3"/>
          </p:cNvCxnSpPr>
          <p:nvPr>
            <p:custDataLst>
              <p:tags r:id="rId2"/>
            </p:custDataLst>
          </p:nvPr>
        </p:nvCxnSpPr>
        <p:spPr>
          <a:xfrm>
            <a:off x="5069827" y="6334155"/>
            <a:ext cx="4074173" cy="0"/>
          </a:xfrm>
          <a:prstGeom prst="line">
            <a:avLst/>
          </a:prstGeom>
          <a:ln w="12700">
            <a:solidFill>
              <a:srgbClr val="F1C40F"/>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custDataLst>
              <p:tags r:id="rId3"/>
            </p:custDataLst>
          </p:nvPr>
        </p:nvSpPr>
        <p:spPr>
          <a:xfrm>
            <a:off x="4074169" y="6180266"/>
            <a:ext cx="995658" cy="307777"/>
          </a:xfrm>
          <a:prstGeom prst="rect">
            <a:avLst/>
          </a:prstGeom>
          <a:noFill/>
        </p:spPr>
        <p:txBody>
          <a:bodyPr wrap="none" rtlCol="0">
            <a:spAutoFit/>
          </a:bodyPr>
          <a:lstStyle/>
          <a:p>
            <a:pPr algn="ctr"/>
            <a:r>
              <a:rPr lang="en-US" sz="1400" dirty="0" err="1" smtClean="0">
                <a:solidFill>
                  <a:srgbClr val="F1C40F"/>
                </a:solidFill>
                <a:latin typeface="Calibri Light" pitchFamily="34" charset="0"/>
              </a:rPr>
              <a:t>DataNest</a:t>
            </a:r>
            <a:r>
              <a:rPr lang="en-US" sz="1400" dirty="0" smtClean="0">
                <a:solidFill>
                  <a:srgbClr val="F1C40F"/>
                </a:solidFill>
                <a:latin typeface="Calibri Light" pitchFamily="34" charset="0"/>
              </a:rPr>
              <a:t>©</a:t>
            </a:r>
            <a:endParaRPr lang="en-US" sz="1400" dirty="0">
              <a:solidFill>
                <a:srgbClr val="F1C40F"/>
              </a:solidFill>
              <a:latin typeface="Calibri Light" pitchFamily="34" charset="0"/>
            </a:endParaRPr>
          </a:p>
        </p:txBody>
      </p:sp>
      <p:sp>
        <p:nvSpPr>
          <p:cNvPr id="7" name="Rectangle 6"/>
          <p:cNvSpPr/>
          <p:nvPr/>
        </p:nvSpPr>
        <p:spPr>
          <a:xfrm>
            <a:off x="470567" y="3432885"/>
            <a:ext cx="8202888" cy="1354217"/>
          </a:xfrm>
          <a:prstGeom prst="rect">
            <a:avLst/>
          </a:prstGeom>
        </p:spPr>
        <p:txBody>
          <a:bodyPr wrap="none">
            <a:spAutoFit/>
          </a:bodyPr>
          <a:lstStyle/>
          <a:p>
            <a:pPr algn="ctr"/>
            <a:r>
              <a:rPr lang="fr-FR" sz="5400" b="1" dirty="0" err="1" smtClean="0">
                <a:ln w="10541" cmpd="sng">
                  <a:solidFill>
                    <a:schemeClr val="accent1">
                      <a:shade val="88000"/>
                      <a:satMod val="110000"/>
                    </a:schemeClr>
                  </a:solidFill>
                  <a:prstDash val="solid"/>
                </a:ln>
                <a:solidFill>
                  <a:schemeClr val="tx2"/>
                </a:solidFill>
                <a:latin typeface="Khmer UI" pitchFamily="34" charset="0"/>
                <a:cs typeface="Khmer UI" pitchFamily="34" charset="0"/>
              </a:rPr>
              <a:t>DataNest</a:t>
            </a:r>
            <a:r>
              <a:rPr lang="fr-FR" sz="5400" b="1" dirty="0" smtClean="0">
                <a:solidFill>
                  <a:srgbClr val="F1C40F"/>
                </a:solidFill>
                <a:latin typeface="Khmer UI" pitchFamily="34" charset="0"/>
                <a:cs typeface="Khmer UI" pitchFamily="34" charset="0"/>
              </a:rPr>
              <a:t>©</a:t>
            </a:r>
            <a:endParaRPr lang="en-US" sz="5400" b="1" dirty="0" smtClean="0">
              <a:solidFill>
                <a:srgbClr val="F1C40F"/>
              </a:solidFill>
              <a:latin typeface="Khmer UI" pitchFamily="34" charset="0"/>
              <a:cs typeface="Khmer UI" pitchFamily="34" charset="0"/>
            </a:endParaRPr>
          </a:p>
          <a:p>
            <a:pPr algn="ctr"/>
            <a:r>
              <a:rPr lang="fr-FR" sz="2800" b="1" i="1" dirty="0" err="1" smtClean="0">
                <a:solidFill>
                  <a:srgbClr val="F1C40F"/>
                </a:solidFill>
                <a:latin typeface="Yu Gothic Light" pitchFamily="34" charset="-128"/>
                <a:ea typeface="Yu Gothic Light" pitchFamily="34" charset="-128"/>
              </a:rPr>
              <a:t>BigData</a:t>
            </a:r>
            <a:r>
              <a:rPr lang="fr-FR" sz="2800" b="1" i="1" dirty="0" smtClean="0">
                <a:solidFill>
                  <a:srgbClr val="F1C40F"/>
                </a:solidFill>
                <a:latin typeface="Yu Gothic Light" pitchFamily="34" charset="-128"/>
                <a:ea typeface="Yu Gothic Light" pitchFamily="34" charset="-128"/>
              </a:rPr>
              <a:t> </a:t>
            </a:r>
            <a:r>
              <a:rPr lang="fr-FR" sz="2800" b="1" i="1" dirty="0" err="1" smtClean="0">
                <a:solidFill>
                  <a:srgbClr val="F1C40F"/>
                </a:solidFill>
                <a:latin typeface="Yu Gothic Light" pitchFamily="34" charset="-128"/>
                <a:ea typeface="Yu Gothic Light" pitchFamily="34" charset="-128"/>
              </a:rPr>
              <a:t>advise</a:t>
            </a:r>
            <a:r>
              <a:rPr lang="fr-FR" sz="2800" b="1" i="1" dirty="0" smtClean="0">
                <a:solidFill>
                  <a:srgbClr val="F1C40F"/>
                </a:solidFill>
                <a:latin typeface="Yu Gothic Light" pitchFamily="34" charset="-128"/>
                <a:ea typeface="Yu Gothic Light" pitchFamily="34" charset="-128"/>
              </a:rPr>
              <a:t> for </a:t>
            </a:r>
            <a:r>
              <a:rPr lang="fr-FR" sz="2800" b="1" i="1" dirty="0" err="1" smtClean="0">
                <a:solidFill>
                  <a:srgbClr val="F1C40F"/>
                </a:solidFill>
                <a:latin typeface="Yu Gothic Light" pitchFamily="34" charset="-128"/>
                <a:ea typeface="Yu Gothic Light" pitchFamily="34" charset="-128"/>
              </a:rPr>
              <a:t>your</a:t>
            </a:r>
            <a:r>
              <a:rPr lang="fr-FR" sz="2800" b="1" i="1" dirty="0" smtClean="0">
                <a:solidFill>
                  <a:srgbClr val="F1C40F"/>
                </a:solidFill>
                <a:latin typeface="Yu Gothic Light" pitchFamily="34" charset="-128"/>
                <a:ea typeface="Yu Gothic Light" pitchFamily="34" charset="-128"/>
              </a:rPr>
              <a:t> real-time social performance.</a:t>
            </a:r>
            <a:endParaRPr lang="fr-FR" sz="5400" b="1" i="1" dirty="0" smtClean="0">
              <a:solidFill>
                <a:srgbClr val="F1C40F"/>
              </a:solidFill>
              <a:latin typeface="Yu Gothic Light" pitchFamily="34" charset="-128"/>
              <a:ea typeface="Yu Gothic Light" pitchFamily="34" charset="-128"/>
            </a:endParaRPr>
          </a:p>
        </p:txBody>
      </p:sp>
      <p:grpSp>
        <p:nvGrpSpPr>
          <p:cNvPr id="128" name="Group 127"/>
          <p:cNvGrpSpPr/>
          <p:nvPr/>
        </p:nvGrpSpPr>
        <p:grpSpPr>
          <a:xfrm>
            <a:off x="2819399" y="2682285"/>
            <a:ext cx="3605488" cy="746715"/>
            <a:chOff x="2819400" y="3450751"/>
            <a:chExt cx="3605488" cy="746715"/>
          </a:xfrm>
        </p:grpSpPr>
        <p:grpSp>
          <p:nvGrpSpPr>
            <p:cNvPr id="5" name="Group 4"/>
            <p:cNvGrpSpPr/>
            <p:nvPr/>
          </p:nvGrpSpPr>
          <p:grpSpPr>
            <a:xfrm>
              <a:off x="2819400" y="3450751"/>
              <a:ext cx="697500" cy="746715"/>
              <a:chOff x="2819400" y="3450751"/>
              <a:chExt cx="697500" cy="746715"/>
            </a:xfrm>
          </p:grpSpPr>
          <p:grpSp>
            <p:nvGrpSpPr>
              <p:cNvPr id="89" name="Group 88"/>
              <p:cNvGrpSpPr/>
              <p:nvPr/>
            </p:nvGrpSpPr>
            <p:grpSpPr>
              <a:xfrm>
                <a:off x="2819400" y="3450751"/>
                <a:ext cx="697500" cy="746715"/>
                <a:chOff x="-1046920" y="2123773"/>
                <a:chExt cx="1219200" cy="1305227"/>
              </a:xfrm>
            </p:grpSpPr>
            <p:sp>
              <p:nvSpPr>
                <p:cNvPr id="90" name="Oval 89"/>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p>
              </p:txBody>
            </p:sp>
            <p:sp>
              <p:nvSpPr>
                <p:cNvPr id="91" name="Oval 90"/>
                <p:cNvSpPr/>
                <p:nvPr/>
              </p:nvSpPr>
              <p:spPr>
                <a:xfrm>
                  <a:off x="-961755" y="2294965"/>
                  <a:ext cx="1048871" cy="1048871"/>
                </a:xfrm>
                <a:prstGeom prst="ellipse">
                  <a:avLst/>
                </a:prstGeom>
                <a:solidFill>
                  <a:srgbClr val="F1C40F"/>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p>
              </p:txBody>
            </p:sp>
            <p:sp>
              <p:nvSpPr>
                <p:cNvPr id="92" name="Oval 91"/>
                <p:cNvSpPr/>
                <p:nvPr/>
              </p:nvSpPr>
              <p:spPr>
                <a:xfrm>
                  <a:off x="-627820" y="2123773"/>
                  <a:ext cx="381000" cy="381000"/>
                </a:xfrm>
                <a:prstGeom prst="ellipse">
                  <a:avLst/>
                </a:prstGeom>
                <a:solidFill>
                  <a:schemeClr val="bg1"/>
                </a:solidFill>
                <a:ln w="38100">
                  <a:solidFill>
                    <a:srgbClr val="F1C4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700" b="1" dirty="0" smtClean="0">
                      <a:solidFill>
                        <a:srgbClr val="7F8C8D"/>
                      </a:solidFill>
                      <a:latin typeface="Calibri Light" panose="020F0302020204030204" pitchFamily="34" charset="0"/>
                    </a:rPr>
                    <a:t>1</a:t>
                  </a:r>
                  <a:endParaRPr lang="id-ID" sz="700" b="1" dirty="0">
                    <a:solidFill>
                      <a:srgbClr val="7F8C8D"/>
                    </a:solidFill>
                    <a:latin typeface="Calibri Light" panose="020F0302020204030204" pitchFamily="34" charset="0"/>
                  </a:endParaRPr>
                </a:p>
              </p:txBody>
            </p:sp>
          </p:grpSp>
          <p:grpSp>
            <p:nvGrpSpPr>
              <p:cNvPr id="93" name="Group 92"/>
              <p:cNvGrpSpPr/>
              <p:nvPr/>
            </p:nvGrpSpPr>
            <p:grpSpPr>
              <a:xfrm>
                <a:off x="3059672" y="3711397"/>
                <a:ext cx="216956" cy="318836"/>
                <a:chOff x="7188200" y="1789113"/>
                <a:chExt cx="469901" cy="690563"/>
              </a:xfrm>
              <a:solidFill>
                <a:schemeClr val="bg1"/>
              </a:solidFill>
            </p:grpSpPr>
            <p:sp>
              <p:nvSpPr>
                <p:cNvPr id="94" name="Freeform 121"/>
                <p:cNvSpPr>
                  <a:spLocks/>
                </p:cNvSpPr>
                <p:nvPr/>
              </p:nvSpPr>
              <p:spPr bwMode="auto">
                <a:xfrm>
                  <a:off x="7243763" y="1925638"/>
                  <a:ext cx="220663" cy="28575"/>
                </a:xfrm>
                <a:custGeom>
                  <a:avLst/>
                  <a:gdLst>
                    <a:gd name="T0" fmla="*/ 391 w 417"/>
                    <a:gd name="T1" fmla="*/ 54 h 54"/>
                    <a:gd name="T2" fmla="*/ 26 w 417"/>
                    <a:gd name="T3" fmla="*/ 54 h 54"/>
                    <a:gd name="T4" fmla="*/ 21 w 417"/>
                    <a:gd name="T5" fmla="*/ 52 h 54"/>
                    <a:gd name="T6" fmla="*/ 15 w 417"/>
                    <a:gd name="T7" fmla="*/ 51 h 54"/>
                    <a:gd name="T8" fmla="*/ 11 w 417"/>
                    <a:gd name="T9" fmla="*/ 49 h 54"/>
                    <a:gd name="T10" fmla="*/ 7 w 417"/>
                    <a:gd name="T11" fmla="*/ 45 h 54"/>
                    <a:gd name="T12" fmla="*/ 4 w 417"/>
                    <a:gd name="T13" fmla="*/ 42 h 54"/>
                    <a:gd name="T14" fmla="*/ 3 w 417"/>
                    <a:gd name="T15" fmla="*/ 38 h 54"/>
                    <a:gd name="T16" fmla="*/ 1 w 417"/>
                    <a:gd name="T17" fmla="*/ 32 h 54"/>
                    <a:gd name="T18" fmla="*/ 0 w 417"/>
                    <a:gd name="T19" fmla="*/ 28 h 54"/>
                    <a:gd name="T20" fmla="*/ 1 w 417"/>
                    <a:gd name="T21" fmla="*/ 22 h 54"/>
                    <a:gd name="T22" fmla="*/ 3 w 417"/>
                    <a:gd name="T23" fmla="*/ 18 h 54"/>
                    <a:gd name="T24" fmla="*/ 4 w 417"/>
                    <a:gd name="T25" fmla="*/ 12 h 54"/>
                    <a:gd name="T26" fmla="*/ 7 w 417"/>
                    <a:gd name="T27" fmla="*/ 9 h 54"/>
                    <a:gd name="T28" fmla="*/ 11 w 417"/>
                    <a:gd name="T29" fmla="*/ 6 h 54"/>
                    <a:gd name="T30" fmla="*/ 15 w 417"/>
                    <a:gd name="T31" fmla="*/ 3 h 54"/>
                    <a:gd name="T32" fmla="*/ 21 w 417"/>
                    <a:gd name="T33" fmla="*/ 2 h 54"/>
                    <a:gd name="T34" fmla="*/ 26 w 417"/>
                    <a:gd name="T35" fmla="*/ 0 h 54"/>
                    <a:gd name="T36" fmla="*/ 391 w 417"/>
                    <a:gd name="T37" fmla="*/ 0 h 54"/>
                    <a:gd name="T38" fmla="*/ 397 w 417"/>
                    <a:gd name="T39" fmla="*/ 2 h 54"/>
                    <a:gd name="T40" fmla="*/ 401 w 417"/>
                    <a:gd name="T41" fmla="*/ 3 h 54"/>
                    <a:gd name="T42" fmla="*/ 406 w 417"/>
                    <a:gd name="T43" fmla="*/ 6 h 54"/>
                    <a:gd name="T44" fmla="*/ 410 w 417"/>
                    <a:gd name="T45" fmla="*/ 9 h 54"/>
                    <a:gd name="T46" fmla="*/ 413 w 417"/>
                    <a:gd name="T47" fmla="*/ 12 h 54"/>
                    <a:gd name="T48" fmla="*/ 416 w 417"/>
                    <a:gd name="T49" fmla="*/ 18 h 54"/>
                    <a:gd name="T50" fmla="*/ 417 w 417"/>
                    <a:gd name="T51" fmla="*/ 22 h 54"/>
                    <a:gd name="T52" fmla="*/ 417 w 417"/>
                    <a:gd name="T53" fmla="*/ 28 h 54"/>
                    <a:gd name="T54" fmla="*/ 417 w 417"/>
                    <a:gd name="T55" fmla="*/ 32 h 54"/>
                    <a:gd name="T56" fmla="*/ 416 w 417"/>
                    <a:gd name="T57" fmla="*/ 38 h 54"/>
                    <a:gd name="T58" fmla="*/ 413 w 417"/>
                    <a:gd name="T59" fmla="*/ 42 h 54"/>
                    <a:gd name="T60" fmla="*/ 410 w 417"/>
                    <a:gd name="T61" fmla="*/ 45 h 54"/>
                    <a:gd name="T62" fmla="*/ 406 w 417"/>
                    <a:gd name="T63" fmla="*/ 49 h 54"/>
                    <a:gd name="T64" fmla="*/ 401 w 417"/>
                    <a:gd name="T65" fmla="*/ 51 h 54"/>
                    <a:gd name="T66" fmla="*/ 397 w 417"/>
                    <a:gd name="T67" fmla="*/ 52 h 54"/>
                    <a:gd name="T68" fmla="*/ 391 w 417"/>
                    <a:gd name="T6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4">
                      <a:moveTo>
                        <a:pt x="391" y="54"/>
                      </a:moveTo>
                      <a:lnTo>
                        <a:pt x="26" y="54"/>
                      </a:lnTo>
                      <a:lnTo>
                        <a:pt x="21" y="52"/>
                      </a:lnTo>
                      <a:lnTo>
                        <a:pt x="15" y="51"/>
                      </a:lnTo>
                      <a:lnTo>
                        <a:pt x="11" y="49"/>
                      </a:lnTo>
                      <a:lnTo>
                        <a:pt x="7" y="45"/>
                      </a:lnTo>
                      <a:lnTo>
                        <a:pt x="4" y="42"/>
                      </a:lnTo>
                      <a:lnTo>
                        <a:pt x="3" y="38"/>
                      </a:lnTo>
                      <a:lnTo>
                        <a:pt x="1" y="32"/>
                      </a:lnTo>
                      <a:lnTo>
                        <a:pt x="0" y="28"/>
                      </a:lnTo>
                      <a:lnTo>
                        <a:pt x="1" y="22"/>
                      </a:lnTo>
                      <a:lnTo>
                        <a:pt x="3" y="18"/>
                      </a:lnTo>
                      <a:lnTo>
                        <a:pt x="4" y="12"/>
                      </a:lnTo>
                      <a:lnTo>
                        <a:pt x="7" y="9"/>
                      </a:lnTo>
                      <a:lnTo>
                        <a:pt x="11" y="6"/>
                      </a:lnTo>
                      <a:lnTo>
                        <a:pt x="15" y="3"/>
                      </a:lnTo>
                      <a:lnTo>
                        <a:pt x="21" y="2"/>
                      </a:lnTo>
                      <a:lnTo>
                        <a:pt x="26" y="0"/>
                      </a:lnTo>
                      <a:lnTo>
                        <a:pt x="391" y="0"/>
                      </a:lnTo>
                      <a:lnTo>
                        <a:pt x="397" y="2"/>
                      </a:lnTo>
                      <a:lnTo>
                        <a:pt x="401" y="3"/>
                      </a:lnTo>
                      <a:lnTo>
                        <a:pt x="406" y="6"/>
                      </a:lnTo>
                      <a:lnTo>
                        <a:pt x="410" y="9"/>
                      </a:lnTo>
                      <a:lnTo>
                        <a:pt x="413" y="12"/>
                      </a:lnTo>
                      <a:lnTo>
                        <a:pt x="416" y="18"/>
                      </a:lnTo>
                      <a:lnTo>
                        <a:pt x="417" y="22"/>
                      </a:lnTo>
                      <a:lnTo>
                        <a:pt x="417" y="28"/>
                      </a:lnTo>
                      <a:lnTo>
                        <a:pt x="417" y="32"/>
                      </a:lnTo>
                      <a:lnTo>
                        <a:pt x="416" y="38"/>
                      </a:lnTo>
                      <a:lnTo>
                        <a:pt x="413" y="42"/>
                      </a:lnTo>
                      <a:lnTo>
                        <a:pt x="410" y="45"/>
                      </a:lnTo>
                      <a:lnTo>
                        <a:pt x="406" y="49"/>
                      </a:lnTo>
                      <a:lnTo>
                        <a:pt x="401" y="51"/>
                      </a:lnTo>
                      <a:lnTo>
                        <a:pt x="397" y="52"/>
                      </a:lnTo>
                      <a:lnTo>
                        <a:pt x="391"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95" name="Freeform 122"/>
                <p:cNvSpPr>
                  <a:spLocks/>
                </p:cNvSpPr>
                <p:nvPr/>
              </p:nvSpPr>
              <p:spPr bwMode="auto">
                <a:xfrm>
                  <a:off x="7243763" y="2038351"/>
                  <a:ext cx="220663" cy="26988"/>
                </a:xfrm>
                <a:custGeom>
                  <a:avLst/>
                  <a:gdLst>
                    <a:gd name="T0" fmla="*/ 391 w 417"/>
                    <a:gd name="T1" fmla="*/ 51 h 51"/>
                    <a:gd name="T2" fmla="*/ 26 w 417"/>
                    <a:gd name="T3" fmla="*/ 51 h 51"/>
                    <a:gd name="T4" fmla="*/ 21 w 417"/>
                    <a:gd name="T5" fmla="*/ 50 h 51"/>
                    <a:gd name="T6" fmla="*/ 15 w 417"/>
                    <a:gd name="T7" fmla="*/ 49 h 51"/>
                    <a:gd name="T8" fmla="*/ 11 w 417"/>
                    <a:gd name="T9" fmla="*/ 47 h 51"/>
                    <a:gd name="T10" fmla="*/ 7 w 417"/>
                    <a:gd name="T11" fmla="*/ 44 h 51"/>
                    <a:gd name="T12" fmla="*/ 4 w 417"/>
                    <a:gd name="T13" fmla="*/ 40 h 51"/>
                    <a:gd name="T14" fmla="*/ 3 w 417"/>
                    <a:gd name="T15" fmla="*/ 36 h 51"/>
                    <a:gd name="T16" fmla="*/ 1 w 417"/>
                    <a:gd name="T17" fmla="*/ 30 h 51"/>
                    <a:gd name="T18" fmla="*/ 0 w 417"/>
                    <a:gd name="T19" fmla="*/ 26 h 51"/>
                    <a:gd name="T20" fmla="*/ 1 w 417"/>
                    <a:gd name="T21" fmla="*/ 20 h 51"/>
                    <a:gd name="T22" fmla="*/ 3 w 417"/>
                    <a:gd name="T23" fmla="*/ 15 h 51"/>
                    <a:gd name="T24" fmla="*/ 4 w 417"/>
                    <a:gd name="T25" fmla="*/ 11 h 51"/>
                    <a:gd name="T26" fmla="*/ 7 w 417"/>
                    <a:gd name="T27" fmla="*/ 7 h 51"/>
                    <a:gd name="T28" fmla="*/ 11 w 417"/>
                    <a:gd name="T29" fmla="*/ 4 h 51"/>
                    <a:gd name="T30" fmla="*/ 15 w 417"/>
                    <a:gd name="T31" fmla="*/ 1 h 51"/>
                    <a:gd name="T32" fmla="*/ 21 w 417"/>
                    <a:gd name="T33" fmla="*/ 0 h 51"/>
                    <a:gd name="T34" fmla="*/ 26 w 417"/>
                    <a:gd name="T35" fmla="*/ 0 h 51"/>
                    <a:gd name="T36" fmla="*/ 391 w 417"/>
                    <a:gd name="T37" fmla="*/ 0 h 51"/>
                    <a:gd name="T38" fmla="*/ 397 w 417"/>
                    <a:gd name="T39" fmla="*/ 0 h 51"/>
                    <a:gd name="T40" fmla="*/ 401 w 417"/>
                    <a:gd name="T41" fmla="*/ 1 h 51"/>
                    <a:gd name="T42" fmla="*/ 406 w 417"/>
                    <a:gd name="T43" fmla="*/ 4 h 51"/>
                    <a:gd name="T44" fmla="*/ 410 w 417"/>
                    <a:gd name="T45" fmla="*/ 7 h 51"/>
                    <a:gd name="T46" fmla="*/ 413 w 417"/>
                    <a:gd name="T47" fmla="*/ 11 h 51"/>
                    <a:gd name="T48" fmla="*/ 416 w 417"/>
                    <a:gd name="T49" fmla="*/ 15 h 51"/>
                    <a:gd name="T50" fmla="*/ 417 w 417"/>
                    <a:gd name="T51" fmla="*/ 20 h 51"/>
                    <a:gd name="T52" fmla="*/ 417 w 417"/>
                    <a:gd name="T53" fmla="*/ 26 h 51"/>
                    <a:gd name="T54" fmla="*/ 417 w 417"/>
                    <a:gd name="T55" fmla="*/ 30 h 51"/>
                    <a:gd name="T56" fmla="*/ 416 w 417"/>
                    <a:gd name="T57" fmla="*/ 36 h 51"/>
                    <a:gd name="T58" fmla="*/ 413 w 417"/>
                    <a:gd name="T59" fmla="*/ 40 h 51"/>
                    <a:gd name="T60" fmla="*/ 410 w 417"/>
                    <a:gd name="T61" fmla="*/ 44 h 51"/>
                    <a:gd name="T62" fmla="*/ 406 w 417"/>
                    <a:gd name="T63" fmla="*/ 47 h 51"/>
                    <a:gd name="T64" fmla="*/ 401 w 417"/>
                    <a:gd name="T65" fmla="*/ 49 h 51"/>
                    <a:gd name="T66" fmla="*/ 397 w 417"/>
                    <a:gd name="T67" fmla="*/ 50 h 51"/>
                    <a:gd name="T68" fmla="*/ 391 w 417"/>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1">
                      <a:moveTo>
                        <a:pt x="391" y="51"/>
                      </a:moveTo>
                      <a:lnTo>
                        <a:pt x="26" y="51"/>
                      </a:lnTo>
                      <a:lnTo>
                        <a:pt x="21" y="50"/>
                      </a:lnTo>
                      <a:lnTo>
                        <a:pt x="15" y="49"/>
                      </a:lnTo>
                      <a:lnTo>
                        <a:pt x="11" y="47"/>
                      </a:lnTo>
                      <a:lnTo>
                        <a:pt x="7" y="44"/>
                      </a:lnTo>
                      <a:lnTo>
                        <a:pt x="4" y="40"/>
                      </a:lnTo>
                      <a:lnTo>
                        <a:pt x="3" y="36"/>
                      </a:lnTo>
                      <a:lnTo>
                        <a:pt x="1" y="30"/>
                      </a:lnTo>
                      <a:lnTo>
                        <a:pt x="0" y="26"/>
                      </a:lnTo>
                      <a:lnTo>
                        <a:pt x="1" y="20"/>
                      </a:lnTo>
                      <a:lnTo>
                        <a:pt x="3" y="15"/>
                      </a:lnTo>
                      <a:lnTo>
                        <a:pt x="4" y="11"/>
                      </a:lnTo>
                      <a:lnTo>
                        <a:pt x="7" y="7"/>
                      </a:lnTo>
                      <a:lnTo>
                        <a:pt x="11" y="4"/>
                      </a:lnTo>
                      <a:lnTo>
                        <a:pt x="15" y="1"/>
                      </a:lnTo>
                      <a:lnTo>
                        <a:pt x="21" y="0"/>
                      </a:lnTo>
                      <a:lnTo>
                        <a:pt x="26" y="0"/>
                      </a:lnTo>
                      <a:lnTo>
                        <a:pt x="391" y="0"/>
                      </a:lnTo>
                      <a:lnTo>
                        <a:pt x="397" y="0"/>
                      </a:lnTo>
                      <a:lnTo>
                        <a:pt x="401" y="1"/>
                      </a:lnTo>
                      <a:lnTo>
                        <a:pt x="406" y="4"/>
                      </a:lnTo>
                      <a:lnTo>
                        <a:pt x="410" y="7"/>
                      </a:lnTo>
                      <a:lnTo>
                        <a:pt x="413" y="11"/>
                      </a:lnTo>
                      <a:lnTo>
                        <a:pt x="416" y="15"/>
                      </a:lnTo>
                      <a:lnTo>
                        <a:pt x="417" y="20"/>
                      </a:lnTo>
                      <a:lnTo>
                        <a:pt x="417" y="26"/>
                      </a:lnTo>
                      <a:lnTo>
                        <a:pt x="417" y="30"/>
                      </a:lnTo>
                      <a:lnTo>
                        <a:pt x="416" y="36"/>
                      </a:lnTo>
                      <a:lnTo>
                        <a:pt x="413" y="40"/>
                      </a:lnTo>
                      <a:lnTo>
                        <a:pt x="410" y="44"/>
                      </a:lnTo>
                      <a:lnTo>
                        <a:pt x="406" y="47"/>
                      </a:lnTo>
                      <a:lnTo>
                        <a:pt x="401" y="49"/>
                      </a:lnTo>
                      <a:lnTo>
                        <a:pt x="397" y="50"/>
                      </a:lnTo>
                      <a:lnTo>
                        <a:pt x="39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96" name="Freeform 123"/>
                <p:cNvSpPr>
                  <a:spLocks/>
                </p:cNvSpPr>
                <p:nvPr/>
              </p:nvSpPr>
              <p:spPr bwMode="auto">
                <a:xfrm>
                  <a:off x="7243763" y="2147888"/>
                  <a:ext cx="220663" cy="26988"/>
                </a:xfrm>
                <a:custGeom>
                  <a:avLst/>
                  <a:gdLst>
                    <a:gd name="T0" fmla="*/ 391 w 417"/>
                    <a:gd name="T1" fmla="*/ 52 h 52"/>
                    <a:gd name="T2" fmla="*/ 26 w 417"/>
                    <a:gd name="T3" fmla="*/ 52 h 52"/>
                    <a:gd name="T4" fmla="*/ 21 w 417"/>
                    <a:gd name="T5" fmla="*/ 52 h 52"/>
                    <a:gd name="T6" fmla="*/ 15 w 417"/>
                    <a:gd name="T7" fmla="*/ 51 h 52"/>
                    <a:gd name="T8" fmla="*/ 11 w 417"/>
                    <a:gd name="T9" fmla="*/ 48 h 52"/>
                    <a:gd name="T10" fmla="*/ 7 w 417"/>
                    <a:gd name="T11" fmla="*/ 45 h 52"/>
                    <a:gd name="T12" fmla="*/ 4 w 417"/>
                    <a:gd name="T13" fmla="*/ 41 h 52"/>
                    <a:gd name="T14" fmla="*/ 3 w 417"/>
                    <a:gd name="T15" fmla="*/ 36 h 52"/>
                    <a:gd name="T16" fmla="*/ 1 w 417"/>
                    <a:gd name="T17" fmla="*/ 31 h 52"/>
                    <a:gd name="T18" fmla="*/ 0 w 417"/>
                    <a:gd name="T19" fmla="*/ 26 h 52"/>
                    <a:gd name="T20" fmla="*/ 1 w 417"/>
                    <a:gd name="T21" fmla="*/ 21 h 52"/>
                    <a:gd name="T22" fmla="*/ 3 w 417"/>
                    <a:gd name="T23" fmla="*/ 16 h 52"/>
                    <a:gd name="T24" fmla="*/ 4 w 417"/>
                    <a:gd name="T25" fmla="*/ 12 h 52"/>
                    <a:gd name="T26" fmla="*/ 7 w 417"/>
                    <a:gd name="T27" fmla="*/ 8 h 52"/>
                    <a:gd name="T28" fmla="*/ 11 w 417"/>
                    <a:gd name="T29" fmla="*/ 5 h 52"/>
                    <a:gd name="T30" fmla="*/ 15 w 417"/>
                    <a:gd name="T31" fmla="*/ 2 h 52"/>
                    <a:gd name="T32" fmla="*/ 21 w 417"/>
                    <a:gd name="T33" fmla="*/ 0 h 52"/>
                    <a:gd name="T34" fmla="*/ 26 w 417"/>
                    <a:gd name="T35" fmla="*/ 0 h 52"/>
                    <a:gd name="T36" fmla="*/ 391 w 417"/>
                    <a:gd name="T37" fmla="*/ 0 h 52"/>
                    <a:gd name="T38" fmla="*/ 397 w 417"/>
                    <a:gd name="T39" fmla="*/ 0 h 52"/>
                    <a:gd name="T40" fmla="*/ 401 w 417"/>
                    <a:gd name="T41" fmla="*/ 2 h 52"/>
                    <a:gd name="T42" fmla="*/ 406 w 417"/>
                    <a:gd name="T43" fmla="*/ 5 h 52"/>
                    <a:gd name="T44" fmla="*/ 410 w 417"/>
                    <a:gd name="T45" fmla="*/ 8 h 52"/>
                    <a:gd name="T46" fmla="*/ 413 w 417"/>
                    <a:gd name="T47" fmla="*/ 12 h 52"/>
                    <a:gd name="T48" fmla="*/ 416 w 417"/>
                    <a:gd name="T49" fmla="*/ 16 h 52"/>
                    <a:gd name="T50" fmla="*/ 417 w 417"/>
                    <a:gd name="T51" fmla="*/ 21 h 52"/>
                    <a:gd name="T52" fmla="*/ 417 w 417"/>
                    <a:gd name="T53" fmla="*/ 26 h 52"/>
                    <a:gd name="T54" fmla="*/ 417 w 417"/>
                    <a:gd name="T55" fmla="*/ 31 h 52"/>
                    <a:gd name="T56" fmla="*/ 416 w 417"/>
                    <a:gd name="T57" fmla="*/ 36 h 52"/>
                    <a:gd name="T58" fmla="*/ 413 w 417"/>
                    <a:gd name="T59" fmla="*/ 41 h 52"/>
                    <a:gd name="T60" fmla="*/ 410 w 417"/>
                    <a:gd name="T61" fmla="*/ 45 h 52"/>
                    <a:gd name="T62" fmla="*/ 406 w 417"/>
                    <a:gd name="T63" fmla="*/ 48 h 52"/>
                    <a:gd name="T64" fmla="*/ 401 w 417"/>
                    <a:gd name="T65" fmla="*/ 51 h 52"/>
                    <a:gd name="T66" fmla="*/ 397 w 417"/>
                    <a:gd name="T67" fmla="*/ 52 h 52"/>
                    <a:gd name="T68" fmla="*/ 391 w 41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2">
                      <a:moveTo>
                        <a:pt x="391" y="52"/>
                      </a:moveTo>
                      <a:lnTo>
                        <a:pt x="26" y="52"/>
                      </a:lnTo>
                      <a:lnTo>
                        <a:pt x="21" y="52"/>
                      </a:lnTo>
                      <a:lnTo>
                        <a:pt x="15" y="51"/>
                      </a:lnTo>
                      <a:lnTo>
                        <a:pt x="11" y="48"/>
                      </a:lnTo>
                      <a:lnTo>
                        <a:pt x="7" y="45"/>
                      </a:lnTo>
                      <a:lnTo>
                        <a:pt x="4" y="41"/>
                      </a:lnTo>
                      <a:lnTo>
                        <a:pt x="3" y="36"/>
                      </a:lnTo>
                      <a:lnTo>
                        <a:pt x="1" y="31"/>
                      </a:lnTo>
                      <a:lnTo>
                        <a:pt x="0" y="26"/>
                      </a:lnTo>
                      <a:lnTo>
                        <a:pt x="1" y="21"/>
                      </a:lnTo>
                      <a:lnTo>
                        <a:pt x="3" y="16"/>
                      </a:lnTo>
                      <a:lnTo>
                        <a:pt x="4" y="12"/>
                      </a:lnTo>
                      <a:lnTo>
                        <a:pt x="7" y="8"/>
                      </a:lnTo>
                      <a:lnTo>
                        <a:pt x="11" y="5"/>
                      </a:lnTo>
                      <a:lnTo>
                        <a:pt x="15" y="2"/>
                      </a:lnTo>
                      <a:lnTo>
                        <a:pt x="21" y="0"/>
                      </a:lnTo>
                      <a:lnTo>
                        <a:pt x="26" y="0"/>
                      </a:lnTo>
                      <a:lnTo>
                        <a:pt x="391" y="0"/>
                      </a:lnTo>
                      <a:lnTo>
                        <a:pt x="397" y="0"/>
                      </a:lnTo>
                      <a:lnTo>
                        <a:pt x="401" y="2"/>
                      </a:lnTo>
                      <a:lnTo>
                        <a:pt x="406" y="5"/>
                      </a:lnTo>
                      <a:lnTo>
                        <a:pt x="410" y="8"/>
                      </a:lnTo>
                      <a:lnTo>
                        <a:pt x="413" y="12"/>
                      </a:lnTo>
                      <a:lnTo>
                        <a:pt x="416" y="16"/>
                      </a:lnTo>
                      <a:lnTo>
                        <a:pt x="417" y="21"/>
                      </a:lnTo>
                      <a:lnTo>
                        <a:pt x="417" y="26"/>
                      </a:lnTo>
                      <a:lnTo>
                        <a:pt x="417" y="31"/>
                      </a:lnTo>
                      <a:lnTo>
                        <a:pt x="416" y="36"/>
                      </a:lnTo>
                      <a:lnTo>
                        <a:pt x="413" y="41"/>
                      </a:lnTo>
                      <a:lnTo>
                        <a:pt x="410" y="45"/>
                      </a:lnTo>
                      <a:lnTo>
                        <a:pt x="406" y="48"/>
                      </a:lnTo>
                      <a:lnTo>
                        <a:pt x="401" y="51"/>
                      </a:lnTo>
                      <a:lnTo>
                        <a:pt x="397" y="52"/>
                      </a:lnTo>
                      <a:lnTo>
                        <a:pt x="39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97" name="Freeform 124"/>
                <p:cNvSpPr>
                  <a:spLocks/>
                </p:cNvSpPr>
                <p:nvPr/>
              </p:nvSpPr>
              <p:spPr bwMode="auto">
                <a:xfrm>
                  <a:off x="7243763" y="2259013"/>
                  <a:ext cx="220663" cy="26988"/>
                </a:xfrm>
                <a:custGeom>
                  <a:avLst/>
                  <a:gdLst>
                    <a:gd name="T0" fmla="*/ 391 w 417"/>
                    <a:gd name="T1" fmla="*/ 52 h 52"/>
                    <a:gd name="T2" fmla="*/ 26 w 417"/>
                    <a:gd name="T3" fmla="*/ 52 h 52"/>
                    <a:gd name="T4" fmla="*/ 21 w 417"/>
                    <a:gd name="T5" fmla="*/ 52 h 52"/>
                    <a:gd name="T6" fmla="*/ 15 w 417"/>
                    <a:gd name="T7" fmla="*/ 51 h 52"/>
                    <a:gd name="T8" fmla="*/ 11 w 417"/>
                    <a:gd name="T9" fmla="*/ 48 h 52"/>
                    <a:gd name="T10" fmla="*/ 7 w 417"/>
                    <a:gd name="T11" fmla="*/ 45 h 52"/>
                    <a:gd name="T12" fmla="*/ 4 w 417"/>
                    <a:gd name="T13" fmla="*/ 41 h 52"/>
                    <a:gd name="T14" fmla="*/ 3 w 417"/>
                    <a:gd name="T15" fmla="*/ 36 h 52"/>
                    <a:gd name="T16" fmla="*/ 1 w 417"/>
                    <a:gd name="T17" fmla="*/ 32 h 52"/>
                    <a:gd name="T18" fmla="*/ 0 w 417"/>
                    <a:gd name="T19" fmla="*/ 26 h 52"/>
                    <a:gd name="T20" fmla="*/ 1 w 417"/>
                    <a:gd name="T21" fmla="*/ 20 h 52"/>
                    <a:gd name="T22" fmla="*/ 3 w 417"/>
                    <a:gd name="T23" fmla="*/ 16 h 52"/>
                    <a:gd name="T24" fmla="*/ 4 w 417"/>
                    <a:gd name="T25" fmla="*/ 12 h 52"/>
                    <a:gd name="T26" fmla="*/ 7 w 417"/>
                    <a:gd name="T27" fmla="*/ 7 h 52"/>
                    <a:gd name="T28" fmla="*/ 11 w 417"/>
                    <a:gd name="T29" fmla="*/ 5 h 52"/>
                    <a:gd name="T30" fmla="*/ 15 w 417"/>
                    <a:gd name="T31" fmla="*/ 2 h 52"/>
                    <a:gd name="T32" fmla="*/ 21 w 417"/>
                    <a:gd name="T33" fmla="*/ 0 h 52"/>
                    <a:gd name="T34" fmla="*/ 26 w 417"/>
                    <a:gd name="T35" fmla="*/ 0 h 52"/>
                    <a:gd name="T36" fmla="*/ 391 w 417"/>
                    <a:gd name="T37" fmla="*/ 0 h 52"/>
                    <a:gd name="T38" fmla="*/ 397 w 417"/>
                    <a:gd name="T39" fmla="*/ 0 h 52"/>
                    <a:gd name="T40" fmla="*/ 401 w 417"/>
                    <a:gd name="T41" fmla="*/ 2 h 52"/>
                    <a:gd name="T42" fmla="*/ 406 w 417"/>
                    <a:gd name="T43" fmla="*/ 5 h 52"/>
                    <a:gd name="T44" fmla="*/ 410 w 417"/>
                    <a:gd name="T45" fmla="*/ 7 h 52"/>
                    <a:gd name="T46" fmla="*/ 413 w 417"/>
                    <a:gd name="T47" fmla="*/ 12 h 52"/>
                    <a:gd name="T48" fmla="*/ 416 w 417"/>
                    <a:gd name="T49" fmla="*/ 16 h 52"/>
                    <a:gd name="T50" fmla="*/ 417 w 417"/>
                    <a:gd name="T51" fmla="*/ 20 h 52"/>
                    <a:gd name="T52" fmla="*/ 417 w 417"/>
                    <a:gd name="T53" fmla="*/ 26 h 52"/>
                    <a:gd name="T54" fmla="*/ 417 w 417"/>
                    <a:gd name="T55" fmla="*/ 32 h 52"/>
                    <a:gd name="T56" fmla="*/ 416 w 417"/>
                    <a:gd name="T57" fmla="*/ 36 h 52"/>
                    <a:gd name="T58" fmla="*/ 413 w 417"/>
                    <a:gd name="T59" fmla="*/ 41 h 52"/>
                    <a:gd name="T60" fmla="*/ 410 w 417"/>
                    <a:gd name="T61" fmla="*/ 45 h 52"/>
                    <a:gd name="T62" fmla="*/ 406 w 417"/>
                    <a:gd name="T63" fmla="*/ 48 h 52"/>
                    <a:gd name="T64" fmla="*/ 401 w 417"/>
                    <a:gd name="T65" fmla="*/ 51 h 52"/>
                    <a:gd name="T66" fmla="*/ 397 w 417"/>
                    <a:gd name="T67" fmla="*/ 52 h 52"/>
                    <a:gd name="T68" fmla="*/ 391 w 41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2">
                      <a:moveTo>
                        <a:pt x="391" y="52"/>
                      </a:moveTo>
                      <a:lnTo>
                        <a:pt x="26" y="52"/>
                      </a:lnTo>
                      <a:lnTo>
                        <a:pt x="21" y="52"/>
                      </a:lnTo>
                      <a:lnTo>
                        <a:pt x="15" y="51"/>
                      </a:lnTo>
                      <a:lnTo>
                        <a:pt x="11" y="48"/>
                      </a:lnTo>
                      <a:lnTo>
                        <a:pt x="7" y="45"/>
                      </a:lnTo>
                      <a:lnTo>
                        <a:pt x="4" y="41"/>
                      </a:lnTo>
                      <a:lnTo>
                        <a:pt x="3" y="36"/>
                      </a:lnTo>
                      <a:lnTo>
                        <a:pt x="1" y="32"/>
                      </a:lnTo>
                      <a:lnTo>
                        <a:pt x="0" y="26"/>
                      </a:lnTo>
                      <a:lnTo>
                        <a:pt x="1" y="20"/>
                      </a:lnTo>
                      <a:lnTo>
                        <a:pt x="3" y="16"/>
                      </a:lnTo>
                      <a:lnTo>
                        <a:pt x="4" y="12"/>
                      </a:lnTo>
                      <a:lnTo>
                        <a:pt x="7" y="7"/>
                      </a:lnTo>
                      <a:lnTo>
                        <a:pt x="11" y="5"/>
                      </a:lnTo>
                      <a:lnTo>
                        <a:pt x="15" y="2"/>
                      </a:lnTo>
                      <a:lnTo>
                        <a:pt x="21" y="0"/>
                      </a:lnTo>
                      <a:lnTo>
                        <a:pt x="26" y="0"/>
                      </a:lnTo>
                      <a:lnTo>
                        <a:pt x="391" y="0"/>
                      </a:lnTo>
                      <a:lnTo>
                        <a:pt x="397" y="0"/>
                      </a:lnTo>
                      <a:lnTo>
                        <a:pt x="401" y="2"/>
                      </a:lnTo>
                      <a:lnTo>
                        <a:pt x="406" y="5"/>
                      </a:lnTo>
                      <a:lnTo>
                        <a:pt x="410" y="7"/>
                      </a:lnTo>
                      <a:lnTo>
                        <a:pt x="413" y="12"/>
                      </a:lnTo>
                      <a:lnTo>
                        <a:pt x="416" y="16"/>
                      </a:lnTo>
                      <a:lnTo>
                        <a:pt x="417" y="20"/>
                      </a:lnTo>
                      <a:lnTo>
                        <a:pt x="417" y="26"/>
                      </a:lnTo>
                      <a:lnTo>
                        <a:pt x="417" y="32"/>
                      </a:lnTo>
                      <a:lnTo>
                        <a:pt x="416" y="36"/>
                      </a:lnTo>
                      <a:lnTo>
                        <a:pt x="413" y="41"/>
                      </a:lnTo>
                      <a:lnTo>
                        <a:pt x="410" y="45"/>
                      </a:lnTo>
                      <a:lnTo>
                        <a:pt x="406" y="48"/>
                      </a:lnTo>
                      <a:lnTo>
                        <a:pt x="401" y="51"/>
                      </a:lnTo>
                      <a:lnTo>
                        <a:pt x="397" y="52"/>
                      </a:lnTo>
                      <a:lnTo>
                        <a:pt x="39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98" name="Freeform 217"/>
                <p:cNvSpPr>
                  <a:spLocks noEditPoints="1"/>
                </p:cNvSpPr>
                <p:nvPr/>
              </p:nvSpPr>
              <p:spPr bwMode="auto">
                <a:xfrm>
                  <a:off x="7188200" y="1789113"/>
                  <a:ext cx="469900" cy="690563"/>
                </a:xfrm>
                <a:custGeom>
                  <a:avLst/>
                  <a:gdLst>
                    <a:gd name="T0" fmla="*/ 52 w 887"/>
                    <a:gd name="T1" fmla="*/ 1254 h 1306"/>
                    <a:gd name="T2" fmla="*/ 642 w 887"/>
                    <a:gd name="T3" fmla="*/ 1254 h 1306"/>
                    <a:gd name="T4" fmla="*/ 835 w 887"/>
                    <a:gd name="T5" fmla="*/ 1060 h 1306"/>
                    <a:gd name="T6" fmla="*/ 835 w 887"/>
                    <a:gd name="T7" fmla="*/ 52 h 1306"/>
                    <a:gd name="T8" fmla="*/ 52 w 887"/>
                    <a:gd name="T9" fmla="*/ 52 h 1306"/>
                    <a:gd name="T10" fmla="*/ 52 w 887"/>
                    <a:gd name="T11" fmla="*/ 1254 h 1306"/>
                    <a:gd name="T12" fmla="*/ 652 w 887"/>
                    <a:gd name="T13" fmla="*/ 1306 h 1306"/>
                    <a:gd name="T14" fmla="*/ 26 w 887"/>
                    <a:gd name="T15" fmla="*/ 1306 h 1306"/>
                    <a:gd name="T16" fmla="*/ 20 w 887"/>
                    <a:gd name="T17" fmla="*/ 1306 h 1306"/>
                    <a:gd name="T18" fmla="*/ 16 w 887"/>
                    <a:gd name="T19" fmla="*/ 1304 h 1306"/>
                    <a:gd name="T20" fmla="*/ 11 w 887"/>
                    <a:gd name="T21" fmla="*/ 1301 h 1306"/>
                    <a:gd name="T22" fmla="*/ 7 w 887"/>
                    <a:gd name="T23" fmla="*/ 1299 h 1306"/>
                    <a:gd name="T24" fmla="*/ 4 w 887"/>
                    <a:gd name="T25" fmla="*/ 1294 h 1306"/>
                    <a:gd name="T26" fmla="*/ 1 w 887"/>
                    <a:gd name="T27" fmla="*/ 1290 h 1306"/>
                    <a:gd name="T28" fmla="*/ 0 w 887"/>
                    <a:gd name="T29" fmla="*/ 1286 h 1306"/>
                    <a:gd name="T30" fmla="*/ 0 w 887"/>
                    <a:gd name="T31" fmla="*/ 1280 h 1306"/>
                    <a:gd name="T32" fmla="*/ 0 w 887"/>
                    <a:gd name="T33" fmla="*/ 26 h 1306"/>
                    <a:gd name="T34" fmla="*/ 0 w 887"/>
                    <a:gd name="T35" fmla="*/ 21 h 1306"/>
                    <a:gd name="T36" fmla="*/ 1 w 887"/>
                    <a:gd name="T37" fmla="*/ 16 h 1306"/>
                    <a:gd name="T38" fmla="*/ 4 w 887"/>
                    <a:gd name="T39" fmla="*/ 11 h 1306"/>
                    <a:gd name="T40" fmla="*/ 7 w 887"/>
                    <a:gd name="T41" fmla="*/ 7 h 1306"/>
                    <a:gd name="T42" fmla="*/ 11 w 887"/>
                    <a:gd name="T43" fmla="*/ 4 h 1306"/>
                    <a:gd name="T44" fmla="*/ 16 w 887"/>
                    <a:gd name="T45" fmla="*/ 1 h 1306"/>
                    <a:gd name="T46" fmla="*/ 20 w 887"/>
                    <a:gd name="T47" fmla="*/ 0 h 1306"/>
                    <a:gd name="T48" fmla="*/ 26 w 887"/>
                    <a:gd name="T49" fmla="*/ 0 h 1306"/>
                    <a:gd name="T50" fmla="*/ 861 w 887"/>
                    <a:gd name="T51" fmla="*/ 0 h 1306"/>
                    <a:gd name="T52" fmla="*/ 867 w 887"/>
                    <a:gd name="T53" fmla="*/ 0 h 1306"/>
                    <a:gd name="T54" fmla="*/ 871 w 887"/>
                    <a:gd name="T55" fmla="*/ 1 h 1306"/>
                    <a:gd name="T56" fmla="*/ 875 w 887"/>
                    <a:gd name="T57" fmla="*/ 4 h 1306"/>
                    <a:gd name="T58" fmla="*/ 880 w 887"/>
                    <a:gd name="T59" fmla="*/ 7 h 1306"/>
                    <a:gd name="T60" fmla="*/ 883 w 887"/>
                    <a:gd name="T61" fmla="*/ 11 h 1306"/>
                    <a:gd name="T62" fmla="*/ 886 w 887"/>
                    <a:gd name="T63" fmla="*/ 16 h 1306"/>
                    <a:gd name="T64" fmla="*/ 887 w 887"/>
                    <a:gd name="T65" fmla="*/ 21 h 1306"/>
                    <a:gd name="T66" fmla="*/ 887 w 887"/>
                    <a:gd name="T67" fmla="*/ 26 h 1306"/>
                    <a:gd name="T68" fmla="*/ 887 w 887"/>
                    <a:gd name="T69" fmla="*/ 1071 h 1306"/>
                    <a:gd name="T70" fmla="*/ 887 w 887"/>
                    <a:gd name="T71" fmla="*/ 1075 h 1306"/>
                    <a:gd name="T72" fmla="*/ 886 w 887"/>
                    <a:gd name="T73" fmla="*/ 1081 h 1306"/>
                    <a:gd name="T74" fmla="*/ 883 w 887"/>
                    <a:gd name="T75" fmla="*/ 1085 h 1306"/>
                    <a:gd name="T76" fmla="*/ 880 w 887"/>
                    <a:gd name="T77" fmla="*/ 1090 h 1306"/>
                    <a:gd name="T78" fmla="*/ 671 w 887"/>
                    <a:gd name="T79" fmla="*/ 1299 h 1306"/>
                    <a:gd name="T80" fmla="*/ 667 w 887"/>
                    <a:gd name="T81" fmla="*/ 1301 h 1306"/>
                    <a:gd name="T82" fmla="*/ 662 w 887"/>
                    <a:gd name="T83" fmla="*/ 1304 h 1306"/>
                    <a:gd name="T84" fmla="*/ 658 w 887"/>
                    <a:gd name="T85" fmla="*/ 1306 h 1306"/>
                    <a:gd name="T86" fmla="*/ 652 w 887"/>
                    <a:gd name="T87" fmla="*/ 1306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7" h="1306">
                      <a:moveTo>
                        <a:pt x="52" y="1254"/>
                      </a:moveTo>
                      <a:lnTo>
                        <a:pt x="642" y="1254"/>
                      </a:lnTo>
                      <a:lnTo>
                        <a:pt x="835" y="1060"/>
                      </a:lnTo>
                      <a:lnTo>
                        <a:pt x="835" y="52"/>
                      </a:lnTo>
                      <a:lnTo>
                        <a:pt x="52" y="52"/>
                      </a:lnTo>
                      <a:lnTo>
                        <a:pt x="52" y="1254"/>
                      </a:lnTo>
                      <a:close/>
                      <a:moveTo>
                        <a:pt x="652" y="1306"/>
                      </a:moveTo>
                      <a:lnTo>
                        <a:pt x="26" y="1306"/>
                      </a:lnTo>
                      <a:lnTo>
                        <a:pt x="20" y="1306"/>
                      </a:lnTo>
                      <a:lnTo>
                        <a:pt x="16" y="1304"/>
                      </a:lnTo>
                      <a:lnTo>
                        <a:pt x="11" y="1301"/>
                      </a:lnTo>
                      <a:lnTo>
                        <a:pt x="7" y="1299"/>
                      </a:lnTo>
                      <a:lnTo>
                        <a:pt x="4" y="1294"/>
                      </a:lnTo>
                      <a:lnTo>
                        <a:pt x="1" y="1290"/>
                      </a:lnTo>
                      <a:lnTo>
                        <a:pt x="0" y="1286"/>
                      </a:lnTo>
                      <a:lnTo>
                        <a:pt x="0" y="1280"/>
                      </a:lnTo>
                      <a:lnTo>
                        <a:pt x="0" y="26"/>
                      </a:lnTo>
                      <a:lnTo>
                        <a:pt x="0" y="21"/>
                      </a:lnTo>
                      <a:lnTo>
                        <a:pt x="1" y="16"/>
                      </a:lnTo>
                      <a:lnTo>
                        <a:pt x="4" y="11"/>
                      </a:lnTo>
                      <a:lnTo>
                        <a:pt x="7" y="7"/>
                      </a:lnTo>
                      <a:lnTo>
                        <a:pt x="11" y="4"/>
                      </a:lnTo>
                      <a:lnTo>
                        <a:pt x="16" y="1"/>
                      </a:lnTo>
                      <a:lnTo>
                        <a:pt x="20" y="0"/>
                      </a:lnTo>
                      <a:lnTo>
                        <a:pt x="26" y="0"/>
                      </a:lnTo>
                      <a:lnTo>
                        <a:pt x="861" y="0"/>
                      </a:lnTo>
                      <a:lnTo>
                        <a:pt x="867" y="0"/>
                      </a:lnTo>
                      <a:lnTo>
                        <a:pt x="871" y="1"/>
                      </a:lnTo>
                      <a:lnTo>
                        <a:pt x="875" y="4"/>
                      </a:lnTo>
                      <a:lnTo>
                        <a:pt x="880" y="7"/>
                      </a:lnTo>
                      <a:lnTo>
                        <a:pt x="883" y="11"/>
                      </a:lnTo>
                      <a:lnTo>
                        <a:pt x="886" y="16"/>
                      </a:lnTo>
                      <a:lnTo>
                        <a:pt x="887" y="21"/>
                      </a:lnTo>
                      <a:lnTo>
                        <a:pt x="887" y="26"/>
                      </a:lnTo>
                      <a:lnTo>
                        <a:pt x="887" y="1071"/>
                      </a:lnTo>
                      <a:lnTo>
                        <a:pt x="887" y="1075"/>
                      </a:lnTo>
                      <a:lnTo>
                        <a:pt x="886" y="1081"/>
                      </a:lnTo>
                      <a:lnTo>
                        <a:pt x="883" y="1085"/>
                      </a:lnTo>
                      <a:lnTo>
                        <a:pt x="880" y="1090"/>
                      </a:lnTo>
                      <a:lnTo>
                        <a:pt x="671" y="1299"/>
                      </a:lnTo>
                      <a:lnTo>
                        <a:pt x="667" y="1301"/>
                      </a:lnTo>
                      <a:lnTo>
                        <a:pt x="662" y="1304"/>
                      </a:lnTo>
                      <a:lnTo>
                        <a:pt x="658" y="1306"/>
                      </a:lnTo>
                      <a:lnTo>
                        <a:pt x="652" y="1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99" name="Freeform 220"/>
                <p:cNvSpPr>
                  <a:spLocks/>
                </p:cNvSpPr>
                <p:nvPr/>
              </p:nvSpPr>
              <p:spPr bwMode="auto">
                <a:xfrm>
                  <a:off x="7519988" y="2341563"/>
                  <a:ext cx="138113" cy="138113"/>
                </a:xfrm>
                <a:custGeom>
                  <a:avLst/>
                  <a:gdLst>
                    <a:gd name="T0" fmla="*/ 26 w 261"/>
                    <a:gd name="T1" fmla="*/ 261 h 261"/>
                    <a:gd name="T2" fmla="*/ 21 w 261"/>
                    <a:gd name="T3" fmla="*/ 261 h 261"/>
                    <a:gd name="T4" fmla="*/ 16 w 261"/>
                    <a:gd name="T5" fmla="*/ 259 h 261"/>
                    <a:gd name="T6" fmla="*/ 12 w 261"/>
                    <a:gd name="T7" fmla="*/ 256 h 261"/>
                    <a:gd name="T8" fmla="*/ 8 w 261"/>
                    <a:gd name="T9" fmla="*/ 254 h 261"/>
                    <a:gd name="T10" fmla="*/ 5 w 261"/>
                    <a:gd name="T11" fmla="*/ 249 h 261"/>
                    <a:gd name="T12" fmla="*/ 2 w 261"/>
                    <a:gd name="T13" fmla="*/ 245 h 261"/>
                    <a:gd name="T14" fmla="*/ 0 w 261"/>
                    <a:gd name="T15" fmla="*/ 241 h 261"/>
                    <a:gd name="T16" fmla="*/ 0 w 261"/>
                    <a:gd name="T17" fmla="*/ 235 h 261"/>
                    <a:gd name="T18" fmla="*/ 0 w 261"/>
                    <a:gd name="T19" fmla="*/ 26 h 261"/>
                    <a:gd name="T20" fmla="*/ 0 w 261"/>
                    <a:gd name="T21" fmla="*/ 20 h 261"/>
                    <a:gd name="T22" fmla="*/ 2 w 261"/>
                    <a:gd name="T23" fmla="*/ 16 h 261"/>
                    <a:gd name="T24" fmla="*/ 5 w 261"/>
                    <a:gd name="T25" fmla="*/ 12 h 261"/>
                    <a:gd name="T26" fmla="*/ 8 w 261"/>
                    <a:gd name="T27" fmla="*/ 7 h 261"/>
                    <a:gd name="T28" fmla="*/ 12 w 261"/>
                    <a:gd name="T29" fmla="*/ 4 h 261"/>
                    <a:gd name="T30" fmla="*/ 16 w 261"/>
                    <a:gd name="T31" fmla="*/ 2 h 261"/>
                    <a:gd name="T32" fmla="*/ 21 w 261"/>
                    <a:gd name="T33" fmla="*/ 0 h 261"/>
                    <a:gd name="T34" fmla="*/ 26 w 261"/>
                    <a:gd name="T35" fmla="*/ 0 h 261"/>
                    <a:gd name="T36" fmla="*/ 235 w 261"/>
                    <a:gd name="T37" fmla="*/ 0 h 261"/>
                    <a:gd name="T38" fmla="*/ 241 w 261"/>
                    <a:gd name="T39" fmla="*/ 0 h 261"/>
                    <a:gd name="T40" fmla="*/ 245 w 261"/>
                    <a:gd name="T41" fmla="*/ 2 h 261"/>
                    <a:gd name="T42" fmla="*/ 249 w 261"/>
                    <a:gd name="T43" fmla="*/ 4 h 261"/>
                    <a:gd name="T44" fmla="*/ 254 w 261"/>
                    <a:gd name="T45" fmla="*/ 7 h 261"/>
                    <a:gd name="T46" fmla="*/ 257 w 261"/>
                    <a:gd name="T47" fmla="*/ 12 h 261"/>
                    <a:gd name="T48" fmla="*/ 260 w 261"/>
                    <a:gd name="T49" fmla="*/ 16 h 261"/>
                    <a:gd name="T50" fmla="*/ 261 w 261"/>
                    <a:gd name="T51" fmla="*/ 20 h 261"/>
                    <a:gd name="T52" fmla="*/ 261 w 261"/>
                    <a:gd name="T53" fmla="*/ 26 h 261"/>
                    <a:gd name="T54" fmla="*/ 261 w 261"/>
                    <a:gd name="T55" fmla="*/ 30 h 261"/>
                    <a:gd name="T56" fmla="*/ 260 w 261"/>
                    <a:gd name="T57" fmla="*/ 36 h 261"/>
                    <a:gd name="T58" fmla="*/ 257 w 261"/>
                    <a:gd name="T59" fmla="*/ 40 h 261"/>
                    <a:gd name="T60" fmla="*/ 254 w 261"/>
                    <a:gd name="T61" fmla="*/ 45 h 261"/>
                    <a:gd name="T62" fmla="*/ 249 w 261"/>
                    <a:gd name="T63" fmla="*/ 48 h 261"/>
                    <a:gd name="T64" fmla="*/ 245 w 261"/>
                    <a:gd name="T65" fmla="*/ 51 h 261"/>
                    <a:gd name="T66" fmla="*/ 241 w 261"/>
                    <a:gd name="T67" fmla="*/ 52 h 261"/>
                    <a:gd name="T68" fmla="*/ 235 w 261"/>
                    <a:gd name="T69" fmla="*/ 52 h 261"/>
                    <a:gd name="T70" fmla="*/ 52 w 261"/>
                    <a:gd name="T71" fmla="*/ 52 h 261"/>
                    <a:gd name="T72" fmla="*/ 52 w 261"/>
                    <a:gd name="T73" fmla="*/ 235 h 261"/>
                    <a:gd name="T74" fmla="*/ 52 w 261"/>
                    <a:gd name="T75" fmla="*/ 241 h 261"/>
                    <a:gd name="T76" fmla="*/ 51 w 261"/>
                    <a:gd name="T77" fmla="*/ 245 h 261"/>
                    <a:gd name="T78" fmla="*/ 48 w 261"/>
                    <a:gd name="T79" fmla="*/ 249 h 261"/>
                    <a:gd name="T80" fmla="*/ 45 w 261"/>
                    <a:gd name="T81" fmla="*/ 254 h 261"/>
                    <a:gd name="T82" fmla="*/ 41 w 261"/>
                    <a:gd name="T83" fmla="*/ 256 h 261"/>
                    <a:gd name="T84" fmla="*/ 36 w 261"/>
                    <a:gd name="T85" fmla="*/ 259 h 261"/>
                    <a:gd name="T86" fmla="*/ 32 w 261"/>
                    <a:gd name="T87" fmla="*/ 261 h 261"/>
                    <a:gd name="T88" fmla="*/ 26 w 261"/>
                    <a:gd name="T8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261">
                      <a:moveTo>
                        <a:pt x="26" y="261"/>
                      </a:moveTo>
                      <a:lnTo>
                        <a:pt x="21" y="261"/>
                      </a:lnTo>
                      <a:lnTo>
                        <a:pt x="16" y="259"/>
                      </a:lnTo>
                      <a:lnTo>
                        <a:pt x="12" y="256"/>
                      </a:lnTo>
                      <a:lnTo>
                        <a:pt x="8" y="254"/>
                      </a:lnTo>
                      <a:lnTo>
                        <a:pt x="5" y="249"/>
                      </a:lnTo>
                      <a:lnTo>
                        <a:pt x="2" y="245"/>
                      </a:lnTo>
                      <a:lnTo>
                        <a:pt x="0" y="241"/>
                      </a:lnTo>
                      <a:lnTo>
                        <a:pt x="0" y="235"/>
                      </a:lnTo>
                      <a:lnTo>
                        <a:pt x="0" y="26"/>
                      </a:lnTo>
                      <a:lnTo>
                        <a:pt x="0" y="20"/>
                      </a:lnTo>
                      <a:lnTo>
                        <a:pt x="2" y="16"/>
                      </a:lnTo>
                      <a:lnTo>
                        <a:pt x="5" y="12"/>
                      </a:lnTo>
                      <a:lnTo>
                        <a:pt x="8" y="7"/>
                      </a:lnTo>
                      <a:lnTo>
                        <a:pt x="12" y="4"/>
                      </a:lnTo>
                      <a:lnTo>
                        <a:pt x="16" y="2"/>
                      </a:lnTo>
                      <a:lnTo>
                        <a:pt x="21" y="0"/>
                      </a:lnTo>
                      <a:lnTo>
                        <a:pt x="26" y="0"/>
                      </a:lnTo>
                      <a:lnTo>
                        <a:pt x="235" y="0"/>
                      </a:lnTo>
                      <a:lnTo>
                        <a:pt x="241" y="0"/>
                      </a:lnTo>
                      <a:lnTo>
                        <a:pt x="245" y="2"/>
                      </a:lnTo>
                      <a:lnTo>
                        <a:pt x="249" y="4"/>
                      </a:lnTo>
                      <a:lnTo>
                        <a:pt x="254" y="7"/>
                      </a:lnTo>
                      <a:lnTo>
                        <a:pt x="257" y="12"/>
                      </a:lnTo>
                      <a:lnTo>
                        <a:pt x="260" y="16"/>
                      </a:lnTo>
                      <a:lnTo>
                        <a:pt x="261" y="20"/>
                      </a:lnTo>
                      <a:lnTo>
                        <a:pt x="261" y="26"/>
                      </a:lnTo>
                      <a:lnTo>
                        <a:pt x="261" y="30"/>
                      </a:lnTo>
                      <a:lnTo>
                        <a:pt x="260" y="36"/>
                      </a:lnTo>
                      <a:lnTo>
                        <a:pt x="257" y="40"/>
                      </a:lnTo>
                      <a:lnTo>
                        <a:pt x="254" y="45"/>
                      </a:lnTo>
                      <a:lnTo>
                        <a:pt x="249" y="48"/>
                      </a:lnTo>
                      <a:lnTo>
                        <a:pt x="245" y="51"/>
                      </a:lnTo>
                      <a:lnTo>
                        <a:pt x="241" y="52"/>
                      </a:lnTo>
                      <a:lnTo>
                        <a:pt x="235" y="52"/>
                      </a:lnTo>
                      <a:lnTo>
                        <a:pt x="52" y="52"/>
                      </a:lnTo>
                      <a:lnTo>
                        <a:pt x="52" y="235"/>
                      </a:lnTo>
                      <a:lnTo>
                        <a:pt x="52" y="241"/>
                      </a:lnTo>
                      <a:lnTo>
                        <a:pt x="51" y="245"/>
                      </a:lnTo>
                      <a:lnTo>
                        <a:pt x="48" y="249"/>
                      </a:lnTo>
                      <a:lnTo>
                        <a:pt x="45" y="254"/>
                      </a:lnTo>
                      <a:lnTo>
                        <a:pt x="41" y="256"/>
                      </a:lnTo>
                      <a:lnTo>
                        <a:pt x="36" y="259"/>
                      </a:lnTo>
                      <a:lnTo>
                        <a:pt x="32" y="261"/>
                      </a:lnTo>
                      <a:lnTo>
                        <a:pt x="26"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00" name="Freeform 223"/>
                <p:cNvSpPr>
                  <a:spLocks/>
                </p:cNvSpPr>
                <p:nvPr/>
              </p:nvSpPr>
              <p:spPr bwMode="auto">
                <a:xfrm>
                  <a:off x="7493000" y="1898651"/>
                  <a:ext cx="109538" cy="84138"/>
                </a:xfrm>
                <a:custGeom>
                  <a:avLst/>
                  <a:gdLst>
                    <a:gd name="T0" fmla="*/ 77 w 208"/>
                    <a:gd name="T1" fmla="*/ 157 h 157"/>
                    <a:gd name="T2" fmla="*/ 73 w 208"/>
                    <a:gd name="T3" fmla="*/ 157 h 157"/>
                    <a:gd name="T4" fmla="*/ 67 w 208"/>
                    <a:gd name="T5" fmla="*/ 155 h 157"/>
                    <a:gd name="T6" fmla="*/ 63 w 208"/>
                    <a:gd name="T7" fmla="*/ 152 h 157"/>
                    <a:gd name="T8" fmla="*/ 59 w 208"/>
                    <a:gd name="T9" fmla="*/ 149 h 157"/>
                    <a:gd name="T10" fmla="*/ 7 w 208"/>
                    <a:gd name="T11" fmla="*/ 96 h 157"/>
                    <a:gd name="T12" fmla="*/ 4 w 208"/>
                    <a:gd name="T13" fmla="*/ 93 h 157"/>
                    <a:gd name="T14" fmla="*/ 1 w 208"/>
                    <a:gd name="T15" fmla="*/ 87 h 157"/>
                    <a:gd name="T16" fmla="*/ 0 w 208"/>
                    <a:gd name="T17" fmla="*/ 83 h 157"/>
                    <a:gd name="T18" fmla="*/ 0 w 208"/>
                    <a:gd name="T19" fmla="*/ 79 h 157"/>
                    <a:gd name="T20" fmla="*/ 0 w 208"/>
                    <a:gd name="T21" fmla="*/ 73 h 157"/>
                    <a:gd name="T22" fmla="*/ 1 w 208"/>
                    <a:gd name="T23" fmla="*/ 69 h 157"/>
                    <a:gd name="T24" fmla="*/ 4 w 208"/>
                    <a:gd name="T25" fmla="*/ 64 h 157"/>
                    <a:gd name="T26" fmla="*/ 7 w 208"/>
                    <a:gd name="T27" fmla="*/ 60 h 157"/>
                    <a:gd name="T28" fmla="*/ 11 w 208"/>
                    <a:gd name="T29" fmla="*/ 56 h 157"/>
                    <a:gd name="T30" fmla="*/ 15 w 208"/>
                    <a:gd name="T31" fmla="*/ 54 h 157"/>
                    <a:gd name="T32" fmla="*/ 20 w 208"/>
                    <a:gd name="T33" fmla="*/ 53 h 157"/>
                    <a:gd name="T34" fmla="*/ 25 w 208"/>
                    <a:gd name="T35" fmla="*/ 51 h 157"/>
                    <a:gd name="T36" fmla="*/ 30 w 208"/>
                    <a:gd name="T37" fmla="*/ 53 h 157"/>
                    <a:gd name="T38" fmla="*/ 36 w 208"/>
                    <a:gd name="T39" fmla="*/ 54 h 157"/>
                    <a:gd name="T40" fmla="*/ 40 w 208"/>
                    <a:gd name="T41" fmla="*/ 56 h 157"/>
                    <a:gd name="T42" fmla="*/ 44 w 208"/>
                    <a:gd name="T43" fmla="*/ 60 h 157"/>
                    <a:gd name="T44" fmla="*/ 77 w 208"/>
                    <a:gd name="T45" fmla="*/ 93 h 157"/>
                    <a:gd name="T46" fmla="*/ 164 w 208"/>
                    <a:gd name="T47" fmla="*/ 7 h 157"/>
                    <a:gd name="T48" fmla="*/ 168 w 208"/>
                    <a:gd name="T49" fmla="*/ 4 h 157"/>
                    <a:gd name="T50" fmla="*/ 172 w 208"/>
                    <a:gd name="T51" fmla="*/ 2 h 157"/>
                    <a:gd name="T52" fmla="*/ 177 w 208"/>
                    <a:gd name="T53" fmla="*/ 1 h 157"/>
                    <a:gd name="T54" fmla="*/ 182 w 208"/>
                    <a:gd name="T55" fmla="*/ 0 h 157"/>
                    <a:gd name="T56" fmla="*/ 187 w 208"/>
                    <a:gd name="T57" fmla="*/ 1 h 157"/>
                    <a:gd name="T58" fmla="*/ 191 w 208"/>
                    <a:gd name="T59" fmla="*/ 2 h 157"/>
                    <a:gd name="T60" fmla="*/ 197 w 208"/>
                    <a:gd name="T61" fmla="*/ 4 h 157"/>
                    <a:gd name="T62" fmla="*/ 200 w 208"/>
                    <a:gd name="T63" fmla="*/ 7 h 157"/>
                    <a:gd name="T64" fmla="*/ 204 w 208"/>
                    <a:gd name="T65" fmla="*/ 11 h 157"/>
                    <a:gd name="T66" fmla="*/ 205 w 208"/>
                    <a:gd name="T67" fmla="*/ 15 h 157"/>
                    <a:gd name="T68" fmla="*/ 207 w 208"/>
                    <a:gd name="T69" fmla="*/ 21 h 157"/>
                    <a:gd name="T70" fmla="*/ 208 w 208"/>
                    <a:gd name="T71" fmla="*/ 25 h 157"/>
                    <a:gd name="T72" fmla="*/ 207 w 208"/>
                    <a:gd name="T73" fmla="*/ 31 h 157"/>
                    <a:gd name="T74" fmla="*/ 205 w 208"/>
                    <a:gd name="T75" fmla="*/ 36 h 157"/>
                    <a:gd name="T76" fmla="*/ 204 w 208"/>
                    <a:gd name="T77" fmla="*/ 40 h 157"/>
                    <a:gd name="T78" fmla="*/ 200 w 208"/>
                    <a:gd name="T79" fmla="*/ 44 h 157"/>
                    <a:gd name="T80" fmla="*/ 96 w 208"/>
                    <a:gd name="T81" fmla="*/ 149 h 157"/>
                    <a:gd name="T82" fmla="*/ 92 w 208"/>
                    <a:gd name="T83" fmla="*/ 152 h 157"/>
                    <a:gd name="T84" fmla="*/ 87 w 208"/>
                    <a:gd name="T85" fmla="*/ 155 h 157"/>
                    <a:gd name="T86" fmla="*/ 83 w 208"/>
                    <a:gd name="T87" fmla="*/ 157 h 157"/>
                    <a:gd name="T88" fmla="*/ 77 w 208"/>
                    <a:gd name="T8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7">
                      <a:moveTo>
                        <a:pt x="77" y="157"/>
                      </a:moveTo>
                      <a:lnTo>
                        <a:pt x="73" y="157"/>
                      </a:lnTo>
                      <a:lnTo>
                        <a:pt x="67" y="155"/>
                      </a:lnTo>
                      <a:lnTo>
                        <a:pt x="63" y="152"/>
                      </a:lnTo>
                      <a:lnTo>
                        <a:pt x="59" y="149"/>
                      </a:lnTo>
                      <a:lnTo>
                        <a:pt x="7" y="96"/>
                      </a:lnTo>
                      <a:lnTo>
                        <a:pt x="4" y="93"/>
                      </a:lnTo>
                      <a:lnTo>
                        <a:pt x="1" y="87"/>
                      </a:lnTo>
                      <a:lnTo>
                        <a:pt x="0" y="83"/>
                      </a:lnTo>
                      <a:lnTo>
                        <a:pt x="0" y="79"/>
                      </a:lnTo>
                      <a:lnTo>
                        <a:pt x="0" y="73"/>
                      </a:lnTo>
                      <a:lnTo>
                        <a:pt x="1" y="69"/>
                      </a:lnTo>
                      <a:lnTo>
                        <a:pt x="4" y="64"/>
                      </a:lnTo>
                      <a:lnTo>
                        <a:pt x="7" y="60"/>
                      </a:lnTo>
                      <a:lnTo>
                        <a:pt x="11" y="56"/>
                      </a:lnTo>
                      <a:lnTo>
                        <a:pt x="15" y="54"/>
                      </a:lnTo>
                      <a:lnTo>
                        <a:pt x="20" y="53"/>
                      </a:lnTo>
                      <a:lnTo>
                        <a:pt x="25" y="51"/>
                      </a:lnTo>
                      <a:lnTo>
                        <a:pt x="30" y="53"/>
                      </a:lnTo>
                      <a:lnTo>
                        <a:pt x="36" y="54"/>
                      </a:lnTo>
                      <a:lnTo>
                        <a:pt x="40" y="56"/>
                      </a:lnTo>
                      <a:lnTo>
                        <a:pt x="44" y="60"/>
                      </a:lnTo>
                      <a:lnTo>
                        <a:pt x="77" y="93"/>
                      </a:lnTo>
                      <a:lnTo>
                        <a:pt x="164" y="7"/>
                      </a:lnTo>
                      <a:lnTo>
                        <a:pt x="168" y="4"/>
                      </a:lnTo>
                      <a:lnTo>
                        <a:pt x="172" y="2"/>
                      </a:lnTo>
                      <a:lnTo>
                        <a:pt x="177" y="1"/>
                      </a:lnTo>
                      <a:lnTo>
                        <a:pt x="182" y="0"/>
                      </a:lnTo>
                      <a:lnTo>
                        <a:pt x="187" y="1"/>
                      </a:lnTo>
                      <a:lnTo>
                        <a:pt x="191" y="2"/>
                      </a:lnTo>
                      <a:lnTo>
                        <a:pt x="197" y="4"/>
                      </a:lnTo>
                      <a:lnTo>
                        <a:pt x="200" y="7"/>
                      </a:lnTo>
                      <a:lnTo>
                        <a:pt x="204" y="11"/>
                      </a:lnTo>
                      <a:lnTo>
                        <a:pt x="205" y="15"/>
                      </a:lnTo>
                      <a:lnTo>
                        <a:pt x="207" y="21"/>
                      </a:lnTo>
                      <a:lnTo>
                        <a:pt x="208" y="25"/>
                      </a:lnTo>
                      <a:lnTo>
                        <a:pt x="207" y="31"/>
                      </a:lnTo>
                      <a:lnTo>
                        <a:pt x="205" y="36"/>
                      </a:lnTo>
                      <a:lnTo>
                        <a:pt x="204" y="40"/>
                      </a:lnTo>
                      <a:lnTo>
                        <a:pt x="200" y="44"/>
                      </a:lnTo>
                      <a:lnTo>
                        <a:pt x="96" y="149"/>
                      </a:lnTo>
                      <a:lnTo>
                        <a:pt x="92" y="152"/>
                      </a:lnTo>
                      <a:lnTo>
                        <a:pt x="87" y="155"/>
                      </a:lnTo>
                      <a:lnTo>
                        <a:pt x="83" y="157"/>
                      </a:lnTo>
                      <a:lnTo>
                        <a:pt x="7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01" name="Freeform 224"/>
                <p:cNvSpPr>
                  <a:spLocks/>
                </p:cNvSpPr>
                <p:nvPr/>
              </p:nvSpPr>
              <p:spPr bwMode="auto">
                <a:xfrm>
                  <a:off x="7493000" y="2009776"/>
                  <a:ext cx="109538" cy="82550"/>
                </a:xfrm>
                <a:custGeom>
                  <a:avLst/>
                  <a:gdLst>
                    <a:gd name="T0" fmla="*/ 77 w 208"/>
                    <a:gd name="T1" fmla="*/ 157 h 157"/>
                    <a:gd name="T2" fmla="*/ 73 w 208"/>
                    <a:gd name="T3" fmla="*/ 157 h 157"/>
                    <a:gd name="T4" fmla="*/ 67 w 208"/>
                    <a:gd name="T5" fmla="*/ 156 h 157"/>
                    <a:gd name="T6" fmla="*/ 63 w 208"/>
                    <a:gd name="T7" fmla="*/ 153 h 157"/>
                    <a:gd name="T8" fmla="*/ 59 w 208"/>
                    <a:gd name="T9" fmla="*/ 150 h 157"/>
                    <a:gd name="T10" fmla="*/ 7 w 208"/>
                    <a:gd name="T11" fmla="*/ 98 h 157"/>
                    <a:gd name="T12" fmla="*/ 4 w 208"/>
                    <a:gd name="T13" fmla="*/ 94 h 157"/>
                    <a:gd name="T14" fmla="*/ 1 w 208"/>
                    <a:gd name="T15" fmla="*/ 90 h 157"/>
                    <a:gd name="T16" fmla="*/ 0 w 208"/>
                    <a:gd name="T17" fmla="*/ 84 h 157"/>
                    <a:gd name="T18" fmla="*/ 0 w 208"/>
                    <a:gd name="T19" fmla="*/ 80 h 157"/>
                    <a:gd name="T20" fmla="*/ 0 w 208"/>
                    <a:gd name="T21" fmla="*/ 74 h 157"/>
                    <a:gd name="T22" fmla="*/ 1 w 208"/>
                    <a:gd name="T23" fmla="*/ 69 h 157"/>
                    <a:gd name="T24" fmla="*/ 4 w 208"/>
                    <a:gd name="T25" fmla="*/ 65 h 157"/>
                    <a:gd name="T26" fmla="*/ 7 w 208"/>
                    <a:gd name="T27" fmla="*/ 61 h 157"/>
                    <a:gd name="T28" fmla="*/ 11 w 208"/>
                    <a:gd name="T29" fmla="*/ 58 h 157"/>
                    <a:gd name="T30" fmla="*/ 15 w 208"/>
                    <a:gd name="T31" fmla="*/ 55 h 157"/>
                    <a:gd name="T32" fmla="*/ 20 w 208"/>
                    <a:gd name="T33" fmla="*/ 54 h 157"/>
                    <a:gd name="T34" fmla="*/ 25 w 208"/>
                    <a:gd name="T35" fmla="*/ 54 h 157"/>
                    <a:gd name="T36" fmla="*/ 30 w 208"/>
                    <a:gd name="T37" fmla="*/ 54 h 157"/>
                    <a:gd name="T38" fmla="*/ 36 w 208"/>
                    <a:gd name="T39" fmla="*/ 55 h 157"/>
                    <a:gd name="T40" fmla="*/ 40 w 208"/>
                    <a:gd name="T41" fmla="*/ 58 h 157"/>
                    <a:gd name="T42" fmla="*/ 44 w 208"/>
                    <a:gd name="T43" fmla="*/ 61 h 157"/>
                    <a:gd name="T44" fmla="*/ 77 w 208"/>
                    <a:gd name="T45" fmla="*/ 94 h 157"/>
                    <a:gd name="T46" fmla="*/ 164 w 208"/>
                    <a:gd name="T47" fmla="*/ 9 h 157"/>
                    <a:gd name="T48" fmla="*/ 168 w 208"/>
                    <a:gd name="T49" fmla="*/ 5 h 157"/>
                    <a:gd name="T50" fmla="*/ 172 w 208"/>
                    <a:gd name="T51" fmla="*/ 3 h 157"/>
                    <a:gd name="T52" fmla="*/ 177 w 208"/>
                    <a:gd name="T53" fmla="*/ 2 h 157"/>
                    <a:gd name="T54" fmla="*/ 182 w 208"/>
                    <a:gd name="T55" fmla="*/ 0 h 157"/>
                    <a:gd name="T56" fmla="*/ 187 w 208"/>
                    <a:gd name="T57" fmla="*/ 2 h 157"/>
                    <a:gd name="T58" fmla="*/ 191 w 208"/>
                    <a:gd name="T59" fmla="*/ 3 h 157"/>
                    <a:gd name="T60" fmla="*/ 197 w 208"/>
                    <a:gd name="T61" fmla="*/ 5 h 157"/>
                    <a:gd name="T62" fmla="*/ 200 w 208"/>
                    <a:gd name="T63" fmla="*/ 9 h 157"/>
                    <a:gd name="T64" fmla="*/ 204 w 208"/>
                    <a:gd name="T65" fmla="*/ 12 h 157"/>
                    <a:gd name="T66" fmla="*/ 205 w 208"/>
                    <a:gd name="T67" fmla="*/ 18 h 157"/>
                    <a:gd name="T68" fmla="*/ 207 w 208"/>
                    <a:gd name="T69" fmla="*/ 22 h 157"/>
                    <a:gd name="T70" fmla="*/ 208 w 208"/>
                    <a:gd name="T71" fmla="*/ 26 h 157"/>
                    <a:gd name="T72" fmla="*/ 207 w 208"/>
                    <a:gd name="T73" fmla="*/ 32 h 157"/>
                    <a:gd name="T74" fmla="*/ 205 w 208"/>
                    <a:gd name="T75" fmla="*/ 36 h 157"/>
                    <a:gd name="T76" fmla="*/ 204 w 208"/>
                    <a:gd name="T77" fmla="*/ 41 h 157"/>
                    <a:gd name="T78" fmla="*/ 200 w 208"/>
                    <a:gd name="T79" fmla="*/ 45 h 157"/>
                    <a:gd name="T80" fmla="*/ 96 w 208"/>
                    <a:gd name="T81" fmla="*/ 150 h 157"/>
                    <a:gd name="T82" fmla="*/ 92 w 208"/>
                    <a:gd name="T83" fmla="*/ 153 h 157"/>
                    <a:gd name="T84" fmla="*/ 87 w 208"/>
                    <a:gd name="T85" fmla="*/ 156 h 157"/>
                    <a:gd name="T86" fmla="*/ 83 w 208"/>
                    <a:gd name="T87" fmla="*/ 157 h 157"/>
                    <a:gd name="T88" fmla="*/ 77 w 208"/>
                    <a:gd name="T8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7">
                      <a:moveTo>
                        <a:pt x="77" y="157"/>
                      </a:moveTo>
                      <a:lnTo>
                        <a:pt x="73" y="157"/>
                      </a:lnTo>
                      <a:lnTo>
                        <a:pt x="67" y="156"/>
                      </a:lnTo>
                      <a:lnTo>
                        <a:pt x="63" y="153"/>
                      </a:lnTo>
                      <a:lnTo>
                        <a:pt x="59" y="150"/>
                      </a:lnTo>
                      <a:lnTo>
                        <a:pt x="7" y="98"/>
                      </a:lnTo>
                      <a:lnTo>
                        <a:pt x="4" y="94"/>
                      </a:lnTo>
                      <a:lnTo>
                        <a:pt x="1" y="90"/>
                      </a:lnTo>
                      <a:lnTo>
                        <a:pt x="0" y="84"/>
                      </a:lnTo>
                      <a:lnTo>
                        <a:pt x="0" y="80"/>
                      </a:lnTo>
                      <a:lnTo>
                        <a:pt x="0" y="74"/>
                      </a:lnTo>
                      <a:lnTo>
                        <a:pt x="1" y="69"/>
                      </a:lnTo>
                      <a:lnTo>
                        <a:pt x="4" y="65"/>
                      </a:lnTo>
                      <a:lnTo>
                        <a:pt x="7" y="61"/>
                      </a:lnTo>
                      <a:lnTo>
                        <a:pt x="11" y="58"/>
                      </a:lnTo>
                      <a:lnTo>
                        <a:pt x="15" y="55"/>
                      </a:lnTo>
                      <a:lnTo>
                        <a:pt x="20" y="54"/>
                      </a:lnTo>
                      <a:lnTo>
                        <a:pt x="25" y="54"/>
                      </a:lnTo>
                      <a:lnTo>
                        <a:pt x="30" y="54"/>
                      </a:lnTo>
                      <a:lnTo>
                        <a:pt x="36" y="55"/>
                      </a:lnTo>
                      <a:lnTo>
                        <a:pt x="40" y="58"/>
                      </a:lnTo>
                      <a:lnTo>
                        <a:pt x="44" y="61"/>
                      </a:lnTo>
                      <a:lnTo>
                        <a:pt x="77" y="94"/>
                      </a:lnTo>
                      <a:lnTo>
                        <a:pt x="164" y="9"/>
                      </a:lnTo>
                      <a:lnTo>
                        <a:pt x="168" y="5"/>
                      </a:lnTo>
                      <a:lnTo>
                        <a:pt x="172" y="3"/>
                      </a:lnTo>
                      <a:lnTo>
                        <a:pt x="177" y="2"/>
                      </a:lnTo>
                      <a:lnTo>
                        <a:pt x="182" y="0"/>
                      </a:lnTo>
                      <a:lnTo>
                        <a:pt x="187" y="2"/>
                      </a:lnTo>
                      <a:lnTo>
                        <a:pt x="191" y="3"/>
                      </a:lnTo>
                      <a:lnTo>
                        <a:pt x="197" y="5"/>
                      </a:lnTo>
                      <a:lnTo>
                        <a:pt x="200" y="9"/>
                      </a:lnTo>
                      <a:lnTo>
                        <a:pt x="204" y="12"/>
                      </a:lnTo>
                      <a:lnTo>
                        <a:pt x="205" y="18"/>
                      </a:lnTo>
                      <a:lnTo>
                        <a:pt x="207" y="22"/>
                      </a:lnTo>
                      <a:lnTo>
                        <a:pt x="208" y="26"/>
                      </a:lnTo>
                      <a:lnTo>
                        <a:pt x="207" y="32"/>
                      </a:lnTo>
                      <a:lnTo>
                        <a:pt x="205" y="36"/>
                      </a:lnTo>
                      <a:lnTo>
                        <a:pt x="204" y="41"/>
                      </a:lnTo>
                      <a:lnTo>
                        <a:pt x="200" y="45"/>
                      </a:lnTo>
                      <a:lnTo>
                        <a:pt x="96" y="150"/>
                      </a:lnTo>
                      <a:lnTo>
                        <a:pt x="92" y="153"/>
                      </a:lnTo>
                      <a:lnTo>
                        <a:pt x="87" y="156"/>
                      </a:lnTo>
                      <a:lnTo>
                        <a:pt x="83" y="157"/>
                      </a:lnTo>
                      <a:lnTo>
                        <a:pt x="7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02" name="Freeform 225"/>
                <p:cNvSpPr>
                  <a:spLocks/>
                </p:cNvSpPr>
                <p:nvPr/>
              </p:nvSpPr>
              <p:spPr bwMode="auto">
                <a:xfrm>
                  <a:off x="7493000" y="2230438"/>
                  <a:ext cx="109538" cy="82550"/>
                </a:xfrm>
                <a:custGeom>
                  <a:avLst/>
                  <a:gdLst>
                    <a:gd name="T0" fmla="*/ 77 w 208"/>
                    <a:gd name="T1" fmla="*/ 156 h 156"/>
                    <a:gd name="T2" fmla="*/ 73 w 208"/>
                    <a:gd name="T3" fmla="*/ 156 h 156"/>
                    <a:gd name="T4" fmla="*/ 67 w 208"/>
                    <a:gd name="T5" fmla="*/ 154 h 156"/>
                    <a:gd name="T6" fmla="*/ 63 w 208"/>
                    <a:gd name="T7" fmla="*/ 152 h 156"/>
                    <a:gd name="T8" fmla="*/ 59 w 208"/>
                    <a:gd name="T9" fmla="*/ 149 h 156"/>
                    <a:gd name="T10" fmla="*/ 7 w 208"/>
                    <a:gd name="T11" fmla="*/ 97 h 156"/>
                    <a:gd name="T12" fmla="*/ 4 w 208"/>
                    <a:gd name="T13" fmla="*/ 93 h 156"/>
                    <a:gd name="T14" fmla="*/ 1 w 208"/>
                    <a:gd name="T15" fmla="*/ 88 h 156"/>
                    <a:gd name="T16" fmla="*/ 0 w 208"/>
                    <a:gd name="T17" fmla="*/ 82 h 156"/>
                    <a:gd name="T18" fmla="*/ 0 w 208"/>
                    <a:gd name="T19" fmla="*/ 78 h 156"/>
                    <a:gd name="T20" fmla="*/ 0 w 208"/>
                    <a:gd name="T21" fmla="*/ 74 h 156"/>
                    <a:gd name="T22" fmla="*/ 1 w 208"/>
                    <a:gd name="T23" fmla="*/ 68 h 156"/>
                    <a:gd name="T24" fmla="*/ 4 w 208"/>
                    <a:gd name="T25" fmla="*/ 64 h 156"/>
                    <a:gd name="T26" fmla="*/ 7 w 208"/>
                    <a:gd name="T27" fmla="*/ 59 h 156"/>
                    <a:gd name="T28" fmla="*/ 11 w 208"/>
                    <a:gd name="T29" fmla="*/ 57 h 156"/>
                    <a:gd name="T30" fmla="*/ 15 w 208"/>
                    <a:gd name="T31" fmla="*/ 54 h 156"/>
                    <a:gd name="T32" fmla="*/ 20 w 208"/>
                    <a:gd name="T33" fmla="*/ 52 h 156"/>
                    <a:gd name="T34" fmla="*/ 25 w 208"/>
                    <a:gd name="T35" fmla="*/ 52 h 156"/>
                    <a:gd name="T36" fmla="*/ 30 w 208"/>
                    <a:gd name="T37" fmla="*/ 52 h 156"/>
                    <a:gd name="T38" fmla="*/ 36 w 208"/>
                    <a:gd name="T39" fmla="*/ 54 h 156"/>
                    <a:gd name="T40" fmla="*/ 40 w 208"/>
                    <a:gd name="T41" fmla="*/ 57 h 156"/>
                    <a:gd name="T42" fmla="*/ 44 w 208"/>
                    <a:gd name="T43" fmla="*/ 59 h 156"/>
                    <a:gd name="T44" fmla="*/ 77 w 208"/>
                    <a:gd name="T45" fmla="*/ 94 h 156"/>
                    <a:gd name="T46" fmla="*/ 164 w 208"/>
                    <a:gd name="T47" fmla="*/ 8 h 156"/>
                    <a:gd name="T48" fmla="*/ 168 w 208"/>
                    <a:gd name="T49" fmla="*/ 5 h 156"/>
                    <a:gd name="T50" fmla="*/ 172 w 208"/>
                    <a:gd name="T51" fmla="*/ 2 h 156"/>
                    <a:gd name="T52" fmla="*/ 177 w 208"/>
                    <a:gd name="T53" fmla="*/ 0 h 156"/>
                    <a:gd name="T54" fmla="*/ 182 w 208"/>
                    <a:gd name="T55" fmla="*/ 0 h 156"/>
                    <a:gd name="T56" fmla="*/ 187 w 208"/>
                    <a:gd name="T57" fmla="*/ 0 h 156"/>
                    <a:gd name="T58" fmla="*/ 191 w 208"/>
                    <a:gd name="T59" fmla="*/ 2 h 156"/>
                    <a:gd name="T60" fmla="*/ 197 w 208"/>
                    <a:gd name="T61" fmla="*/ 5 h 156"/>
                    <a:gd name="T62" fmla="*/ 200 w 208"/>
                    <a:gd name="T63" fmla="*/ 8 h 156"/>
                    <a:gd name="T64" fmla="*/ 204 w 208"/>
                    <a:gd name="T65" fmla="*/ 12 h 156"/>
                    <a:gd name="T66" fmla="*/ 205 w 208"/>
                    <a:gd name="T67" fmla="*/ 16 h 156"/>
                    <a:gd name="T68" fmla="*/ 207 w 208"/>
                    <a:gd name="T69" fmla="*/ 21 h 156"/>
                    <a:gd name="T70" fmla="*/ 208 w 208"/>
                    <a:gd name="T71" fmla="*/ 26 h 156"/>
                    <a:gd name="T72" fmla="*/ 207 w 208"/>
                    <a:gd name="T73" fmla="*/ 31 h 156"/>
                    <a:gd name="T74" fmla="*/ 205 w 208"/>
                    <a:gd name="T75" fmla="*/ 36 h 156"/>
                    <a:gd name="T76" fmla="*/ 204 w 208"/>
                    <a:gd name="T77" fmla="*/ 41 h 156"/>
                    <a:gd name="T78" fmla="*/ 200 w 208"/>
                    <a:gd name="T79" fmla="*/ 45 h 156"/>
                    <a:gd name="T80" fmla="*/ 96 w 208"/>
                    <a:gd name="T81" fmla="*/ 149 h 156"/>
                    <a:gd name="T82" fmla="*/ 92 w 208"/>
                    <a:gd name="T83" fmla="*/ 152 h 156"/>
                    <a:gd name="T84" fmla="*/ 87 w 208"/>
                    <a:gd name="T85" fmla="*/ 154 h 156"/>
                    <a:gd name="T86" fmla="*/ 83 w 208"/>
                    <a:gd name="T87" fmla="*/ 156 h 156"/>
                    <a:gd name="T88" fmla="*/ 77 w 208"/>
                    <a:gd name="T8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6">
                      <a:moveTo>
                        <a:pt x="77" y="156"/>
                      </a:moveTo>
                      <a:lnTo>
                        <a:pt x="73" y="156"/>
                      </a:lnTo>
                      <a:lnTo>
                        <a:pt x="67" y="154"/>
                      </a:lnTo>
                      <a:lnTo>
                        <a:pt x="63" y="152"/>
                      </a:lnTo>
                      <a:lnTo>
                        <a:pt x="59" y="149"/>
                      </a:lnTo>
                      <a:lnTo>
                        <a:pt x="7" y="97"/>
                      </a:lnTo>
                      <a:lnTo>
                        <a:pt x="4" y="93"/>
                      </a:lnTo>
                      <a:lnTo>
                        <a:pt x="1" y="88"/>
                      </a:lnTo>
                      <a:lnTo>
                        <a:pt x="0" y="82"/>
                      </a:lnTo>
                      <a:lnTo>
                        <a:pt x="0" y="78"/>
                      </a:lnTo>
                      <a:lnTo>
                        <a:pt x="0" y="74"/>
                      </a:lnTo>
                      <a:lnTo>
                        <a:pt x="1" y="68"/>
                      </a:lnTo>
                      <a:lnTo>
                        <a:pt x="4" y="64"/>
                      </a:lnTo>
                      <a:lnTo>
                        <a:pt x="7" y="59"/>
                      </a:lnTo>
                      <a:lnTo>
                        <a:pt x="11" y="57"/>
                      </a:lnTo>
                      <a:lnTo>
                        <a:pt x="15" y="54"/>
                      </a:lnTo>
                      <a:lnTo>
                        <a:pt x="20" y="52"/>
                      </a:lnTo>
                      <a:lnTo>
                        <a:pt x="25" y="52"/>
                      </a:lnTo>
                      <a:lnTo>
                        <a:pt x="30" y="52"/>
                      </a:lnTo>
                      <a:lnTo>
                        <a:pt x="36" y="54"/>
                      </a:lnTo>
                      <a:lnTo>
                        <a:pt x="40" y="57"/>
                      </a:lnTo>
                      <a:lnTo>
                        <a:pt x="44" y="59"/>
                      </a:lnTo>
                      <a:lnTo>
                        <a:pt x="77" y="94"/>
                      </a:lnTo>
                      <a:lnTo>
                        <a:pt x="164" y="8"/>
                      </a:lnTo>
                      <a:lnTo>
                        <a:pt x="168" y="5"/>
                      </a:lnTo>
                      <a:lnTo>
                        <a:pt x="172" y="2"/>
                      </a:lnTo>
                      <a:lnTo>
                        <a:pt x="177" y="0"/>
                      </a:lnTo>
                      <a:lnTo>
                        <a:pt x="182" y="0"/>
                      </a:lnTo>
                      <a:lnTo>
                        <a:pt x="187" y="0"/>
                      </a:lnTo>
                      <a:lnTo>
                        <a:pt x="191" y="2"/>
                      </a:lnTo>
                      <a:lnTo>
                        <a:pt x="197" y="5"/>
                      </a:lnTo>
                      <a:lnTo>
                        <a:pt x="200" y="8"/>
                      </a:lnTo>
                      <a:lnTo>
                        <a:pt x="204" y="12"/>
                      </a:lnTo>
                      <a:lnTo>
                        <a:pt x="205" y="16"/>
                      </a:lnTo>
                      <a:lnTo>
                        <a:pt x="207" y="21"/>
                      </a:lnTo>
                      <a:lnTo>
                        <a:pt x="208" y="26"/>
                      </a:lnTo>
                      <a:lnTo>
                        <a:pt x="207" y="31"/>
                      </a:lnTo>
                      <a:lnTo>
                        <a:pt x="205" y="36"/>
                      </a:lnTo>
                      <a:lnTo>
                        <a:pt x="204" y="41"/>
                      </a:lnTo>
                      <a:lnTo>
                        <a:pt x="200" y="45"/>
                      </a:lnTo>
                      <a:lnTo>
                        <a:pt x="96" y="149"/>
                      </a:lnTo>
                      <a:lnTo>
                        <a:pt x="92" y="152"/>
                      </a:lnTo>
                      <a:lnTo>
                        <a:pt x="87" y="154"/>
                      </a:lnTo>
                      <a:lnTo>
                        <a:pt x="83" y="156"/>
                      </a:lnTo>
                      <a:lnTo>
                        <a:pt x="77"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03" name="Freeform 226"/>
                <p:cNvSpPr>
                  <a:spLocks/>
                </p:cNvSpPr>
                <p:nvPr/>
              </p:nvSpPr>
              <p:spPr bwMode="auto">
                <a:xfrm>
                  <a:off x="7502525" y="2130426"/>
                  <a:ext cx="90488" cy="90488"/>
                </a:xfrm>
                <a:custGeom>
                  <a:avLst/>
                  <a:gdLst>
                    <a:gd name="T0" fmla="*/ 147 w 173"/>
                    <a:gd name="T1" fmla="*/ 173 h 173"/>
                    <a:gd name="T2" fmla="*/ 141 w 173"/>
                    <a:gd name="T3" fmla="*/ 171 h 173"/>
                    <a:gd name="T4" fmla="*/ 137 w 173"/>
                    <a:gd name="T5" fmla="*/ 170 h 173"/>
                    <a:gd name="T6" fmla="*/ 132 w 173"/>
                    <a:gd name="T7" fmla="*/ 168 h 173"/>
                    <a:gd name="T8" fmla="*/ 128 w 173"/>
                    <a:gd name="T9" fmla="*/ 164 h 173"/>
                    <a:gd name="T10" fmla="*/ 8 w 173"/>
                    <a:gd name="T11" fmla="*/ 44 h 173"/>
                    <a:gd name="T12" fmla="*/ 4 w 173"/>
                    <a:gd name="T13" fmla="*/ 40 h 173"/>
                    <a:gd name="T14" fmla="*/ 3 w 173"/>
                    <a:gd name="T15" fmla="*/ 36 h 173"/>
                    <a:gd name="T16" fmla="*/ 1 w 173"/>
                    <a:gd name="T17" fmla="*/ 32 h 173"/>
                    <a:gd name="T18" fmla="*/ 0 w 173"/>
                    <a:gd name="T19" fmla="*/ 26 h 173"/>
                    <a:gd name="T20" fmla="*/ 1 w 173"/>
                    <a:gd name="T21" fmla="*/ 21 h 173"/>
                    <a:gd name="T22" fmla="*/ 3 w 173"/>
                    <a:gd name="T23" fmla="*/ 17 h 173"/>
                    <a:gd name="T24" fmla="*/ 4 w 173"/>
                    <a:gd name="T25" fmla="*/ 11 h 173"/>
                    <a:gd name="T26" fmla="*/ 8 w 173"/>
                    <a:gd name="T27" fmla="*/ 9 h 173"/>
                    <a:gd name="T28" fmla="*/ 13 w 173"/>
                    <a:gd name="T29" fmla="*/ 4 h 173"/>
                    <a:gd name="T30" fmla="*/ 17 w 173"/>
                    <a:gd name="T31" fmla="*/ 3 h 173"/>
                    <a:gd name="T32" fmla="*/ 21 w 173"/>
                    <a:gd name="T33" fmla="*/ 1 h 173"/>
                    <a:gd name="T34" fmla="*/ 27 w 173"/>
                    <a:gd name="T35" fmla="*/ 0 h 173"/>
                    <a:gd name="T36" fmla="*/ 31 w 173"/>
                    <a:gd name="T37" fmla="*/ 1 h 173"/>
                    <a:gd name="T38" fmla="*/ 36 w 173"/>
                    <a:gd name="T39" fmla="*/ 3 h 173"/>
                    <a:gd name="T40" fmla="*/ 42 w 173"/>
                    <a:gd name="T41" fmla="*/ 4 h 173"/>
                    <a:gd name="T42" fmla="*/ 44 w 173"/>
                    <a:gd name="T43" fmla="*/ 9 h 173"/>
                    <a:gd name="T44" fmla="*/ 165 w 173"/>
                    <a:gd name="T45" fmla="*/ 128 h 173"/>
                    <a:gd name="T46" fmla="*/ 168 w 173"/>
                    <a:gd name="T47" fmla="*/ 132 h 173"/>
                    <a:gd name="T48" fmla="*/ 171 w 173"/>
                    <a:gd name="T49" fmla="*/ 137 h 173"/>
                    <a:gd name="T50" fmla="*/ 173 w 173"/>
                    <a:gd name="T51" fmla="*/ 141 h 173"/>
                    <a:gd name="T52" fmla="*/ 173 w 173"/>
                    <a:gd name="T53" fmla="*/ 147 h 173"/>
                    <a:gd name="T54" fmla="*/ 173 w 173"/>
                    <a:gd name="T55" fmla="*/ 151 h 173"/>
                    <a:gd name="T56" fmla="*/ 171 w 173"/>
                    <a:gd name="T57" fmla="*/ 155 h 173"/>
                    <a:gd name="T58" fmla="*/ 168 w 173"/>
                    <a:gd name="T59" fmla="*/ 161 h 173"/>
                    <a:gd name="T60" fmla="*/ 165 w 173"/>
                    <a:gd name="T61" fmla="*/ 164 h 173"/>
                    <a:gd name="T62" fmla="*/ 161 w 173"/>
                    <a:gd name="T63" fmla="*/ 168 h 173"/>
                    <a:gd name="T64" fmla="*/ 157 w 173"/>
                    <a:gd name="T65" fmla="*/ 170 h 173"/>
                    <a:gd name="T66" fmla="*/ 151 w 173"/>
                    <a:gd name="T67" fmla="*/ 171 h 173"/>
                    <a:gd name="T68" fmla="*/ 147 w 173"/>
                    <a:gd name="T6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3">
                      <a:moveTo>
                        <a:pt x="147" y="173"/>
                      </a:moveTo>
                      <a:lnTo>
                        <a:pt x="141" y="171"/>
                      </a:lnTo>
                      <a:lnTo>
                        <a:pt x="137" y="170"/>
                      </a:lnTo>
                      <a:lnTo>
                        <a:pt x="132" y="168"/>
                      </a:lnTo>
                      <a:lnTo>
                        <a:pt x="128" y="164"/>
                      </a:lnTo>
                      <a:lnTo>
                        <a:pt x="8" y="44"/>
                      </a:lnTo>
                      <a:lnTo>
                        <a:pt x="4" y="40"/>
                      </a:lnTo>
                      <a:lnTo>
                        <a:pt x="3" y="36"/>
                      </a:lnTo>
                      <a:lnTo>
                        <a:pt x="1" y="32"/>
                      </a:lnTo>
                      <a:lnTo>
                        <a:pt x="0" y="26"/>
                      </a:lnTo>
                      <a:lnTo>
                        <a:pt x="1" y="21"/>
                      </a:lnTo>
                      <a:lnTo>
                        <a:pt x="3" y="17"/>
                      </a:lnTo>
                      <a:lnTo>
                        <a:pt x="4" y="11"/>
                      </a:lnTo>
                      <a:lnTo>
                        <a:pt x="8" y="9"/>
                      </a:lnTo>
                      <a:lnTo>
                        <a:pt x="13" y="4"/>
                      </a:lnTo>
                      <a:lnTo>
                        <a:pt x="17" y="3"/>
                      </a:lnTo>
                      <a:lnTo>
                        <a:pt x="21" y="1"/>
                      </a:lnTo>
                      <a:lnTo>
                        <a:pt x="27" y="0"/>
                      </a:lnTo>
                      <a:lnTo>
                        <a:pt x="31" y="1"/>
                      </a:lnTo>
                      <a:lnTo>
                        <a:pt x="36" y="3"/>
                      </a:lnTo>
                      <a:lnTo>
                        <a:pt x="42" y="4"/>
                      </a:lnTo>
                      <a:lnTo>
                        <a:pt x="44" y="9"/>
                      </a:lnTo>
                      <a:lnTo>
                        <a:pt x="165" y="128"/>
                      </a:lnTo>
                      <a:lnTo>
                        <a:pt x="168" y="132"/>
                      </a:lnTo>
                      <a:lnTo>
                        <a:pt x="171" y="137"/>
                      </a:lnTo>
                      <a:lnTo>
                        <a:pt x="173" y="141"/>
                      </a:lnTo>
                      <a:lnTo>
                        <a:pt x="173" y="147"/>
                      </a:lnTo>
                      <a:lnTo>
                        <a:pt x="173" y="151"/>
                      </a:lnTo>
                      <a:lnTo>
                        <a:pt x="171" y="155"/>
                      </a:lnTo>
                      <a:lnTo>
                        <a:pt x="168" y="161"/>
                      </a:lnTo>
                      <a:lnTo>
                        <a:pt x="165" y="164"/>
                      </a:lnTo>
                      <a:lnTo>
                        <a:pt x="161" y="168"/>
                      </a:lnTo>
                      <a:lnTo>
                        <a:pt x="157" y="170"/>
                      </a:lnTo>
                      <a:lnTo>
                        <a:pt x="151" y="171"/>
                      </a:lnTo>
                      <a:lnTo>
                        <a:pt x="147"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04" name="Freeform 227"/>
                <p:cNvSpPr>
                  <a:spLocks/>
                </p:cNvSpPr>
                <p:nvPr/>
              </p:nvSpPr>
              <p:spPr bwMode="auto">
                <a:xfrm>
                  <a:off x="7502525" y="2130426"/>
                  <a:ext cx="90488" cy="90488"/>
                </a:xfrm>
                <a:custGeom>
                  <a:avLst/>
                  <a:gdLst>
                    <a:gd name="T0" fmla="*/ 27 w 173"/>
                    <a:gd name="T1" fmla="*/ 173 h 173"/>
                    <a:gd name="T2" fmla="*/ 21 w 173"/>
                    <a:gd name="T3" fmla="*/ 171 h 173"/>
                    <a:gd name="T4" fmla="*/ 17 w 173"/>
                    <a:gd name="T5" fmla="*/ 170 h 173"/>
                    <a:gd name="T6" fmla="*/ 13 w 173"/>
                    <a:gd name="T7" fmla="*/ 168 h 173"/>
                    <a:gd name="T8" fmla="*/ 8 w 173"/>
                    <a:gd name="T9" fmla="*/ 164 h 173"/>
                    <a:gd name="T10" fmla="*/ 4 w 173"/>
                    <a:gd name="T11" fmla="*/ 161 h 173"/>
                    <a:gd name="T12" fmla="*/ 3 w 173"/>
                    <a:gd name="T13" fmla="*/ 155 h 173"/>
                    <a:gd name="T14" fmla="*/ 1 w 173"/>
                    <a:gd name="T15" fmla="*/ 151 h 173"/>
                    <a:gd name="T16" fmla="*/ 0 w 173"/>
                    <a:gd name="T17" fmla="*/ 147 h 173"/>
                    <a:gd name="T18" fmla="*/ 1 w 173"/>
                    <a:gd name="T19" fmla="*/ 141 h 173"/>
                    <a:gd name="T20" fmla="*/ 3 w 173"/>
                    <a:gd name="T21" fmla="*/ 137 h 173"/>
                    <a:gd name="T22" fmla="*/ 4 w 173"/>
                    <a:gd name="T23" fmla="*/ 132 h 173"/>
                    <a:gd name="T24" fmla="*/ 8 w 173"/>
                    <a:gd name="T25" fmla="*/ 128 h 173"/>
                    <a:gd name="T26" fmla="*/ 128 w 173"/>
                    <a:gd name="T27" fmla="*/ 9 h 173"/>
                    <a:gd name="T28" fmla="*/ 132 w 173"/>
                    <a:gd name="T29" fmla="*/ 4 h 173"/>
                    <a:gd name="T30" fmla="*/ 137 w 173"/>
                    <a:gd name="T31" fmla="*/ 3 h 173"/>
                    <a:gd name="T32" fmla="*/ 141 w 173"/>
                    <a:gd name="T33" fmla="*/ 1 h 173"/>
                    <a:gd name="T34" fmla="*/ 147 w 173"/>
                    <a:gd name="T35" fmla="*/ 0 h 173"/>
                    <a:gd name="T36" fmla="*/ 151 w 173"/>
                    <a:gd name="T37" fmla="*/ 1 h 173"/>
                    <a:gd name="T38" fmla="*/ 157 w 173"/>
                    <a:gd name="T39" fmla="*/ 3 h 173"/>
                    <a:gd name="T40" fmla="*/ 161 w 173"/>
                    <a:gd name="T41" fmla="*/ 4 h 173"/>
                    <a:gd name="T42" fmla="*/ 165 w 173"/>
                    <a:gd name="T43" fmla="*/ 9 h 173"/>
                    <a:gd name="T44" fmla="*/ 168 w 173"/>
                    <a:gd name="T45" fmla="*/ 11 h 173"/>
                    <a:gd name="T46" fmla="*/ 171 w 173"/>
                    <a:gd name="T47" fmla="*/ 17 h 173"/>
                    <a:gd name="T48" fmla="*/ 173 w 173"/>
                    <a:gd name="T49" fmla="*/ 21 h 173"/>
                    <a:gd name="T50" fmla="*/ 173 w 173"/>
                    <a:gd name="T51" fmla="*/ 26 h 173"/>
                    <a:gd name="T52" fmla="*/ 173 w 173"/>
                    <a:gd name="T53" fmla="*/ 32 h 173"/>
                    <a:gd name="T54" fmla="*/ 171 w 173"/>
                    <a:gd name="T55" fmla="*/ 36 h 173"/>
                    <a:gd name="T56" fmla="*/ 168 w 173"/>
                    <a:gd name="T57" fmla="*/ 40 h 173"/>
                    <a:gd name="T58" fmla="*/ 165 w 173"/>
                    <a:gd name="T59" fmla="*/ 44 h 173"/>
                    <a:gd name="T60" fmla="*/ 44 w 173"/>
                    <a:gd name="T61" fmla="*/ 164 h 173"/>
                    <a:gd name="T62" fmla="*/ 42 w 173"/>
                    <a:gd name="T63" fmla="*/ 168 h 173"/>
                    <a:gd name="T64" fmla="*/ 36 w 173"/>
                    <a:gd name="T65" fmla="*/ 170 h 173"/>
                    <a:gd name="T66" fmla="*/ 31 w 173"/>
                    <a:gd name="T67" fmla="*/ 171 h 173"/>
                    <a:gd name="T68" fmla="*/ 27 w 173"/>
                    <a:gd name="T6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3">
                      <a:moveTo>
                        <a:pt x="27" y="173"/>
                      </a:moveTo>
                      <a:lnTo>
                        <a:pt x="21" y="171"/>
                      </a:lnTo>
                      <a:lnTo>
                        <a:pt x="17" y="170"/>
                      </a:lnTo>
                      <a:lnTo>
                        <a:pt x="13" y="168"/>
                      </a:lnTo>
                      <a:lnTo>
                        <a:pt x="8" y="164"/>
                      </a:lnTo>
                      <a:lnTo>
                        <a:pt x="4" y="161"/>
                      </a:lnTo>
                      <a:lnTo>
                        <a:pt x="3" y="155"/>
                      </a:lnTo>
                      <a:lnTo>
                        <a:pt x="1" y="151"/>
                      </a:lnTo>
                      <a:lnTo>
                        <a:pt x="0" y="147"/>
                      </a:lnTo>
                      <a:lnTo>
                        <a:pt x="1" y="141"/>
                      </a:lnTo>
                      <a:lnTo>
                        <a:pt x="3" y="137"/>
                      </a:lnTo>
                      <a:lnTo>
                        <a:pt x="4" y="132"/>
                      </a:lnTo>
                      <a:lnTo>
                        <a:pt x="8" y="128"/>
                      </a:lnTo>
                      <a:lnTo>
                        <a:pt x="128" y="9"/>
                      </a:lnTo>
                      <a:lnTo>
                        <a:pt x="132" y="4"/>
                      </a:lnTo>
                      <a:lnTo>
                        <a:pt x="137" y="3"/>
                      </a:lnTo>
                      <a:lnTo>
                        <a:pt x="141" y="1"/>
                      </a:lnTo>
                      <a:lnTo>
                        <a:pt x="147" y="0"/>
                      </a:lnTo>
                      <a:lnTo>
                        <a:pt x="151" y="1"/>
                      </a:lnTo>
                      <a:lnTo>
                        <a:pt x="157" y="3"/>
                      </a:lnTo>
                      <a:lnTo>
                        <a:pt x="161" y="4"/>
                      </a:lnTo>
                      <a:lnTo>
                        <a:pt x="165" y="9"/>
                      </a:lnTo>
                      <a:lnTo>
                        <a:pt x="168" y="11"/>
                      </a:lnTo>
                      <a:lnTo>
                        <a:pt x="171" y="17"/>
                      </a:lnTo>
                      <a:lnTo>
                        <a:pt x="173" y="21"/>
                      </a:lnTo>
                      <a:lnTo>
                        <a:pt x="173" y="26"/>
                      </a:lnTo>
                      <a:lnTo>
                        <a:pt x="173" y="32"/>
                      </a:lnTo>
                      <a:lnTo>
                        <a:pt x="171" y="36"/>
                      </a:lnTo>
                      <a:lnTo>
                        <a:pt x="168" y="40"/>
                      </a:lnTo>
                      <a:lnTo>
                        <a:pt x="165" y="44"/>
                      </a:lnTo>
                      <a:lnTo>
                        <a:pt x="44" y="164"/>
                      </a:lnTo>
                      <a:lnTo>
                        <a:pt x="42" y="168"/>
                      </a:lnTo>
                      <a:lnTo>
                        <a:pt x="36" y="170"/>
                      </a:lnTo>
                      <a:lnTo>
                        <a:pt x="31" y="171"/>
                      </a:lnTo>
                      <a:lnTo>
                        <a:pt x="27"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grpSp>
          <p:nvGrpSpPr>
            <p:cNvPr id="126" name="Group 125"/>
            <p:cNvGrpSpPr/>
            <p:nvPr/>
          </p:nvGrpSpPr>
          <p:grpSpPr>
            <a:xfrm>
              <a:off x="5727388" y="3450751"/>
              <a:ext cx="697500" cy="746715"/>
              <a:chOff x="5727388" y="3450751"/>
              <a:chExt cx="697500" cy="746715"/>
            </a:xfrm>
          </p:grpSpPr>
          <p:grpSp>
            <p:nvGrpSpPr>
              <p:cNvPr id="105" name="Group 104"/>
              <p:cNvGrpSpPr/>
              <p:nvPr/>
            </p:nvGrpSpPr>
            <p:grpSpPr>
              <a:xfrm>
                <a:off x="5727388" y="3450751"/>
                <a:ext cx="697500" cy="746715"/>
                <a:chOff x="-1046920" y="2123773"/>
                <a:chExt cx="1219200" cy="1305227"/>
              </a:xfrm>
            </p:grpSpPr>
            <p:sp>
              <p:nvSpPr>
                <p:cNvPr id="106" name="Oval 105"/>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p>
              </p:txBody>
            </p:sp>
            <p:sp>
              <p:nvSpPr>
                <p:cNvPr id="107" name="Oval 106"/>
                <p:cNvSpPr/>
                <p:nvPr/>
              </p:nvSpPr>
              <p:spPr>
                <a:xfrm>
                  <a:off x="-961755" y="2294965"/>
                  <a:ext cx="1048871" cy="1048871"/>
                </a:xfrm>
                <a:prstGeom prst="ellipse">
                  <a:avLst/>
                </a:prstGeom>
                <a:solidFill>
                  <a:srgbClr val="F1C40F"/>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p>
              </p:txBody>
            </p:sp>
            <p:sp>
              <p:nvSpPr>
                <p:cNvPr id="108" name="Oval 107"/>
                <p:cNvSpPr/>
                <p:nvPr/>
              </p:nvSpPr>
              <p:spPr>
                <a:xfrm>
                  <a:off x="-627820" y="2123773"/>
                  <a:ext cx="381000" cy="381000"/>
                </a:xfrm>
                <a:prstGeom prst="ellipse">
                  <a:avLst/>
                </a:prstGeom>
                <a:solidFill>
                  <a:schemeClr val="bg1"/>
                </a:solidFill>
                <a:ln w="38100">
                  <a:solidFill>
                    <a:srgbClr val="F1C4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700" b="1" dirty="0" smtClean="0">
                      <a:solidFill>
                        <a:srgbClr val="7F8C8D"/>
                      </a:solidFill>
                      <a:latin typeface="Calibri Light" panose="020F0302020204030204" pitchFamily="34" charset="0"/>
                    </a:rPr>
                    <a:t>3</a:t>
                  </a:r>
                  <a:endParaRPr lang="id-ID" sz="700" b="1" dirty="0">
                    <a:solidFill>
                      <a:srgbClr val="7F8C8D"/>
                    </a:solidFill>
                    <a:latin typeface="Calibri Light" panose="020F0302020204030204" pitchFamily="34" charset="0"/>
                  </a:endParaRPr>
                </a:p>
              </p:txBody>
            </p:sp>
          </p:grpSp>
          <p:grpSp>
            <p:nvGrpSpPr>
              <p:cNvPr id="109" name="Group 108"/>
              <p:cNvGrpSpPr/>
              <p:nvPr/>
            </p:nvGrpSpPr>
            <p:grpSpPr>
              <a:xfrm>
                <a:off x="5965374" y="3707069"/>
                <a:ext cx="221528" cy="324972"/>
                <a:chOff x="8640211" y="1701541"/>
                <a:chExt cx="418808" cy="614374"/>
              </a:xfrm>
              <a:solidFill>
                <a:schemeClr val="bg1"/>
              </a:solidFill>
            </p:grpSpPr>
            <p:sp>
              <p:nvSpPr>
                <p:cNvPr id="110" name="Freeform 10"/>
                <p:cNvSpPr>
                  <a:spLocks noEditPoints="1"/>
                </p:cNvSpPr>
                <p:nvPr/>
              </p:nvSpPr>
              <p:spPr bwMode="auto">
                <a:xfrm>
                  <a:off x="8640211" y="1701541"/>
                  <a:ext cx="418808" cy="614374"/>
                </a:xfrm>
                <a:custGeom>
                  <a:avLst/>
                  <a:gdLst>
                    <a:gd name="T0" fmla="*/ 40 w 680"/>
                    <a:gd name="T1" fmla="*/ 960 h 1000"/>
                    <a:gd name="T2" fmla="*/ 640 w 680"/>
                    <a:gd name="T3" fmla="*/ 960 h 1000"/>
                    <a:gd name="T4" fmla="*/ 640 w 680"/>
                    <a:gd name="T5" fmla="*/ 40 h 1000"/>
                    <a:gd name="T6" fmla="*/ 189 w 680"/>
                    <a:gd name="T7" fmla="*/ 40 h 1000"/>
                    <a:gd name="T8" fmla="*/ 40 w 680"/>
                    <a:gd name="T9" fmla="*/ 189 h 1000"/>
                    <a:gd name="T10" fmla="*/ 40 w 680"/>
                    <a:gd name="T11" fmla="*/ 960 h 1000"/>
                    <a:gd name="T12" fmla="*/ 660 w 680"/>
                    <a:gd name="T13" fmla="*/ 1000 h 1000"/>
                    <a:gd name="T14" fmla="*/ 20 w 680"/>
                    <a:gd name="T15" fmla="*/ 1000 h 1000"/>
                    <a:gd name="T16" fmla="*/ 16 w 680"/>
                    <a:gd name="T17" fmla="*/ 999 h 1000"/>
                    <a:gd name="T18" fmla="*/ 13 w 680"/>
                    <a:gd name="T19" fmla="*/ 999 h 1000"/>
                    <a:gd name="T20" fmla="*/ 9 w 680"/>
                    <a:gd name="T21" fmla="*/ 996 h 1000"/>
                    <a:gd name="T22" fmla="*/ 7 w 680"/>
                    <a:gd name="T23" fmla="*/ 994 h 1000"/>
                    <a:gd name="T24" fmla="*/ 4 w 680"/>
                    <a:gd name="T25" fmla="*/ 991 h 1000"/>
                    <a:gd name="T26" fmla="*/ 2 w 680"/>
                    <a:gd name="T27" fmla="*/ 988 h 1000"/>
                    <a:gd name="T28" fmla="*/ 0 w 680"/>
                    <a:gd name="T29" fmla="*/ 984 h 1000"/>
                    <a:gd name="T30" fmla="*/ 0 w 680"/>
                    <a:gd name="T31" fmla="*/ 980 h 1000"/>
                    <a:gd name="T32" fmla="*/ 0 w 680"/>
                    <a:gd name="T33" fmla="*/ 180 h 1000"/>
                    <a:gd name="T34" fmla="*/ 0 w 680"/>
                    <a:gd name="T35" fmla="*/ 176 h 1000"/>
                    <a:gd name="T36" fmla="*/ 2 w 680"/>
                    <a:gd name="T37" fmla="*/ 173 h 1000"/>
                    <a:gd name="T38" fmla="*/ 4 w 680"/>
                    <a:gd name="T39" fmla="*/ 169 h 1000"/>
                    <a:gd name="T40" fmla="*/ 7 w 680"/>
                    <a:gd name="T41" fmla="*/ 165 h 1000"/>
                    <a:gd name="T42" fmla="*/ 167 w 680"/>
                    <a:gd name="T43" fmla="*/ 6 h 1000"/>
                    <a:gd name="T44" fmla="*/ 169 w 680"/>
                    <a:gd name="T45" fmla="*/ 4 h 1000"/>
                    <a:gd name="T46" fmla="*/ 173 w 680"/>
                    <a:gd name="T47" fmla="*/ 1 h 1000"/>
                    <a:gd name="T48" fmla="*/ 177 w 680"/>
                    <a:gd name="T49" fmla="*/ 0 h 1000"/>
                    <a:gd name="T50" fmla="*/ 180 w 680"/>
                    <a:gd name="T51" fmla="*/ 0 h 1000"/>
                    <a:gd name="T52" fmla="*/ 660 w 680"/>
                    <a:gd name="T53" fmla="*/ 0 h 1000"/>
                    <a:gd name="T54" fmla="*/ 664 w 680"/>
                    <a:gd name="T55" fmla="*/ 0 h 1000"/>
                    <a:gd name="T56" fmla="*/ 667 w 680"/>
                    <a:gd name="T57" fmla="*/ 1 h 1000"/>
                    <a:gd name="T58" fmla="*/ 671 w 680"/>
                    <a:gd name="T59" fmla="*/ 4 h 1000"/>
                    <a:gd name="T60" fmla="*/ 675 w 680"/>
                    <a:gd name="T61" fmla="*/ 6 h 1000"/>
                    <a:gd name="T62" fmla="*/ 677 w 680"/>
                    <a:gd name="T63" fmla="*/ 9 h 1000"/>
                    <a:gd name="T64" fmla="*/ 678 w 680"/>
                    <a:gd name="T65" fmla="*/ 12 h 1000"/>
                    <a:gd name="T66" fmla="*/ 680 w 680"/>
                    <a:gd name="T67" fmla="*/ 16 h 1000"/>
                    <a:gd name="T68" fmla="*/ 680 w 680"/>
                    <a:gd name="T69" fmla="*/ 20 h 1000"/>
                    <a:gd name="T70" fmla="*/ 680 w 680"/>
                    <a:gd name="T71" fmla="*/ 980 h 1000"/>
                    <a:gd name="T72" fmla="*/ 680 w 680"/>
                    <a:gd name="T73" fmla="*/ 984 h 1000"/>
                    <a:gd name="T74" fmla="*/ 678 w 680"/>
                    <a:gd name="T75" fmla="*/ 988 h 1000"/>
                    <a:gd name="T76" fmla="*/ 677 w 680"/>
                    <a:gd name="T77" fmla="*/ 991 h 1000"/>
                    <a:gd name="T78" fmla="*/ 675 w 680"/>
                    <a:gd name="T79" fmla="*/ 994 h 1000"/>
                    <a:gd name="T80" fmla="*/ 671 w 680"/>
                    <a:gd name="T81" fmla="*/ 996 h 1000"/>
                    <a:gd name="T82" fmla="*/ 667 w 680"/>
                    <a:gd name="T83" fmla="*/ 999 h 1000"/>
                    <a:gd name="T84" fmla="*/ 664 w 680"/>
                    <a:gd name="T85" fmla="*/ 999 h 1000"/>
                    <a:gd name="T86" fmla="*/ 660 w 680"/>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1000">
                      <a:moveTo>
                        <a:pt x="40" y="960"/>
                      </a:moveTo>
                      <a:lnTo>
                        <a:pt x="640" y="960"/>
                      </a:lnTo>
                      <a:lnTo>
                        <a:pt x="640" y="40"/>
                      </a:lnTo>
                      <a:lnTo>
                        <a:pt x="189" y="40"/>
                      </a:lnTo>
                      <a:lnTo>
                        <a:pt x="40" y="189"/>
                      </a:lnTo>
                      <a:lnTo>
                        <a:pt x="40" y="960"/>
                      </a:lnTo>
                      <a:close/>
                      <a:moveTo>
                        <a:pt x="660" y="1000"/>
                      </a:moveTo>
                      <a:lnTo>
                        <a:pt x="20" y="1000"/>
                      </a:lnTo>
                      <a:lnTo>
                        <a:pt x="16" y="999"/>
                      </a:lnTo>
                      <a:lnTo>
                        <a:pt x="13" y="999"/>
                      </a:lnTo>
                      <a:lnTo>
                        <a:pt x="9" y="996"/>
                      </a:lnTo>
                      <a:lnTo>
                        <a:pt x="7" y="994"/>
                      </a:lnTo>
                      <a:lnTo>
                        <a:pt x="4" y="991"/>
                      </a:lnTo>
                      <a:lnTo>
                        <a:pt x="2" y="988"/>
                      </a:lnTo>
                      <a:lnTo>
                        <a:pt x="0" y="984"/>
                      </a:lnTo>
                      <a:lnTo>
                        <a:pt x="0" y="980"/>
                      </a:lnTo>
                      <a:lnTo>
                        <a:pt x="0" y="180"/>
                      </a:lnTo>
                      <a:lnTo>
                        <a:pt x="0" y="176"/>
                      </a:lnTo>
                      <a:lnTo>
                        <a:pt x="2" y="173"/>
                      </a:lnTo>
                      <a:lnTo>
                        <a:pt x="4" y="169"/>
                      </a:lnTo>
                      <a:lnTo>
                        <a:pt x="7" y="165"/>
                      </a:lnTo>
                      <a:lnTo>
                        <a:pt x="167" y="6"/>
                      </a:lnTo>
                      <a:lnTo>
                        <a:pt x="169" y="4"/>
                      </a:lnTo>
                      <a:lnTo>
                        <a:pt x="173" y="1"/>
                      </a:lnTo>
                      <a:lnTo>
                        <a:pt x="177" y="0"/>
                      </a:lnTo>
                      <a:lnTo>
                        <a:pt x="180" y="0"/>
                      </a:lnTo>
                      <a:lnTo>
                        <a:pt x="660" y="0"/>
                      </a:lnTo>
                      <a:lnTo>
                        <a:pt x="664" y="0"/>
                      </a:lnTo>
                      <a:lnTo>
                        <a:pt x="667" y="1"/>
                      </a:lnTo>
                      <a:lnTo>
                        <a:pt x="671" y="4"/>
                      </a:lnTo>
                      <a:lnTo>
                        <a:pt x="675" y="6"/>
                      </a:lnTo>
                      <a:lnTo>
                        <a:pt x="677" y="9"/>
                      </a:lnTo>
                      <a:lnTo>
                        <a:pt x="678" y="12"/>
                      </a:lnTo>
                      <a:lnTo>
                        <a:pt x="680" y="16"/>
                      </a:lnTo>
                      <a:lnTo>
                        <a:pt x="680" y="20"/>
                      </a:lnTo>
                      <a:lnTo>
                        <a:pt x="680" y="980"/>
                      </a:lnTo>
                      <a:lnTo>
                        <a:pt x="680" y="984"/>
                      </a:lnTo>
                      <a:lnTo>
                        <a:pt x="678" y="988"/>
                      </a:lnTo>
                      <a:lnTo>
                        <a:pt x="677" y="991"/>
                      </a:lnTo>
                      <a:lnTo>
                        <a:pt x="675" y="994"/>
                      </a:lnTo>
                      <a:lnTo>
                        <a:pt x="671" y="996"/>
                      </a:lnTo>
                      <a:lnTo>
                        <a:pt x="667" y="999"/>
                      </a:lnTo>
                      <a:lnTo>
                        <a:pt x="664" y="999"/>
                      </a:lnTo>
                      <a:lnTo>
                        <a:pt x="660"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11" name="Freeform 11"/>
                <p:cNvSpPr>
                  <a:spLocks/>
                </p:cNvSpPr>
                <p:nvPr/>
              </p:nvSpPr>
              <p:spPr bwMode="auto">
                <a:xfrm>
                  <a:off x="8640211" y="1701541"/>
                  <a:ext cx="123613" cy="123613"/>
                </a:xfrm>
                <a:custGeom>
                  <a:avLst/>
                  <a:gdLst>
                    <a:gd name="T0" fmla="*/ 180 w 200"/>
                    <a:gd name="T1" fmla="*/ 200 h 200"/>
                    <a:gd name="T2" fmla="*/ 20 w 200"/>
                    <a:gd name="T3" fmla="*/ 200 h 200"/>
                    <a:gd name="T4" fmla="*/ 16 w 200"/>
                    <a:gd name="T5" fmla="*/ 200 h 200"/>
                    <a:gd name="T6" fmla="*/ 13 w 200"/>
                    <a:gd name="T7" fmla="*/ 199 h 200"/>
                    <a:gd name="T8" fmla="*/ 9 w 200"/>
                    <a:gd name="T9" fmla="*/ 196 h 200"/>
                    <a:gd name="T10" fmla="*/ 7 w 200"/>
                    <a:gd name="T11" fmla="*/ 194 h 200"/>
                    <a:gd name="T12" fmla="*/ 4 w 200"/>
                    <a:gd name="T13" fmla="*/ 191 h 200"/>
                    <a:gd name="T14" fmla="*/ 2 w 200"/>
                    <a:gd name="T15" fmla="*/ 188 h 200"/>
                    <a:gd name="T16" fmla="*/ 0 w 200"/>
                    <a:gd name="T17" fmla="*/ 184 h 200"/>
                    <a:gd name="T18" fmla="*/ 0 w 200"/>
                    <a:gd name="T19" fmla="*/ 180 h 200"/>
                    <a:gd name="T20" fmla="*/ 0 w 200"/>
                    <a:gd name="T21" fmla="*/ 176 h 200"/>
                    <a:gd name="T22" fmla="*/ 2 w 200"/>
                    <a:gd name="T23" fmla="*/ 173 h 200"/>
                    <a:gd name="T24" fmla="*/ 4 w 200"/>
                    <a:gd name="T25" fmla="*/ 169 h 200"/>
                    <a:gd name="T26" fmla="*/ 7 w 200"/>
                    <a:gd name="T27" fmla="*/ 165 h 200"/>
                    <a:gd name="T28" fmla="*/ 9 w 200"/>
                    <a:gd name="T29" fmla="*/ 164 h 200"/>
                    <a:gd name="T30" fmla="*/ 13 w 200"/>
                    <a:gd name="T31" fmla="*/ 162 h 200"/>
                    <a:gd name="T32" fmla="*/ 16 w 200"/>
                    <a:gd name="T33" fmla="*/ 160 h 200"/>
                    <a:gd name="T34" fmla="*/ 20 w 200"/>
                    <a:gd name="T35" fmla="*/ 160 h 200"/>
                    <a:gd name="T36" fmla="*/ 161 w 200"/>
                    <a:gd name="T37" fmla="*/ 160 h 200"/>
                    <a:gd name="T38" fmla="*/ 161 w 200"/>
                    <a:gd name="T39" fmla="*/ 20 h 200"/>
                    <a:gd name="T40" fmla="*/ 161 w 200"/>
                    <a:gd name="T41" fmla="*/ 16 h 200"/>
                    <a:gd name="T42" fmla="*/ 162 w 200"/>
                    <a:gd name="T43" fmla="*/ 12 h 200"/>
                    <a:gd name="T44" fmla="*/ 164 w 200"/>
                    <a:gd name="T45" fmla="*/ 9 h 200"/>
                    <a:gd name="T46" fmla="*/ 167 w 200"/>
                    <a:gd name="T47" fmla="*/ 6 h 200"/>
                    <a:gd name="T48" fmla="*/ 169 w 200"/>
                    <a:gd name="T49" fmla="*/ 4 h 200"/>
                    <a:gd name="T50" fmla="*/ 173 w 200"/>
                    <a:gd name="T51" fmla="*/ 1 h 200"/>
                    <a:gd name="T52" fmla="*/ 177 w 200"/>
                    <a:gd name="T53" fmla="*/ 0 h 200"/>
                    <a:gd name="T54" fmla="*/ 180 w 200"/>
                    <a:gd name="T55" fmla="*/ 0 h 200"/>
                    <a:gd name="T56" fmla="*/ 184 w 200"/>
                    <a:gd name="T57" fmla="*/ 0 h 200"/>
                    <a:gd name="T58" fmla="*/ 188 w 200"/>
                    <a:gd name="T59" fmla="*/ 1 h 200"/>
                    <a:gd name="T60" fmla="*/ 192 w 200"/>
                    <a:gd name="T61" fmla="*/ 4 h 200"/>
                    <a:gd name="T62" fmla="*/ 194 w 200"/>
                    <a:gd name="T63" fmla="*/ 6 h 200"/>
                    <a:gd name="T64" fmla="*/ 197 w 200"/>
                    <a:gd name="T65" fmla="*/ 9 h 200"/>
                    <a:gd name="T66" fmla="*/ 199 w 200"/>
                    <a:gd name="T67" fmla="*/ 12 h 200"/>
                    <a:gd name="T68" fmla="*/ 200 w 200"/>
                    <a:gd name="T69" fmla="*/ 16 h 200"/>
                    <a:gd name="T70" fmla="*/ 200 w 200"/>
                    <a:gd name="T71" fmla="*/ 20 h 200"/>
                    <a:gd name="T72" fmla="*/ 200 w 200"/>
                    <a:gd name="T73" fmla="*/ 180 h 200"/>
                    <a:gd name="T74" fmla="*/ 200 w 200"/>
                    <a:gd name="T75" fmla="*/ 184 h 200"/>
                    <a:gd name="T76" fmla="*/ 199 w 200"/>
                    <a:gd name="T77" fmla="*/ 188 h 200"/>
                    <a:gd name="T78" fmla="*/ 197 w 200"/>
                    <a:gd name="T79" fmla="*/ 191 h 200"/>
                    <a:gd name="T80" fmla="*/ 194 w 200"/>
                    <a:gd name="T81" fmla="*/ 194 h 200"/>
                    <a:gd name="T82" fmla="*/ 192 w 200"/>
                    <a:gd name="T83" fmla="*/ 196 h 200"/>
                    <a:gd name="T84" fmla="*/ 188 w 200"/>
                    <a:gd name="T85" fmla="*/ 199 h 200"/>
                    <a:gd name="T86" fmla="*/ 184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20" y="200"/>
                      </a:lnTo>
                      <a:lnTo>
                        <a:pt x="16" y="200"/>
                      </a:lnTo>
                      <a:lnTo>
                        <a:pt x="13" y="199"/>
                      </a:lnTo>
                      <a:lnTo>
                        <a:pt x="9" y="196"/>
                      </a:lnTo>
                      <a:lnTo>
                        <a:pt x="7" y="194"/>
                      </a:lnTo>
                      <a:lnTo>
                        <a:pt x="4" y="191"/>
                      </a:lnTo>
                      <a:lnTo>
                        <a:pt x="2" y="188"/>
                      </a:lnTo>
                      <a:lnTo>
                        <a:pt x="0" y="184"/>
                      </a:lnTo>
                      <a:lnTo>
                        <a:pt x="0" y="180"/>
                      </a:lnTo>
                      <a:lnTo>
                        <a:pt x="0" y="176"/>
                      </a:lnTo>
                      <a:lnTo>
                        <a:pt x="2" y="173"/>
                      </a:lnTo>
                      <a:lnTo>
                        <a:pt x="4" y="169"/>
                      </a:lnTo>
                      <a:lnTo>
                        <a:pt x="7" y="165"/>
                      </a:lnTo>
                      <a:lnTo>
                        <a:pt x="9" y="164"/>
                      </a:lnTo>
                      <a:lnTo>
                        <a:pt x="13" y="162"/>
                      </a:lnTo>
                      <a:lnTo>
                        <a:pt x="16" y="160"/>
                      </a:lnTo>
                      <a:lnTo>
                        <a:pt x="20" y="160"/>
                      </a:lnTo>
                      <a:lnTo>
                        <a:pt x="161" y="160"/>
                      </a:lnTo>
                      <a:lnTo>
                        <a:pt x="161" y="20"/>
                      </a:lnTo>
                      <a:lnTo>
                        <a:pt x="161" y="16"/>
                      </a:lnTo>
                      <a:lnTo>
                        <a:pt x="162" y="12"/>
                      </a:lnTo>
                      <a:lnTo>
                        <a:pt x="164" y="9"/>
                      </a:lnTo>
                      <a:lnTo>
                        <a:pt x="167" y="6"/>
                      </a:lnTo>
                      <a:lnTo>
                        <a:pt x="169" y="4"/>
                      </a:lnTo>
                      <a:lnTo>
                        <a:pt x="173" y="1"/>
                      </a:lnTo>
                      <a:lnTo>
                        <a:pt x="177" y="0"/>
                      </a:lnTo>
                      <a:lnTo>
                        <a:pt x="180" y="0"/>
                      </a:lnTo>
                      <a:lnTo>
                        <a:pt x="184" y="0"/>
                      </a:lnTo>
                      <a:lnTo>
                        <a:pt x="188" y="1"/>
                      </a:lnTo>
                      <a:lnTo>
                        <a:pt x="192" y="4"/>
                      </a:lnTo>
                      <a:lnTo>
                        <a:pt x="194" y="6"/>
                      </a:lnTo>
                      <a:lnTo>
                        <a:pt x="197" y="9"/>
                      </a:lnTo>
                      <a:lnTo>
                        <a:pt x="199" y="12"/>
                      </a:lnTo>
                      <a:lnTo>
                        <a:pt x="200" y="16"/>
                      </a:lnTo>
                      <a:lnTo>
                        <a:pt x="200" y="20"/>
                      </a:lnTo>
                      <a:lnTo>
                        <a:pt x="200" y="180"/>
                      </a:lnTo>
                      <a:lnTo>
                        <a:pt x="200" y="184"/>
                      </a:lnTo>
                      <a:lnTo>
                        <a:pt x="199" y="188"/>
                      </a:lnTo>
                      <a:lnTo>
                        <a:pt x="197" y="191"/>
                      </a:lnTo>
                      <a:lnTo>
                        <a:pt x="194" y="194"/>
                      </a:lnTo>
                      <a:lnTo>
                        <a:pt x="192" y="196"/>
                      </a:lnTo>
                      <a:lnTo>
                        <a:pt x="188" y="199"/>
                      </a:lnTo>
                      <a:lnTo>
                        <a:pt x="184"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12" name="Freeform 59"/>
                <p:cNvSpPr>
                  <a:spLocks noEditPoints="1"/>
                </p:cNvSpPr>
                <p:nvPr/>
              </p:nvSpPr>
              <p:spPr bwMode="auto">
                <a:xfrm>
                  <a:off x="8715855" y="1898953"/>
                  <a:ext cx="269365" cy="269365"/>
                </a:xfrm>
                <a:custGeom>
                  <a:avLst/>
                  <a:gdLst>
                    <a:gd name="T0" fmla="*/ 184 w 439"/>
                    <a:gd name="T1" fmla="*/ 43 h 439"/>
                    <a:gd name="T2" fmla="*/ 134 w 439"/>
                    <a:gd name="T3" fmla="*/ 60 h 439"/>
                    <a:gd name="T4" fmla="*/ 92 w 439"/>
                    <a:gd name="T5" fmla="*/ 91 h 439"/>
                    <a:gd name="T6" fmla="*/ 61 w 439"/>
                    <a:gd name="T7" fmla="*/ 134 h 439"/>
                    <a:gd name="T8" fmla="*/ 43 w 439"/>
                    <a:gd name="T9" fmla="*/ 182 h 439"/>
                    <a:gd name="T10" fmla="*/ 41 w 439"/>
                    <a:gd name="T11" fmla="*/ 237 h 439"/>
                    <a:gd name="T12" fmla="*/ 53 w 439"/>
                    <a:gd name="T13" fmla="*/ 289 h 439"/>
                    <a:gd name="T14" fmla="*/ 81 w 439"/>
                    <a:gd name="T15" fmla="*/ 334 h 439"/>
                    <a:gd name="T16" fmla="*/ 119 w 439"/>
                    <a:gd name="T17" fmla="*/ 369 h 439"/>
                    <a:gd name="T18" fmla="*/ 166 w 439"/>
                    <a:gd name="T19" fmla="*/ 391 h 439"/>
                    <a:gd name="T20" fmla="*/ 220 w 439"/>
                    <a:gd name="T21" fmla="*/ 398 h 439"/>
                    <a:gd name="T22" fmla="*/ 273 w 439"/>
                    <a:gd name="T23" fmla="*/ 391 h 439"/>
                    <a:gd name="T24" fmla="*/ 320 w 439"/>
                    <a:gd name="T25" fmla="*/ 369 h 439"/>
                    <a:gd name="T26" fmla="*/ 358 w 439"/>
                    <a:gd name="T27" fmla="*/ 334 h 439"/>
                    <a:gd name="T28" fmla="*/ 385 w 439"/>
                    <a:gd name="T29" fmla="*/ 289 h 439"/>
                    <a:gd name="T30" fmla="*/ 399 w 439"/>
                    <a:gd name="T31" fmla="*/ 237 h 439"/>
                    <a:gd name="T32" fmla="*/ 396 w 439"/>
                    <a:gd name="T33" fmla="*/ 182 h 439"/>
                    <a:gd name="T34" fmla="*/ 377 w 439"/>
                    <a:gd name="T35" fmla="*/ 134 h 439"/>
                    <a:gd name="T36" fmla="*/ 346 w 439"/>
                    <a:gd name="T37" fmla="*/ 91 h 439"/>
                    <a:gd name="T38" fmla="*/ 305 w 439"/>
                    <a:gd name="T39" fmla="*/ 60 h 439"/>
                    <a:gd name="T40" fmla="*/ 256 w 439"/>
                    <a:gd name="T41" fmla="*/ 43 h 439"/>
                    <a:gd name="T42" fmla="*/ 220 w 439"/>
                    <a:gd name="T43" fmla="*/ 439 h 439"/>
                    <a:gd name="T44" fmla="*/ 154 w 439"/>
                    <a:gd name="T45" fmla="*/ 429 h 439"/>
                    <a:gd name="T46" fmla="*/ 97 w 439"/>
                    <a:gd name="T47" fmla="*/ 401 h 439"/>
                    <a:gd name="T48" fmla="*/ 49 w 439"/>
                    <a:gd name="T49" fmla="*/ 359 h 439"/>
                    <a:gd name="T50" fmla="*/ 17 w 439"/>
                    <a:gd name="T51" fmla="*/ 304 h 439"/>
                    <a:gd name="T52" fmla="*/ 1 w 439"/>
                    <a:gd name="T53" fmla="*/ 242 h 439"/>
                    <a:gd name="T54" fmla="*/ 4 w 439"/>
                    <a:gd name="T55" fmla="*/ 175 h 439"/>
                    <a:gd name="T56" fmla="*/ 26 w 439"/>
                    <a:gd name="T57" fmla="*/ 114 h 439"/>
                    <a:gd name="T58" fmla="*/ 64 w 439"/>
                    <a:gd name="T59" fmla="*/ 63 h 439"/>
                    <a:gd name="T60" fmla="*/ 114 w 439"/>
                    <a:gd name="T61" fmla="*/ 26 h 439"/>
                    <a:gd name="T62" fmla="*/ 175 w 439"/>
                    <a:gd name="T63" fmla="*/ 3 h 439"/>
                    <a:gd name="T64" fmla="*/ 242 w 439"/>
                    <a:gd name="T65" fmla="*/ 0 h 439"/>
                    <a:gd name="T66" fmla="*/ 305 w 439"/>
                    <a:gd name="T67" fmla="*/ 16 h 439"/>
                    <a:gd name="T68" fmla="*/ 359 w 439"/>
                    <a:gd name="T69" fmla="*/ 49 h 439"/>
                    <a:gd name="T70" fmla="*/ 401 w 439"/>
                    <a:gd name="T71" fmla="*/ 96 h 439"/>
                    <a:gd name="T72" fmla="*/ 430 w 439"/>
                    <a:gd name="T73" fmla="*/ 154 h 439"/>
                    <a:gd name="T74" fmla="*/ 439 w 439"/>
                    <a:gd name="T75" fmla="*/ 219 h 439"/>
                    <a:gd name="T76" fmla="*/ 430 w 439"/>
                    <a:gd name="T77" fmla="*/ 284 h 439"/>
                    <a:gd name="T78" fmla="*/ 401 w 439"/>
                    <a:gd name="T79" fmla="*/ 342 h 439"/>
                    <a:gd name="T80" fmla="*/ 359 w 439"/>
                    <a:gd name="T81" fmla="*/ 388 h 439"/>
                    <a:gd name="T82" fmla="*/ 305 w 439"/>
                    <a:gd name="T83" fmla="*/ 422 h 439"/>
                    <a:gd name="T84" fmla="*/ 242 w 439"/>
                    <a:gd name="T85"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9" h="439">
                      <a:moveTo>
                        <a:pt x="220" y="39"/>
                      </a:moveTo>
                      <a:lnTo>
                        <a:pt x="201" y="39"/>
                      </a:lnTo>
                      <a:lnTo>
                        <a:pt x="184" y="43"/>
                      </a:lnTo>
                      <a:lnTo>
                        <a:pt x="166" y="47"/>
                      </a:lnTo>
                      <a:lnTo>
                        <a:pt x="149" y="53"/>
                      </a:lnTo>
                      <a:lnTo>
                        <a:pt x="134" y="60"/>
                      </a:lnTo>
                      <a:lnTo>
                        <a:pt x="119" y="70"/>
                      </a:lnTo>
                      <a:lnTo>
                        <a:pt x="105" y="80"/>
                      </a:lnTo>
                      <a:lnTo>
                        <a:pt x="92" y="91"/>
                      </a:lnTo>
                      <a:lnTo>
                        <a:pt x="81" y="105"/>
                      </a:lnTo>
                      <a:lnTo>
                        <a:pt x="71" y="119"/>
                      </a:lnTo>
                      <a:lnTo>
                        <a:pt x="61" y="134"/>
                      </a:lnTo>
                      <a:lnTo>
                        <a:pt x="53" y="149"/>
                      </a:lnTo>
                      <a:lnTo>
                        <a:pt x="47" y="166"/>
                      </a:lnTo>
                      <a:lnTo>
                        <a:pt x="43" y="182"/>
                      </a:lnTo>
                      <a:lnTo>
                        <a:pt x="41" y="201"/>
                      </a:lnTo>
                      <a:lnTo>
                        <a:pt x="40" y="219"/>
                      </a:lnTo>
                      <a:lnTo>
                        <a:pt x="41" y="237"/>
                      </a:lnTo>
                      <a:lnTo>
                        <a:pt x="43" y="255"/>
                      </a:lnTo>
                      <a:lnTo>
                        <a:pt x="47" y="273"/>
                      </a:lnTo>
                      <a:lnTo>
                        <a:pt x="53" y="289"/>
                      </a:lnTo>
                      <a:lnTo>
                        <a:pt x="61" y="305"/>
                      </a:lnTo>
                      <a:lnTo>
                        <a:pt x="71" y="320"/>
                      </a:lnTo>
                      <a:lnTo>
                        <a:pt x="81" y="334"/>
                      </a:lnTo>
                      <a:lnTo>
                        <a:pt x="92" y="346"/>
                      </a:lnTo>
                      <a:lnTo>
                        <a:pt x="105" y="357"/>
                      </a:lnTo>
                      <a:lnTo>
                        <a:pt x="119" y="369"/>
                      </a:lnTo>
                      <a:lnTo>
                        <a:pt x="134" y="377"/>
                      </a:lnTo>
                      <a:lnTo>
                        <a:pt x="149" y="385"/>
                      </a:lnTo>
                      <a:lnTo>
                        <a:pt x="166" y="391"/>
                      </a:lnTo>
                      <a:lnTo>
                        <a:pt x="184" y="396"/>
                      </a:lnTo>
                      <a:lnTo>
                        <a:pt x="201" y="398"/>
                      </a:lnTo>
                      <a:lnTo>
                        <a:pt x="220" y="398"/>
                      </a:lnTo>
                      <a:lnTo>
                        <a:pt x="237" y="398"/>
                      </a:lnTo>
                      <a:lnTo>
                        <a:pt x="256" y="396"/>
                      </a:lnTo>
                      <a:lnTo>
                        <a:pt x="273" y="391"/>
                      </a:lnTo>
                      <a:lnTo>
                        <a:pt x="289" y="385"/>
                      </a:lnTo>
                      <a:lnTo>
                        <a:pt x="305" y="377"/>
                      </a:lnTo>
                      <a:lnTo>
                        <a:pt x="320" y="369"/>
                      </a:lnTo>
                      <a:lnTo>
                        <a:pt x="334" y="357"/>
                      </a:lnTo>
                      <a:lnTo>
                        <a:pt x="346" y="346"/>
                      </a:lnTo>
                      <a:lnTo>
                        <a:pt x="358" y="334"/>
                      </a:lnTo>
                      <a:lnTo>
                        <a:pt x="369" y="320"/>
                      </a:lnTo>
                      <a:lnTo>
                        <a:pt x="377" y="305"/>
                      </a:lnTo>
                      <a:lnTo>
                        <a:pt x="385" y="289"/>
                      </a:lnTo>
                      <a:lnTo>
                        <a:pt x="391" y="273"/>
                      </a:lnTo>
                      <a:lnTo>
                        <a:pt x="396" y="255"/>
                      </a:lnTo>
                      <a:lnTo>
                        <a:pt x="399" y="237"/>
                      </a:lnTo>
                      <a:lnTo>
                        <a:pt x="400" y="219"/>
                      </a:lnTo>
                      <a:lnTo>
                        <a:pt x="399" y="201"/>
                      </a:lnTo>
                      <a:lnTo>
                        <a:pt x="396" y="182"/>
                      </a:lnTo>
                      <a:lnTo>
                        <a:pt x="391" y="166"/>
                      </a:lnTo>
                      <a:lnTo>
                        <a:pt x="385" y="149"/>
                      </a:lnTo>
                      <a:lnTo>
                        <a:pt x="377" y="134"/>
                      </a:lnTo>
                      <a:lnTo>
                        <a:pt x="369" y="119"/>
                      </a:lnTo>
                      <a:lnTo>
                        <a:pt x="358" y="105"/>
                      </a:lnTo>
                      <a:lnTo>
                        <a:pt x="346" y="91"/>
                      </a:lnTo>
                      <a:lnTo>
                        <a:pt x="334" y="80"/>
                      </a:lnTo>
                      <a:lnTo>
                        <a:pt x="320" y="70"/>
                      </a:lnTo>
                      <a:lnTo>
                        <a:pt x="305" y="60"/>
                      </a:lnTo>
                      <a:lnTo>
                        <a:pt x="289" y="53"/>
                      </a:lnTo>
                      <a:lnTo>
                        <a:pt x="273" y="47"/>
                      </a:lnTo>
                      <a:lnTo>
                        <a:pt x="256" y="43"/>
                      </a:lnTo>
                      <a:lnTo>
                        <a:pt x="237" y="39"/>
                      </a:lnTo>
                      <a:lnTo>
                        <a:pt x="220" y="39"/>
                      </a:lnTo>
                      <a:close/>
                      <a:moveTo>
                        <a:pt x="220" y="439"/>
                      </a:moveTo>
                      <a:lnTo>
                        <a:pt x="197" y="438"/>
                      </a:lnTo>
                      <a:lnTo>
                        <a:pt x="175" y="434"/>
                      </a:lnTo>
                      <a:lnTo>
                        <a:pt x="154" y="429"/>
                      </a:lnTo>
                      <a:lnTo>
                        <a:pt x="134" y="422"/>
                      </a:lnTo>
                      <a:lnTo>
                        <a:pt x="114" y="412"/>
                      </a:lnTo>
                      <a:lnTo>
                        <a:pt x="97" y="401"/>
                      </a:lnTo>
                      <a:lnTo>
                        <a:pt x="79" y="388"/>
                      </a:lnTo>
                      <a:lnTo>
                        <a:pt x="64" y="375"/>
                      </a:lnTo>
                      <a:lnTo>
                        <a:pt x="49" y="359"/>
                      </a:lnTo>
                      <a:lnTo>
                        <a:pt x="37" y="342"/>
                      </a:lnTo>
                      <a:lnTo>
                        <a:pt x="26" y="324"/>
                      </a:lnTo>
                      <a:lnTo>
                        <a:pt x="17" y="304"/>
                      </a:lnTo>
                      <a:lnTo>
                        <a:pt x="10" y="284"/>
                      </a:lnTo>
                      <a:lnTo>
                        <a:pt x="4" y="263"/>
                      </a:lnTo>
                      <a:lnTo>
                        <a:pt x="1" y="242"/>
                      </a:lnTo>
                      <a:lnTo>
                        <a:pt x="0" y="219"/>
                      </a:lnTo>
                      <a:lnTo>
                        <a:pt x="1" y="197"/>
                      </a:lnTo>
                      <a:lnTo>
                        <a:pt x="4" y="175"/>
                      </a:lnTo>
                      <a:lnTo>
                        <a:pt x="10" y="154"/>
                      </a:lnTo>
                      <a:lnTo>
                        <a:pt x="17" y="134"/>
                      </a:lnTo>
                      <a:lnTo>
                        <a:pt x="26" y="114"/>
                      </a:lnTo>
                      <a:lnTo>
                        <a:pt x="37" y="96"/>
                      </a:lnTo>
                      <a:lnTo>
                        <a:pt x="49" y="79"/>
                      </a:lnTo>
                      <a:lnTo>
                        <a:pt x="64" y="63"/>
                      </a:lnTo>
                      <a:lnTo>
                        <a:pt x="79" y="49"/>
                      </a:lnTo>
                      <a:lnTo>
                        <a:pt x="97" y="37"/>
                      </a:lnTo>
                      <a:lnTo>
                        <a:pt x="114" y="26"/>
                      </a:lnTo>
                      <a:lnTo>
                        <a:pt x="134" y="16"/>
                      </a:lnTo>
                      <a:lnTo>
                        <a:pt x="154" y="9"/>
                      </a:lnTo>
                      <a:lnTo>
                        <a:pt x="175" y="3"/>
                      </a:lnTo>
                      <a:lnTo>
                        <a:pt x="197" y="0"/>
                      </a:lnTo>
                      <a:lnTo>
                        <a:pt x="220" y="0"/>
                      </a:lnTo>
                      <a:lnTo>
                        <a:pt x="242" y="0"/>
                      </a:lnTo>
                      <a:lnTo>
                        <a:pt x="263" y="3"/>
                      </a:lnTo>
                      <a:lnTo>
                        <a:pt x="284" y="9"/>
                      </a:lnTo>
                      <a:lnTo>
                        <a:pt x="305" y="16"/>
                      </a:lnTo>
                      <a:lnTo>
                        <a:pt x="324" y="26"/>
                      </a:lnTo>
                      <a:lnTo>
                        <a:pt x="343" y="37"/>
                      </a:lnTo>
                      <a:lnTo>
                        <a:pt x="359" y="49"/>
                      </a:lnTo>
                      <a:lnTo>
                        <a:pt x="375" y="63"/>
                      </a:lnTo>
                      <a:lnTo>
                        <a:pt x="389" y="79"/>
                      </a:lnTo>
                      <a:lnTo>
                        <a:pt x="401" y="96"/>
                      </a:lnTo>
                      <a:lnTo>
                        <a:pt x="412" y="114"/>
                      </a:lnTo>
                      <a:lnTo>
                        <a:pt x="422" y="134"/>
                      </a:lnTo>
                      <a:lnTo>
                        <a:pt x="430" y="154"/>
                      </a:lnTo>
                      <a:lnTo>
                        <a:pt x="435" y="175"/>
                      </a:lnTo>
                      <a:lnTo>
                        <a:pt x="438" y="197"/>
                      </a:lnTo>
                      <a:lnTo>
                        <a:pt x="439" y="219"/>
                      </a:lnTo>
                      <a:lnTo>
                        <a:pt x="438" y="242"/>
                      </a:lnTo>
                      <a:lnTo>
                        <a:pt x="435" y="263"/>
                      </a:lnTo>
                      <a:lnTo>
                        <a:pt x="430" y="284"/>
                      </a:lnTo>
                      <a:lnTo>
                        <a:pt x="422" y="304"/>
                      </a:lnTo>
                      <a:lnTo>
                        <a:pt x="412" y="324"/>
                      </a:lnTo>
                      <a:lnTo>
                        <a:pt x="401" y="342"/>
                      </a:lnTo>
                      <a:lnTo>
                        <a:pt x="389" y="359"/>
                      </a:lnTo>
                      <a:lnTo>
                        <a:pt x="375" y="375"/>
                      </a:lnTo>
                      <a:lnTo>
                        <a:pt x="359" y="388"/>
                      </a:lnTo>
                      <a:lnTo>
                        <a:pt x="343" y="401"/>
                      </a:lnTo>
                      <a:lnTo>
                        <a:pt x="324" y="412"/>
                      </a:lnTo>
                      <a:lnTo>
                        <a:pt x="305" y="422"/>
                      </a:lnTo>
                      <a:lnTo>
                        <a:pt x="284" y="429"/>
                      </a:lnTo>
                      <a:lnTo>
                        <a:pt x="263" y="434"/>
                      </a:lnTo>
                      <a:lnTo>
                        <a:pt x="242" y="438"/>
                      </a:lnTo>
                      <a:lnTo>
                        <a:pt x="22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13" name="Freeform 60"/>
                <p:cNvSpPr>
                  <a:spLocks/>
                </p:cNvSpPr>
                <p:nvPr/>
              </p:nvSpPr>
              <p:spPr bwMode="auto">
                <a:xfrm>
                  <a:off x="8763824" y="1983821"/>
                  <a:ext cx="160512" cy="110698"/>
                </a:xfrm>
                <a:custGeom>
                  <a:avLst/>
                  <a:gdLst>
                    <a:gd name="T0" fmla="*/ 100 w 260"/>
                    <a:gd name="T1" fmla="*/ 180 h 180"/>
                    <a:gd name="T2" fmla="*/ 96 w 260"/>
                    <a:gd name="T3" fmla="*/ 180 h 180"/>
                    <a:gd name="T4" fmla="*/ 92 w 260"/>
                    <a:gd name="T5" fmla="*/ 179 h 180"/>
                    <a:gd name="T6" fmla="*/ 90 w 260"/>
                    <a:gd name="T7" fmla="*/ 176 h 180"/>
                    <a:gd name="T8" fmla="*/ 86 w 260"/>
                    <a:gd name="T9" fmla="*/ 174 h 180"/>
                    <a:gd name="T10" fmla="*/ 7 w 260"/>
                    <a:gd name="T11" fmla="*/ 94 h 180"/>
                    <a:gd name="T12" fmla="*/ 4 w 260"/>
                    <a:gd name="T13" fmla="*/ 90 h 180"/>
                    <a:gd name="T14" fmla="*/ 2 w 260"/>
                    <a:gd name="T15" fmla="*/ 88 h 180"/>
                    <a:gd name="T16" fmla="*/ 0 w 260"/>
                    <a:gd name="T17" fmla="*/ 84 h 180"/>
                    <a:gd name="T18" fmla="*/ 0 w 260"/>
                    <a:gd name="T19" fmla="*/ 80 h 180"/>
                    <a:gd name="T20" fmla="*/ 0 w 260"/>
                    <a:gd name="T21" fmla="*/ 77 h 180"/>
                    <a:gd name="T22" fmla="*/ 2 w 260"/>
                    <a:gd name="T23" fmla="*/ 73 h 180"/>
                    <a:gd name="T24" fmla="*/ 4 w 260"/>
                    <a:gd name="T25" fmla="*/ 69 h 180"/>
                    <a:gd name="T26" fmla="*/ 7 w 260"/>
                    <a:gd name="T27" fmla="*/ 66 h 180"/>
                    <a:gd name="T28" fmla="*/ 9 w 260"/>
                    <a:gd name="T29" fmla="*/ 63 h 180"/>
                    <a:gd name="T30" fmla="*/ 13 w 260"/>
                    <a:gd name="T31" fmla="*/ 62 h 180"/>
                    <a:gd name="T32" fmla="*/ 16 w 260"/>
                    <a:gd name="T33" fmla="*/ 61 h 180"/>
                    <a:gd name="T34" fmla="*/ 20 w 260"/>
                    <a:gd name="T35" fmla="*/ 61 h 180"/>
                    <a:gd name="T36" fmla="*/ 24 w 260"/>
                    <a:gd name="T37" fmla="*/ 61 h 180"/>
                    <a:gd name="T38" fmla="*/ 28 w 260"/>
                    <a:gd name="T39" fmla="*/ 62 h 180"/>
                    <a:gd name="T40" fmla="*/ 31 w 260"/>
                    <a:gd name="T41" fmla="*/ 63 h 180"/>
                    <a:gd name="T42" fmla="*/ 34 w 260"/>
                    <a:gd name="T43" fmla="*/ 66 h 180"/>
                    <a:gd name="T44" fmla="*/ 100 w 260"/>
                    <a:gd name="T45" fmla="*/ 131 h 180"/>
                    <a:gd name="T46" fmla="*/ 226 w 260"/>
                    <a:gd name="T47" fmla="*/ 6 h 180"/>
                    <a:gd name="T48" fmla="*/ 229 w 260"/>
                    <a:gd name="T49" fmla="*/ 3 h 180"/>
                    <a:gd name="T50" fmla="*/ 233 w 260"/>
                    <a:gd name="T51" fmla="*/ 1 h 180"/>
                    <a:gd name="T52" fmla="*/ 236 w 260"/>
                    <a:gd name="T53" fmla="*/ 1 h 180"/>
                    <a:gd name="T54" fmla="*/ 240 w 260"/>
                    <a:gd name="T55" fmla="*/ 0 h 180"/>
                    <a:gd name="T56" fmla="*/ 244 w 260"/>
                    <a:gd name="T57" fmla="*/ 1 h 180"/>
                    <a:gd name="T58" fmla="*/ 247 w 260"/>
                    <a:gd name="T59" fmla="*/ 1 h 180"/>
                    <a:gd name="T60" fmla="*/ 251 w 260"/>
                    <a:gd name="T61" fmla="*/ 3 h 180"/>
                    <a:gd name="T62" fmla="*/ 255 w 260"/>
                    <a:gd name="T63" fmla="*/ 6 h 180"/>
                    <a:gd name="T64" fmla="*/ 257 w 260"/>
                    <a:gd name="T65" fmla="*/ 8 h 180"/>
                    <a:gd name="T66" fmla="*/ 259 w 260"/>
                    <a:gd name="T67" fmla="*/ 12 h 180"/>
                    <a:gd name="T68" fmla="*/ 260 w 260"/>
                    <a:gd name="T69" fmla="*/ 16 h 180"/>
                    <a:gd name="T70" fmla="*/ 260 w 260"/>
                    <a:gd name="T71" fmla="*/ 20 h 180"/>
                    <a:gd name="T72" fmla="*/ 260 w 260"/>
                    <a:gd name="T73" fmla="*/ 23 h 180"/>
                    <a:gd name="T74" fmla="*/ 259 w 260"/>
                    <a:gd name="T75" fmla="*/ 27 h 180"/>
                    <a:gd name="T76" fmla="*/ 257 w 260"/>
                    <a:gd name="T77" fmla="*/ 31 h 180"/>
                    <a:gd name="T78" fmla="*/ 255 w 260"/>
                    <a:gd name="T79" fmla="*/ 34 h 180"/>
                    <a:gd name="T80" fmla="*/ 115 w 260"/>
                    <a:gd name="T81" fmla="*/ 174 h 180"/>
                    <a:gd name="T82" fmla="*/ 111 w 260"/>
                    <a:gd name="T83" fmla="*/ 176 h 180"/>
                    <a:gd name="T84" fmla="*/ 108 w 260"/>
                    <a:gd name="T85" fmla="*/ 179 h 180"/>
                    <a:gd name="T86" fmla="*/ 105 w 260"/>
                    <a:gd name="T87" fmla="*/ 180 h 180"/>
                    <a:gd name="T88" fmla="*/ 100 w 260"/>
                    <a:gd name="T8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180">
                      <a:moveTo>
                        <a:pt x="100" y="180"/>
                      </a:moveTo>
                      <a:lnTo>
                        <a:pt x="96" y="180"/>
                      </a:lnTo>
                      <a:lnTo>
                        <a:pt x="92" y="179"/>
                      </a:lnTo>
                      <a:lnTo>
                        <a:pt x="90" y="176"/>
                      </a:lnTo>
                      <a:lnTo>
                        <a:pt x="86" y="174"/>
                      </a:lnTo>
                      <a:lnTo>
                        <a:pt x="7" y="94"/>
                      </a:lnTo>
                      <a:lnTo>
                        <a:pt x="4" y="90"/>
                      </a:lnTo>
                      <a:lnTo>
                        <a:pt x="2" y="88"/>
                      </a:lnTo>
                      <a:lnTo>
                        <a:pt x="0" y="84"/>
                      </a:lnTo>
                      <a:lnTo>
                        <a:pt x="0" y="80"/>
                      </a:lnTo>
                      <a:lnTo>
                        <a:pt x="0" y="77"/>
                      </a:lnTo>
                      <a:lnTo>
                        <a:pt x="2" y="73"/>
                      </a:lnTo>
                      <a:lnTo>
                        <a:pt x="4" y="69"/>
                      </a:lnTo>
                      <a:lnTo>
                        <a:pt x="7" y="66"/>
                      </a:lnTo>
                      <a:lnTo>
                        <a:pt x="9" y="63"/>
                      </a:lnTo>
                      <a:lnTo>
                        <a:pt x="13" y="62"/>
                      </a:lnTo>
                      <a:lnTo>
                        <a:pt x="16" y="61"/>
                      </a:lnTo>
                      <a:lnTo>
                        <a:pt x="20" y="61"/>
                      </a:lnTo>
                      <a:lnTo>
                        <a:pt x="24" y="61"/>
                      </a:lnTo>
                      <a:lnTo>
                        <a:pt x="28" y="62"/>
                      </a:lnTo>
                      <a:lnTo>
                        <a:pt x="31" y="63"/>
                      </a:lnTo>
                      <a:lnTo>
                        <a:pt x="34" y="66"/>
                      </a:lnTo>
                      <a:lnTo>
                        <a:pt x="100" y="131"/>
                      </a:lnTo>
                      <a:lnTo>
                        <a:pt x="226" y="6"/>
                      </a:lnTo>
                      <a:lnTo>
                        <a:pt x="229" y="3"/>
                      </a:lnTo>
                      <a:lnTo>
                        <a:pt x="233" y="1"/>
                      </a:lnTo>
                      <a:lnTo>
                        <a:pt x="236" y="1"/>
                      </a:lnTo>
                      <a:lnTo>
                        <a:pt x="240" y="0"/>
                      </a:lnTo>
                      <a:lnTo>
                        <a:pt x="244" y="1"/>
                      </a:lnTo>
                      <a:lnTo>
                        <a:pt x="247" y="1"/>
                      </a:lnTo>
                      <a:lnTo>
                        <a:pt x="251" y="3"/>
                      </a:lnTo>
                      <a:lnTo>
                        <a:pt x="255" y="6"/>
                      </a:lnTo>
                      <a:lnTo>
                        <a:pt x="257" y="8"/>
                      </a:lnTo>
                      <a:lnTo>
                        <a:pt x="259" y="12"/>
                      </a:lnTo>
                      <a:lnTo>
                        <a:pt x="260" y="16"/>
                      </a:lnTo>
                      <a:lnTo>
                        <a:pt x="260" y="20"/>
                      </a:lnTo>
                      <a:lnTo>
                        <a:pt x="260" y="23"/>
                      </a:lnTo>
                      <a:lnTo>
                        <a:pt x="259" y="27"/>
                      </a:lnTo>
                      <a:lnTo>
                        <a:pt x="257" y="31"/>
                      </a:lnTo>
                      <a:lnTo>
                        <a:pt x="255" y="34"/>
                      </a:lnTo>
                      <a:lnTo>
                        <a:pt x="115" y="174"/>
                      </a:lnTo>
                      <a:lnTo>
                        <a:pt x="111" y="176"/>
                      </a:lnTo>
                      <a:lnTo>
                        <a:pt x="108" y="179"/>
                      </a:lnTo>
                      <a:lnTo>
                        <a:pt x="105" y="180"/>
                      </a:lnTo>
                      <a:lnTo>
                        <a:pt x="1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grpSp>
          <p:nvGrpSpPr>
            <p:cNvPr id="125" name="Group 124"/>
            <p:cNvGrpSpPr/>
            <p:nvPr/>
          </p:nvGrpSpPr>
          <p:grpSpPr>
            <a:xfrm>
              <a:off x="4273394" y="3450751"/>
              <a:ext cx="697500" cy="746715"/>
              <a:chOff x="4271774" y="3450751"/>
              <a:chExt cx="697500" cy="746715"/>
            </a:xfrm>
          </p:grpSpPr>
          <p:grpSp>
            <p:nvGrpSpPr>
              <p:cNvPr id="114" name="Group 113"/>
              <p:cNvGrpSpPr/>
              <p:nvPr/>
            </p:nvGrpSpPr>
            <p:grpSpPr>
              <a:xfrm>
                <a:off x="4271774" y="3450751"/>
                <a:ext cx="697500" cy="746715"/>
                <a:chOff x="-1046920" y="2123773"/>
                <a:chExt cx="1219200" cy="1305227"/>
              </a:xfrm>
            </p:grpSpPr>
            <p:sp>
              <p:nvSpPr>
                <p:cNvPr id="115" name="Oval 114"/>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p>
              </p:txBody>
            </p:sp>
            <p:sp>
              <p:nvSpPr>
                <p:cNvPr id="116" name="Oval 115"/>
                <p:cNvSpPr/>
                <p:nvPr/>
              </p:nvSpPr>
              <p:spPr>
                <a:xfrm>
                  <a:off x="-961755" y="2294965"/>
                  <a:ext cx="1048871" cy="1048871"/>
                </a:xfrm>
                <a:prstGeom prst="ellipse">
                  <a:avLst/>
                </a:prstGeom>
                <a:solidFill>
                  <a:srgbClr val="F1C40F"/>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p>
              </p:txBody>
            </p:sp>
            <p:sp>
              <p:nvSpPr>
                <p:cNvPr id="117" name="Oval 116"/>
                <p:cNvSpPr/>
                <p:nvPr/>
              </p:nvSpPr>
              <p:spPr>
                <a:xfrm>
                  <a:off x="-627820" y="2123773"/>
                  <a:ext cx="381000" cy="381000"/>
                </a:xfrm>
                <a:prstGeom prst="ellipse">
                  <a:avLst/>
                </a:prstGeom>
                <a:solidFill>
                  <a:schemeClr val="bg1"/>
                </a:solidFill>
                <a:ln w="38100">
                  <a:solidFill>
                    <a:srgbClr val="F1C4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700" b="1" dirty="0" smtClean="0">
                      <a:solidFill>
                        <a:srgbClr val="7F8C8D"/>
                      </a:solidFill>
                      <a:latin typeface="Calibri Light" panose="020F0302020204030204" pitchFamily="34" charset="0"/>
                    </a:rPr>
                    <a:t>2</a:t>
                  </a:r>
                  <a:endParaRPr lang="id-ID" sz="700" b="1" dirty="0">
                    <a:solidFill>
                      <a:srgbClr val="7F8C8D"/>
                    </a:solidFill>
                    <a:latin typeface="Calibri Light" panose="020F0302020204030204" pitchFamily="34" charset="0"/>
                  </a:endParaRPr>
                </a:p>
              </p:txBody>
            </p:sp>
          </p:grpSp>
          <p:grpSp>
            <p:nvGrpSpPr>
              <p:cNvPr id="118" name="Group 117"/>
              <p:cNvGrpSpPr/>
              <p:nvPr/>
            </p:nvGrpSpPr>
            <p:grpSpPr>
              <a:xfrm>
                <a:off x="4473584" y="3723026"/>
                <a:ext cx="293880" cy="291911"/>
                <a:chOff x="5507038" y="2324101"/>
                <a:chExt cx="711200" cy="706438"/>
              </a:xfrm>
              <a:solidFill>
                <a:schemeClr val="bg1"/>
              </a:solidFill>
            </p:grpSpPr>
            <p:sp>
              <p:nvSpPr>
                <p:cNvPr id="119" name="Freeform 23"/>
                <p:cNvSpPr>
                  <a:spLocks/>
                </p:cNvSpPr>
                <p:nvPr/>
              </p:nvSpPr>
              <p:spPr bwMode="auto">
                <a:xfrm>
                  <a:off x="5575300" y="2374901"/>
                  <a:ext cx="250825" cy="176213"/>
                </a:xfrm>
                <a:custGeom>
                  <a:avLst/>
                  <a:gdLst>
                    <a:gd name="T0" fmla="*/ 758 w 790"/>
                    <a:gd name="T1" fmla="*/ 78 h 559"/>
                    <a:gd name="T2" fmla="*/ 772 w 790"/>
                    <a:gd name="T3" fmla="*/ 72 h 559"/>
                    <a:gd name="T4" fmla="*/ 783 w 790"/>
                    <a:gd name="T5" fmla="*/ 61 h 559"/>
                    <a:gd name="T6" fmla="*/ 789 w 790"/>
                    <a:gd name="T7" fmla="*/ 48 h 559"/>
                    <a:gd name="T8" fmla="*/ 789 w 790"/>
                    <a:gd name="T9" fmla="*/ 31 h 559"/>
                    <a:gd name="T10" fmla="*/ 783 w 790"/>
                    <a:gd name="T11" fmla="*/ 18 h 559"/>
                    <a:gd name="T12" fmla="*/ 772 w 790"/>
                    <a:gd name="T13" fmla="*/ 6 h 559"/>
                    <a:gd name="T14" fmla="*/ 758 w 790"/>
                    <a:gd name="T15" fmla="*/ 0 h 559"/>
                    <a:gd name="T16" fmla="*/ 749 w 790"/>
                    <a:gd name="T17" fmla="*/ 0 h 559"/>
                    <a:gd name="T18" fmla="*/ 689 w 790"/>
                    <a:gd name="T19" fmla="*/ 2 h 559"/>
                    <a:gd name="T20" fmla="*/ 627 w 790"/>
                    <a:gd name="T21" fmla="*/ 9 h 559"/>
                    <a:gd name="T22" fmla="*/ 569 w 790"/>
                    <a:gd name="T23" fmla="*/ 20 h 559"/>
                    <a:gd name="T24" fmla="*/ 511 w 790"/>
                    <a:gd name="T25" fmla="*/ 36 h 559"/>
                    <a:gd name="T26" fmla="*/ 455 w 790"/>
                    <a:gd name="T27" fmla="*/ 55 h 559"/>
                    <a:gd name="T28" fmla="*/ 400 w 790"/>
                    <a:gd name="T29" fmla="*/ 78 h 559"/>
                    <a:gd name="T30" fmla="*/ 349 w 790"/>
                    <a:gd name="T31" fmla="*/ 106 h 559"/>
                    <a:gd name="T32" fmla="*/ 298 w 790"/>
                    <a:gd name="T33" fmla="*/ 137 h 559"/>
                    <a:gd name="T34" fmla="*/ 251 w 790"/>
                    <a:gd name="T35" fmla="*/ 172 h 559"/>
                    <a:gd name="T36" fmla="*/ 207 w 790"/>
                    <a:gd name="T37" fmla="*/ 210 h 559"/>
                    <a:gd name="T38" fmla="*/ 164 w 790"/>
                    <a:gd name="T39" fmla="*/ 252 h 559"/>
                    <a:gd name="T40" fmla="*/ 125 w 790"/>
                    <a:gd name="T41" fmla="*/ 296 h 559"/>
                    <a:gd name="T42" fmla="*/ 89 w 790"/>
                    <a:gd name="T43" fmla="*/ 344 h 559"/>
                    <a:gd name="T44" fmla="*/ 57 w 790"/>
                    <a:gd name="T45" fmla="*/ 395 h 559"/>
                    <a:gd name="T46" fmla="*/ 28 w 790"/>
                    <a:gd name="T47" fmla="*/ 449 h 559"/>
                    <a:gd name="T48" fmla="*/ 3 w 790"/>
                    <a:gd name="T49" fmla="*/ 505 h 559"/>
                    <a:gd name="T50" fmla="*/ 0 w 790"/>
                    <a:gd name="T51" fmla="*/ 520 h 559"/>
                    <a:gd name="T52" fmla="*/ 3 w 790"/>
                    <a:gd name="T53" fmla="*/ 535 h 559"/>
                    <a:gd name="T54" fmla="*/ 12 w 790"/>
                    <a:gd name="T55" fmla="*/ 548 h 559"/>
                    <a:gd name="T56" fmla="*/ 24 w 790"/>
                    <a:gd name="T57" fmla="*/ 556 h 559"/>
                    <a:gd name="T58" fmla="*/ 40 w 790"/>
                    <a:gd name="T59" fmla="*/ 559 h 559"/>
                    <a:gd name="T60" fmla="*/ 51 w 790"/>
                    <a:gd name="T61" fmla="*/ 557 h 559"/>
                    <a:gd name="T62" fmla="*/ 61 w 790"/>
                    <a:gd name="T63" fmla="*/ 553 h 559"/>
                    <a:gd name="T64" fmla="*/ 70 w 790"/>
                    <a:gd name="T65" fmla="*/ 545 h 559"/>
                    <a:gd name="T66" fmla="*/ 77 w 790"/>
                    <a:gd name="T67" fmla="*/ 535 h 559"/>
                    <a:gd name="T68" fmla="*/ 99 w 790"/>
                    <a:gd name="T69" fmla="*/ 483 h 559"/>
                    <a:gd name="T70" fmla="*/ 125 w 790"/>
                    <a:gd name="T71" fmla="*/ 435 h 559"/>
                    <a:gd name="T72" fmla="*/ 155 w 790"/>
                    <a:gd name="T73" fmla="*/ 389 h 559"/>
                    <a:gd name="T74" fmla="*/ 187 w 790"/>
                    <a:gd name="T75" fmla="*/ 347 h 559"/>
                    <a:gd name="T76" fmla="*/ 222 w 790"/>
                    <a:gd name="T77" fmla="*/ 306 h 559"/>
                    <a:gd name="T78" fmla="*/ 260 w 790"/>
                    <a:gd name="T79" fmla="*/ 269 h 559"/>
                    <a:gd name="T80" fmla="*/ 301 w 790"/>
                    <a:gd name="T81" fmla="*/ 235 h 559"/>
                    <a:gd name="T82" fmla="*/ 343 w 790"/>
                    <a:gd name="T83" fmla="*/ 203 h 559"/>
                    <a:gd name="T84" fmla="*/ 388 w 790"/>
                    <a:gd name="T85" fmla="*/ 175 h 559"/>
                    <a:gd name="T86" fmla="*/ 435 w 790"/>
                    <a:gd name="T87" fmla="*/ 151 h 559"/>
                    <a:gd name="T88" fmla="*/ 484 w 790"/>
                    <a:gd name="T89" fmla="*/ 130 h 559"/>
                    <a:gd name="T90" fmla="*/ 535 w 790"/>
                    <a:gd name="T91" fmla="*/ 112 h 559"/>
                    <a:gd name="T92" fmla="*/ 587 w 790"/>
                    <a:gd name="T93" fmla="*/ 98 h 559"/>
                    <a:gd name="T94" fmla="*/ 640 w 790"/>
                    <a:gd name="T95" fmla="*/ 88 h 559"/>
                    <a:gd name="T96" fmla="*/ 695 w 790"/>
                    <a:gd name="T97" fmla="*/ 81 h 559"/>
                    <a:gd name="T98" fmla="*/ 749 w 790"/>
                    <a:gd name="T99" fmla="*/ 7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0" h="559">
                      <a:moveTo>
                        <a:pt x="749" y="79"/>
                      </a:moveTo>
                      <a:lnTo>
                        <a:pt x="758" y="78"/>
                      </a:lnTo>
                      <a:lnTo>
                        <a:pt x="765" y="76"/>
                      </a:lnTo>
                      <a:lnTo>
                        <a:pt x="772" y="72"/>
                      </a:lnTo>
                      <a:lnTo>
                        <a:pt x="779" y="68"/>
                      </a:lnTo>
                      <a:lnTo>
                        <a:pt x="783" y="61"/>
                      </a:lnTo>
                      <a:lnTo>
                        <a:pt x="786" y="55"/>
                      </a:lnTo>
                      <a:lnTo>
                        <a:pt x="789" y="48"/>
                      </a:lnTo>
                      <a:lnTo>
                        <a:pt x="790" y="39"/>
                      </a:lnTo>
                      <a:lnTo>
                        <a:pt x="789" y="31"/>
                      </a:lnTo>
                      <a:lnTo>
                        <a:pt x="786" y="24"/>
                      </a:lnTo>
                      <a:lnTo>
                        <a:pt x="783" y="18"/>
                      </a:lnTo>
                      <a:lnTo>
                        <a:pt x="779" y="11"/>
                      </a:lnTo>
                      <a:lnTo>
                        <a:pt x="772" y="6"/>
                      </a:lnTo>
                      <a:lnTo>
                        <a:pt x="765" y="3"/>
                      </a:lnTo>
                      <a:lnTo>
                        <a:pt x="758" y="0"/>
                      </a:lnTo>
                      <a:lnTo>
                        <a:pt x="749" y="0"/>
                      </a:lnTo>
                      <a:lnTo>
                        <a:pt x="749" y="0"/>
                      </a:lnTo>
                      <a:lnTo>
                        <a:pt x="719" y="0"/>
                      </a:lnTo>
                      <a:lnTo>
                        <a:pt x="689" y="2"/>
                      </a:lnTo>
                      <a:lnTo>
                        <a:pt x="658" y="4"/>
                      </a:lnTo>
                      <a:lnTo>
                        <a:pt x="627" y="9"/>
                      </a:lnTo>
                      <a:lnTo>
                        <a:pt x="598" y="13"/>
                      </a:lnTo>
                      <a:lnTo>
                        <a:pt x="569" y="20"/>
                      </a:lnTo>
                      <a:lnTo>
                        <a:pt x="540" y="27"/>
                      </a:lnTo>
                      <a:lnTo>
                        <a:pt x="511" y="36"/>
                      </a:lnTo>
                      <a:lnTo>
                        <a:pt x="483" y="44"/>
                      </a:lnTo>
                      <a:lnTo>
                        <a:pt x="455" y="55"/>
                      </a:lnTo>
                      <a:lnTo>
                        <a:pt x="427" y="66"/>
                      </a:lnTo>
                      <a:lnTo>
                        <a:pt x="400" y="78"/>
                      </a:lnTo>
                      <a:lnTo>
                        <a:pt x="375" y="91"/>
                      </a:lnTo>
                      <a:lnTo>
                        <a:pt x="349" y="106"/>
                      </a:lnTo>
                      <a:lnTo>
                        <a:pt x="323" y="121"/>
                      </a:lnTo>
                      <a:lnTo>
                        <a:pt x="298" y="137"/>
                      </a:lnTo>
                      <a:lnTo>
                        <a:pt x="275" y="154"/>
                      </a:lnTo>
                      <a:lnTo>
                        <a:pt x="251" y="172"/>
                      </a:lnTo>
                      <a:lnTo>
                        <a:pt x="228" y="190"/>
                      </a:lnTo>
                      <a:lnTo>
                        <a:pt x="207" y="210"/>
                      </a:lnTo>
                      <a:lnTo>
                        <a:pt x="184" y="230"/>
                      </a:lnTo>
                      <a:lnTo>
                        <a:pt x="164" y="252"/>
                      </a:lnTo>
                      <a:lnTo>
                        <a:pt x="144" y="274"/>
                      </a:lnTo>
                      <a:lnTo>
                        <a:pt x="125" y="296"/>
                      </a:lnTo>
                      <a:lnTo>
                        <a:pt x="107" y="320"/>
                      </a:lnTo>
                      <a:lnTo>
                        <a:pt x="89" y="344"/>
                      </a:lnTo>
                      <a:lnTo>
                        <a:pt x="72" y="369"/>
                      </a:lnTo>
                      <a:lnTo>
                        <a:pt x="57" y="395"/>
                      </a:lnTo>
                      <a:lnTo>
                        <a:pt x="42" y="421"/>
                      </a:lnTo>
                      <a:lnTo>
                        <a:pt x="28" y="449"/>
                      </a:lnTo>
                      <a:lnTo>
                        <a:pt x="14" y="475"/>
                      </a:lnTo>
                      <a:lnTo>
                        <a:pt x="3" y="505"/>
                      </a:lnTo>
                      <a:lnTo>
                        <a:pt x="1" y="512"/>
                      </a:lnTo>
                      <a:lnTo>
                        <a:pt x="0" y="520"/>
                      </a:lnTo>
                      <a:lnTo>
                        <a:pt x="1" y="528"/>
                      </a:lnTo>
                      <a:lnTo>
                        <a:pt x="3" y="535"/>
                      </a:lnTo>
                      <a:lnTo>
                        <a:pt x="6" y="541"/>
                      </a:lnTo>
                      <a:lnTo>
                        <a:pt x="12" y="548"/>
                      </a:lnTo>
                      <a:lnTo>
                        <a:pt x="18" y="553"/>
                      </a:lnTo>
                      <a:lnTo>
                        <a:pt x="24" y="556"/>
                      </a:lnTo>
                      <a:lnTo>
                        <a:pt x="32" y="558"/>
                      </a:lnTo>
                      <a:lnTo>
                        <a:pt x="40" y="559"/>
                      </a:lnTo>
                      <a:lnTo>
                        <a:pt x="46" y="559"/>
                      </a:lnTo>
                      <a:lnTo>
                        <a:pt x="51" y="557"/>
                      </a:lnTo>
                      <a:lnTo>
                        <a:pt x="57" y="556"/>
                      </a:lnTo>
                      <a:lnTo>
                        <a:pt x="61" y="553"/>
                      </a:lnTo>
                      <a:lnTo>
                        <a:pt x="67" y="549"/>
                      </a:lnTo>
                      <a:lnTo>
                        <a:pt x="70" y="545"/>
                      </a:lnTo>
                      <a:lnTo>
                        <a:pt x="74" y="540"/>
                      </a:lnTo>
                      <a:lnTo>
                        <a:pt x="77" y="535"/>
                      </a:lnTo>
                      <a:lnTo>
                        <a:pt x="88" y="509"/>
                      </a:lnTo>
                      <a:lnTo>
                        <a:pt x="99" y="483"/>
                      </a:lnTo>
                      <a:lnTo>
                        <a:pt x="112" y="460"/>
                      </a:lnTo>
                      <a:lnTo>
                        <a:pt x="125" y="435"/>
                      </a:lnTo>
                      <a:lnTo>
                        <a:pt x="140" y="413"/>
                      </a:lnTo>
                      <a:lnTo>
                        <a:pt x="155" y="389"/>
                      </a:lnTo>
                      <a:lnTo>
                        <a:pt x="171" y="368"/>
                      </a:lnTo>
                      <a:lnTo>
                        <a:pt x="187" y="347"/>
                      </a:lnTo>
                      <a:lnTo>
                        <a:pt x="204" y="327"/>
                      </a:lnTo>
                      <a:lnTo>
                        <a:pt x="222" y="306"/>
                      </a:lnTo>
                      <a:lnTo>
                        <a:pt x="241" y="287"/>
                      </a:lnTo>
                      <a:lnTo>
                        <a:pt x="260" y="269"/>
                      </a:lnTo>
                      <a:lnTo>
                        <a:pt x="281" y="252"/>
                      </a:lnTo>
                      <a:lnTo>
                        <a:pt x="301" y="235"/>
                      </a:lnTo>
                      <a:lnTo>
                        <a:pt x="322" y="219"/>
                      </a:lnTo>
                      <a:lnTo>
                        <a:pt x="343" y="203"/>
                      </a:lnTo>
                      <a:lnTo>
                        <a:pt x="366" y="189"/>
                      </a:lnTo>
                      <a:lnTo>
                        <a:pt x="388" y="175"/>
                      </a:lnTo>
                      <a:lnTo>
                        <a:pt x="411" y="162"/>
                      </a:lnTo>
                      <a:lnTo>
                        <a:pt x="435" y="151"/>
                      </a:lnTo>
                      <a:lnTo>
                        <a:pt x="460" y="140"/>
                      </a:lnTo>
                      <a:lnTo>
                        <a:pt x="484" y="130"/>
                      </a:lnTo>
                      <a:lnTo>
                        <a:pt x="509" y="121"/>
                      </a:lnTo>
                      <a:lnTo>
                        <a:pt x="535" y="112"/>
                      </a:lnTo>
                      <a:lnTo>
                        <a:pt x="560" y="104"/>
                      </a:lnTo>
                      <a:lnTo>
                        <a:pt x="587" y="98"/>
                      </a:lnTo>
                      <a:lnTo>
                        <a:pt x="613" y="93"/>
                      </a:lnTo>
                      <a:lnTo>
                        <a:pt x="640" y="88"/>
                      </a:lnTo>
                      <a:lnTo>
                        <a:pt x="668" y="84"/>
                      </a:lnTo>
                      <a:lnTo>
                        <a:pt x="695" y="81"/>
                      </a:lnTo>
                      <a:lnTo>
                        <a:pt x="723" y="80"/>
                      </a:lnTo>
                      <a:lnTo>
                        <a:pt x="74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20" name="Freeform 24"/>
                <p:cNvSpPr>
                  <a:spLocks/>
                </p:cNvSpPr>
                <p:nvPr/>
              </p:nvSpPr>
              <p:spPr bwMode="auto">
                <a:xfrm>
                  <a:off x="5557838" y="2574926"/>
                  <a:ext cx="30163" cy="68263"/>
                </a:xfrm>
                <a:custGeom>
                  <a:avLst/>
                  <a:gdLst>
                    <a:gd name="T0" fmla="*/ 58 w 92"/>
                    <a:gd name="T1" fmla="*/ 0 h 215"/>
                    <a:gd name="T2" fmla="*/ 50 w 92"/>
                    <a:gd name="T3" fmla="*/ 0 h 215"/>
                    <a:gd name="T4" fmla="*/ 42 w 92"/>
                    <a:gd name="T5" fmla="*/ 1 h 215"/>
                    <a:gd name="T6" fmla="*/ 36 w 92"/>
                    <a:gd name="T7" fmla="*/ 3 h 215"/>
                    <a:gd name="T8" fmla="*/ 29 w 92"/>
                    <a:gd name="T9" fmla="*/ 7 h 215"/>
                    <a:gd name="T10" fmla="*/ 22 w 92"/>
                    <a:gd name="T11" fmla="*/ 12 h 215"/>
                    <a:gd name="T12" fmla="*/ 18 w 92"/>
                    <a:gd name="T13" fmla="*/ 18 h 215"/>
                    <a:gd name="T14" fmla="*/ 14 w 92"/>
                    <a:gd name="T15" fmla="*/ 25 h 215"/>
                    <a:gd name="T16" fmla="*/ 12 w 92"/>
                    <a:gd name="T17" fmla="*/ 32 h 215"/>
                    <a:gd name="T18" fmla="*/ 7 w 92"/>
                    <a:gd name="T19" fmla="*/ 68 h 215"/>
                    <a:gd name="T20" fmla="*/ 2 w 92"/>
                    <a:gd name="T21" fmla="*/ 103 h 215"/>
                    <a:gd name="T22" fmla="*/ 0 w 92"/>
                    <a:gd name="T23" fmla="*/ 139 h 215"/>
                    <a:gd name="T24" fmla="*/ 0 w 92"/>
                    <a:gd name="T25" fmla="*/ 176 h 215"/>
                    <a:gd name="T26" fmla="*/ 0 w 92"/>
                    <a:gd name="T27" fmla="*/ 183 h 215"/>
                    <a:gd name="T28" fmla="*/ 2 w 92"/>
                    <a:gd name="T29" fmla="*/ 191 h 215"/>
                    <a:gd name="T30" fmla="*/ 7 w 92"/>
                    <a:gd name="T31" fmla="*/ 198 h 215"/>
                    <a:gd name="T32" fmla="*/ 11 w 92"/>
                    <a:gd name="T33" fmla="*/ 204 h 215"/>
                    <a:gd name="T34" fmla="*/ 17 w 92"/>
                    <a:gd name="T35" fmla="*/ 208 h 215"/>
                    <a:gd name="T36" fmla="*/ 23 w 92"/>
                    <a:gd name="T37" fmla="*/ 213 h 215"/>
                    <a:gd name="T38" fmla="*/ 31 w 92"/>
                    <a:gd name="T39" fmla="*/ 215 h 215"/>
                    <a:gd name="T40" fmla="*/ 39 w 92"/>
                    <a:gd name="T41" fmla="*/ 215 h 215"/>
                    <a:gd name="T42" fmla="*/ 48 w 92"/>
                    <a:gd name="T43" fmla="*/ 215 h 215"/>
                    <a:gd name="T44" fmla="*/ 55 w 92"/>
                    <a:gd name="T45" fmla="*/ 213 h 215"/>
                    <a:gd name="T46" fmla="*/ 61 w 92"/>
                    <a:gd name="T47" fmla="*/ 208 h 215"/>
                    <a:gd name="T48" fmla="*/ 68 w 92"/>
                    <a:gd name="T49" fmla="*/ 204 h 215"/>
                    <a:gd name="T50" fmla="*/ 73 w 92"/>
                    <a:gd name="T51" fmla="*/ 198 h 215"/>
                    <a:gd name="T52" fmla="*/ 76 w 92"/>
                    <a:gd name="T53" fmla="*/ 191 h 215"/>
                    <a:gd name="T54" fmla="*/ 78 w 92"/>
                    <a:gd name="T55" fmla="*/ 183 h 215"/>
                    <a:gd name="T56" fmla="*/ 79 w 92"/>
                    <a:gd name="T57" fmla="*/ 176 h 215"/>
                    <a:gd name="T58" fmla="*/ 80 w 92"/>
                    <a:gd name="T59" fmla="*/ 143 h 215"/>
                    <a:gd name="T60" fmla="*/ 83 w 92"/>
                    <a:gd name="T61" fmla="*/ 111 h 215"/>
                    <a:gd name="T62" fmla="*/ 86 w 92"/>
                    <a:gd name="T63" fmla="*/ 78 h 215"/>
                    <a:gd name="T64" fmla="*/ 90 w 92"/>
                    <a:gd name="T65" fmla="*/ 47 h 215"/>
                    <a:gd name="T66" fmla="*/ 92 w 92"/>
                    <a:gd name="T67" fmla="*/ 39 h 215"/>
                    <a:gd name="T68" fmla="*/ 90 w 92"/>
                    <a:gd name="T69" fmla="*/ 31 h 215"/>
                    <a:gd name="T70" fmla="*/ 88 w 92"/>
                    <a:gd name="T71" fmla="*/ 23 h 215"/>
                    <a:gd name="T72" fmla="*/ 84 w 92"/>
                    <a:gd name="T73" fmla="*/ 17 h 215"/>
                    <a:gd name="T74" fmla="*/ 79 w 92"/>
                    <a:gd name="T75" fmla="*/ 11 h 215"/>
                    <a:gd name="T76" fmla="*/ 74 w 92"/>
                    <a:gd name="T77" fmla="*/ 6 h 215"/>
                    <a:gd name="T78" fmla="*/ 66 w 92"/>
                    <a:gd name="T79" fmla="*/ 2 h 215"/>
                    <a:gd name="T80" fmla="*/ 58 w 92"/>
                    <a:gd name="T8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215">
                      <a:moveTo>
                        <a:pt x="58" y="0"/>
                      </a:moveTo>
                      <a:lnTo>
                        <a:pt x="50" y="0"/>
                      </a:lnTo>
                      <a:lnTo>
                        <a:pt x="42" y="1"/>
                      </a:lnTo>
                      <a:lnTo>
                        <a:pt x="36" y="3"/>
                      </a:lnTo>
                      <a:lnTo>
                        <a:pt x="29" y="7"/>
                      </a:lnTo>
                      <a:lnTo>
                        <a:pt x="22" y="12"/>
                      </a:lnTo>
                      <a:lnTo>
                        <a:pt x="18" y="18"/>
                      </a:lnTo>
                      <a:lnTo>
                        <a:pt x="14" y="25"/>
                      </a:lnTo>
                      <a:lnTo>
                        <a:pt x="12" y="32"/>
                      </a:lnTo>
                      <a:lnTo>
                        <a:pt x="7" y="68"/>
                      </a:lnTo>
                      <a:lnTo>
                        <a:pt x="2" y="103"/>
                      </a:lnTo>
                      <a:lnTo>
                        <a:pt x="0" y="139"/>
                      </a:lnTo>
                      <a:lnTo>
                        <a:pt x="0" y="176"/>
                      </a:lnTo>
                      <a:lnTo>
                        <a:pt x="0" y="183"/>
                      </a:lnTo>
                      <a:lnTo>
                        <a:pt x="2" y="191"/>
                      </a:lnTo>
                      <a:lnTo>
                        <a:pt x="7" y="198"/>
                      </a:lnTo>
                      <a:lnTo>
                        <a:pt x="11" y="204"/>
                      </a:lnTo>
                      <a:lnTo>
                        <a:pt x="17" y="208"/>
                      </a:lnTo>
                      <a:lnTo>
                        <a:pt x="23" y="213"/>
                      </a:lnTo>
                      <a:lnTo>
                        <a:pt x="31" y="215"/>
                      </a:lnTo>
                      <a:lnTo>
                        <a:pt x="39" y="215"/>
                      </a:lnTo>
                      <a:lnTo>
                        <a:pt x="48" y="215"/>
                      </a:lnTo>
                      <a:lnTo>
                        <a:pt x="55" y="213"/>
                      </a:lnTo>
                      <a:lnTo>
                        <a:pt x="61" y="208"/>
                      </a:lnTo>
                      <a:lnTo>
                        <a:pt x="68" y="204"/>
                      </a:lnTo>
                      <a:lnTo>
                        <a:pt x="73" y="198"/>
                      </a:lnTo>
                      <a:lnTo>
                        <a:pt x="76" y="191"/>
                      </a:lnTo>
                      <a:lnTo>
                        <a:pt x="78" y="183"/>
                      </a:lnTo>
                      <a:lnTo>
                        <a:pt x="79" y="176"/>
                      </a:lnTo>
                      <a:lnTo>
                        <a:pt x="80" y="143"/>
                      </a:lnTo>
                      <a:lnTo>
                        <a:pt x="83" y="111"/>
                      </a:lnTo>
                      <a:lnTo>
                        <a:pt x="86" y="78"/>
                      </a:lnTo>
                      <a:lnTo>
                        <a:pt x="90" y="47"/>
                      </a:lnTo>
                      <a:lnTo>
                        <a:pt x="92" y="39"/>
                      </a:lnTo>
                      <a:lnTo>
                        <a:pt x="90" y="31"/>
                      </a:lnTo>
                      <a:lnTo>
                        <a:pt x="88" y="23"/>
                      </a:lnTo>
                      <a:lnTo>
                        <a:pt x="84" y="17"/>
                      </a:lnTo>
                      <a:lnTo>
                        <a:pt x="79" y="11"/>
                      </a:lnTo>
                      <a:lnTo>
                        <a:pt x="74" y="6"/>
                      </a:lnTo>
                      <a:lnTo>
                        <a:pt x="66" y="2"/>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21" name="Freeform 25"/>
                <p:cNvSpPr>
                  <a:spLocks noEditPoints="1"/>
                </p:cNvSpPr>
                <p:nvPr/>
              </p:nvSpPr>
              <p:spPr bwMode="auto">
                <a:xfrm>
                  <a:off x="5507038" y="2324101"/>
                  <a:ext cx="711200" cy="706438"/>
                </a:xfrm>
                <a:custGeom>
                  <a:avLst/>
                  <a:gdLst>
                    <a:gd name="T0" fmla="*/ 874 w 2240"/>
                    <a:gd name="T1" fmla="*/ 1847 h 2227"/>
                    <a:gd name="T2" fmla="*/ 661 w 2240"/>
                    <a:gd name="T3" fmla="*/ 1797 h 2227"/>
                    <a:gd name="T4" fmla="*/ 470 w 2240"/>
                    <a:gd name="T5" fmla="*/ 1700 h 2227"/>
                    <a:gd name="T6" fmla="*/ 310 w 2240"/>
                    <a:gd name="T7" fmla="*/ 1560 h 2227"/>
                    <a:gd name="T8" fmla="*/ 187 w 2240"/>
                    <a:gd name="T9" fmla="*/ 1387 h 2227"/>
                    <a:gd name="T10" fmla="*/ 107 w 2240"/>
                    <a:gd name="T11" fmla="*/ 1186 h 2227"/>
                    <a:gd name="T12" fmla="*/ 79 w 2240"/>
                    <a:gd name="T13" fmla="*/ 966 h 2227"/>
                    <a:gd name="T14" fmla="*/ 107 w 2240"/>
                    <a:gd name="T15" fmla="*/ 744 h 2227"/>
                    <a:gd name="T16" fmla="*/ 187 w 2240"/>
                    <a:gd name="T17" fmla="*/ 544 h 2227"/>
                    <a:gd name="T18" fmla="*/ 310 w 2240"/>
                    <a:gd name="T19" fmla="*/ 370 h 2227"/>
                    <a:gd name="T20" fmla="*/ 470 w 2240"/>
                    <a:gd name="T21" fmla="*/ 231 h 2227"/>
                    <a:gd name="T22" fmla="*/ 661 w 2240"/>
                    <a:gd name="T23" fmla="*/ 133 h 2227"/>
                    <a:gd name="T24" fmla="*/ 875 w 2240"/>
                    <a:gd name="T25" fmla="*/ 84 h 2227"/>
                    <a:gd name="T26" fmla="*/ 1100 w 2240"/>
                    <a:gd name="T27" fmla="*/ 89 h 2227"/>
                    <a:gd name="T28" fmla="*/ 1309 w 2240"/>
                    <a:gd name="T29" fmla="*/ 150 h 2227"/>
                    <a:gd name="T30" fmla="*/ 1495 w 2240"/>
                    <a:gd name="T31" fmla="*/ 256 h 2227"/>
                    <a:gd name="T32" fmla="*/ 1648 w 2240"/>
                    <a:gd name="T33" fmla="*/ 403 h 2227"/>
                    <a:gd name="T34" fmla="*/ 1763 w 2240"/>
                    <a:gd name="T35" fmla="*/ 582 h 2227"/>
                    <a:gd name="T36" fmla="*/ 1833 w 2240"/>
                    <a:gd name="T37" fmla="*/ 787 h 2227"/>
                    <a:gd name="T38" fmla="*/ 1850 w 2240"/>
                    <a:gd name="T39" fmla="*/ 1010 h 2227"/>
                    <a:gd name="T40" fmla="*/ 1810 w 2240"/>
                    <a:gd name="T41" fmla="*/ 1229 h 2227"/>
                    <a:gd name="T42" fmla="*/ 1722 w 2240"/>
                    <a:gd name="T43" fmla="*/ 1425 h 2227"/>
                    <a:gd name="T44" fmla="*/ 1591 w 2240"/>
                    <a:gd name="T45" fmla="*/ 1591 h 2227"/>
                    <a:gd name="T46" fmla="*/ 1423 w 2240"/>
                    <a:gd name="T47" fmla="*/ 1722 h 2227"/>
                    <a:gd name="T48" fmla="*/ 1227 w 2240"/>
                    <a:gd name="T49" fmla="*/ 1811 h 2227"/>
                    <a:gd name="T50" fmla="*/ 1010 w 2240"/>
                    <a:gd name="T51" fmla="*/ 1850 h 2227"/>
                    <a:gd name="T52" fmla="*/ 1737 w 2240"/>
                    <a:gd name="T53" fmla="*/ 1545 h 2227"/>
                    <a:gd name="T54" fmla="*/ 1847 w 2240"/>
                    <a:gd name="T55" fmla="*/ 1357 h 2227"/>
                    <a:gd name="T56" fmla="*/ 1913 w 2240"/>
                    <a:gd name="T57" fmla="*/ 1147 h 2227"/>
                    <a:gd name="T58" fmla="*/ 1929 w 2240"/>
                    <a:gd name="T59" fmla="*/ 915 h 2227"/>
                    <a:gd name="T60" fmla="*/ 1887 w 2240"/>
                    <a:gd name="T61" fmla="*/ 678 h 2227"/>
                    <a:gd name="T62" fmla="*/ 1790 w 2240"/>
                    <a:gd name="T63" fmla="*/ 465 h 2227"/>
                    <a:gd name="T64" fmla="*/ 1647 w 2240"/>
                    <a:gd name="T65" fmla="*/ 283 h 2227"/>
                    <a:gd name="T66" fmla="*/ 1465 w 2240"/>
                    <a:gd name="T67" fmla="*/ 140 h 2227"/>
                    <a:gd name="T68" fmla="*/ 1252 w 2240"/>
                    <a:gd name="T69" fmla="*/ 43 h 2227"/>
                    <a:gd name="T70" fmla="*/ 1015 w 2240"/>
                    <a:gd name="T71" fmla="*/ 1 h 2227"/>
                    <a:gd name="T72" fmla="*/ 771 w 2240"/>
                    <a:gd name="T73" fmla="*/ 19 h 2227"/>
                    <a:gd name="T74" fmla="*/ 547 w 2240"/>
                    <a:gd name="T75" fmla="*/ 95 h 2227"/>
                    <a:gd name="T76" fmla="*/ 351 w 2240"/>
                    <a:gd name="T77" fmla="*/ 220 h 2227"/>
                    <a:gd name="T78" fmla="*/ 191 w 2240"/>
                    <a:gd name="T79" fmla="*/ 388 h 2227"/>
                    <a:gd name="T80" fmla="*/ 76 w 2240"/>
                    <a:gd name="T81" fmla="*/ 590 h 2227"/>
                    <a:gd name="T82" fmla="*/ 11 w 2240"/>
                    <a:gd name="T83" fmla="*/ 818 h 2227"/>
                    <a:gd name="T84" fmla="*/ 4 w 2240"/>
                    <a:gd name="T85" fmla="*/ 1064 h 2227"/>
                    <a:gd name="T86" fmla="*/ 58 w 2240"/>
                    <a:gd name="T87" fmla="*/ 1297 h 2227"/>
                    <a:gd name="T88" fmla="*/ 164 w 2240"/>
                    <a:gd name="T89" fmla="*/ 1505 h 2227"/>
                    <a:gd name="T90" fmla="*/ 316 w 2240"/>
                    <a:gd name="T91" fmla="*/ 1680 h 2227"/>
                    <a:gd name="T92" fmla="*/ 504 w 2240"/>
                    <a:gd name="T93" fmla="*/ 1814 h 2227"/>
                    <a:gd name="T94" fmla="*/ 724 w 2240"/>
                    <a:gd name="T95" fmla="*/ 1900 h 2227"/>
                    <a:gd name="T96" fmla="*/ 964 w 2240"/>
                    <a:gd name="T97" fmla="*/ 1931 h 2227"/>
                    <a:gd name="T98" fmla="*/ 1060 w 2240"/>
                    <a:gd name="T99" fmla="*/ 1926 h 2227"/>
                    <a:gd name="T100" fmla="*/ 1196 w 2240"/>
                    <a:gd name="T101" fmla="*/ 1903 h 2227"/>
                    <a:gd name="T102" fmla="*/ 1408 w 2240"/>
                    <a:gd name="T103" fmla="*/ 1823 h 2227"/>
                    <a:gd name="T104" fmla="*/ 1592 w 2240"/>
                    <a:gd name="T105" fmla="*/ 1699 h 2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0" h="2227">
                      <a:moveTo>
                        <a:pt x="964" y="1851"/>
                      </a:moveTo>
                      <a:lnTo>
                        <a:pt x="964" y="1891"/>
                      </a:lnTo>
                      <a:lnTo>
                        <a:pt x="964" y="1851"/>
                      </a:lnTo>
                      <a:lnTo>
                        <a:pt x="920" y="1850"/>
                      </a:lnTo>
                      <a:lnTo>
                        <a:pt x="874" y="1847"/>
                      </a:lnTo>
                      <a:lnTo>
                        <a:pt x="830" y="1841"/>
                      </a:lnTo>
                      <a:lnTo>
                        <a:pt x="787" y="1833"/>
                      </a:lnTo>
                      <a:lnTo>
                        <a:pt x="744" y="1823"/>
                      </a:lnTo>
                      <a:lnTo>
                        <a:pt x="701" y="1811"/>
                      </a:lnTo>
                      <a:lnTo>
                        <a:pt x="661" y="1797"/>
                      </a:lnTo>
                      <a:lnTo>
                        <a:pt x="621" y="1782"/>
                      </a:lnTo>
                      <a:lnTo>
                        <a:pt x="582" y="1764"/>
                      </a:lnTo>
                      <a:lnTo>
                        <a:pt x="543" y="1744"/>
                      </a:lnTo>
                      <a:lnTo>
                        <a:pt x="506" y="1722"/>
                      </a:lnTo>
                      <a:lnTo>
                        <a:pt x="470" y="1700"/>
                      </a:lnTo>
                      <a:lnTo>
                        <a:pt x="435" y="1674"/>
                      </a:lnTo>
                      <a:lnTo>
                        <a:pt x="402" y="1648"/>
                      </a:lnTo>
                      <a:lnTo>
                        <a:pt x="370" y="1620"/>
                      </a:lnTo>
                      <a:lnTo>
                        <a:pt x="339" y="1591"/>
                      </a:lnTo>
                      <a:lnTo>
                        <a:pt x="310" y="1560"/>
                      </a:lnTo>
                      <a:lnTo>
                        <a:pt x="282" y="1529"/>
                      </a:lnTo>
                      <a:lnTo>
                        <a:pt x="256" y="1495"/>
                      </a:lnTo>
                      <a:lnTo>
                        <a:pt x="230" y="1460"/>
                      </a:lnTo>
                      <a:lnTo>
                        <a:pt x="208" y="1425"/>
                      </a:lnTo>
                      <a:lnTo>
                        <a:pt x="187" y="1387"/>
                      </a:lnTo>
                      <a:lnTo>
                        <a:pt x="167" y="1348"/>
                      </a:lnTo>
                      <a:lnTo>
                        <a:pt x="149" y="1309"/>
                      </a:lnTo>
                      <a:lnTo>
                        <a:pt x="133" y="1269"/>
                      </a:lnTo>
                      <a:lnTo>
                        <a:pt x="120" y="1229"/>
                      </a:lnTo>
                      <a:lnTo>
                        <a:pt x="107" y="1186"/>
                      </a:lnTo>
                      <a:lnTo>
                        <a:pt x="97" y="1144"/>
                      </a:lnTo>
                      <a:lnTo>
                        <a:pt x="89" y="1100"/>
                      </a:lnTo>
                      <a:lnTo>
                        <a:pt x="84" y="1055"/>
                      </a:lnTo>
                      <a:lnTo>
                        <a:pt x="80" y="1010"/>
                      </a:lnTo>
                      <a:lnTo>
                        <a:pt x="79" y="966"/>
                      </a:lnTo>
                      <a:lnTo>
                        <a:pt x="80" y="920"/>
                      </a:lnTo>
                      <a:lnTo>
                        <a:pt x="84" y="875"/>
                      </a:lnTo>
                      <a:lnTo>
                        <a:pt x="89" y="830"/>
                      </a:lnTo>
                      <a:lnTo>
                        <a:pt x="97" y="787"/>
                      </a:lnTo>
                      <a:lnTo>
                        <a:pt x="107" y="744"/>
                      </a:lnTo>
                      <a:lnTo>
                        <a:pt x="120" y="703"/>
                      </a:lnTo>
                      <a:lnTo>
                        <a:pt x="133" y="661"/>
                      </a:lnTo>
                      <a:lnTo>
                        <a:pt x="149" y="621"/>
                      </a:lnTo>
                      <a:lnTo>
                        <a:pt x="167" y="582"/>
                      </a:lnTo>
                      <a:lnTo>
                        <a:pt x="187" y="544"/>
                      </a:lnTo>
                      <a:lnTo>
                        <a:pt x="208" y="507"/>
                      </a:lnTo>
                      <a:lnTo>
                        <a:pt x="231" y="471"/>
                      </a:lnTo>
                      <a:lnTo>
                        <a:pt x="256" y="436"/>
                      </a:lnTo>
                      <a:lnTo>
                        <a:pt x="282" y="403"/>
                      </a:lnTo>
                      <a:lnTo>
                        <a:pt x="310" y="370"/>
                      </a:lnTo>
                      <a:lnTo>
                        <a:pt x="339" y="339"/>
                      </a:lnTo>
                      <a:lnTo>
                        <a:pt x="370" y="310"/>
                      </a:lnTo>
                      <a:lnTo>
                        <a:pt x="402" y="282"/>
                      </a:lnTo>
                      <a:lnTo>
                        <a:pt x="435" y="256"/>
                      </a:lnTo>
                      <a:lnTo>
                        <a:pt x="470" y="231"/>
                      </a:lnTo>
                      <a:lnTo>
                        <a:pt x="506" y="208"/>
                      </a:lnTo>
                      <a:lnTo>
                        <a:pt x="544" y="187"/>
                      </a:lnTo>
                      <a:lnTo>
                        <a:pt x="582" y="168"/>
                      </a:lnTo>
                      <a:lnTo>
                        <a:pt x="621" y="150"/>
                      </a:lnTo>
                      <a:lnTo>
                        <a:pt x="661" y="133"/>
                      </a:lnTo>
                      <a:lnTo>
                        <a:pt x="701" y="119"/>
                      </a:lnTo>
                      <a:lnTo>
                        <a:pt x="744" y="107"/>
                      </a:lnTo>
                      <a:lnTo>
                        <a:pt x="787" y="97"/>
                      </a:lnTo>
                      <a:lnTo>
                        <a:pt x="830" y="89"/>
                      </a:lnTo>
                      <a:lnTo>
                        <a:pt x="875" y="84"/>
                      </a:lnTo>
                      <a:lnTo>
                        <a:pt x="920" y="80"/>
                      </a:lnTo>
                      <a:lnTo>
                        <a:pt x="964" y="79"/>
                      </a:lnTo>
                      <a:lnTo>
                        <a:pt x="1010" y="80"/>
                      </a:lnTo>
                      <a:lnTo>
                        <a:pt x="1055" y="84"/>
                      </a:lnTo>
                      <a:lnTo>
                        <a:pt x="1100" y="89"/>
                      </a:lnTo>
                      <a:lnTo>
                        <a:pt x="1143" y="97"/>
                      </a:lnTo>
                      <a:lnTo>
                        <a:pt x="1186" y="107"/>
                      </a:lnTo>
                      <a:lnTo>
                        <a:pt x="1227" y="119"/>
                      </a:lnTo>
                      <a:lnTo>
                        <a:pt x="1269" y="133"/>
                      </a:lnTo>
                      <a:lnTo>
                        <a:pt x="1309" y="150"/>
                      </a:lnTo>
                      <a:lnTo>
                        <a:pt x="1348" y="166"/>
                      </a:lnTo>
                      <a:lnTo>
                        <a:pt x="1386" y="187"/>
                      </a:lnTo>
                      <a:lnTo>
                        <a:pt x="1423" y="208"/>
                      </a:lnTo>
                      <a:lnTo>
                        <a:pt x="1460" y="231"/>
                      </a:lnTo>
                      <a:lnTo>
                        <a:pt x="1495" y="256"/>
                      </a:lnTo>
                      <a:lnTo>
                        <a:pt x="1527" y="282"/>
                      </a:lnTo>
                      <a:lnTo>
                        <a:pt x="1560" y="310"/>
                      </a:lnTo>
                      <a:lnTo>
                        <a:pt x="1591" y="339"/>
                      </a:lnTo>
                      <a:lnTo>
                        <a:pt x="1620" y="370"/>
                      </a:lnTo>
                      <a:lnTo>
                        <a:pt x="1648" y="403"/>
                      </a:lnTo>
                      <a:lnTo>
                        <a:pt x="1674" y="435"/>
                      </a:lnTo>
                      <a:lnTo>
                        <a:pt x="1699" y="471"/>
                      </a:lnTo>
                      <a:lnTo>
                        <a:pt x="1722" y="507"/>
                      </a:lnTo>
                      <a:lnTo>
                        <a:pt x="1743" y="544"/>
                      </a:lnTo>
                      <a:lnTo>
                        <a:pt x="1763" y="582"/>
                      </a:lnTo>
                      <a:lnTo>
                        <a:pt x="1780" y="621"/>
                      </a:lnTo>
                      <a:lnTo>
                        <a:pt x="1797" y="661"/>
                      </a:lnTo>
                      <a:lnTo>
                        <a:pt x="1810" y="703"/>
                      </a:lnTo>
                      <a:lnTo>
                        <a:pt x="1823" y="744"/>
                      </a:lnTo>
                      <a:lnTo>
                        <a:pt x="1833" y="787"/>
                      </a:lnTo>
                      <a:lnTo>
                        <a:pt x="1841" y="830"/>
                      </a:lnTo>
                      <a:lnTo>
                        <a:pt x="1846" y="875"/>
                      </a:lnTo>
                      <a:lnTo>
                        <a:pt x="1850" y="920"/>
                      </a:lnTo>
                      <a:lnTo>
                        <a:pt x="1851" y="966"/>
                      </a:lnTo>
                      <a:lnTo>
                        <a:pt x="1850" y="1010"/>
                      </a:lnTo>
                      <a:lnTo>
                        <a:pt x="1846" y="1055"/>
                      </a:lnTo>
                      <a:lnTo>
                        <a:pt x="1841" y="1100"/>
                      </a:lnTo>
                      <a:lnTo>
                        <a:pt x="1833" y="1144"/>
                      </a:lnTo>
                      <a:lnTo>
                        <a:pt x="1823" y="1186"/>
                      </a:lnTo>
                      <a:lnTo>
                        <a:pt x="1810" y="1229"/>
                      </a:lnTo>
                      <a:lnTo>
                        <a:pt x="1797" y="1269"/>
                      </a:lnTo>
                      <a:lnTo>
                        <a:pt x="1780" y="1309"/>
                      </a:lnTo>
                      <a:lnTo>
                        <a:pt x="1763" y="1348"/>
                      </a:lnTo>
                      <a:lnTo>
                        <a:pt x="1743" y="1387"/>
                      </a:lnTo>
                      <a:lnTo>
                        <a:pt x="1722" y="1425"/>
                      </a:lnTo>
                      <a:lnTo>
                        <a:pt x="1699" y="1460"/>
                      </a:lnTo>
                      <a:lnTo>
                        <a:pt x="1674" y="1495"/>
                      </a:lnTo>
                      <a:lnTo>
                        <a:pt x="1648" y="1529"/>
                      </a:lnTo>
                      <a:lnTo>
                        <a:pt x="1620" y="1560"/>
                      </a:lnTo>
                      <a:lnTo>
                        <a:pt x="1591" y="1591"/>
                      </a:lnTo>
                      <a:lnTo>
                        <a:pt x="1560" y="1620"/>
                      </a:lnTo>
                      <a:lnTo>
                        <a:pt x="1527" y="1648"/>
                      </a:lnTo>
                      <a:lnTo>
                        <a:pt x="1495" y="1674"/>
                      </a:lnTo>
                      <a:lnTo>
                        <a:pt x="1460" y="1700"/>
                      </a:lnTo>
                      <a:lnTo>
                        <a:pt x="1423" y="1722"/>
                      </a:lnTo>
                      <a:lnTo>
                        <a:pt x="1386" y="1744"/>
                      </a:lnTo>
                      <a:lnTo>
                        <a:pt x="1348" y="1764"/>
                      </a:lnTo>
                      <a:lnTo>
                        <a:pt x="1309" y="1782"/>
                      </a:lnTo>
                      <a:lnTo>
                        <a:pt x="1269" y="1797"/>
                      </a:lnTo>
                      <a:lnTo>
                        <a:pt x="1227" y="1811"/>
                      </a:lnTo>
                      <a:lnTo>
                        <a:pt x="1186" y="1823"/>
                      </a:lnTo>
                      <a:lnTo>
                        <a:pt x="1143" y="1833"/>
                      </a:lnTo>
                      <a:lnTo>
                        <a:pt x="1100" y="1841"/>
                      </a:lnTo>
                      <a:lnTo>
                        <a:pt x="1055" y="1847"/>
                      </a:lnTo>
                      <a:lnTo>
                        <a:pt x="1010" y="1850"/>
                      </a:lnTo>
                      <a:lnTo>
                        <a:pt x="964" y="1851"/>
                      </a:lnTo>
                      <a:close/>
                      <a:moveTo>
                        <a:pt x="2240" y="2171"/>
                      </a:moveTo>
                      <a:lnTo>
                        <a:pt x="1682" y="1612"/>
                      </a:lnTo>
                      <a:lnTo>
                        <a:pt x="1710" y="1579"/>
                      </a:lnTo>
                      <a:lnTo>
                        <a:pt x="1737" y="1545"/>
                      </a:lnTo>
                      <a:lnTo>
                        <a:pt x="1762" y="1510"/>
                      </a:lnTo>
                      <a:lnTo>
                        <a:pt x="1786" y="1474"/>
                      </a:lnTo>
                      <a:lnTo>
                        <a:pt x="1808" y="1436"/>
                      </a:lnTo>
                      <a:lnTo>
                        <a:pt x="1828" y="1398"/>
                      </a:lnTo>
                      <a:lnTo>
                        <a:pt x="1847" y="1357"/>
                      </a:lnTo>
                      <a:lnTo>
                        <a:pt x="1864" y="1317"/>
                      </a:lnTo>
                      <a:lnTo>
                        <a:pt x="1879" y="1276"/>
                      </a:lnTo>
                      <a:lnTo>
                        <a:pt x="1892" y="1234"/>
                      </a:lnTo>
                      <a:lnTo>
                        <a:pt x="1903" y="1191"/>
                      </a:lnTo>
                      <a:lnTo>
                        <a:pt x="1913" y="1147"/>
                      </a:lnTo>
                      <a:lnTo>
                        <a:pt x="1920" y="1102"/>
                      </a:lnTo>
                      <a:lnTo>
                        <a:pt x="1926" y="1057"/>
                      </a:lnTo>
                      <a:lnTo>
                        <a:pt x="1929" y="1012"/>
                      </a:lnTo>
                      <a:lnTo>
                        <a:pt x="1930" y="966"/>
                      </a:lnTo>
                      <a:lnTo>
                        <a:pt x="1929" y="915"/>
                      </a:lnTo>
                      <a:lnTo>
                        <a:pt x="1926" y="867"/>
                      </a:lnTo>
                      <a:lnTo>
                        <a:pt x="1919" y="818"/>
                      </a:lnTo>
                      <a:lnTo>
                        <a:pt x="1911" y="771"/>
                      </a:lnTo>
                      <a:lnTo>
                        <a:pt x="1900" y="724"/>
                      </a:lnTo>
                      <a:lnTo>
                        <a:pt x="1887" y="678"/>
                      </a:lnTo>
                      <a:lnTo>
                        <a:pt x="1872" y="633"/>
                      </a:lnTo>
                      <a:lnTo>
                        <a:pt x="1854" y="590"/>
                      </a:lnTo>
                      <a:lnTo>
                        <a:pt x="1835" y="547"/>
                      </a:lnTo>
                      <a:lnTo>
                        <a:pt x="1814" y="506"/>
                      </a:lnTo>
                      <a:lnTo>
                        <a:pt x="1790" y="465"/>
                      </a:lnTo>
                      <a:lnTo>
                        <a:pt x="1766" y="426"/>
                      </a:lnTo>
                      <a:lnTo>
                        <a:pt x="1739" y="388"/>
                      </a:lnTo>
                      <a:lnTo>
                        <a:pt x="1710" y="351"/>
                      </a:lnTo>
                      <a:lnTo>
                        <a:pt x="1680" y="316"/>
                      </a:lnTo>
                      <a:lnTo>
                        <a:pt x="1647" y="283"/>
                      </a:lnTo>
                      <a:lnTo>
                        <a:pt x="1614" y="250"/>
                      </a:lnTo>
                      <a:lnTo>
                        <a:pt x="1579" y="220"/>
                      </a:lnTo>
                      <a:lnTo>
                        <a:pt x="1542" y="191"/>
                      </a:lnTo>
                      <a:lnTo>
                        <a:pt x="1504" y="164"/>
                      </a:lnTo>
                      <a:lnTo>
                        <a:pt x="1465" y="140"/>
                      </a:lnTo>
                      <a:lnTo>
                        <a:pt x="1424" y="116"/>
                      </a:lnTo>
                      <a:lnTo>
                        <a:pt x="1383" y="95"/>
                      </a:lnTo>
                      <a:lnTo>
                        <a:pt x="1340" y="76"/>
                      </a:lnTo>
                      <a:lnTo>
                        <a:pt x="1297" y="58"/>
                      </a:lnTo>
                      <a:lnTo>
                        <a:pt x="1252" y="43"/>
                      </a:lnTo>
                      <a:lnTo>
                        <a:pt x="1206" y="30"/>
                      </a:lnTo>
                      <a:lnTo>
                        <a:pt x="1159" y="19"/>
                      </a:lnTo>
                      <a:lnTo>
                        <a:pt x="1112" y="11"/>
                      </a:lnTo>
                      <a:lnTo>
                        <a:pt x="1064" y="4"/>
                      </a:lnTo>
                      <a:lnTo>
                        <a:pt x="1015" y="1"/>
                      </a:lnTo>
                      <a:lnTo>
                        <a:pt x="964" y="0"/>
                      </a:lnTo>
                      <a:lnTo>
                        <a:pt x="915" y="1"/>
                      </a:lnTo>
                      <a:lnTo>
                        <a:pt x="866" y="4"/>
                      </a:lnTo>
                      <a:lnTo>
                        <a:pt x="818" y="11"/>
                      </a:lnTo>
                      <a:lnTo>
                        <a:pt x="771" y="19"/>
                      </a:lnTo>
                      <a:lnTo>
                        <a:pt x="724" y="30"/>
                      </a:lnTo>
                      <a:lnTo>
                        <a:pt x="678" y="43"/>
                      </a:lnTo>
                      <a:lnTo>
                        <a:pt x="633" y="58"/>
                      </a:lnTo>
                      <a:lnTo>
                        <a:pt x="590" y="76"/>
                      </a:lnTo>
                      <a:lnTo>
                        <a:pt x="547" y="95"/>
                      </a:lnTo>
                      <a:lnTo>
                        <a:pt x="506" y="116"/>
                      </a:lnTo>
                      <a:lnTo>
                        <a:pt x="464" y="140"/>
                      </a:lnTo>
                      <a:lnTo>
                        <a:pt x="425" y="164"/>
                      </a:lnTo>
                      <a:lnTo>
                        <a:pt x="388" y="192"/>
                      </a:lnTo>
                      <a:lnTo>
                        <a:pt x="351" y="220"/>
                      </a:lnTo>
                      <a:lnTo>
                        <a:pt x="316" y="250"/>
                      </a:lnTo>
                      <a:lnTo>
                        <a:pt x="283" y="283"/>
                      </a:lnTo>
                      <a:lnTo>
                        <a:pt x="250" y="316"/>
                      </a:lnTo>
                      <a:lnTo>
                        <a:pt x="220" y="351"/>
                      </a:lnTo>
                      <a:lnTo>
                        <a:pt x="191" y="388"/>
                      </a:lnTo>
                      <a:lnTo>
                        <a:pt x="164" y="426"/>
                      </a:lnTo>
                      <a:lnTo>
                        <a:pt x="140" y="465"/>
                      </a:lnTo>
                      <a:lnTo>
                        <a:pt x="116" y="506"/>
                      </a:lnTo>
                      <a:lnTo>
                        <a:pt x="95" y="547"/>
                      </a:lnTo>
                      <a:lnTo>
                        <a:pt x="76" y="590"/>
                      </a:lnTo>
                      <a:lnTo>
                        <a:pt x="58" y="633"/>
                      </a:lnTo>
                      <a:lnTo>
                        <a:pt x="43" y="678"/>
                      </a:lnTo>
                      <a:lnTo>
                        <a:pt x="30" y="724"/>
                      </a:lnTo>
                      <a:lnTo>
                        <a:pt x="19" y="771"/>
                      </a:lnTo>
                      <a:lnTo>
                        <a:pt x="11" y="818"/>
                      </a:lnTo>
                      <a:lnTo>
                        <a:pt x="4" y="867"/>
                      </a:lnTo>
                      <a:lnTo>
                        <a:pt x="1" y="915"/>
                      </a:lnTo>
                      <a:lnTo>
                        <a:pt x="0" y="966"/>
                      </a:lnTo>
                      <a:lnTo>
                        <a:pt x="1" y="1015"/>
                      </a:lnTo>
                      <a:lnTo>
                        <a:pt x="4" y="1064"/>
                      </a:lnTo>
                      <a:lnTo>
                        <a:pt x="11" y="1112"/>
                      </a:lnTo>
                      <a:lnTo>
                        <a:pt x="19" y="1159"/>
                      </a:lnTo>
                      <a:lnTo>
                        <a:pt x="30" y="1206"/>
                      </a:lnTo>
                      <a:lnTo>
                        <a:pt x="43" y="1252"/>
                      </a:lnTo>
                      <a:lnTo>
                        <a:pt x="58" y="1297"/>
                      </a:lnTo>
                      <a:lnTo>
                        <a:pt x="76" y="1341"/>
                      </a:lnTo>
                      <a:lnTo>
                        <a:pt x="95" y="1383"/>
                      </a:lnTo>
                      <a:lnTo>
                        <a:pt x="116" y="1426"/>
                      </a:lnTo>
                      <a:lnTo>
                        <a:pt x="140" y="1466"/>
                      </a:lnTo>
                      <a:lnTo>
                        <a:pt x="164" y="1505"/>
                      </a:lnTo>
                      <a:lnTo>
                        <a:pt x="191" y="1542"/>
                      </a:lnTo>
                      <a:lnTo>
                        <a:pt x="220" y="1579"/>
                      </a:lnTo>
                      <a:lnTo>
                        <a:pt x="250" y="1614"/>
                      </a:lnTo>
                      <a:lnTo>
                        <a:pt x="283" y="1647"/>
                      </a:lnTo>
                      <a:lnTo>
                        <a:pt x="316" y="1680"/>
                      </a:lnTo>
                      <a:lnTo>
                        <a:pt x="351" y="1710"/>
                      </a:lnTo>
                      <a:lnTo>
                        <a:pt x="388" y="1739"/>
                      </a:lnTo>
                      <a:lnTo>
                        <a:pt x="425" y="1766"/>
                      </a:lnTo>
                      <a:lnTo>
                        <a:pt x="464" y="1791"/>
                      </a:lnTo>
                      <a:lnTo>
                        <a:pt x="504" y="1814"/>
                      </a:lnTo>
                      <a:lnTo>
                        <a:pt x="547" y="1835"/>
                      </a:lnTo>
                      <a:lnTo>
                        <a:pt x="590" y="1854"/>
                      </a:lnTo>
                      <a:lnTo>
                        <a:pt x="633" y="1872"/>
                      </a:lnTo>
                      <a:lnTo>
                        <a:pt x="678" y="1887"/>
                      </a:lnTo>
                      <a:lnTo>
                        <a:pt x="724" y="1900"/>
                      </a:lnTo>
                      <a:lnTo>
                        <a:pt x="771" y="1912"/>
                      </a:lnTo>
                      <a:lnTo>
                        <a:pt x="818" y="1919"/>
                      </a:lnTo>
                      <a:lnTo>
                        <a:pt x="866" y="1926"/>
                      </a:lnTo>
                      <a:lnTo>
                        <a:pt x="915" y="1929"/>
                      </a:lnTo>
                      <a:lnTo>
                        <a:pt x="964" y="1931"/>
                      </a:lnTo>
                      <a:lnTo>
                        <a:pt x="966" y="1931"/>
                      </a:lnTo>
                      <a:lnTo>
                        <a:pt x="989" y="1931"/>
                      </a:lnTo>
                      <a:lnTo>
                        <a:pt x="1013" y="1929"/>
                      </a:lnTo>
                      <a:lnTo>
                        <a:pt x="1036" y="1928"/>
                      </a:lnTo>
                      <a:lnTo>
                        <a:pt x="1060" y="1926"/>
                      </a:lnTo>
                      <a:lnTo>
                        <a:pt x="1083" y="1924"/>
                      </a:lnTo>
                      <a:lnTo>
                        <a:pt x="1105" y="1920"/>
                      </a:lnTo>
                      <a:lnTo>
                        <a:pt x="1129" y="1917"/>
                      </a:lnTo>
                      <a:lnTo>
                        <a:pt x="1151" y="1913"/>
                      </a:lnTo>
                      <a:lnTo>
                        <a:pt x="1196" y="1903"/>
                      </a:lnTo>
                      <a:lnTo>
                        <a:pt x="1241" y="1891"/>
                      </a:lnTo>
                      <a:lnTo>
                        <a:pt x="1283" y="1877"/>
                      </a:lnTo>
                      <a:lnTo>
                        <a:pt x="1326" y="1861"/>
                      </a:lnTo>
                      <a:lnTo>
                        <a:pt x="1367" y="1843"/>
                      </a:lnTo>
                      <a:lnTo>
                        <a:pt x="1408" y="1823"/>
                      </a:lnTo>
                      <a:lnTo>
                        <a:pt x="1447" y="1802"/>
                      </a:lnTo>
                      <a:lnTo>
                        <a:pt x="1485" y="1778"/>
                      </a:lnTo>
                      <a:lnTo>
                        <a:pt x="1522" y="1754"/>
                      </a:lnTo>
                      <a:lnTo>
                        <a:pt x="1558" y="1727"/>
                      </a:lnTo>
                      <a:lnTo>
                        <a:pt x="1592" y="1699"/>
                      </a:lnTo>
                      <a:lnTo>
                        <a:pt x="1626" y="1669"/>
                      </a:lnTo>
                      <a:lnTo>
                        <a:pt x="2184" y="2227"/>
                      </a:lnTo>
                      <a:lnTo>
                        <a:pt x="2240" y="2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122" name="Freeform 26"/>
                <p:cNvSpPr>
                  <a:spLocks noEditPoints="1"/>
                </p:cNvSpPr>
                <p:nvPr/>
              </p:nvSpPr>
              <p:spPr bwMode="auto">
                <a:xfrm>
                  <a:off x="5634038" y="2476501"/>
                  <a:ext cx="381000" cy="303213"/>
                </a:xfrm>
                <a:custGeom>
                  <a:avLst/>
                  <a:gdLst>
                    <a:gd name="T0" fmla="*/ 880 w 1200"/>
                    <a:gd name="T1" fmla="*/ 79 h 959"/>
                    <a:gd name="T2" fmla="*/ 960 w 1200"/>
                    <a:gd name="T3" fmla="*/ 880 h 959"/>
                    <a:gd name="T4" fmla="*/ 560 w 1200"/>
                    <a:gd name="T5" fmla="*/ 880 h 959"/>
                    <a:gd name="T6" fmla="*/ 640 w 1200"/>
                    <a:gd name="T7" fmla="*/ 319 h 959"/>
                    <a:gd name="T8" fmla="*/ 560 w 1200"/>
                    <a:gd name="T9" fmla="*/ 880 h 959"/>
                    <a:gd name="T10" fmla="*/ 240 w 1200"/>
                    <a:gd name="T11" fmla="*/ 560 h 959"/>
                    <a:gd name="T12" fmla="*/ 320 w 1200"/>
                    <a:gd name="T13" fmla="*/ 880 h 959"/>
                    <a:gd name="T14" fmla="*/ 1160 w 1200"/>
                    <a:gd name="T15" fmla="*/ 880 h 959"/>
                    <a:gd name="T16" fmla="*/ 1040 w 1200"/>
                    <a:gd name="T17" fmla="*/ 0 h 959"/>
                    <a:gd name="T18" fmla="*/ 800 w 1200"/>
                    <a:gd name="T19" fmla="*/ 880 h 959"/>
                    <a:gd name="T20" fmla="*/ 720 w 1200"/>
                    <a:gd name="T21" fmla="*/ 239 h 959"/>
                    <a:gd name="T22" fmla="*/ 480 w 1200"/>
                    <a:gd name="T23" fmla="*/ 880 h 959"/>
                    <a:gd name="T24" fmla="*/ 400 w 1200"/>
                    <a:gd name="T25" fmla="*/ 479 h 959"/>
                    <a:gd name="T26" fmla="*/ 160 w 1200"/>
                    <a:gd name="T27" fmla="*/ 880 h 959"/>
                    <a:gd name="T28" fmla="*/ 33 w 1200"/>
                    <a:gd name="T29" fmla="*/ 880 h 959"/>
                    <a:gd name="T30" fmla="*/ 18 w 1200"/>
                    <a:gd name="T31" fmla="*/ 886 h 959"/>
                    <a:gd name="T32" fmla="*/ 7 w 1200"/>
                    <a:gd name="T33" fmla="*/ 896 h 959"/>
                    <a:gd name="T34" fmla="*/ 1 w 1200"/>
                    <a:gd name="T35" fmla="*/ 911 h 959"/>
                    <a:gd name="T36" fmla="*/ 1 w 1200"/>
                    <a:gd name="T37" fmla="*/ 928 h 959"/>
                    <a:gd name="T38" fmla="*/ 7 w 1200"/>
                    <a:gd name="T39" fmla="*/ 941 h 959"/>
                    <a:gd name="T40" fmla="*/ 18 w 1200"/>
                    <a:gd name="T41" fmla="*/ 952 h 959"/>
                    <a:gd name="T42" fmla="*/ 33 w 1200"/>
                    <a:gd name="T43" fmla="*/ 958 h 959"/>
                    <a:gd name="T44" fmla="*/ 160 w 1200"/>
                    <a:gd name="T45" fmla="*/ 959 h 959"/>
                    <a:gd name="T46" fmla="*/ 480 w 1200"/>
                    <a:gd name="T47" fmla="*/ 959 h 959"/>
                    <a:gd name="T48" fmla="*/ 800 w 1200"/>
                    <a:gd name="T49" fmla="*/ 959 h 959"/>
                    <a:gd name="T50" fmla="*/ 1160 w 1200"/>
                    <a:gd name="T51" fmla="*/ 959 h 959"/>
                    <a:gd name="T52" fmla="*/ 1175 w 1200"/>
                    <a:gd name="T53" fmla="*/ 956 h 959"/>
                    <a:gd name="T54" fmla="*/ 1188 w 1200"/>
                    <a:gd name="T55" fmla="*/ 948 h 959"/>
                    <a:gd name="T56" fmla="*/ 1197 w 1200"/>
                    <a:gd name="T57" fmla="*/ 935 h 959"/>
                    <a:gd name="T58" fmla="*/ 1200 w 1200"/>
                    <a:gd name="T59" fmla="*/ 919 h 959"/>
                    <a:gd name="T60" fmla="*/ 1197 w 1200"/>
                    <a:gd name="T61" fmla="*/ 904 h 959"/>
                    <a:gd name="T62" fmla="*/ 1188 w 1200"/>
                    <a:gd name="T63" fmla="*/ 891 h 959"/>
                    <a:gd name="T64" fmla="*/ 1175 w 1200"/>
                    <a:gd name="T65" fmla="*/ 882 h 959"/>
                    <a:gd name="T66" fmla="*/ 1160 w 1200"/>
                    <a:gd name="T67" fmla="*/ 88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0" h="959">
                      <a:moveTo>
                        <a:pt x="880" y="880"/>
                      </a:moveTo>
                      <a:lnTo>
                        <a:pt x="880" y="79"/>
                      </a:lnTo>
                      <a:lnTo>
                        <a:pt x="960" y="79"/>
                      </a:lnTo>
                      <a:lnTo>
                        <a:pt x="960" y="880"/>
                      </a:lnTo>
                      <a:lnTo>
                        <a:pt x="880" y="880"/>
                      </a:lnTo>
                      <a:close/>
                      <a:moveTo>
                        <a:pt x="560" y="880"/>
                      </a:moveTo>
                      <a:lnTo>
                        <a:pt x="560" y="319"/>
                      </a:lnTo>
                      <a:lnTo>
                        <a:pt x="640" y="319"/>
                      </a:lnTo>
                      <a:lnTo>
                        <a:pt x="640" y="880"/>
                      </a:lnTo>
                      <a:lnTo>
                        <a:pt x="560" y="880"/>
                      </a:lnTo>
                      <a:close/>
                      <a:moveTo>
                        <a:pt x="240" y="880"/>
                      </a:moveTo>
                      <a:lnTo>
                        <a:pt x="240" y="560"/>
                      </a:lnTo>
                      <a:lnTo>
                        <a:pt x="320" y="560"/>
                      </a:lnTo>
                      <a:lnTo>
                        <a:pt x="320" y="880"/>
                      </a:lnTo>
                      <a:lnTo>
                        <a:pt x="240" y="880"/>
                      </a:lnTo>
                      <a:close/>
                      <a:moveTo>
                        <a:pt x="1160" y="880"/>
                      </a:moveTo>
                      <a:lnTo>
                        <a:pt x="1040" y="880"/>
                      </a:lnTo>
                      <a:lnTo>
                        <a:pt x="1040" y="0"/>
                      </a:lnTo>
                      <a:lnTo>
                        <a:pt x="800" y="0"/>
                      </a:lnTo>
                      <a:lnTo>
                        <a:pt x="800" y="880"/>
                      </a:lnTo>
                      <a:lnTo>
                        <a:pt x="720" y="880"/>
                      </a:lnTo>
                      <a:lnTo>
                        <a:pt x="720" y="239"/>
                      </a:lnTo>
                      <a:lnTo>
                        <a:pt x="480" y="239"/>
                      </a:lnTo>
                      <a:lnTo>
                        <a:pt x="480" y="880"/>
                      </a:lnTo>
                      <a:lnTo>
                        <a:pt x="400" y="880"/>
                      </a:lnTo>
                      <a:lnTo>
                        <a:pt x="400" y="479"/>
                      </a:lnTo>
                      <a:lnTo>
                        <a:pt x="160" y="479"/>
                      </a:lnTo>
                      <a:lnTo>
                        <a:pt x="160" y="880"/>
                      </a:lnTo>
                      <a:lnTo>
                        <a:pt x="41" y="880"/>
                      </a:lnTo>
                      <a:lnTo>
                        <a:pt x="33" y="880"/>
                      </a:lnTo>
                      <a:lnTo>
                        <a:pt x="25" y="882"/>
                      </a:lnTo>
                      <a:lnTo>
                        <a:pt x="18" y="886"/>
                      </a:lnTo>
                      <a:lnTo>
                        <a:pt x="11" y="891"/>
                      </a:lnTo>
                      <a:lnTo>
                        <a:pt x="7" y="896"/>
                      </a:lnTo>
                      <a:lnTo>
                        <a:pt x="4" y="904"/>
                      </a:lnTo>
                      <a:lnTo>
                        <a:pt x="1" y="911"/>
                      </a:lnTo>
                      <a:lnTo>
                        <a:pt x="0" y="919"/>
                      </a:lnTo>
                      <a:lnTo>
                        <a:pt x="1" y="928"/>
                      </a:lnTo>
                      <a:lnTo>
                        <a:pt x="4" y="935"/>
                      </a:lnTo>
                      <a:lnTo>
                        <a:pt x="7" y="941"/>
                      </a:lnTo>
                      <a:lnTo>
                        <a:pt x="11" y="948"/>
                      </a:lnTo>
                      <a:lnTo>
                        <a:pt x="18" y="952"/>
                      </a:lnTo>
                      <a:lnTo>
                        <a:pt x="25" y="956"/>
                      </a:lnTo>
                      <a:lnTo>
                        <a:pt x="33" y="958"/>
                      </a:lnTo>
                      <a:lnTo>
                        <a:pt x="41" y="959"/>
                      </a:lnTo>
                      <a:lnTo>
                        <a:pt x="160" y="959"/>
                      </a:lnTo>
                      <a:lnTo>
                        <a:pt x="400" y="959"/>
                      </a:lnTo>
                      <a:lnTo>
                        <a:pt x="480" y="959"/>
                      </a:lnTo>
                      <a:lnTo>
                        <a:pt x="720" y="959"/>
                      </a:lnTo>
                      <a:lnTo>
                        <a:pt x="800" y="959"/>
                      </a:lnTo>
                      <a:lnTo>
                        <a:pt x="1040" y="959"/>
                      </a:lnTo>
                      <a:lnTo>
                        <a:pt x="1160" y="959"/>
                      </a:lnTo>
                      <a:lnTo>
                        <a:pt x="1168" y="958"/>
                      </a:lnTo>
                      <a:lnTo>
                        <a:pt x="1175" y="956"/>
                      </a:lnTo>
                      <a:lnTo>
                        <a:pt x="1182" y="952"/>
                      </a:lnTo>
                      <a:lnTo>
                        <a:pt x="1188" y="948"/>
                      </a:lnTo>
                      <a:lnTo>
                        <a:pt x="1193" y="941"/>
                      </a:lnTo>
                      <a:lnTo>
                        <a:pt x="1197" y="935"/>
                      </a:lnTo>
                      <a:lnTo>
                        <a:pt x="1199" y="928"/>
                      </a:lnTo>
                      <a:lnTo>
                        <a:pt x="1200" y="919"/>
                      </a:lnTo>
                      <a:lnTo>
                        <a:pt x="1199" y="911"/>
                      </a:lnTo>
                      <a:lnTo>
                        <a:pt x="1197" y="904"/>
                      </a:lnTo>
                      <a:lnTo>
                        <a:pt x="1193" y="896"/>
                      </a:lnTo>
                      <a:lnTo>
                        <a:pt x="1188" y="891"/>
                      </a:lnTo>
                      <a:lnTo>
                        <a:pt x="1182" y="886"/>
                      </a:lnTo>
                      <a:lnTo>
                        <a:pt x="1175" y="882"/>
                      </a:lnTo>
                      <a:lnTo>
                        <a:pt x="1168" y="880"/>
                      </a:lnTo>
                      <a:lnTo>
                        <a:pt x="1160" y="8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cxnSp>
          <p:nvCxnSpPr>
            <p:cNvPr id="123" name="Straight Arrow Connector 122"/>
            <p:cNvCxnSpPr>
              <a:stCxn id="115" idx="6"/>
              <a:endCxn id="106" idx="2"/>
            </p:cNvCxnSpPr>
            <p:nvPr/>
          </p:nvCxnSpPr>
          <p:spPr>
            <a:xfrm>
              <a:off x="4970894" y="3848717"/>
              <a:ext cx="756494" cy="0"/>
            </a:xfrm>
            <a:prstGeom prst="straightConnector1">
              <a:avLst/>
            </a:prstGeom>
            <a:ln w="38100">
              <a:solidFill>
                <a:srgbClr val="F1C40F"/>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a:off x="3514195" y="3848716"/>
              <a:ext cx="758115" cy="0"/>
            </a:xfrm>
            <a:prstGeom prst="straightConnector1">
              <a:avLst/>
            </a:prstGeom>
            <a:ln w="38100">
              <a:solidFill>
                <a:srgbClr val="F1C40F"/>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7897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10</a:t>
            </a:fld>
            <a:endParaRPr lang="en-US"/>
          </a:p>
        </p:txBody>
      </p:sp>
      <p:sp>
        <p:nvSpPr>
          <p:cNvPr id="237" name="Rectangle 236"/>
          <p:cNvSpPr/>
          <p:nvPr/>
        </p:nvSpPr>
        <p:spPr>
          <a:xfrm>
            <a:off x="695469" y="1480922"/>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OUTS</a:t>
            </a:r>
            <a:endParaRPr lang="id-ID" sz="1200" dirty="0" smtClean="0">
              <a:solidFill>
                <a:srgbClr val="7F8C8D"/>
              </a:solidFill>
              <a:latin typeface="Calibri Light" pitchFamily="34" charset="0"/>
            </a:endParaRPr>
          </a:p>
        </p:txBody>
      </p:sp>
      <p:sp>
        <p:nvSpPr>
          <p:cNvPr id="238" name="Rectangle 237"/>
          <p:cNvSpPr/>
          <p:nvPr/>
        </p:nvSpPr>
        <p:spPr>
          <a:xfrm>
            <a:off x="695469" y="2413251"/>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ASSISE CLIENTELE</a:t>
            </a:r>
            <a:endParaRPr lang="id-ID" sz="1200" dirty="0" smtClean="0">
              <a:solidFill>
                <a:srgbClr val="7F8C8D"/>
              </a:solidFill>
              <a:latin typeface="Calibri Light" pitchFamily="34" charset="0"/>
            </a:endParaRPr>
          </a:p>
        </p:txBody>
      </p:sp>
      <p:sp>
        <p:nvSpPr>
          <p:cNvPr id="239" name="Rectangle 238"/>
          <p:cNvSpPr/>
          <p:nvPr/>
        </p:nvSpPr>
        <p:spPr>
          <a:xfrm>
            <a:off x="695469" y="3238005"/>
            <a:ext cx="1605463" cy="461665"/>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APITAL SOCIAL MESURABLE</a:t>
            </a:r>
            <a:endParaRPr lang="id-ID" sz="1200" dirty="0" smtClean="0">
              <a:solidFill>
                <a:srgbClr val="7F8C8D"/>
              </a:solidFill>
              <a:latin typeface="Calibri Light" pitchFamily="34" charset="0"/>
            </a:endParaRPr>
          </a:p>
        </p:txBody>
      </p:sp>
      <p:sp>
        <p:nvSpPr>
          <p:cNvPr id="240" name="Rectangle 239"/>
          <p:cNvSpPr/>
          <p:nvPr/>
        </p:nvSpPr>
        <p:spPr>
          <a:xfrm>
            <a:off x="695469" y="4170334"/>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DONNEES FIABLES</a:t>
            </a:r>
            <a:endParaRPr lang="id-ID" sz="1200" dirty="0" smtClean="0">
              <a:solidFill>
                <a:srgbClr val="7F8C8D"/>
              </a:solidFill>
              <a:latin typeface="Calibri Light" pitchFamily="34" charset="0"/>
            </a:endParaRPr>
          </a:p>
        </p:txBody>
      </p:sp>
      <p:sp>
        <p:nvSpPr>
          <p:cNvPr id="245" name="Rectangle 244"/>
          <p:cNvSpPr/>
          <p:nvPr/>
        </p:nvSpPr>
        <p:spPr>
          <a:xfrm>
            <a:off x="6842468" y="1480922"/>
            <a:ext cx="1605463" cy="276999"/>
          </a:xfrm>
          <a:prstGeom prst="rect">
            <a:avLst/>
          </a:prstGeom>
        </p:spPr>
        <p:txBody>
          <a:bodyPr wrap="square">
            <a:spAutoFit/>
          </a:bodyPr>
          <a:lstStyle/>
          <a:p>
            <a:pPr algn="r"/>
            <a:r>
              <a:rPr lang="fr-FR" sz="1200" b="1" dirty="0" smtClean="0">
                <a:solidFill>
                  <a:schemeClr val="tx2">
                    <a:lumMod val="60000"/>
                    <a:lumOff val="40000"/>
                  </a:schemeClr>
                </a:solidFill>
                <a:latin typeface="Calibri Light" panose="020F0302020204030204" pitchFamily="34" charset="0"/>
              </a:rPr>
              <a:t>Ingénierie Clientèle</a:t>
            </a:r>
            <a:endParaRPr lang="id-ID" sz="1200" dirty="0" smtClean="0">
              <a:solidFill>
                <a:schemeClr val="tx2">
                  <a:lumMod val="60000"/>
                  <a:lumOff val="40000"/>
                </a:schemeClr>
              </a:solidFill>
              <a:latin typeface="Calibri Light" pitchFamily="34" charset="0"/>
            </a:endParaRPr>
          </a:p>
        </p:txBody>
      </p:sp>
      <p:sp>
        <p:nvSpPr>
          <p:cNvPr id="246" name="Rectangle 245"/>
          <p:cNvSpPr/>
          <p:nvPr/>
        </p:nvSpPr>
        <p:spPr>
          <a:xfrm>
            <a:off x="6842468" y="2413251"/>
            <a:ext cx="1605463" cy="461665"/>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FLUIDITE COMMERCIALE</a:t>
            </a:r>
            <a:endParaRPr lang="id-ID" sz="1200" dirty="0" smtClean="0">
              <a:solidFill>
                <a:srgbClr val="7F8C8D"/>
              </a:solidFill>
              <a:latin typeface="Calibri Light" pitchFamily="34" charset="0"/>
            </a:endParaRPr>
          </a:p>
        </p:txBody>
      </p:sp>
      <p:sp>
        <p:nvSpPr>
          <p:cNvPr id="247" name="Rectangle 246"/>
          <p:cNvSpPr/>
          <p:nvPr/>
        </p:nvSpPr>
        <p:spPr>
          <a:xfrm>
            <a:off x="6842468" y="3238005"/>
            <a:ext cx="1605463" cy="276999"/>
          </a:xfrm>
          <a:prstGeom prst="rect">
            <a:avLst/>
          </a:prstGeom>
        </p:spPr>
        <p:txBody>
          <a:bodyPr wrap="square">
            <a:spAutoFit/>
          </a:bodyPr>
          <a:lstStyle/>
          <a:p>
            <a:pPr algn="r"/>
            <a:r>
              <a:rPr lang="id-ID" sz="1200" b="1" dirty="0">
                <a:solidFill>
                  <a:srgbClr val="7F8C8D"/>
                </a:solidFill>
                <a:latin typeface="Calibri Light" panose="020F0302020204030204" pitchFamily="34" charset="0"/>
              </a:rPr>
              <a:t>SERVICES</a:t>
            </a:r>
            <a:r>
              <a:rPr lang="fr-FR" sz="1200" b="1" dirty="0">
                <a:solidFill>
                  <a:srgbClr val="7F8C8D"/>
                </a:solidFill>
                <a:latin typeface="Calibri Light" panose="020F0302020204030204" pitchFamily="34" charset="0"/>
              </a:rPr>
              <a:t> </a:t>
            </a:r>
            <a:r>
              <a:rPr lang="fr-FR" sz="1200" b="1" dirty="0" smtClean="0">
                <a:solidFill>
                  <a:srgbClr val="7F8C8D"/>
                </a:solidFill>
                <a:latin typeface="Calibri Light" panose="020F0302020204030204" pitchFamily="34" charset="0"/>
              </a:rPr>
              <a:t>ADAPTES</a:t>
            </a:r>
            <a:endParaRPr lang="id-ID" sz="1200" dirty="0">
              <a:solidFill>
                <a:srgbClr val="7F8C8D"/>
              </a:solidFill>
              <a:latin typeface="Calibri Light" pitchFamily="34" charset="0"/>
            </a:endParaRPr>
          </a:p>
        </p:txBody>
      </p:sp>
      <p:sp>
        <p:nvSpPr>
          <p:cNvPr id="248" name="Rectangle 247"/>
          <p:cNvSpPr/>
          <p:nvPr/>
        </p:nvSpPr>
        <p:spPr>
          <a:xfrm>
            <a:off x="6842468" y="4170334"/>
            <a:ext cx="1605463" cy="276999"/>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MANAGEMENT</a:t>
            </a:r>
            <a:endParaRPr lang="id-ID" sz="1200" dirty="0" smtClean="0">
              <a:solidFill>
                <a:srgbClr val="7F8C8D"/>
              </a:solidFill>
              <a:latin typeface="Calibri Light" pitchFamily="34" charset="0"/>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087469"/>
            <a:ext cx="941884" cy="646331"/>
          </a:xfrm>
          <a:prstGeom prst="rect">
            <a:avLst/>
          </a:prstGeom>
        </p:spPr>
        <p:txBody>
          <a:bodyPr wrap="square">
            <a:spAutoFit/>
          </a:bodyPr>
          <a:lstStyle/>
          <a:p>
            <a:pPr algn="ctr"/>
            <a:r>
              <a:rPr lang="fr-FR" sz="1200" b="1" dirty="0" smtClean="0">
                <a:solidFill>
                  <a:schemeClr val="bg1"/>
                </a:solidFill>
                <a:latin typeface="Calibri Light" panose="020F0302020204030204" pitchFamily="34" charset="0"/>
              </a:rPr>
              <a:t>La valeur ajoutée </a:t>
            </a:r>
            <a:r>
              <a:rPr lang="fr-FR" sz="1200" b="1" dirty="0" err="1" smtClean="0">
                <a:solidFill>
                  <a:schemeClr val="bg1"/>
                </a:solidFill>
                <a:latin typeface="Calibri Light" panose="020F0302020204030204" pitchFamily="34" charset="0"/>
              </a:rPr>
              <a:t>DataNest</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309"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310"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311"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312"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313"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314"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315"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95" name="Rectangle 94"/>
          <p:cNvSpPr/>
          <p:nvPr/>
        </p:nvSpPr>
        <p:spPr>
          <a:xfrm>
            <a:off x="2300294" y="5715000"/>
            <a:ext cx="4674678" cy="923330"/>
          </a:xfrm>
          <a:prstGeom prst="rect">
            <a:avLst/>
          </a:prstGeom>
          <a:noFill/>
        </p:spPr>
        <p:txBody>
          <a:bodyPr wrap="none" lIns="91440" tIns="45720" rIns="91440" bIns="45720">
            <a:spAutoFit/>
          </a:bodyPr>
          <a:lstStyle/>
          <a:p>
            <a:pPr algn="ct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Market</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 </a:t>
            </a: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effectiv</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t>
            </a:r>
            <a:endParaRPr lang="fr-FR" sz="5400" b="1" cap="none" spc="0" dirty="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endParaRPr>
          </a:p>
        </p:txBody>
      </p:sp>
    </p:spTree>
    <p:extLst>
      <p:ext uri="{BB962C8B-B14F-4D97-AF65-F5344CB8AC3E}">
        <p14:creationId xmlns:p14="http://schemas.microsoft.com/office/powerpoint/2010/main" val="22830290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11</a:t>
            </a:fld>
            <a:endParaRPr lang="en-US"/>
          </a:p>
        </p:txBody>
      </p:sp>
      <p:sp>
        <p:nvSpPr>
          <p:cNvPr id="237" name="Rectangle 236"/>
          <p:cNvSpPr/>
          <p:nvPr/>
        </p:nvSpPr>
        <p:spPr>
          <a:xfrm>
            <a:off x="695469" y="1480922"/>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OUTS</a:t>
            </a:r>
            <a:endParaRPr lang="id-ID" sz="1200" dirty="0" smtClean="0">
              <a:solidFill>
                <a:srgbClr val="7F8C8D"/>
              </a:solidFill>
              <a:latin typeface="Calibri Light" pitchFamily="34" charset="0"/>
            </a:endParaRPr>
          </a:p>
        </p:txBody>
      </p:sp>
      <p:sp>
        <p:nvSpPr>
          <p:cNvPr id="238" name="Rectangle 237"/>
          <p:cNvSpPr/>
          <p:nvPr/>
        </p:nvSpPr>
        <p:spPr>
          <a:xfrm>
            <a:off x="695469" y="2413251"/>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ASSISE CLIENTELE</a:t>
            </a:r>
            <a:endParaRPr lang="id-ID" sz="1200" dirty="0" smtClean="0">
              <a:solidFill>
                <a:srgbClr val="7F8C8D"/>
              </a:solidFill>
              <a:latin typeface="Calibri Light" pitchFamily="34" charset="0"/>
            </a:endParaRPr>
          </a:p>
        </p:txBody>
      </p:sp>
      <p:sp>
        <p:nvSpPr>
          <p:cNvPr id="239" name="Rectangle 238"/>
          <p:cNvSpPr/>
          <p:nvPr/>
        </p:nvSpPr>
        <p:spPr>
          <a:xfrm>
            <a:off x="695469" y="3238005"/>
            <a:ext cx="1605463" cy="461665"/>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APITAL SOCIAL MESURABLE</a:t>
            </a:r>
            <a:endParaRPr lang="id-ID" sz="1200" dirty="0" smtClean="0">
              <a:solidFill>
                <a:srgbClr val="7F8C8D"/>
              </a:solidFill>
              <a:latin typeface="Calibri Light" pitchFamily="34" charset="0"/>
            </a:endParaRPr>
          </a:p>
        </p:txBody>
      </p:sp>
      <p:sp>
        <p:nvSpPr>
          <p:cNvPr id="240" name="Rectangle 239"/>
          <p:cNvSpPr/>
          <p:nvPr/>
        </p:nvSpPr>
        <p:spPr>
          <a:xfrm>
            <a:off x="695469" y="4170334"/>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DONNEES FIABLES</a:t>
            </a:r>
            <a:endParaRPr lang="id-ID" sz="1200" dirty="0" smtClean="0">
              <a:solidFill>
                <a:srgbClr val="7F8C8D"/>
              </a:solidFill>
              <a:latin typeface="Calibri Light" pitchFamily="34" charset="0"/>
            </a:endParaRPr>
          </a:p>
        </p:txBody>
      </p:sp>
      <p:sp>
        <p:nvSpPr>
          <p:cNvPr id="245" name="Rectangle 244"/>
          <p:cNvSpPr/>
          <p:nvPr/>
        </p:nvSpPr>
        <p:spPr>
          <a:xfrm>
            <a:off x="6842468" y="1480922"/>
            <a:ext cx="1605463" cy="276999"/>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Ingénierie Clientèle</a:t>
            </a:r>
            <a:endParaRPr lang="id-ID" sz="1200" dirty="0" smtClean="0">
              <a:solidFill>
                <a:srgbClr val="7F8C8D"/>
              </a:solidFill>
              <a:latin typeface="Calibri Light" pitchFamily="34" charset="0"/>
            </a:endParaRPr>
          </a:p>
        </p:txBody>
      </p:sp>
      <p:sp>
        <p:nvSpPr>
          <p:cNvPr id="246" name="Rectangle 245"/>
          <p:cNvSpPr/>
          <p:nvPr/>
        </p:nvSpPr>
        <p:spPr>
          <a:xfrm>
            <a:off x="6842468" y="2413251"/>
            <a:ext cx="1605463" cy="461665"/>
          </a:xfrm>
          <a:prstGeom prst="rect">
            <a:avLst/>
          </a:prstGeom>
        </p:spPr>
        <p:txBody>
          <a:bodyPr wrap="square">
            <a:spAutoFit/>
          </a:bodyPr>
          <a:lstStyle/>
          <a:p>
            <a:pPr algn="r"/>
            <a:r>
              <a:rPr lang="fr-FR" sz="1200" b="1" dirty="0" smtClean="0">
                <a:solidFill>
                  <a:schemeClr val="tx2">
                    <a:lumMod val="60000"/>
                    <a:lumOff val="40000"/>
                  </a:schemeClr>
                </a:solidFill>
                <a:latin typeface="Calibri Light" panose="020F0302020204030204" pitchFamily="34" charset="0"/>
              </a:rPr>
              <a:t>FLUIDITE COMMERCIALE</a:t>
            </a:r>
            <a:endParaRPr lang="id-ID" sz="1200" dirty="0" smtClean="0">
              <a:solidFill>
                <a:schemeClr val="tx2">
                  <a:lumMod val="60000"/>
                  <a:lumOff val="40000"/>
                </a:schemeClr>
              </a:solidFill>
              <a:latin typeface="Calibri Light" pitchFamily="34" charset="0"/>
            </a:endParaRPr>
          </a:p>
        </p:txBody>
      </p:sp>
      <p:sp>
        <p:nvSpPr>
          <p:cNvPr id="247" name="Rectangle 246"/>
          <p:cNvSpPr/>
          <p:nvPr/>
        </p:nvSpPr>
        <p:spPr>
          <a:xfrm>
            <a:off x="6842468" y="3238005"/>
            <a:ext cx="1605463" cy="276999"/>
          </a:xfrm>
          <a:prstGeom prst="rect">
            <a:avLst/>
          </a:prstGeom>
        </p:spPr>
        <p:txBody>
          <a:bodyPr wrap="square">
            <a:spAutoFit/>
          </a:bodyPr>
          <a:lstStyle/>
          <a:p>
            <a:pPr algn="r"/>
            <a:r>
              <a:rPr lang="id-ID" sz="1200" b="1" dirty="0">
                <a:solidFill>
                  <a:srgbClr val="7F8C8D"/>
                </a:solidFill>
                <a:latin typeface="Calibri Light" panose="020F0302020204030204" pitchFamily="34" charset="0"/>
              </a:rPr>
              <a:t>SERVICES</a:t>
            </a:r>
            <a:r>
              <a:rPr lang="fr-FR" sz="1200" b="1" dirty="0">
                <a:solidFill>
                  <a:srgbClr val="7F8C8D"/>
                </a:solidFill>
                <a:latin typeface="Calibri Light" panose="020F0302020204030204" pitchFamily="34" charset="0"/>
              </a:rPr>
              <a:t> </a:t>
            </a:r>
            <a:r>
              <a:rPr lang="fr-FR" sz="1200" b="1" dirty="0" smtClean="0">
                <a:solidFill>
                  <a:srgbClr val="7F8C8D"/>
                </a:solidFill>
                <a:latin typeface="Calibri Light" panose="020F0302020204030204" pitchFamily="34" charset="0"/>
              </a:rPr>
              <a:t>ADAPTES</a:t>
            </a:r>
            <a:endParaRPr lang="id-ID" sz="1200" dirty="0">
              <a:solidFill>
                <a:srgbClr val="7F8C8D"/>
              </a:solidFill>
              <a:latin typeface="Calibri Light" pitchFamily="34" charset="0"/>
            </a:endParaRPr>
          </a:p>
        </p:txBody>
      </p:sp>
      <p:sp>
        <p:nvSpPr>
          <p:cNvPr id="248" name="Rectangle 247"/>
          <p:cNvSpPr/>
          <p:nvPr/>
        </p:nvSpPr>
        <p:spPr>
          <a:xfrm>
            <a:off x="6842468" y="4170334"/>
            <a:ext cx="1605463" cy="276999"/>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MANAGEMENT</a:t>
            </a:r>
            <a:endParaRPr lang="id-ID" sz="1200" dirty="0" smtClean="0">
              <a:solidFill>
                <a:srgbClr val="7F8C8D"/>
              </a:solidFill>
              <a:latin typeface="Calibri Light" pitchFamily="34" charset="0"/>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087469"/>
            <a:ext cx="941884" cy="646331"/>
          </a:xfrm>
          <a:prstGeom prst="rect">
            <a:avLst/>
          </a:prstGeom>
        </p:spPr>
        <p:txBody>
          <a:bodyPr wrap="square">
            <a:spAutoFit/>
          </a:bodyPr>
          <a:lstStyle/>
          <a:p>
            <a:pPr algn="ctr"/>
            <a:r>
              <a:rPr lang="fr-FR" sz="1200" b="1" dirty="0" smtClean="0">
                <a:solidFill>
                  <a:schemeClr val="bg1"/>
                </a:solidFill>
                <a:latin typeface="Calibri Light" panose="020F0302020204030204" pitchFamily="34" charset="0"/>
              </a:rPr>
              <a:t>La valeur ajoutée </a:t>
            </a:r>
            <a:r>
              <a:rPr lang="fr-FR" sz="1200" b="1" dirty="0" err="1" smtClean="0">
                <a:solidFill>
                  <a:schemeClr val="bg1"/>
                </a:solidFill>
                <a:latin typeface="Calibri Light" panose="020F0302020204030204" pitchFamily="34" charset="0"/>
              </a:rPr>
              <a:t>DataNest</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309"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310"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311"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312"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313"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314"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315"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95" name="Rectangle 94"/>
          <p:cNvSpPr/>
          <p:nvPr/>
        </p:nvSpPr>
        <p:spPr>
          <a:xfrm>
            <a:off x="1752067" y="5715000"/>
            <a:ext cx="5771132" cy="923330"/>
          </a:xfrm>
          <a:prstGeom prst="rect">
            <a:avLst/>
          </a:prstGeom>
          <a:noFill/>
        </p:spPr>
        <p:txBody>
          <a:bodyPr wrap="none" lIns="91440" tIns="45720" rIns="91440" bIns="45720">
            <a:spAutoFit/>
          </a:bodyPr>
          <a:lstStyle/>
          <a:p>
            <a:pPr algn="ct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Operations </a:t>
            </a: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effectiv</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t>
            </a:r>
            <a:endParaRPr lang="fr-FR" sz="5400" b="1" cap="none" spc="0" dirty="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endParaRPr>
          </a:p>
        </p:txBody>
      </p:sp>
    </p:spTree>
    <p:extLst>
      <p:ext uri="{BB962C8B-B14F-4D97-AF65-F5344CB8AC3E}">
        <p14:creationId xmlns:p14="http://schemas.microsoft.com/office/powerpoint/2010/main" val="22830290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12</a:t>
            </a:fld>
            <a:endParaRPr lang="en-US"/>
          </a:p>
        </p:txBody>
      </p:sp>
      <p:sp>
        <p:nvSpPr>
          <p:cNvPr id="237" name="Rectangle 236"/>
          <p:cNvSpPr/>
          <p:nvPr/>
        </p:nvSpPr>
        <p:spPr>
          <a:xfrm>
            <a:off x="695469" y="1480922"/>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OUTS</a:t>
            </a:r>
            <a:endParaRPr lang="id-ID" sz="1200" dirty="0" smtClean="0">
              <a:solidFill>
                <a:srgbClr val="7F8C8D"/>
              </a:solidFill>
              <a:latin typeface="Calibri Light" pitchFamily="34" charset="0"/>
            </a:endParaRPr>
          </a:p>
        </p:txBody>
      </p:sp>
      <p:sp>
        <p:nvSpPr>
          <p:cNvPr id="238" name="Rectangle 237"/>
          <p:cNvSpPr/>
          <p:nvPr/>
        </p:nvSpPr>
        <p:spPr>
          <a:xfrm>
            <a:off x="695469" y="2413251"/>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ASSISE CLIENTELE</a:t>
            </a:r>
            <a:endParaRPr lang="id-ID" sz="1200" dirty="0" smtClean="0">
              <a:solidFill>
                <a:srgbClr val="7F8C8D"/>
              </a:solidFill>
              <a:latin typeface="Calibri Light" pitchFamily="34" charset="0"/>
            </a:endParaRPr>
          </a:p>
        </p:txBody>
      </p:sp>
      <p:sp>
        <p:nvSpPr>
          <p:cNvPr id="239" name="Rectangle 238"/>
          <p:cNvSpPr/>
          <p:nvPr/>
        </p:nvSpPr>
        <p:spPr>
          <a:xfrm>
            <a:off x="695469" y="3238005"/>
            <a:ext cx="1605463" cy="461665"/>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APITAL SOCIAL MESURABLE</a:t>
            </a:r>
            <a:endParaRPr lang="id-ID" sz="1200" dirty="0" smtClean="0">
              <a:solidFill>
                <a:srgbClr val="7F8C8D"/>
              </a:solidFill>
              <a:latin typeface="Calibri Light" pitchFamily="34" charset="0"/>
            </a:endParaRPr>
          </a:p>
        </p:txBody>
      </p:sp>
      <p:sp>
        <p:nvSpPr>
          <p:cNvPr id="240" name="Rectangle 239"/>
          <p:cNvSpPr/>
          <p:nvPr/>
        </p:nvSpPr>
        <p:spPr>
          <a:xfrm>
            <a:off x="695469" y="4170334"/>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DONNEES FIABLES</a:t>
            </a:r>
            <a:endParaRPr lang="id-ID" sz="1200" dirty="0" smtClean="0">
              <a:solidFill>
                <a:srgbClr val="7F8C8D"/>
              </a:solidFill>
              <a:latin typeface="Calibri Light" pitchFamily="34" charset="0"/>
            </a:endParaRPr>
          </a:p>
        </p:txBody>
      </p:sp>
      <p:sp>
        <p:nvSpPr>
          <p:cNvPr id="245" name="Rectangle 244"/>
          <p:cNvSpPr/>
          <p:nvPr/>
        </p:nvSpPr>
        <p:spPr>
          <a:xfrm>
            <a:off x="6842468" y="1480922"/>
            <a:ext cx="1605463" cy="276999"/>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Ingénierie Clientèle</a:t>
            </a:r>
            <a:endParaRPr lang="id-ID" sz="1200" dirty="0" smtClean="0">
              <a:solidFill>
                <a:srgbClr val="7F8C8D"/>
              </a:solidFill>
              <a:latin typeface="Calibri Light" pitchFamily="34" charset="0"/>
            </a:endParaRPr>
          </a:p>
        </p:txBody>
      </p:sp>
      <p:sp>
        <p:nvSpPr>
          <p:cNvPr id="246" name="Rectangle 245"/>
          <p:cNvSpPr/>
          <p:nvPr/>
        </p:nvSpPr>
        <p:spPr>
          <a:xfrm>
            <a:off x="6842468" y="2413251"/>
            <a:ext cx="1605463" cy="461665"/>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FLUIDITE COMMERCIALE</a:t>
            </a:r>
            <a:endParaRPr lang="id-ID" sz="1200" dirty="0" smtClean="0">
              <a:solidFill>
                <a:srgbClr val="7F8C8D"/>
              </a:solidFill>
              <a:latin typeface="Calibri Light" pitchFamily="34" charset="0"/>
            </a:endParaRPr>
          </a:p>
        </p:txBody>
      </p:sp>
      <p:sp>
        <p:nvSpPr>
          <p:cNvPr id="247" name="Rectangle 246"/>
          <p:cNvSpPr/>
          <p:nvPr/>
        </p:nvSpPr>
        <p:spPr>
          <a:xfrm>
            <a:off x="6842468" y="3238005"/>
            <a:ext cx="1605463" cy="276999"/>
          </a:xfrm>
          <a:prstGeom prst="rect">
            <a:avLst/>
          </a:prstGeom>
        </p:spPr>
        <p:txBody>
          <a:bodyPr wrap="square">
            <a:spAutoFit/>
          </a:bodyPr>
          <a:lstStyle/>
          <a:p>
            <a:pPr algn="r"/>
            <a:r>
              <a:rPr lang="id-ID" sz="1200" b="1" dirty="0">
                <a:solidFill>
                  <a:schemeClr val="tx2">
                    <a:lumMod val="60000"/>
                    <a:lumOff val="40000"/>
                  </a:schemeClr>
                </a:solidFill>
                <a:latin typeface="Calibri Light" panose="020F0302020204030204" pitchFamily="34" charset="0"/>
              </a:rPr>
              <a:t>SERVICES</a:t>
            </a:r>
            <a:r>
              <a:rPr lang="fr-FR" sz="1200" b="1" dirty="0">
                <a:solidFill>
                  <a:schemeClr val="tx2">
                    <a:lumMod val="60000"/>
                    <a:lumOff val="40000"/>
                  </a:schemeClr>
                </a:solidFill>
                <a:latin typeface="Calibri Light" panose="020F0302020204030204" pitchFamily="34" charset="0"/>
              </a:rPr>
              <a:t> </a:t>
            </a:r>
            <a:r>
              <a:rPr lang="fr-FR" sz="1200" b="1" dirty="0" smtClean="0">
                <a:solidFill>
                  <a:schemeClr val="tx2">
                    <a:lumMod val="60000"/>
                    <a:lumOff val="40000"/>
                  </a:schemeClr>
                </a:solidFill>
                <a:latin typeface="Calibri Light" panose="020F0302020204030204" pitchFamily="34" charset="0"/>
              </a:rPr>
              <a:t>ADAPTES</a:t>
            </a:r>
            <a:endParaRPr lang="id-ID" sz="1200" dirty="0">
              <a:solidFill>
                <a:schemeClr val="tx2">
                  <a:lumMod val="60000"/>
                  <a:lumOff val="40000"/>
                </a:schemeClr>
              </a:solidFill>
              <a:latin typeface="Calibri Light" pitchFamily="34" charset="0"/>
            </a:endParaRPr>
          </a:p>
        </p:txBody>
      </p:sp>
      <p:sp>
        <p:nvSpPr>
          <p:cNvPr id="248" name="Rectangle 247"/>
          <p:cNvSpPr/>
          <p:nvPr/>
        </p:nvSpPr>
        <p:spPr>
          <a:xfrm>
            <a:off x="6842468" y="4170334"/>
            <a:ext cx="1605463" cy="276999"/>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MANAGEMENT</a:t>
            </a:r>
            <a:endParaRPr lang="id-ID" sz="1200" dirty="0" smtClean="0">
              <a:solidFill>
                <a:srgbClr val="7F8C8D"/>
              </a:solidFill>
              <a:latin typeface="Calibri Light" pitchFamily="34" charset="0"/>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087469"/>
            <a:ext cx="941884" cy="646331"/>
          </a:xfrm>
          <a:prstGeom prst="rect">
            <a:avLst/>
          </a:prstGeom>
        </p:spPr>
        <p:txBody>
          <a:bodyPr wrap="square">
            <a:spAutoFit/>
          </a:bodyPr>
          <a:lstStyle/>
          <a:p>
            <a:pPr algn="ctr"/>
            <a:r>
              <a:rPr lang="fr-FR" sz="1200" b="1" dirty="0" smtClean="0">
                <a:solidFill>
                  <a:schemeClr val="bg1"/>
                </a:solidFill>
                <a:latin typeface="Calibri Light" panose="020F0302020204030204" pitchFamily="34" charset="0"/>
              </a:rPr>
              <a:t>La valeur ajoutée </a:t>
            </a:r>
            <a:r>
              <a:rPr lang="fr-FR" sz="1200" b="1" dirty="0" err="1" smtClean="0">
                <a:solidFill>
                  <a:schemeClr val="bg1"/>
                </a:solidFill>
                <a:latin typeface="Calibri Light" panose="020F0302020204030204" pitchFamily="34" charset="0"/>
              </a:rPr>
              <a:t>DataNest</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309"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310"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311"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312"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313"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314"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315"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95" name="Rectangle 94"/>
          <p:cNvSpPr/>
          <p:nvPr/>
        </p:nvSpPr>
        <p:spPr>
          <a:xfrm>
            <a:off x="2283464" y="5715000"/>
            <a:ext cx="4708340" cy="923330"/>
          </a:xfrm>
          <a:prstGeom prst="rect">
            <a:avLst/>
          </a:prstGeom>
          <a:noFill/>
        </p:spPr>
        <p:txBody>
          <a:bodyPr wrap="none" lIns="91440" tIns="45720" rIns="91440" bIns="45720">
            <a:spAutoFit/>
          </a:bodyPr>
          <a:lstStyle/>
          <a:p>
            <a:pPr algn="ctr"/>
            <a:r>
              <a:rPr lang="fr-FR" sz="5400" b="1"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Service</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 </a:t>
            </a: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effectiv</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t>
            </a:r>
            <a:endParaRPr lang="fr-FR" sz="5400" b="1" cap="none" spc="0" dirty="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endParaRPr>
          </a:p>
        </p:txBody>
      </p:sp>
    </p:spTree>
    <p:extLst>
      <p:ext uri="{BB962C8B-B14F-4D97-AF65-F5344CB8AC3E}">
        <p14:creationId xmlns:p14="http://schemas.microsoft.com/office/powerpoint/2010/main" val="22830290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13</a:t>
            </a:fld>
            <a:endParaRPr lang="en-US"/>
          </a:p>
        </p:txBody>
      </p:sp>
      <p:sp>
        <p:nvSpPr>
          <p:cNvPr id="237" name="Rectangle 236"/>
          <p:cNvSpPr/>
          <p:nvPr/>
        </p:nvSpPr>
        <p:spPr>
          <a:xfrm>
            <a:off x="695469" y="1480922"/>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OUTS</a:t>
            </a:r>
            <a:endParaRPr lang="id-ID" sz="1200" dirty="0" smtClean="0">
              <a:solidFill>
                <a:srgbClr val="7F8C8D"/>
              </a:solidFill>
              <a:latin typeface="Calibri Light" pitchFamily="34" charset="0"/>
            </a:endParaRPr>
          </a:p>
        </p:txBody>
      </p:sp>
      <p:sp>
        <p:nvSpPr>
          <p:cNvPr id="238" name="Rectangle 237"/>
          <p:cNvSpPr/>
          <p:nvPr/>
        </p:nvSpPr>
        <p:spPr>
          <a:xfrm>
            <a:off x="695469" y="2413251"/>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ASSISE CLIENTELE</a:t>
            </a:r>
            <a:endParaRPr lang="id-ID" sz="1200" dirty="0" smtClean="0">
              <a:solidFill>
                <a:srgbClr val="7F8C8D"/>
              </a:solidFill>
              <a:latin typeface="Calibri Light" pitchFamily="34" charset="0"/>
            </a:endParaRPr>
          </a:p>
        </p:txBody>
      </p:sp>
      <p:sp>
        <p:nvSpPr>
          <p:cNvPr id="239" name="Rectangle 238"/>
          <p:cNvSpPr/>
          <p:nvPr/>
        </p:nvSpPr>
        <p:spPr>
          <a:xfrm>
            <a:off x="695469" y="3238005"/>
            <a:ext cx="1605463" cy="461665"/>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APITAL SOCIAL MESURABLE</a:t>
            </a:r>
            <a:endParaRPr lang="id-ID" sz="1200" dirty="0" smtClean="0">
              <a:solidFill>
                <a:srgbClr val="7F8C8D"/>
              </a:solidFill>
              <a:latin typeface="Calibri Light" pitchFamily="34" charset="0"/>
            </a:endParaRPr>
          </a:p>
        </p:txBody>
      </p:sp>
      <p:sp>
        <p:nvSpPr>
          <p:cNvPr id="240" name="Rectangle 239"/>
          <p:cNvSpPr/>
          <p:nvPr/>
        </p:nvSpPr>
        <p:spPr>
          <a:xfrm>
            <a:off x="695469" y="4170334"/>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DONNEES FIABLES</a:t>
            </a:r>
            <a:endParaRPr lang="id-ID" sz="1200" dirty="0" smtClean="0">
              <a:solidFill>
                <a:srgbClr val="7F8C8D"/>
              </a:solidFill>
              <a:latin typeface="Calibri Light" pitchFamily="34" charset="0"/>
            </a:endParaRPr>
          </a:p>
        </p:txBody>
      </p:sp>
      <p:sp>
        <p:nvSpPr>
          <p:cNvPr id="245" name="Rectangle 244"/>
          <p:cNvSpPr/>
          <p:nvPr/>
        </p:nvSpPr>
        <p:spPr>
          <a:xfrm>
            <a:off x="6842468" y="1480922"/>
            <a:ext cx="1605463" cy="276999"/>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Ingénierie Clientèle</a:t>
            </a:r>
            <a:endParaRPr lang="id-ID" sz="1200" dirty="0" smtClean="0">
              <a:solidFill>
                <a:srgbClr val="7F8C8D"/>
              </a:solidFill>
              <a:latin typeface="Calibri Light" pitchFamily="34" charset="0"/>
            </a:endParaRPr>
          </a:p>
        </p:txBody>
      </p:sp>
      <p:sp>
        <p:nvSpPr>
          <p:cNvPr id="246" name="Rectangle 245"/>
          <p:cNvSpPr/>
          <p:nvPr/>
        </p:nvSpPr>
        <p:spPr>
          <a:xfrm>
            <a:off x="6842468" y="2413251"/>
            <a:ext cx="1605463" cy="461665"/>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FLUIDITE COMMERCIALE</a:t>
            </a:r>
            <a:endParaRPr lang="id-ID" sz="1200" dirty="0" smtClean="0">
              <a:solidFill>
                <a:srgbClr val="7F8C8D"/>
              </a:solidFill>
              <a:latin typeface="Calibri Light" pitchFamily="34" charset="0"/>
            </a:endParaRPr>
          </a:p>
        </p:txBody>
      </p:sp>
      <p:sp>
        <p:nvSpPr>
          <p:cNvPr id="247" name="Rectangle 246"/>
          <p:cNvSpPr/>
          <p:nvPr/>
        </p:nvSpPr>
        <p:spPr>
          <a:xfrm>
            <a:off x="6842468" y="3238005"/>
            <a:ext cx="1605463" cy="276999"/>
          </a:xfrm>
          <a:prstGeom prst="rect">
            <a:avLst/>
          </a:prstGeom>
        </p:spPr>
        <p:txBody>
          <a:bodyPr wrap="square">
            <a:spAutoFit/>
          </a:bodyPr>
          <a:lstStyle/>
          <a:p>
            <a:pPr algn="r"/>
            <a:r>
              <a:rPr lang="id-ID" sz="1200" b="1" dirty="0">
                <a:solidFill>
                  <a:srgbClr val="7F8C8D"/>
                </a:solidFill>
                <a:latin typeface="Calibri Light" panose="020F0302020204030204" pitchFamily="34" charset="0"/>
              </a:rPr>
              <a:t>SERVICES</a:t>
            </a:r>
            <a:r>
              <a:rPr lang="fr-FR" sz="1200" b="1" dirty="0">
                <a:solidFill>
                  <a:srgbClr val="7F8C8D"/>
                </a:solidFill>
                <a:latin typeface="Calibri Light" panose="020F0302020204030204" pitchFamily="34" charset="0"/>
              </a:rPr>
              <a:t> </a:t>
            </a:r>
            <a:r>
              <a:rPr lang="fr-FR" sz="1200" b="1" dirty="0" smtClean="0">
                <a:solidFill>
                  <a:srgbClr val="7F8C8D"/>
                </a:solidFill>
                <a:latin typeface="Calibri Light" panose="020F0302020204030204" pitchFamily="34" charset="0"/>
              </a:rPr>
              <a:t>ADAPTES</a:t>
            </a:r>
            <a:endParaRPr lang="id-ID" sz="1200" dirty="0">
              <a:solidFill>
                <a:srgbClr val="7F8C8D"/>
              </a:solidFill>
              <a:latin typeface="Calibri Light" pitchFamily="34" charset="0"/>
            </a:endParaRPr>
          </a:p>
        </p:txBody>
      </p:sp>
      <p:sp>
        <p:nvSpPr>
          <p:cNvPr id="248" name="Rectangle 247"/>
          <p:cNvSpPr/>
          <p:nvPr/>
        </p:nvSpPr>
        <p:spPr>
          <a:xfrm>
            <a:off x="6842468" y="4170334"/>
            <a:ext cx="1605463" cy="276999"/>
          </a:xfrm>
          <a:prstGeom prst="rect">
            <a:avLst/>
          </a:prstGeom>
        </p:spPr>
        <p:txBody>
          <a:bodyPr wrap="square">
            <a:spAutoFit/>
          </a:bodyPr>
          <a:lstStyle/>
          <a:p>
            <a:pPr algn="r"/>
            <a:r>
              <a:rPr lang="id-ID" sz="1200" b="1" dirty="0" smtClean="0">
                <a:solidFill>
                  <a:schemeClr val="tx2">
                    <a:lumMod val="60000"/>
                    <a:lumOff val="40000"/>
                  </a:schemeClr>
                </a:solidFill>
                <a:latin typeface="Calibri Light" panose="020F0302020204030204" pitchFamily="34" charset="0"/>
              </a:rPr>
              <a:t>MANAGEMENT</a:t>
            </a:r>
            <a:endParaRPr lang="id-ID" sz="1200" dirty="0" smtClean="0">
              <a:solidFill>
                <a:schemeClr val="tx2">
                  <a:lumMod val="60000"/>
                  <a:lumOff val="40000"/>
                </a:schemeClr>
              </a:solidFill>
              <a:latin typeface="Calibri Light" pitchFamily="34" charset="0"/>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087469"/>
            <a:ext cx="941884" cy="646331"/>
          </a:xfrm>
          <a:prstGeom prst="rect">
            <a:avLst/>
          </a:prstGeom>
        </p:spPr>
        <p:txBody>
          <a:bodyPr wrap="square">
            <a:spAutoFit/>
          </a:bodyPr>
          <a:lstStyle/>
          <a:p>
            <a:pPr algn="ctr"/>
            <a:r>
              <a:rPr lang="fr-FR" sz="1200" b="1" dirty="0" smtClean="0">
                <a:solidFill>
                  <a:schemeClr val="bg1"/>
                </a:solidFill>
                <a:latin typeface="Calibri Light" panose="020F0302020204030204" pitchFamily="34" charset="0"/>
              </a:rPr>
              <a:t>La valeur ajoutée </a:t>
            </a:r>
            <a:r>
              <a:rPr lang="fr-FR" sz="1200" b="1" dirty="0" err="1" smtClean="0">
                <a:solidFill>
                  <a:schemeClr val="bg1"/>
                </a:solidFill>
                <a:latin typeface="Calibri Light" panose="020F0302020204030204" pitchFamily="34" charset="0"/>
              </a:rPr>
              <a:t>DataNest</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309"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310"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311"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312"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313"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314"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315"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95" name="Rectangle 94"/>
          <p:cNvSpPr/>
          <p:nvPr/>
        </p:nvSpPr>
        <p:spPr>
          <a:xfrm>
            <a:off x="2079882" y="5715000"/>
            <a:ext cx="5115503" cy="923330"/>
          </a:xfrm>
          <a:prstGeom prst="rect">
            <a:avLst/>
          </a:prstGeom>
          <a:noFill/>
        </p:spPr>
        <p:txBody>
          <a:bodyPr wrap="none" lIns="91440" tIns="45720" rIns="91440" bIns="45720">
            <a:spAutoFit/>
          </a:bodyPr>
          <a:lstStyle/>
          <a:p>
            <a:pPr algn="ctr"/>
            <a:r>
              <a:rPr lang="fr-FR" sz="5400" b="1"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Decision</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 </a:t>
            </a: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effectiv</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t>
            </a:r>
            <a:endParaRPr lang="fr-FR" sz="5400" b="1" cap="none" spc="0" dirty="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endParaRPr>
          </a:p>
        </p:txBody>
      </p:sp>
    </p:spTree>
    <p:extLst>
      <p:ext uri="{BB962C8B-B14F-4D97-AF65-F5344CB8AC3E}">
        <p14:creationId xmlns:p14="http://schemas.microsoft.com/office/powerpoint/2010/main" val="22830290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930221"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0" name="Oval 69"/>
          <p:cNvSpPr/>
          <p:nvPr/>
        </p:nvSpPr>
        <p:spPr>
          <a:xfrm>
            <a:off x="1015386" y="2294965"/>
            <a:ext cx="1048871" cy="1048871"/>
          </a:xfrm>
          <a:prstGeom prst="ellipse">
            <a:avLst/>
          </a:prstGeom>
          <a:solidFill>
            <a:srgbClr val="3498DB"/>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6" name="Oval 55"/>
          <p:cNvSpPr/>
          <p:nvPr/>
        </p:nvSpPr>
        <p:spPr>
          <a:xfrm>
            <a:off x="244974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1" name="Oval 70"/>
          <p:cNvSpPr/>
          <p:nvPr/>
        </p:nvSpPr>
        <p:spPr>
          <a:xfrm>
            <a:off x="2534905" y="2294965"/>
            <a:ext cx="1048871" cy="1048871"/>
          </a:xfrm>
          <a:prstGeom prst="ellipse">
            <a:avLst/>
          </a:prstGeom>
          <a:solidFill>
            <a:srgbClr val="3498DB"/>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7" name="Oval 56"/>
          <p:cNvSpPr/>
          <p:nvPr/>
        </p:nvSpPr>
        <p:spPr>
          <a:xfrm>
            <a:off x="3969258"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2" name="Oval 71"/>
          <p:cNvSpPr/>
          <p:nvPr/>
        </p:nvSpPr>
        <p:spPr>
          <a:xfrm>
            <a:off x="4054423" y="2294965"/>
            <a:ext cx="1048871" cy="1048871"/>
          </a:xfrm>
          <a:prstGeom prst="ellipse">
            <a:avLst/>
          </a:prstGeom>
          <a:solidFill>
            <a:srgbClr val="3498DB"/>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8" name="Oval 57"/>
          <p:cNvSpPr/>
          <p:nvPr/>
        </p:nvSpPr>
        <p:spPr>
          <a:xfrm>
            <a:off x="5488776"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3" name="Oval 72"/>
          <p:cNvSpPr/>
          <p:nvPr/>
        </p:nvSpPr>
        <p:spPr>
          <a:xfrm>
            <a:off x="5573941" y="2294965"/>
            <a:ext cx="1048871" cy="1048871"/>
          </a:xfrm>
          <a:prstGeom prst="ellipse">
            <a:avLst/>
          </a:prstGeom>
          <a:solidFill>
            <a:srgbClr val="3498DB"/>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9" name="Oval 58"/>
          <p:cNvSpPr/>
          <p:nvPr/>
        </p:nvSpPr>
        <p:spPr>
          <a:xfrm>
            <a:off x="7008291"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4" name="Oval 73"/>
          <p:cNvSpPr/>
          <p:nvPr/>
        </p:nvSpPr>
        <p:spPr>
          <a:xfrm>
            <a:off x="7093456" y="2294965"/>
            <a:ext cx="1048871" cy="1048871"/>
          </a:xfrm>
          <a:prstGeom prst="ellipse">
            <a:avLst/>
          </a:prstGeom>
          <a:solidFill>
            <a:srgbClr val="3498DB"/>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2" name="Text Placeholder 51"/>
          <p:cNvSpPr>
            <a:spLocks noGrp="1"/>
          </p:cNvSpPr>
          <p:nvPr>
            <p:ph type="body" sz="quarter" idx="13"/>
          </p:nvPr>
        </p:nvSpPr>
        <p:spPr/>
        <p:txBody>
          <a:bodyPr/>
          <a:lstStyle/>
          <a:p>
            <a:r>
              <a:rPr lang="en-US" dirty="0"/>
              <a:t>REPLACE </a:t>
            </a:r>
            <a:r>
              <a:rPr lang="en-US" dirty="0" smtClean="0"/>
              <a:t>YOUR </a:t>
            </a:r>
            <a:r>
              <a:rPr lang="en-US" dirty="0"/>
              <a:t>OWN TEXT</a:t>
            </a:r>
          </a:p>
        </p:txBody>
      </p:sp>
      <p:sp>
        <p:nvSpPr>
          <p:cNvPr id="2" name="Text Placeholder 1"/>
          <p:cNvSpPr>
            <a:spLocks noGrp="1"/>
          </p:cNvSpPr>
          <p:nvPr>
            <p:ph type="body" sz="quarter" idx="14"/>
          </p:nvPr>
        </p:nvSpPr>
        <p:spPr/>
        <p:txBody>
          <a:bodyPr/>
          <a:lstStyle/>
          <a:p>
            <a:r>
              <a:rPr lang="fr-FR" dirty="0" smtClean="0"/>
              <a:t>The </a:t>
            </a:r>
            <a:r>
              <a:rPr lang="fr-FR" dirty="0" err="1" smtClean="0"/>
              <a:t>era</a:t>
            </a:r>
            <a:r>
              <a:rPr lang="fr-FR" dirty="0" smtClean="0"/>
              <a:t> of information.</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14</a:t>
            </a:fld>
            <a:endParaRPr lang="en-US"/>
          </a:p>
        </p:txBody>
      </p:sp>
      <p:sp>
        <p:nvSpPr>
          <p:cNvPr id="5" name="Oval 4"/>
          <p:cNvSpPr/>
          <p:nvPr/>
        </p:nvSpPr>
        <p:spPr>
          <a:xfrm>
            <a:off x="883291" y="2289968"/>
            <a:ext cx="381000" cy="381000"/>
          </a:xfrm>
          <a:prstGeom prst="ellipse">
            <a:avLst/>
          </a:prstGeom>
          <a:solidFill>
            <a:srgbClr val="EEEEF2"/>
          </a:solidFill>
          <a:ln w="38100">
            <a:solidFill>
              <a:srgbClr val="3498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smtClean="0">
                <a:solidFill>
                  <a:srgbClr val="7F8C8D"/>
                </a:solidFill>
                <a:latin typeface="Calibri Light" panose="020F0302020204030204" pitchFamily="34" charset="0"/>
              </a:rPr>
              <a:t>1</a:t>
            </a:r>
            <a:endParaRPr lang="id-ID" sz="1200" dirty="0">
              <a:solidFill>
                <a:srgbClr val="7F8C8D"/>
              </a:solidFill>
              <a:latin typeface="Calibri Light" panose="020F0302020204030204" pitchFamily="34" charset="0"/>
            </a:endParaRPr>
          </a:p>
        </p:txBody>
      </p:sp>
      <p:sp>
        <p:nvSpPr>
          <p:cNvPr id="61" name="Oval 60"/>
          <p:cNvSpPr/>
          <p:nvPr/>
        </p:nvSpPr>
        <p:spPr>
          <a:xfrm>
            <a:off x="2400568" y="2289968"/>
            <a:ext cx="381000" cy="381000"/>
          </a:xfrm>
          <a:prstGeom prst="ellipse">
            <a:avLst/>
          </a:prstGeom>
          <a:solidFill>
            <a:srgbClr val="EEEEF2"/>
          </a:solidFill>
          <a:ln w="38100">
            <a:solidFill>
              <a:srgbClr val="3498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rgbClr val="7F8C8D"/>
                </a:solidFill>
                <a:latin typeface="Calibri Light" panose="020F0302020204030204" pitchFamily="34" charset="0"/>
              </a:rPr>
              <a:t>2</a:t>
            </a:r>
          </a:p>
        </p:txBody>
      </p:sp>
      <p:sp>
        <p:nvSpPr>
          <p:cNvPr id="62" name="Oval 61"/>
          <p:cNvSpPr/>
          <p:nvPr/>
        </p:nvSpPr>
        <p:spPr>
          <a:xfrm>
            <a:off x="3917845" y="2289968"/>
            <a:ext cx="381000" cy="381000"/>
          </a:xfrm>
          <a:prstGeom prst="ellipse">
            <a:avLst/>
          </a:prstGeom>
          <a:solidFill>
            <a:srgbClr val="EEEEF2"/>
          </a:solidFill>
          <a:ln w="38100">
            <a:solidFill>
              <a:srgbClr val="3498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rgbClr val="7F8C8D"/>
                </a:solidFill>
                <a:latin typeface="Calibri Light" panose="020F0302020204030204" pitchFamily="34" charset="0"/>
              </a:rPr>
              <a:t>3</a:t>
            </a:r>
          </a:p>
        </p:txBody>
      </p:sp>
      <p:sp>
        <p:nvSpPr>
          <p:cNvPr id="63" name="Oval 62"/>
          <p:cNvSpPr/>
          <p:nvPr/>
        </p:nvSpPr>
        <p:spPr>
          <a:xfrm>
            <a:off x="5435122" y="2289968"/>
            <a:ext cx="381000" cy="381000"/>
          </a:xfrm>
          <a:prstGeom prst="ellipse">
            <a:avLst/>
          </a:prstGeom>
          <a:solidFill>
            <a:srgbClr val="EEEEF2"/>
          </a:solidFill>
          <a:ln w="38100">
            <a:solidFill>
              <a:srgbClr val="3498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rgbClr val="7F8C8D"/>
                </a:solidFill>
                <a:latin typeface="Calibri Light" panose="020F0302020204030204" pitchFamily="34" charset="0"/>
              </a:rPr>
              <a:t>4</a:t>
            </a:r>
          </a:p>
        </p:txBody>
      </p:sp>
      <p:sp>
        <p:nvSpPr>
          <p:cNvPr id="64" name="Oval 63"/>
          <p:cNvSpPr/>
          <p:nvPr/>
        </p:nvSpPr>
        <p:spPr>
          <a:xfrm>
            <a:off x="6952398" y="2289968"/>
            <a:ext cx="381000" cy="381000"/>
          </a:xfrm>
          <a:prstGeom prst="ellipse">
            <a:avLst/>
          </a:prstGeom>
          <a:solidFill>
            <a:srgbClr val="EEEEF2"/>
          </a:solidFill>
          <a:ln w="38100">
            <a:solidFill>
              <a:srgbClr val="3498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solidFill>
                  <a:srgbClr val="7F8C8D"/>
                </a:solidFill>
                <a:latin typeface="Calibri Light" panose="020F0302020204030204" pitchFamily="34" charset="0"/>
              </a:rPr>
              <a:t>5</a:t>
            </a:r>
          </a:p>
        </p:txBody>
      </p:sp>
      <p:sp>
        <p:nvSpPr>
          <p:cNvPr id="6" name="TextBox 5"/>
          <p:cNvSpPr txBox="1"/>
          <p:nvPr/>
        </p:nvSpPr>
        <p:spPr>
          <a:xfrm>
            <a:off x="1190271" y="2667000"/>
            <a:ext cx="699101" cy="307777"/>
          </a:xfrm>
          <a:prstGeom prst="rect">
            <a:avLst/>
          </a:prstGeom>
          <a:noFill/>
        </p:spPr>
        <p:txBody>
          <a:bodyPr wrap="none" rtlCol="0" anchor="ctr">
            <a:spAutoFit/>
          </a:bodyPr>
          <a:lstStyle/>
          <a:p>
            <a:pPr algn="ctr"/>
            <a:r>
              <a:rPr lang="id-ID" sz="1400" dirty="0" smtClean="0">
                <a:solidFill>
                  <a:schemeClr val="bg1"/>
                </a:solidFill>
                <a:latin typeface="Calibri Light" panose="020F0302020204030204" pitchFamily="34" charset="0"/>
              </a:rPr>
              <a:t>ASSESS</a:t>
            </a:r>
            <a:endParaRPr lang="id-ID" sz="1400" dirty="0">
              <a:solidFill>
                <a:schemeClr val="bg1"/>
              </a:solidFill>
              <a:latin typeface="Calibri Light" panose="020F0302020204030204" pitchFamily="34" charset="0"/>
            </a:endParaRPr>
          </a:p>
        </p:txBody>
      </p:sp>
      <p:sp>
        <p:nvSpPr>
          <p:cNvPr id="66" name="TextBox 65"/>
          <p:cNvSpPr txBox="1"/>
          <p:nvPr/>
        </p:nvSpPr>
        <p:spPr>
          <a:xfrm>
            <a:off x="2696099" y="2667000"/>
            <a:ext cx="726481" cy="307777"/>
          </a:xfrm>
          <a:prstGeom prst="rect">
            <a:avLst/>
          </a:prstGeom>
          <a:noFill/>
        </p:spPr>
        <p:txBody>
          <a:bodyPr wrap="none" rtlCol="0" anchor="ctr">
            <a:spAutoFit/>
          </a:bodyPr>
          <a:lstStyle/>
          <a:p>
            <a:pPr algn="ctr"/>
            <a:r>
              <a:rPr lang="id-ID" sz="1400" dirty="0" smtClean="0">
                <a:solidFill>
                  <a:schemeClr val="bg1"/>
                </a:solidFill>
                <a:latin typeface="Calibri Light" panose="020F0302020204030204" pitchFamily="34" charset="0"/>
              </a:rPr>
              <a:t>MODEL</a:t>
            </a:r>
            <a:endParaRPr lang="id-ID" sz="1400" dirty="0">
              <a:solidFill>
                <a:schemeClr val="bg1"/>
              </a:solidFill>
              <a:latin typeface="Calibri Light" panose="020F0302020204030204" pitchFamily="34" charset="0"/>
            </a:endParaRPr>
          </a:p>
        </p:txBody>
      </p:sp>
      <p:sp>
        <p:nvSpPr>
          <p:cNvPr id="67" name="TextBox 66"/>
          <p:cNvSpPr txBox="1"/>
          <p:nvPr/>
        </p:nvSpPr>
        <p:spPr>
          <a:xfrm>
            <a:off x="4167625" y="2667000"/>
            <a:ext cx="833753" cy="307777"/>
          </a:xfrm>
          <a:prstGeom prst="rect">
            <a:avLst/>
          </a:prstGeom>
          <a:noFill/>
        </p:spPr>
        <p:txBody>
          <a:bodyPr wrap="none" rtlCol="0" anchor="ctr">
            <a:spAutoFit/>
          </a:bodyPr>
          <a:lstStyle/>
          <a:p>
            <a:pPr algn="ctr"/>
            <a:r>
              <a:rPr lang="id-ID" sz="1400" dirty="0" smtClean="0">
                <a:solidFill>
                  <a:schemeClr val="bg1"/>
                </a:solidFill>
                <a:latin typeface="Calibri Light" panose="020F0302020204030204" pitchFamily="34" charset="0"/>
              </a:rPr>
              <a:t>EXECUTE</a:t>
            </a:r>
            <a:endParaRPr lang="id-ID" sz="1400" dirty="0">
              <a:solidFill>
                <a:schemeClr val="bg1"/>
              </a:solidFill>
              <a:latin typeface="Calibri Light" panose="020F0302020204030204" pitchFamily="34" charset="0"/>
            </a:endParaRPr>
          </a:p>
        </p:txBody>
      </p:sp>
      <p:sp>
        <p:nvSpPr>
          <p:cNvPr id="68" name="TextBox 67"/>
          <p:cNvSpPr txBox="1"/>
          <p:nvPr/>
        </p:nvSpPr>
        <p:spPr>
          <a:xfrm>
            <a:off x="5689705" y="2667000"/>
            <a:ext cx="817340" cy="307777"/>
          </a:xfrm>
          <a:prstGeom prst="rect">
            <a:avLst/>
          </a:prstGeom>
          <a:noFill/>
        </p:spPr>
        <p:txBody>
          <a:bodyPr wrap="none" rtlCol="0" anchor="ctr">
            <a:spAutoFit/>
          </a:bodyPr>
          <a:lstStyle/>
          <a:p>
            <a:pPr algn="ctr"/>
            <a:r>
              <a:rPr lang="id-ID" sz="1400" dirty="0" smtClean="0">
                <a:solidFill>
                  <a:schemeClr val="bg1"/>
                </a:solidFill>
                <a:latin typeface="Calibri Light" panose="020F0302020204030204" pitchFamily="34" charset="0"/>
              </a:rPr>
              <a:t>ANALYZE</a:t>
            </a:r>
            <a:endParaRPr lang="id-ID" sz="1400" dirty="0">
              <a:solidFill>
                <a:schemeClr val="bg1"/>
              </a:solidFill>
              <a:latin typeface="Calibri Light" panose="020F0302020204030204" pitchFamily="34" charset="0"/>
            </a:endParaRPr>
          </a:p>
        </p:txBody>
      </p:sp>
      <p:sp>
        <p:nvSpPr>
          <p:cNvPr id="69" name="TextBox 68"/>
          <p:cNvSpPr txBox="1"/>
          <p:nvPr/>
        </p:nvSpPr>
        <p:spPr>
          <a:xfrm>
            <a:off x="7183446" y="2667000"/>
            <a:ext cx="868891" cy="307777"/>
          </a:xfrm>
          <a:prstGeom prst="rect">
            <a:avLst/>
          </a:prstGeom>
          <a:noFill/>
        </p:spPr>
        <p:txBody>
          <a:bodyPr wrap="none" rtlCol="0" anchor="ctr">
            <a:spAutoFit/>
          </a:bodyPr>
          <a:lstStyle/>
          <a:p>
            <a:pPr algn="ctr"/>
            <a:r>
              <a:rPr lang="id-ID" sz="1400" dirty="0" smtClean="0">
                <a:solidFill>
                  <a:schemeClr val="bg1"/>
                </a:solidFill>
                <a:latin typeface="Calibri Light" panose="020F0302020204030204" pitchFamily="34" charset="0"/>
              </a:rPr>
              <a:t>IMPROVE</a:t>
            </a:r>
            <a:endParaRPr lang="id-ID" sz="1400" dirty="0">
              <a:solidFill>
                <a:schemeClr val="bg1"/>
              </a:solidFill>
              <a:latin typeface="Calibri Light" panose="020F0302020204030204" pitchFamily="34" charset="0"/>
            </a:endParaRPr>
          </a:p>
        </p:txBody>
      </p:sp>
      <p:sp>
        <p:nvSpPr>
          <p:cNvPr id="80" name="Rectangle 79"/>
          <p:cNvSpPr/>
          <p:nvPr>
            <p:custDataLst>
              <p:tags r:id="rId1"/>
            </p:custDataLst>
          </p:nvPr>
        </p:nvSpPr>
        <p:spPr>
          <a:xfrm>
            <a:off x="0" y="5496580"/>
            <a:ext cx="9144000" cy="1361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1" name="Straight Connector 80"/>
          <p:cNvCxnSpPr/>
          <p:nvPr/>
        </p:nvCxnSpPr>
        <p:spPr>
          <a:xfrm flipH="1">
            <a:off x="0" y="5486400"/>
            <a:ext cx="9144000" cy="0"/>
          </a:xfrm>
          <a:prstGeom prst="line">
            <a:avLst/>
          </a:prstGeom>
          <a:ln w="12700">
            <a:solidFill>
              <a:srgbClr val="3498DB"/>
            </a:solidFill>
          </a:ln>
        </p:spPr>
        <p:style>
          <a:lnRef idx="1">
            <a:schemeClr val="accent1"/>
          </a:lnRef>
          <a:fillRef idx="0">
            <a:schemeClr val="accent1"/>
          </a:fillRef>
          <a:effectRef idx="0">
            <a:schemeClr val="accent1"/>
          </a:effectRef>
          <a:fontRef idx="minor">
            <a:schemeClr val="tx1"/>
          </a:fontRef>
        </p:style>
      </p:cxnSp>
      <p:sp>
        <p:nvSpPr>
          <p:cNvPr id="82" name="Rectangle 81"/>
          <p:cNvSpPr/>
          <p:nvPr>
            <p:custDataLst>
              <p:tags r:id="rId2"/>
            </p:custDataLst>
          </p:nvPr>
        </p:nvSpPr>
        <p:spPr>
          <a:xfrm>
            <a:off x="304800" y="5648236"/>
            <a:ext cx="8305800" cy="600164"/>
          </a:xfrm>
          <a:prstGeom prst="rect">
            <a:avLst/>
          </a:prstGeom>
        </p:spPr>
        <p:txBody>
          <a:bodyPr wrap="square">
            <a:spAutoFit/>
          </a:bodyPr>
          <a:lstStyle/>
          <a:p>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a:t>
            </a:r>
            <a:r>
              <a:rPr lang="en-US" sz="1100" dirty="0" smtClean="0">
                <a:solidFill>
                  <a:schemeClr val="tx1">
                    <a:lumMod val="75000"/>
                    <a:lumOff val="25000"/>
                  </a:schemeClr>
                </a:solidFill>
                <a:latin typeface="Calibri Light" pitchFamily="34" charset="0"/>
              </a:rPr>
              <a:t>simply dummy text of the printing and </a:t>
            </a:r>
            <a:r>
              <a:rPr lang="en-US" sz="1100" dirty="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p>
        </p:txBody>
      </p:sp>
      <p:sp>
        <p:nvSpPr>
          <p:cNvPr id="84" name="Rectangle 83"/>
          <p:cNvSpPr/>
          <p:nvPr/>
        </p:nvSpPr>
        <p:spPr>
          <a:xfrm>
            <a:off x="872519" y="3869633"/>
            <a:ext cx="1334605" cy="769441"/>
          </a:xfrm>
          <a:prstGeom prst="rect">
            <a:avLst/>
          </a:prstGeom>
        </p:spPr>
        <p:txBody>
          <a:bodyPr wrap="square">
            <a:spAutoFit/>
          </a:bodyPr>
          <a:lstStyle/>
          <a:p>
            <a:pPr algn="ct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typesetting. </a:t>
            </a:r>
            <a:endParaRPr lang="en-US" sz="1100" dirty="0"/>
          </a:p>
        </p:txBody>
      </p:sp>
      <p:sp>
        <p:nvSpPr>
          <p:cNvPr id="86" name="Rectangle 85"/>
          <p:cNvSpPr/>
          <p:nvPr/>
        </p:nvSpPr>
        <p:spPr>
          <a:xfrm>
            <a:off x="2392036" y="3869633"/>
            <a:ext cx="1334605" cy="769441"/>
          </a:xfrm>
          <a:prstGeom prst="rect">
            <a:avLst/>
          </a:prstGeom>
        </p:spPr>
        <p:txBody>
          <a:bodyPr wrap="square">
            <a:spAutoFit/>
          </a:bodyPr>
          <a:lstStyle/>
          <a:p>
            <a:pPr algn="ct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typesetting. </a:t>
            </a:r>
            <a:endParaRPr lang="en-US" sz="1100" dirty="0"/>
          </a:p>
        </p:txBody>
      </p:sp>
      <p:sp>
        <p:nvSpPr>
          <p:cNvPr id="87" name="Rectangle 86"/>
          <p:cNvSpPr/>
          <p:nvPr/>
        </p:nvSpPr>
        <p:spPr>
          <a:xfrm>
            <a:off x="3911555" y="3869633"/>
            <a:ext cx="1334605" cy="769441"/>
          </a:xfrm>
          <a:prstGeom prst="rect">
            <a:avLst/>
          </a:prstGeom>
        </p:spPr>
        <p:txBody>
          <a:bodyPr wrap="square">
            <a:spAutoFit/>
          </a:bodyPr>
          <a:lstStyle/>
          <a:p>
            <a:pPr algn="ct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typesetting. </a:t>
            </a:r>
            <a:endParaRPr lang="en-US" sz="1100" dirty="0"/>
          </a:p>
        </p:txBody>
      </p:sp>
      <p:sp>
        <p:nvSpPr>
          <p:cNvPr id="88" name="Rectangle 87"/>
          <p:cNvSpPr/>
          <p:nvPr/>
        </p:nvSpPr>
        <p:spPr>
          <a:xfrm>
            <a:off x="5431072" y="3869633"/>
            <a:ext cx="1334605" cy="769441"/>
          </a:xfrm>
          <a:prstGeom prst="rect">
            <a:avLst/>
          </a:prstGeom>
        </p:spPr>
        <p:txBody>
          <a:bodyPr wrap="square">
            <a:spAutoFit/>
          </a:bodyPr>
          <a:lstStyle/>
          <a:p>
            <a:pPr algn="ct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typesetting. </a:t>
            </a:r>
            <a:endParaRPr lang="en-US" sz="1100" dirty="0"/>
          </a:p>
        </p:txBody>
      </p:sp>
      <p:sp>
        <p:nvSpPr>
          <p:cNvPr id="89" name="Rectangle 88"/>
          <p:cNvSpPr/>
          <p:nvPr/>
        </p:nvSpPr>
        <p:spPr>
          <a:xfrm>
            <a:off x="6950589" y="3857632"/>
            <a:ext cx="1334605" cy="769441"/>
          </a:xfrm>
          <a:prstGeom prst="rect">
            <a:avLst/>
          </a:prstGeom>
        </p:spPr>
        <p:txBody>
          <a:bodyPr wrap="square">
            <a:spAutoFit/>
          </a:bodyPr>
          <a:lstStyle/>
          <a:p>
            <a:pPr algn="ct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typesetting. </a:t>
            </a:r>
            <a:endParaRPr lang="en-US" sz="1100" dirty="0"/>
          </a:p>
        </p:txBody>
      </p:sp>
      <p:cxnSp>
        <p:nvCxnSpPr>
          <p:cNvPr id="13" name="Straight Connector 12"/>
          <p:cNvCxnSpPr/>
          <p:nvPr/>
        </p:nvCxnSpPr>
        <p:spPr>
          <a:xfrm>
            <a:off x="1041509" y="3657600"/>
            <a:ext cx="996625" cy="0"/>
          </a:xfrm>
          <a:prstGeom prst="line">
            <a:avLst/>
          </a:prstGeom>
          <a:ln>
            <a:solidFill>
              <a:srgbClr val="3498DB"/>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2561027" y="3657600"/>
            <a:ext cx="996625" cy="0"/>
          </a:xfrm>
          <a:prstGeom prst="line">
            <a:avLst/>
          </a:prstGeom>
          <a:ln>
            <a:solidFill>
              <a:srgbClr val="3498DB"/>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080545" y="3657600"/>
            <a:ext cx="996625" cy="0"/>
          </a:xfrm>
          <a:prstGeom prst="line">
            <a:avLst/>
          </a:prstGeom>
          <a:ln>
            <a:solidFill>
              <a:srgbClr val="3498DB"/>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600063" y="3657600"/>
            <a:ext cx="996625" cy="0"/>
          </a:xfrm>
          <a:prstGeom prst="line">
            <a:avLst/>
          </a:prstGeom>
          <a:ln>
            <a:solidFill>
              <a:srgbClr val="3498DB"/>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7119579" y="3657600"/>
            <a:ext cx="996625" cy="0"/>
          </a:xfrm>
          <a:prstGeom prst="line">
            <a:avLst/>
          </a:prstGeom>
          <a:ln>
            <a:solidFill>
              <a:srgbClr val="3498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0172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628650" y="866381"/>
            <a:ext cx="7891272" cy="243785"/>
          </a:xfrm>
        </p:spPr>
        <p:txBody>
          <a:bodyPr/>
          <a:lstStyle/>
          <a:p>
            <a:pPr>
              <a:lnSpc>
                <a:spcPct val="80000"/>
              </a:lnSpc>
            </a:pPr>
            <a:r>
              <a:rPr lang="en-US" dirty="0" err="1" smtClean="0"/>
              <a:t>Selon</a:t>
            </a:r>
            <a:r>
              <a:rPr lang="en-US" dirty="0" smtClean="0"/>
              <a:t> les budgets, </a:t>
            </a:r>
            <a:r>
              <a:rPr lang="en-US" dirty="0" err="1" smtClean="0"/>
              <a:t>mais</a:t>
            </a:r>
            <a:r>
              <a:rPr lang="en-US" dirty="0" smtClean="0"/>
              <a:t> </a:t>
            </a:r>
            <a:r>
              <a:rPr lang="en-US" dirty="0" err="1" smtClean="0"/>
              <a:t>surtout</a:t>
            </a:r>
            <a:r>
              <a:rPr lang="en-US" dirty="0" smtClean="0"/>
              <a:t> les </a:t>
            </a:r>
            <a:r>
              <a:rPr lang="en-US" dirty="0" err="1" smtClean="0"/>
              <a:t>désirs</a:t>
            </a:r>
            <a:r>
              <a:rPr lang="en-US" dirty="0" smtClean="0"/>
              <a:t> de </a:t>
            </a:r>
            <a:r>
              <a:rPr lang="en-US" dirty="0" err="1" smtClean="0"/>
              <a:t>nos</a:t>
            </a:r>
            <a:r>
              <a:rPr lang="en-US" dirty="0" smtClean="0"/>
              <a:t> clients.</a:t>
            </a:r>
            <a:endParaRPr lang="en-US" dirty="0"/>
          </a:p>
        </p:txBody>
      </p:sp>
      <p:sp>
        <p:nvSpPr>
          <p:cNvPr id="10" name="Slide Number Placeholder 9"/>
          <p:cNvSpPr>
            <a:spLocks noGrp="1"/>
          </p:cNvSpPr>
          <p:nvPr>
            <p:ph type="sldNum" sz="quarter" idx="12"/>
          </p:nvPr>
        </p:nvSpPr>
        <p:spPr/>
        <p:txBody>
          <a:bodyPr/>
          <a:lstStyle/>
          <a:p>
            <a:fld id="{125C11E9-EA40-D54F-953A-82A4C72DAAAD}" type="slidenum">
              <a:rPr lang="en-US" smtClean="0"/>
              <a:pPr/>
              <a:t>15</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err="1" smtClean="0"/>
              <a:t>L’offre</a:t>
            </a:r>
            <a:r>
              <a:rPr lang="en-US" dirty="0" smtClean="0"/>
              <a:t> </a:t>
            </a:r>
            <a:r>
              <a:rPr lang="en-US" dirty="0" err="1" smtClean="0"/>
              <a:t>DataNest</a:t>
            </a:r>
            <a:r>
              <a:rPr lang="en-US" dirty="0" smtClean="0"/>
              <a:t>.</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grpSp>
        <p:nvGrpSpPr>
          <p:cNvPr id="71" name="Group 70"/>
          <p:cNvGrpSpPr/>
          <p:nvPr/>
        </p:nvGrpSpPr>
        <p:grpSpPr>
          <a:xfrm>
            <a:off x="1191514" y="3014658"/>
            <a:ext cx="3125221" cy="2758212"/>
            <a:chOff x="6765581" y="1585913"/>
            <a:chExt cx="2777777" cy="2966400"/>
          </a:xfrm>
        </p:grpSpPr>
        <p:sp>
          <p:nvSpPr>
            <p:cNvPr id="72" name="Rectangle 71"/>
            <p:cNvSpPr/>
            <p:nvPr/>
          </p:nvSpPr>
          <p:spPr>
            <a:xfrm>
              <a:off x="6903146" y="1825517"/>
              <a:ext cx="2502648" cy="2726796"/>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365760" rIns="182880" bIns="91440" rtlCol="0" anchor="t"/>
            <a:lstStyle/>
            <a:p>
              <a:pPr marL="171450" indent="-171450">
                <a:buFont typeface="Wingdings" panose="05000000000000000000" pitchFamily="2" charset="2"/>
                <a:buChar char="§"/>
              </a:pPr>
              <a:r>
                <a:rPr lang="en-US" sz="1200" dirty="0" smtClean="0">
                  <a:solidFill>
                    <a:srgbClr val="000000"/>
                  </a:solidFill>
                </a:rPr>
                <a:t>Se </a:t>
              </a:r>
              <a:r>
                <a:rPr lang="en-US" sz="1200" dirty="0" err="1" smtClean="0">
                  <a:solidFill>
                    <a:srgbClr val="000000"/>
                  </a:solidFill>
                </a:rPr>
                <a:t>focalise</a:t>
              </a:r>
              <a:r>
                <a:rPr lang="en-US" sz="1200" dirty="0" smtClean="0">
                  <a:solidFill>
                    <a:srgbClr val="000000"/>
                  </a:solidFill>
                </a:rPr>
                <a:t> </a:t>
              </a:r>
              <a:r>
                <a:rPr lang="en-US" sz="1200" dirty="0" err="1" smtClean="0">
                  <a:solidFill>
                    <a:srgbClr val="000000"/>
                  </a:solidFill>
                </a:rPr>
                <a:t>sur</a:t>
              </a:r>
              <a:r>
                <a:rPr lang="en-US" sz="1200" dirty="0" smtClean="0">
                  <a:solidFill>
                    <a:srgbClr val="000000"/>
                  </a:solidFill>
                </a:rPr>
                <a:t> un </a:t>
              </a:r>
              <a:r>
                <a:rPr lang="en-US" sz="1200" dirty="0" err="1" smtClean="0">
                  <a:solidFill>
                    <a:srgbClr val="000000"/>
                  </a:solidFill>
                </a:rPr>
                <a:t>évenement</a:t>
              </a:r>
              <a:r>
                <a:rPr lang="en-US" sz="1200" dirty="0" smtClean="0">
                  <a:solidFill>
                    <a:srgbClr val="000000"/>
                  </a:solidFill>
                </a:rPr>
                <a:t>/ </a:t>
              </a:r>
              <a:r>
                <a:rPr lang="en-US" sz="1200" dirty="0" err="1" smtClean="0">
                  <a:solidFill>
                    <a:srgbClr val="000000"/>
                  </a:solidFill>
                </a:rPr>
                <a:t>produit</a:t>
              </a:r>
              <a:r>
                <a:rPr lang="en-US" sz="1200" dirty="0" smtClean="0">
                  <a:solidFill>
                    <a:srgbClr val="000000"/>
                  </a:solidFill>
                </a:rPr>
                <a:t>/ mot-</a:t>
              </a:r>
              <a:r>
                <a:rPr lang="en-US" sz="1200" dirty="0" err="1" smtClean="0">
                  <a:solidFill>
                    <a:srgbClr val="000000"/>
                  </a:solidFill>
                </a:rPr>
                <a:t>clé</a:t>
              </a:r>
              <a:r>
                <a:rPr lang="en-US" sz="1200" dirty="0" smtClean="0">
                  <a:solidFill>
                    <a:srgbClr val="000000"/>
                  </a:solidFill>
                </a:rPr>
                <a:t> en </a:t>
              </a:r>
              <a:r>
                <a:rPr lang="en-US" sz="1200" dirty="0" err="1" smtClean="0">
                  <a:solidFill>
                    <a:srgbClr val="000000"/>
                  </a:solidFill>
                </a:rPr>
                <a:t>particulier</a:t>
              </a:r>
              <a:r>
                <a:rPr lang="en-US" sz="1200" dirty="0" smtClean="0">
                  <a:solidFill>
                    <a:srgbClr val="000000"/>
                  </a:solidFill>
                </a:rPr>
                <a:t>.</a:t>
              </a:r>
              <a:endParaRPr lang="en-US" sz="1200" dirty="0" smtClean="0">
                <a:solidFill>
                  <a:srgbClr val="000000"/>
                </a:solidFill>
              </a:endParaRPr>
            </a:p>
            <a:p>
              <a:pPr marL="171450" indent="-171450">
                <a:buFont typeface="Wingdings" panose="05000000000000000000" pitchFamily="2" charset="2"/>
                <a:buChar char="§"/>
              </a:pPr>
              <a:endParaRPr lang="en-US" sz="1200" dirty="0" smtClean="0">
                <a:solidFill>
                  <a:srgbClr val="000000"/>
                </a:solidFill>
              </a:endParaRPr>
            </a:p>
            <a:p>
              <a:pPr marL="171450" indent="-171450">
                <a:buFont typeface="Wingdings" panose="05000000000000000000" pitchFamily="2" charset="2"/>
                <a:buChar char="§"/>
              </a:pPr>
              <a:r>
                <a:rPr lang="fr-FR" sz="1200" dirty="0" smtClean="0">
                  <a:solidFill>
                    <a:srgbClr val="000000"/>
                  </a:solidFill>
                </a:rPr>
                <a:t>Gratuite ou à cout minimal.</a:t>
              </a:r>
              <a:endParaRPr lang="en-US" sz="1200" dirty="0">
                <a:solidFill>
                  <a:srgbClr val="000000"/>
                </a:solidFill>
              </a:endParaRPr>
            </a:p>
            <a:p>
              <a:pPr marL="171450" indent="-171450">
                <a:buFont typeface="Wingdings" panose="05000000000000000000" pitchFamily="2" charset="2"/>
                <a:buChar char="§"/>
              </a:pPr>
              <a:r>
                <a:rPr lang="en-US" sz="1200" dirty="0" err="1" smtClean="0">
                  <a:solidFill>
                    <a:srgbClr val="000000"/>
                  </a:solidFill>
                </a:rPr>
                <a:t>Eléments</a:t>
              </a:r>
              <a:r>
                <a:rPr lang="en-US" sz="1200" dirty="0">
                  <a:solidFill>
                    <a:srgbClr val="000000"/>
                  </a:solidFill>
                </a:rPr>
                <a:t> </a:t>
              </a:r>
              <a:r>
                <a:rPr lang="en-US" sz="1200" dirty="0" smtClean="0">
                  <a:solidFill>
                    <a:srgbClr val="000000"/>
                  </a:solidFill>
                </a:rPr>
                <a:t>de </a:t>
              </a:r>
              <a:r>
                <a:rPr lang="en-US" sz="1200" dirty="0" err="1" smtClean="0">
                  <a:solidFill>
                    <a:srgbClr val="000000"/>
                  </a:solidFill>
                </a:rPr>
                <a:t>réponses</a:t>
              </a:r>
              <a:r>
                <a:rPr lang="en-US" sz="1200" dirty="0" smtClean="0">
                  <a:solidFill>
                    <a:srgbClr val="000000"/>
                  </a:solidFill>
                </a:rPr>
                <a:t> </a:t>
              </a:r>
              <a:r>
                <a:rPr lang="en-US" sz="1200" dirty="0" err="1" smtClean="0">
                  <a:solidFill>
                    <a:srgbClr val="000000"/>
                  </a:solidFill>
                </a:rPr>
                <a:t>minimaux</a:t>
              </a:r>
              <a:r>
                <a:rPr lang="en-US" sz="1200" dirty="0" smtClean="0">
                  <a:solidFill>
                    <a:srgbClr val="000000"/>
                  </a:solidFill>
                </a:rPr>
                <a:t> : </a:t>
              </a:r>
              <a:r>
                <a:rPr lang="en-US" sz="1200" dirty="0" err="1" smtClean="0">
                  <a:solidFill>
                    <a:srgbClr val="000000"/>
                  </a:solidFill>
                </a:rPr>
                <a:t>chartes</a:t>
              </a:r>
              <a:r>
                <a:rPr lang="en-US" sz="1200" dirty="0" smtClean="0">
                  <a:solidFill>
                    <a:srgbClr val="000000"/>
                  </a:solidFill>
                </a:rPr>
                <a:t> comparatives et </a:t>
              </a:r>
              <a:r>
                <a:rPr lang="en-US" sz="1200" dirty="0" err="1" smtClean="0">
                  <a:solidFill>
                    <a:srgbClr val="000000"/>
                  </a:solidFill>
                </a:rPr>
                <a:t>résultats</a:t>
              </a:r>
              <a:r>
                <a:rPr lang="en-US" sz="1200" dirty="0" smtClean="0">
                  <a:solidFill>
                    <a:srgbClr val="000000"/>
                  </a:solidFill>
                </a:rPr>
                <a:t> semi-</a:t>
              </a:r>
              <a:r>
                <a:rPr lang="en-US" sz="1200" dirty="0" err="1" smtClean="0">
                  <a:solidFill>
                    <a:srgbClr val="000000"/>
                  </a:solidFill>
                </a:rPr>
                <a:t>traités</a:t>
              </a:r>
              <a:r>
                <a:rPr lang="en-US" sz="1200" dirty="0" smtClean="0">
                  <a:solidFill>
                    <a:srgbClr val="000000"/>
                  </a:solidFill>
                </a:rPr>
                <a:t>.</a:t>
              </a:r>
            </a:p>
            <a:p>
              <a:pPr marL="171450" indent="-171450">
                <a:buFont typeface="Wingdings" panose="05000000000000000000" pitchFamily="2" charset="2"/>
                <a:buChar char="§"/>
              </a:pPr>
              <a:r>
                <a:rPr lang="fr-FR" sz="1200" dirty="0" smtClean="0">
                  <a:solidFill>
                    <a:srgbClr val="000000"/>
                  </a:solidFill>
                </a:rPr>
                <a:t>Plateforme d’essai  de la puissance </a:t>
              </a:r>
              <a:r>
                <a:rPr lang="fr-FR" sz="1200" dirty="0" err="1" smtClean="0">
                  <a:solidFill>
                    <a:srgbClr val="000000"/>
                  </a:solidFill>
                </a:rPr>
                <a:t>DataNest</a:t>
              </a:r>
              <a:r>
                <a:rPr lang="fr-FR" sz="1200" dirty="0" smtClean="0">
                  <a:solidFill>
                    <a:srgbClr val="000000"/>
                  </a:solidFill>
                </a:rPr>
                <a:t>.</a:t>
              </a:r>
              <a:endParaRPr lang="en-US" sz="1200" dirty="0" smtClean="0">
                <a:solidFill>
                  <a:srgbClr val="000000"/>
                </a:solidFill>
              </a:endParaRPr>
            </a:p>
          </p:txBody>
        </p:sp>
        <p:sp>
          <p:nvSpPr>
            <p:cNvPr id="73" name="Rectangle 72"/>
            <p:cNvSpPr/>
            <p:nvPr/>
          </p:nvSpPr>
          <p:spPr>
            <a:xfrm>
              <a:off x="6765581" y="1585913"/>
              <a:ext cx="2777776" cy="427572"/>
            </a:xfrm>
            <a:prstGeom prst="rect">
              <a:avLst/>
            </a:prstGeom>
            <a:solidFill>
              <a:srgbClr val="0D65AC"/>
            </a:solidFill>
            <a:ln w="3175">
              <a:noFill/>
              <a:round/>
              <a:headEnd/>
              <a:tailEnd/>
            </a:ln>
            <a:effectLst>
              <a:innerShdw dist="38100" dir="5400000">
                <a:prstClr val="black">
                  <a:alpha val="20000"/>
                </a:prstClr>
              </a:innerShdw>
            </a:effectLst>
          </p:spPr>
          <p:txBody>
            <a:bodyPr rtlCol="0" anchor="ctr"/>
            <a:lstStyle/>
            <a:p>
              <a:r>
                <a:rPr lang="fr-FR" sz="1600" b="1" dirty="0" smtClean="0">
                  <a:solidFill>
                    <a:schemeClr val="bg1"/>
                  </a:solidFill>
                </a:rPr>
                <a:t>Analyse Instantanée</a:t>
              </a:r>
              <a:endParaRPr lang="en-US" sz="1600" b="1" dirty="0">
                <a:solidFill>
                  <a:schemeClr val="bg1"/>
                </a:solidFill>
              </a:endParaRPr>
            </a:p>
          </p:txBody>
        </p:sp>
        <p:sp>
          <p:nvSpPr>
            <p:cNvPr id="74" name="Right Triangle 73"/>
            <p:cNvSpPr/>
            <p:nvPr/>
          </p:nvSpPr>
          <p:spPr>
            <a:xfrm flipH="1" flipV="1">
              <a:off x="6765581" y="2013485"/>
              <a:ext cx="137564" cy="137564"/>
            </a:xfrm>
            <a:prstGeom prst="rtTriangle">
              <a:avLst/>
            </a:prstGeom>
            <a:solidFill>
              <a:srgbClr val="07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2" name="Right Triangle 51"/>
            <p:cNvSpPr/>
            <p:nvPr/>
          </p:nvSpPr>
          <p:spPr>
            <a:xfrm flipV="1">
              <a:off x="9405794" y="2013485"/>
              <a:ext cx="137564" cy="137563"/>
            </a:xfrm>
            <a:prstGeom prst="rtTriangle">
              <a:avLst/>
            </a:prstGeom>
            <a:solidFill>
              <a:srgbClr val="07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32" name="Group 31"/>
          <p:cNvGrpSpPr/>
          <p:nvPr/>
        </p:nvGrpSpPr>
        <p:grpSpPr>
          <a:xfrm>
            <a:off x="4669287" y="3014658"/>
            <a:ext cx="3125220" cy="2758212"/>
            <a:chOff x="6765581" y="1585913"/>
            <a:chExt cx="2777777" cy="2966401"/>
          </a:xfrm>
        </p:grpSpPr>
        <p:sp>
          <p:nvSpPr>
            <p:cNvPr id="33" name="Rectangle 32"/>
            <p:cNvSpPr/>
            <p:nvPr/>
          </p:nvSpPr>
          <p:spPr>
            <a:xfrm>
              <a:off x="6903146" y="1825517"/>
              <a:ext cx="2502648" cy="2726797"/>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365760" rIns="182880" bIns="91440" rtlCol="0" anchor="t"/>
            <a:lstStyle/>
            <a:p>
              <a:pPr marL="171450" indent="-171450">
                <a:buFont typeface="Wingdings" panose="05000000000000000000" pitchFamily="2" charset="2"/>
                <a:buChar char="§"/>
              </a:pPr>
              <a:r>
                <a:rPr lang="fr-FR" sz="1200" dirty="0" err="1" smtClean="0">
                  <a:solidFill>
                    <a:srgbClr val="000000"/>
                  </a:solidFill>
                </a:rPr>
                <a:t>Paiante</a:t>
              </a:r>
              <a:r>
                <a:rPr lang="fr-FR" sz="1200" dirty="0" smtClean="0">
                  <a:solidFill>
                    <a:srgbClr val="000000"/>
                  </a:solidFill>
                </a:rPr>
                <a:t>.</a:t>
              </a:r>
              <a:endParaRPr lang="en-US" sz="1200" dirty="0">
                <a:solidFill>
                  <a:srgbClr val="000000"/>
                </a:solidFill>
              </a:endParaRPr>
            </a:p>
            <a:p>
              <a:pPr marL="171450" indent="-171450">
                <a:buFont typeface="Wingdings" panose="05000000000000000000" pitchFamily="2" charset="2"/>
                <a:buChar char="§"/>
              </a:pPr>
              <a:r>
                <a:rPr lang="en-US" sz="1200" dirty="0" err="1" smtClean="0">
                  <a:solidFill>
                    <a:srgbClr val="000000"/>
                  </a:solidFill>
                </a:rPr>
                <a:t>Suivi</a:t>
              </a:r>
              <a:r>
                <a:rPr lang="en-US" sz="1200" dirty="0" smtClean="0">
                  <a:solidFill>
                    <a:srgbClr val="000000"/>
                  </a:solidFill>
                </a:rPr>
                <a:t> </a:t>
              </a:r>
              <a:r>
                <a:rPr lang="en-US" sz="1200" dirty="0" err="1" smtClean="0">
                  <a:solidFill>
                    <a:srgbClr val="000000"/>
                  </a:solidFill>
                </a:rPr>
                <a:t>continu</a:t>
              </a:r>
              <a:r>
                <a:rPr lang="en-US" sz="1200" dirty="0" smtClean="0">
                  <a:solidFill>
                    <a:srgbClr val="000000"/>
                  </a:solidFill>
                </a:rPr>
                <a:t> de </a:t>
              </a:r>
              <a:r>
                <a:rPr lang="en-US" sz="1200" dirty="0" err="1" smtClean="0">
                  <a:solidFill>
                    <a:srgbClr val="000000"/>
                  </a:solidFill>
                </a:rPr>
                <a:t>nos</a:t>
              </a:r>
              <a:r>
                <a:rPr lang="en-US" sz="1200" dirty="0" smtClean="0">
                  <a:solidFill>
                    <a:srgbClr val="000000"/>
                  </a:solidFill>
                </a:rPr>
                <a:t> clients </a:t>
              </a:r>
              <a:r>
                <a:rPr lang="en-US" sz="1200" dirty="0" err="1" smtClean="0">
                  <a:solidFill>
                    <a:srgbClr val="000000"/>
                  </a:solidFill>
                </a:rPr>
                <a:t>prévilégiés</a:t>
              </a:r>
              <a:r>
                <a:rPr lang="en-US" sz="1200" dirty="0" smtClean="0">
                  <a:solidFill>
                    <a:srgbClr val="000000"/>
                  </a:solidFill>
                </a:rPr>
                <a:t> et remise de </a:t>
              </a:r>
              <a:r>
                <a:rPr lang="en-US" sz="1200" dirty="0" err="1" smtClean="0">
                  <a:solidFill>
                    <a:srgbClr val="000000"/>
                  </a:solidFill>
                </a:rPr>
                <a:t>livrables</a:t>
              </a:r>
              <a:r>
                <a:rPr lang="en-US" sz="1200" dirty="0" smtClean="0">
                  <a:solidFill>
                    <a:srgbClr val="000000"/>
                  </a:solidFill>
                </a:rPr>
                <a:t> </a:t>
              </a:r>
              <a:r>
                <a:rPr lang="en-US" sz="1200" dirty="0" err="1" smtClean="0">
                  <a:solidFill>
                    <a:srgbClr val="000000"/>
                  </a:solidFill>
                </a:rPr>
                <a:t>hebdomadaires</a:t>
              </a:r>
              <a:r>
                <a:rPr lang="en-US" sz="1200" dirty="0" smtClean="0">
                  <a:solidFill>
                    <a:srgbClr val="000000"/>
                  </a:solidFill>
                </a:rPr>
                <a:t> </a:t>
              </a:r>
              <a:r>
                <a:rPr lang="en-US" sz="1200" dirty="0" err="1" smtClean="0">
                  <a:solidFill>
                    <a:srgbClr val="000000"/>
                  </a:solidFill>
                </a:rPr>
                <a:t>sur</a:t>
              </a:r>
              <a:r>
                <a:rPr lang="en-US" sz="1200" dirty="0" smtClean="0">
                  <a:solidFill>
                    <a:srgbClr val="000000"/>
                  </a:solidFill>
                </a:rPr>
                <a:t> </a:t>
              </a:r>
              <a:r>
                <a:rPr lang="en-US" sz="1200" dirty="0" err="1" smtClean="0">
                  <a:solidFill>
                    <a:srgbClr val="000000"/>
                  </a:solidFill>
                </a:rPr>
                <a:t>leur</a:t>
              </a:r>
              <a:r>
                <a:rPr lang="en-US" sz="1200" dirty="0" smtClean="0">
                  <a:solidFill>
                    <a:srgbClr val="000000"/>
                  </a:solidFill>
                </a:rPr>
                <a:t> performances </a:t>
              </a:r>
              <a:r>
                <a:rPr lang="en-US" sz="1200" dirty="0" err="1" smtClean="0">
                  <a:solidFill>
                    <a:srgbClr val="000000"/>
                  </a:solidFill>
                </a:rPr>
                <a:t>sociales</a:t>
              </a:r>
              <a:endParaRPr lang="en-US" sz="1200" dirty="0">
                <a:solidFill>
                  <a:srgbClr val="000000"/>
                </a:solidFill>
              </a:endParaRP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err="1" smtClean="0">
                  <a:solidFill>
                    <a:srgbClr val="000000"/>
                  </a:solidFill>
                </a:rPr>
                <a:t>Conseil</a:t>
              </a:r>
              <a:r>
                <a:rPr lang="en-US" sz="1200" dirty="0" smtClean="0">
                  <a:solidFill>
                    <a:srgbClr val="000000"/>
                  </a:solidFill>
                </a:rPr>
                <a:t> de </a:t>
              </a:r>
              <a:r>
                <a:rPr lang="en-US" sz="1200" dirty="0" err="1" smtClean="0">
                  <a:solidFill>
                    <a:srgbClr val="000000"/>
                  </a:solidFill>
                </a:rPr>
                <a:t>repositionnement</a:t>
              </a:r>
              <a:r>
                <a:rPr lang="en-US" sz="1200" dirty="0" smtClean="0">
                  <a:solidFill>
                    <a:srgbClr val="000000"/>
                  </a:solidFill>
                </a:rPr>
                <a:t> social et feed-back </a:t>
              </a:r>
              <a:r>
                <a:rPr lang="en-US" sz="1200" dirty="0" err="1" smtClean="0">
                  <a:solidFill>
                    <a:srgbClr val="000000"/>
                  </a:solidFill>
                </a:rPr>
                <a:t>sur</a:t>
              </a:r>
              <a:r>
                <a:rPr lang="en-US" sz="1200" dirty="0" smtClean="0">
                  <a:solidFill>
                    <a:srgbClr val="000000"/>
                  </a:solidFill>
                </a:rPr>
                <a:t> </a:t>
              </a:r>
              <a:r>
                <a:rPr lang="en-US" sz="1200" dirty="0" err="1" smtClean="0">
                  <a:solidFill>
                    <a:srgbClr val="000000"/>
                  </a:solidFill>
                </a:rPr>
                <a:t>l’efficacité</a:t>
              </a:r>
              <a:r>
                <a:rPr lang="en-US" sz="1200" dirty="0" smtClean="0">
                  <a:solidFill>
                    <a:srgbClr val="000000"/>
                  </a:solidFill>
                </a:rPr>
                <a:t>  des </a:t>
              </a:r>
              <a:r>
                <a:rPr lang="en-US" sz="1200" dirty="0" err="1" smtClean="0">
                  <a:solidFill>
                    <a:srgbClr val="000000"/>
                  </a:solidFill>
                </a:rPr>
                <a:t>mesures</a:t>
              </a:r>
              <a:r>
                <a:rPr lang="en-US" sz="1200" dirty="0" smtClean="0">
                  <a:solidFill>
                    <a:srgbClr val="000000"/>
                  </a:solidFill>
                </a:rPr>
                <a:t> et actions </a:t>
              </a:r>
              <a:r>
                <a:rPr lang="en-US" sz="1200" dirty="0" err="1" smtClean="0">
                  <a:solidFill>
                    <a:srgbClr val="000000"/>
                  </a:solidFill>
                </a:rPr>
                <a:t>entreprises</a:t>
              </a:r>
              <a:r>
                <a:rPr lang="en-US" sz="1200" dirty="0" smtClean="0">
                  <a:solidFill>
                    <a:srgbClr val="000000"/>
                  </a:solidFill>
                </a:rPr>
                <a:t>.</a:t>
              </a:r>
              <a:endParaRPr lang="en-US" sz="1200" dirty="0">
                <a:solidFill>
                  <a:srgbClr val="000000"/>
                </a:solidFill>
              </a:endParaRPr>
            </a:p>
          </p:txBody>
        </p:sp>
        <p:sp>
          <p:nvSpPr>
            <p:cNvPr id="34" name="Rectangle 33"/>
            <p:cNvSpPr/>
            <p:nvPr/>
          </p:nvSpPr>
          <p:spPr>
            <a:xfrm>
              <a:off x="6765581" y="1585913"/>
              <a:ext cx="2777777" cy="427572"/>
            </a:xfrm>
            <a:prstGeom prst="rect">
              <a:avLst/>
            </a:prstGeom>
            <a:solidFill>
              <a:srgbClr val="2A9B18"/>
            </a:solidFill>
            <a:ln w="3175">
              <a:noFill/>
              <a:round/>
              <a:headEnd/>
              <a:tailEnd/>
            </a:ln>
            <a:effectLst>
              <a:innerShdw dist="38100" dir="5400000">
                <a:prstClr val="black">
                  <a:alpha val="20000"/>
                </a:prstClr>
              </a:innerShdw>
            </a:effectLst>
          </p:spPr>
          <p:txBody>
            <a:bodyPr rtlCol="0" anchor="ctr"/>
            <a:lstStyle/>
            <a:p>
              <a:r>
                <a:rPr lang="en-US" sz="1600" b="1" dirty="0" err="1" smtClean="0">
                  <a:solidFill>
                    <a:schemeClr val="bg1"/>
                  </a:solidFill>
                </a:rPr>
                <a:t>Accompagnement</a:t>
              </a:r>
              <a:r>
                <a:rPr lang="en-US" sz="1600" b="1" dirty="0" smtClean="0">
                  <a:solidFill>
                    <a:schemeClr val="bg1"/>
                  </a:solidFill>
                </a:rPr>
                <a:t> &amp; Consulting.</a:t>
              </a:r>
              <a:endParaRPr lang="en-US" sz="1600" b="1" dirty="0">
                <a:solidFill>
                  <a:schemeClr val="bg1"/>
                </a:solidFill>
              </a:endParaRPr>
            </a:p>
          </p:txBody>
        </p:sp>
        <p:sp>
          <p:nvSpPr>
            <p:cNvPr id="35" name="Right Triangle 34"/>
            <p:cNvSpPr/>
            <p:nvPr/>
          </p:nvSpPr>
          <p:spPr>
            <a:xfrm flipH="1" flipV="1">
              <a:off x="6765581" y="2013485"/>
              <a:ext cx="137564" cy="137564"/>
            </a:xfrm>
            <a:prstGeom prst="rtTriangle">
              <a:avLst/>
            </a:prstGeom>
            <a:solidFill>
              <a:srgbClr val="1E6911"/>
            </a:solidFill>
            <a:ln w="3175">
              <a:noFill/>
              <a:round/>
              <a:headEnd/>
              <a:tailEnd/>
            </a:ln>
          </p:spPr>
          <p:txBody>
            <a:bodyPr/>
            <a:lstStyle/>
            <a:p>
              <a:endParaRPr lang="en-US" sz="1200">
                <a:solidFill>
                  <a:schemeClr val="bg1"/>
                </a:solidFill>
                <a:latin typeface="+mj-lt"/>
              </a:endParaRPr>
            </a:p>
          </p:txBody>
        </p:sp>
        <p:sp>
          <p:nvSpPr>
            <p:cNvPr id="53" name="Right Triangle 52"/>
            <p:cNvSpPr/>
            <p:nvPr/>
          </p:nvSpPr>
          <p:spPr>
            <a:xfrm flipV="1">
              <a:off x="9405794" y="2013485"/>
              <a:ext cx="137564" cy="137564"/>
            </a:xfrm>
            <a:prstGeom prst="rtTriangle">
              <a:avLst/>
            </a:prstGeom>
            <a:solidFill>
              <a:srgbClr val="1E6911"/>
            </a:solidFill>
            <a:ln w="3175">
              <a:noFill/>
              <a:round/>
              <a:headEnd/>
              <a:tailEnd/>
            </a:ln>
          </p:spPr>
          <p:txBody>
            <a:bodyPr/>
            <a:lstStyle/>
            <a:p>
              <a:endParaRPr lang="en-US" sz="1200">
                <a:solidFill>
                  <a:schemeClr val="bg1"/>
                </a:solidFill>
                <a:latin typeface="+mj-lt"/>
              </a:endParaRPr>
            </a:p>
          </p:txBody>
        </p:sp>
      </p:grpSp>
      <p:grpSp>
        <p:nvGrpSpPr>
          <p:cNvPr id="9" name="Group 8"/>
          <p:cNvGrpSpPr/>
          <p:nvPr/>
        </p:nvGrpSpPr>
        <p:grpSpPr>
          <a:xfrm>
            <a:off x="2242021" y="1763230"/>
            <a:ext cx="1024207" cy="1024207"/>
            <a:chOff x="1988940" y="1585913"/>
            <a:chExt cx="1299094" cy="1299094"/>
          </a:xfrm>
        </p:grpSpPr>
        <p:sp>
          <p:nvSpPr>
            <p:cNvPr id="8" name="Oval 7"/>
            <p:cNvSpPr/>
            <p:nvPr/>
          </p:nvSpPr>
          <p:spPr>
            <a:xfrm>
              <a:off x="1988940" y="1585913"/>
              <a:ext cx="1299094" cy="1299094"/>
            </a:xfrm>
            <a:prstGeom prst="ellipse">
              <a:avLst/>
            </a:prstGeom>
            <a:solidFill>
              <a:srgbClr val="0D6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2274601" y="1860800"/>
              <a:ext cx="727772" cy="749321"/>
              <a:chOff x="-1080031" y="1080338"/>
              <a:chExt cx="1414362" cy="1456240"/>
            </a:xfrm>
            <a:solidFill>
              <a:schemeClr val="bg1"/>
            </a:solidFill>
          </p:grpSpPr>
          <p:sp>
            <p:nvSpPr>
              <p:cNvPr id="24" name="Freeform 491"/>
              <p:cNvSpPr>
                <a:spLocks noEditPoints="1"/>
              </p:cNvSpPr>
              <p:nvPr/>
            </p:nvSpPr>
            <p:spPr bwMode="auto">
              <a:xfrm>
                <a:off x="-568255" y="2196944"/>
                <a:ext cx="293108" cy="339634"/>
              </a:xfrm>
              <a:custGeom>
                <a:avLst/>
                <a:gdLst>
                  <a:gd name="T0" fmla="*/ 213 w 314"/>
                  <a:gd name="T1" fmla="*/ 40 h 361"/>
                  <a:gd name="T2" fmla="*/ 225 w 314"/>
                  <a:gd name="T3" fmla="*/ 42 h 361"/>
                  <a:gd name="T4" fmla="*/ 246 w 314"/>
                  <a:gd name="T5" fmla="*/ 51 h 361"/>
                  <a:gd name="T6" fmla="*/ 264 w 314"/>
                  <a:gd name="T7" fmla="*/ 67 h 361"/>
                  <a:gd name="T8" fmla="*/ 273 w 314"/>
                  <a:gd name="T9" fmla="*/ 88 h 361"/>
                  <a:gd name="T10" fmla="*/ 274 w 314"/>
                  <a:gd name="T11" fmla="*/ 100 h 361"/>
                  <a:gd name="T12" fmla="*/ 274 w 314"/>
                  <a:gd name="T13" fmla="*/ 260 h 361"/>
                  <a:gd name="T14" fmla="*/ 273 w 314"/>
                  <a:gd name="T15" fmla="*/ 272 h 361"/>
                  <a:gd name="T16" fmla="*/ 264 w 314"/>
                  <a:gd name="T17" fmla="*/ 293 h 361"/>
                  <a:gd name="T18" fmla="*/ 246 w 314"/>
                  <a:gd name="T19" fmla="*/ 309 h 361"/>
                  <a:gd name="T20" fmla="*/ 225 w 314"/>
                  <a:gd name="T21" fmla="*/ 318 h 361"/>
                  <a:gd name="T22" fmla="*/ 213 w 314"/>
                  <a:gd name="T23" fmla="*/ 320 h 361"/>
                  <a:gd name="T24" fmla="*/ 101 w 314"/>
                  <a:gd name="T25" fmla="*/ 320 h 361"/>
                  <a:gd name="T26" fmla="*/ 89 w 314"/>
                  <a:gd name="T27" fmla="*/ 318 h 361"/>
                  <a:gd name="T28" fmla="*/ 67 w 314"/>
                  <a:gd name="T29" fmla="*/ 309 h 361"/>
                  <a:gd name="T30" fmla="*/ 50 w 314"/>
                  <a:gd name="T31" fmla="*/ 293 h 361"/>
                  <a:gd name="T32" fmla="*/ 41 w 314"/>
                  <a:gd name="T33" fmla="*/ 272 h 361"/>
                  <a:gd name="T34" fmla="*/ 40 w 314"/>
                  <a:gd name="T35" fmla="*/ 260 h 361"/>
                  <a:gd name="T36" fmla="*/ 40 w 314"/>
                  <a:gd name="T37" fmla="*/ 100 h 361"/>
                  <a:gd name="T38" fmla="*/ 41 w 314"/>
                  <a:gd name="T39" fmla="*/ 88 h 361"/>
                  <a:gd name="T40" fmla="*/ 50 w 314"/>
                  <a:gd name="T41" fmla="*/ 67 h 361"/>
                  <a:gd name="T42" fmla="*/ 67 w 314"/>
                  <a:gd name="T43" fmla="*/ 51 h 361"/>
                  <a:gd name="T44" fmla="*/ 89 w 314"/>
                  <a:gd name="T45" fmla="*/ 42 h 361"/>
                  <a:gd name="T46" fmla="*/ 101 w 314"/>
                  <a:gd name="T47" fmla="*/ 40 h 361"/>
                  <a:gd name="T48" fmla="*/ 213 w 314"/>
                  <a:gd name="T49" fmla="*/ 0 h 361"/>
                  <a:gd name="T50" fmla="*/ 101 w 314"/>
                  <a:gd name="T51" fmla="*/ 0 h 361"/>
                  <a:gd name="T52" fmla="*/ 81 w 314"/>
                  <a:gd name="T53" fmla="*/ 2 h 361"/>
                  <a:gd name="T54" fmla="*/ 62 w 314"/>
                  <a:gd name="T55" fmla="*/ 8 h 361"/>
                  <a:gd name="T56" fmla="*/ 44 w 314"/>
                  <a:gd name="T57" fmla="*/ 17 h 361"/>
                  <a:gd name="T58" fmla="*/ 29 w 314"/>
                  <a:gd name="T59" fmla="*/ 30 h 361"/>
                  <a:gd name="T60" fmla="*/ 17 w 314"/>
                  <a:gd name="T61" fmla="*/ 45 h 361"/>
                  <a:gd name="T62" fmla="*/ 8 w 314"/>
                  <a:gd name="T63" fmla="*/ 62 h 361"/>
                  <a:gd name="T64" fmla="*/ 2 w 314"/>
                  <a:gd name="T65" fmla="*/ 80 h 361"/>
                  <a:gd name="T66" fmla="*/ 0 w 314"/>
                  <a:gd name="T67" fmla="*/ 100 h 361"/>
                  <a:gd name="T68" fmla="*/ 0 w 314"/>
                  <a:gd name="T69" fmla="*/ 260 h 361"/>
                  <a:gd name="T70" fmla="*/ 2 w 314"/>
                  <a:gd name="T71" fmla="*/ 280 h 361"/>
                  <a:gd name="T72" fmla="*/ 8 w 314"/>
                  <a:gd name="T73" fmla="*/ 298 h 361"/>
                  <a:gd name="T74" fmla="*/ 17 w 314"/>
                  <a:gd name="T75" fmla="*/ 315 h 361"/>
                  <a:gd name="T76" fmla="*/ 29 w 314"/>
                  <a:gd name="T77" fmla="*/ 330 h 361"/>
                  <a:gd name="T78" fmla="*/ 44 w 314"/>
                  <a:gd name="T79" fmla="*/ 343 h 361"/>
                  <a:gd name="T80" fmla="*/ 62 w 314"/>
                  <a:gd name="T81" fmla="*/ 353 h 361"/>
                  <a:gd name="T82" fmla="*/ 81 w 314"/>
                  <a:gd name="T83" fmla="*/ 359 h 361"/>
                  <a:gd name="T84" fmla="*/ 101 w 314"/>
                  <a:gd name="T85" fmla="*/ 361 h 361"/>
                  <a:gd name="T86" fmla="*/ 213 w 314"/>
                  <a:gd name="T87" fmla="*/ 361 h 361"/>
                  <a:gd name="T88" fmla="*/ 233 w 314"/>
                  <a:gd name="T89" fmla="*/ 359 h 361"/>
                  <a:gd name="T90" fmla="*/ 252 w 314"/>
                  <a:gd name="T91" fmla="*/ 353 h 361"/>
                  <a:gd name="T92" fmla="*/ 270 w 314"/>
                  <a:gd name="T93" fmla="*/ 343 h 361"/>
                  <a:gd name="T94" fmla="*/ 284 w 314"/>
                  <a:gd name="T95" fmla="*/ 330 h 361"/>
                  <a:gd name="T96" fmla="*/ 297 w 314"/>
                  <a:gd name="T97" fmla="*/ 315 h 361"/>
                  <a:gd name="T98" fmla="*/ 306 w 314"/>
                  <a:gd name="T99" fmla="*/ 298 h 361"/>
                  <a:gd name="T100" fmla="*/ 312 w 314"/>
                  <a:gd name="T101" fmla="*/ 280 h 361"/>
                  <a:gd name="T102" fmla="*/ 314 w 314"/>
                  <a:gd name="T103" fmla="*/ 260 h 361"/>
                  <a:gd name="T104" fmla="*/ 314 w 314"/>
                  <a:gd name="T105" fmla="*/ 100 h 361"/>
                  <a:gd name="T106" fmla="*/ 312 w 314"/>
                  <a:gd name="T107" fmla="*/ 80 h 361"/>
                  <a:gd name="T108" fmla="*/ 306 w 314"/>
                  <a:gd name="T109" fmla="*/ 62 h 361"/>
                  <a:gd name="T110" fmla="*/ 297 w 314"/>
                  <a:gd name="T111" fmla="*/ 45 h 361"/>
                  <a:gd name="T112" fmla="*/ 284 w 314"/>
                  <a:gd name="T113" fmla="*/ 30 h 361"/>
                  <a:gd name="T114" fmla="*/ 270 w 314"/>
                  <a:gd name="T115" fmla="*/ 17 h 361"/>
                  <a:gd name="T116" fmla="*/ 252 w 314"/>
                  <a:gd name="T117" fmla="*/ 8 h 361"/>
                  <a:gd name="T118" fmla="*/ 233 w 314"/>
                  <a:gd name="T119" fmla="*/ 2 h 361"/>
                  <a:gd name="T120" fmla="*/ 213 w 314"/>
                  <a:gd name="T12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4" h="361">
                    <a:moveTo>
                      <a:pt x="213" y="40"/>
                    </a:moveTo>
                    <a:lnTo>
                      <a:pt x="213" y="40"/>
                    </a:lnTo>
                    <a:lnTo>
                      <a:pt x="219" y="41"/>
                    </a:lnTo>
                    <a:lnTo>
                      <a:pt x="225" y="42"/>
                    </a:lnTo>
                    <a:lnTo>
                      <a:pt x="236" y="45"/>
                    </a:lnTo>
                    <a:lnTo>
                      <a:pt x="246" y="51"/>
                    </a:lnTo>
                    <a:lnTo>
                      <a:pt x="256" y="58"/>
                    </a:lnTo>
                    <a:lnTo>
                      <a:pt x="264" y="67"/>
                    </a:lnTo>
                    <a:lnTo>
                      <a:pt x="269" y="77"/>
                    </a:lnTo>
                    <a:lnTo>
                      <a:pt x="273" y="88"/>
                    </a:lnTo>
                    <a:lnTo>
                      <a:pt x="274" y="94"/>
                    </a:lnTo>
                    <a:lnTo>
                      <a:pt x="274" y="100"/>
                    </a:lnTo>
                    <a:lnTo>
                      <a:pt x="274" y="260"/>
                    </a:lnTo>
                    <a:lnTo>
                      <a:pt x="274" y="260"/>
                    </a:lnTo>
                    <a:lnTo>
                      <a:pt x="274" y="266"/>
                    </a:lnTo>
                    <a:lnTo>
                      <a:pt x="273" y="272"/>
                    </a:lnTo>
                    <a:lnTo>
                      <a:pt x="269" y="283"/>
                    </a:lnTo>
                    <a:lnTo>
                      <a:pt x="264" y="293"/>
                    </a:lnTo>
                    <a:lnTo>
                      <a:pt x="256" y="302"/>
                    </a:lnTo>
                    <a:lnTo>
                      <a:pt x="246" y="309"/>
                    </a:lnTo>
                    <a:lnTo>
                      <a:pt x="236" y="315"/>
                    </a:lnTo>
                    <a:lnTo>
                      <a:pt x="225" y="318"/>
                    </a:lnTo>
                    <a:lnTo>
                      <a:pt x="219" y="319"/>
                    </a:lnTo>
                    <a:lnTo>
                      <a:pt x="213" y="320"/>
                    </a:lnTo>
                    <a:lnTo>
                      <a:pt x="101" y="320"/>
                    </a:lnTo>
                    <a:lnTo>
                      <a:pt x="101" y="320"/>
                    </a:lnTo>
                    <a:lnTo>
                      <a:pt x="95" y="319"/>
                    </a:lnTo>
                    <a:lnTo>
                      <a:pt x="89" y="318"/>
                    </a:lnTo>
                    <a:lnTo>
                      <a:pt x="78" y="315"/>
                    </a:lnTo>
                    <a:lnTo>
                      <a:pt x="67" y="309"/>
                    </a:lnTo>
                    <a:lnTo>
                      <a:pt x="58" y="302"/>
                    </a:lnTo>
                    <a:lnTo>
                      <a:pt x="50" y="293"/>
                    </a:lnTo>
                    <a:lnTo>
                      <a:pt x="45" y="283"/>
                    </a:lnTo>
                    <a:lnTo>
                      <a:pt x="41" y="272"/>
                    </a:lnTo>
                    <a:lnTo>
                      <a:pt x="40" y="266"/>
                    </a:lnTo>
                    <a:lnTo>
                      <a:pt x="40" y="260"/>
                    </a:lnTo>
                    <a:lnTo>
                      <a:pt x="40" y="100"/>
                    </a:lnTo>
                    <a:lnTo>
                      <a:pt x="40" y="100"/>
                    </a:lnTo>
                    <a:lnTo>
                      <a:pt x="40" y="94"/>
                    </a:lnTo>
                    <a:lnTo>
                      <a:pt x="41" y="88"/>
                    </a:lnTo>
                    <a:lnTo>
                      <a:pt x="45" y="77"/>
                    </a:lnTo>
                    <a:lnTo>
                      <a:pt x="50" y="67"/>
                    </a:lnTo>
                    <a:lnTo>
                      <a:pt x="58" y="58"/>
                    </a:lnTo>
                    <a:lnTo>
                      <a:pt x="67" y="51"/>
                    </a:lnTo>
                    <a:lnTo>
                      <a:pt x="78" y="45"/>
                    </a:lnTo>
                    <a:lnTo>
                      <a:pt x="89" y="42"/>
                    </a:lnTo>
                    <a:lnTo>
                      <a:pt x="95" y="41"/>
                    </a:lnTo>
                    <a:lnTo>
                      <a:pt x="101" y="40"/>
                    </a:lnTo>
                    <a:lnTo>
                      <a:pt x="213" y="40"/>
                    </a:lnTo>
                    <a:close/>
                    <a:moveTo>
                      <a:pt x="213" y="0"/>
                    </a:moveTo>
                    <a:lnTo>
                      <a:pt x="101" y="0"/>
                    </a:lnTo>
                    <a:lnTo>
                      <a:pt x="101" y="0"/>
                    </a:lnTo>
                    <a:lnTo>
                      <a:pt x="91" y="1"/>
                    </a:lnTo>
                    <a:lnTo>
                      <a:pt x="81" y="2"/>
                    </a:lnTo>
                    <a:lnTo>
                      <a:pt x="71" y="5"/>
                    </a:lnTo>
                    <a:lnTo>
                      <a:pt x="62" y="8"/>
                    </a:lnTo>
                    <a:lnTo>
                      <a:pt x="52" y="12"/>
                    </a:lnTo>
                    <a:lnTo>
                      <a:pt x="44" y="17"/>
                    </a:lnTo>
                    <a:lnTo>
                      <a:pt x="36" y="23"/>
                    </a:lnTo>
                    <a:lnTo>
                      <a:pt x="29" y="30"/>
                    </a:lnTo>
                    <a:lnTo>
                      <a:pt x="23" y="37"/>
                    </a:lnTo>
                    <a:lnTo>
                      <a:pt x="17" y="45"/>
                    </a:lnTo>
                    <a:lnTo>
                      <a:pt x="12" y="53"/>
                    </a:lnTo>
                    <a:lnTo>
                      <a:pt x="8" y="62"/>
                    </a:lnTo>
                    <a:lnTo>
                      <a:pt x="4" y="71"/>
                    </a:lnTo>
                    <a:lnTo>
                      <a:pt x="2" y="80"/>
                    </a:lnTo>
                    <a:lnTo>
                      <a:pt x="0" y="90"/>
                    </a:lnTo>
                    <a:lnTo>
                      <a:pt x="0" y="100"/>
                    </a:lnTo>
                    <a:lnTo>
                      <a:pt x="0" y="260"/>
                    </a:lnTo>
                    <a:lnTo>
                      <a:pt x="0" y="260"/>
                    </a:lnTo>
                    <a:lnTo>
                      <a:pt x="0" y="270"/>
                    </a:lnTo>
                    <a:lnTo>
                      <a:pt x="2" y="280"/>
                    </a:lnTo>
                    <a:lnTo>
                      <a:pt x="4" y="289"/>
                    </a:lnTo>
                    <a:lnTo>
                      <a:pt x="8" y="298"/>
                    </a:lnTo>
                    <a:lnTo>
                      <a:pt x="12" y="307"/>
                    </a:lnTo>
                    <a:lnTo>
                      <a:pt x="17" y="315"/>
                    </a:lnTo>
                    <a:lnTo>
                      <a:pt x="23" y="323"/>
                    </a:lnTo>
                    <a:lnTo>
                      <a:pt x="29" y="330"/>
                    </a:lnTo>
                    <a:lnTo>
                      <a:pt x="36" y="337"/>
                    </a:lnTo>
                    <a:lnTo>
                      <a:pt x="44" y="343"/>
                    </a:lnTo>
                    <a:lnTo>
                      <a:pt x="52" y="349"/>
                    </a:lnTo>
                    <a:lnTo>
                      <a:pt x="62" y="353"/>
                    </a:lnTo>
                    <a:lnTo>
                      <a:pt x="71" y="356"/>
                    </a:lnTo>
                    <a:lnTo>
                      <a:pt x="81" y="359"/>
                    </a:lnTo>
                    <a:lnTo>
                      <a:pt x="91" y="360"/>
                    </a:lnTo>
                    <a:lnTo>
                      <a:pt x="101" y="361"/>
                    </a:lnTo>
                    <a:lnTo>
                      <a:pt x="213" y="361"/>
                    </a:lnTo>
                    <a:lnTo>
                      <a:pt x="213" y="361"/>
                    </a:lnTo>
                    <a:lnTo>
                      <a:pt x="223" y="360"/>
                    </a:lnTo>
                    <a:lnTo>
                      <a:pt x="233" y="359"/>
                    </a:lnTo>
                    <a:lnTo>
                      <a:pt x="243" y="356"/>
                    </a:lnTo>
                    <a:lnTo>
                      <a:pt x="252" y="353"/>
                    </a:lnTo>
                    <a:lnTo>
                      <a:pt x="261" y="349"/>
                    </a:lnTo>
                    <a:lnTo>
                      <a:pt x="270" y="343"/>
                    </a:lnTo>
                    <a:lnTo>
                      <a:pt x="277" y="337"/>
                    </a:lnTo>
                    <a:lnTo>
                      <a:pt x="284" y="330"/>
                    </a:lnTo>
                    <a:lnTo>
                      <a:pt x="291" y="323"/>
                    </a:lnTo>
                    <a:lnTo>
                      <a:pt x="297" y="315"/>
                    </a:lnTo>
                    <a:lnTo>
                      <a:pt x="302" y="307"/>
                    </a:lnTo>
                    <a:lnTo>
                      <a:pt x="306" y="298"/>
                    </a:lnTo>
                    <a:lnTo>
                      <a:pt x="309" y="289"/>
                    </a:lnTo>
                    <a:lnTo>
                      <a:pt x="312" y="280"/>
                    </a:lnTo>
                    <a:lnTo>
                      <a:pt x="313" y="270"/>
                    </a:lnTo>
                    <a:lnTo>
                      <a:pt x="314" y="260"/>
                    </a:lnTo>
                    <a:lnTo>
                      <a:pt x="314" y="100"/>
                    </a:lnTo>
                    <a:lnTo>
                      <a:pt x="314" y="100"/>
                    </a:lnTo>
                    <a:lnTo>
                      <a:pt x="313" y="90"/>
                    </a:lnTo>
                    <a:lnTo>
                      <a:pt x="312" y="80"/>
                    </a:lnTo>
                    <a:lnTo>
                      <a:pt x="309" y="71"/>
                    </a:lnTo>
                    <a:lnTo>
                      <a:pt x="306" y="62"/>
                    </a:lnTo>
                    <a:lnTo>
                      <a:pt x="302" y="53"/>
                    </a:lnTo>
                    <a:lnTo>
                      <a:pt x="297" y="45"/>
                    </a:lnTo>
                    <a:lnTo>
                      <a:pt x="291" y="37"/>
                    </a:lnTo>
                    <a:lnTo>
                      <a:pt x="284" y="30"/>
                    </a:lnTo>
                    <a:lnTo>
                      <a:pt x="277" y="23"/>
                    </a:lnTo>
                    <a:lnTo>
                      <a:pt x="270" y="17"/>
                    </a:lnTo>
                    <a:lnTo>
                      <a:pt x="261" y="12"/>
                    </a:lnTo>
                    <a:lnTo>
                      <a:pt x="252" y="8"/>
                    </a:lnTo>
                    <a:lnTo>
                      <a:pt x="243" y="5"/>
                    </a:lnTo>
                    <a:lnTo>
                      <a:pt x="233" y="2"/>
                    </a:lnTo>
                    <a:lnTo>
                      <a:pt x="223" y="1"/>
                    </a:lnTo>
                    <a:lnTo>
                      <a:pt x="213" y="0"/>
                    </a:lnTo>
                    <a:lnTo>
                      <a:pt x="213"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494"/>
              <p:cNvSpPr>
                <a:spLocks/>
              </p:cNvSpPr>
              <p:nvPr/>
            </p:nvSpPr>
            <p:spPr bwMode="auto">
              <a:xfrm>
                <a:off x="-796228" y="1392057"/>
                <a:ext cx="749053" cy="893284"/>
              </a:xfrm>
              <a:custGeom>
                <a:avLst/>
                <a:gdLst>
                  <a:gd name="T0" fmla="*/ 380 w 802"/>
                  <a:gd name="T1" fmla="*/ 1 h 962"/>
                  <a:gd name="T2" fmla="*/ 320 w 802"/>
                  <a:gd name="T3" fmla="*/ 8 h 962"/>
                  <a:gd name="T4" fmla="*/ 262 w 802"/>
                  <a:gd name="T5" fmla="*/ 26 h 962"/>
                  <a:gd name="T6" fmla="*/ 209 w 802"/>
                  <a:gd name="T7" fmla="*/ 49 h 962"/>
                  <a:gd name="T8" fmla="*/ 161 w 802"/>
                  <a:gd name="T9" fmla="*/ 80 h 962"/>
                  <a:gd name="T10" fmla="*/ 117 w 802"/>
                  <a:gd name="T11" fmla="*/ 118 h 962"/>
                  <a:gd name="T12" fmla="*/ 79 w 802"/>
                  <a:gd name="T13" fmla="*/ 161 h 962"/>
                  <a:gd name="T14" fmla="*/ 48 w 802"/>
                  <a:gd name="T15" fmla="*/ 210 h 962"/>
                  <a:gd name="T16" fmla="*/ 24 w 802"/>
                  <a:gd name="T17" fmla="*/ 264 h 962"/>
                  <a:gd name="T18" fmla="*/ 8 w 802"/>
                  <a:gd name="T19" fmla="*/ 320 h 962"/>
                  <a:gd name="T20" fmla="*/ 0 w 802"/>
                  <a:gd name="T21" fmla="*/ 380 h 962"/>
                  <a:gd name="T22" fmla="*/ 0 w 802"/>
                  <a:gd name="T23" fmla="*/ 425 h 962"/>
                  <a:gd name="T24" fmla="*/ 10 w 802"/>
                  <a:gd name="T25" fmla="*/ 492 h 962"/>
                  <a:gd name="T26" fmla="*/ 30 w 802"/>
                  <a:gd name="T27" fmla="*/ 556 h 962"/>
                  <a:gd name="T28" fmla="*/ 61 w 802"/>
                  <a:gd name="T29" fmla="*/ 614 h 962"/>
                  <a:gd name="T30" fmla="*/ 101 w 802"/>
                  <a:gd name="T31" fmla="*/ 667 h 962"/>
                  <a:gd name="T32" fmla="*/ 148 w 802"/>
                  <a:gd name="T33" fmla="*/ 712 h 962"/>
                  <a:gd name="T34" fmla="*/ 159 w 802"/>
                  <a:gd name="T35" fmla="*/ 728 h 962"/>
                  <a:gd name="T36" fmla="*/ 182 w 802"/>
                  <a:gd name="T37" fmla="*/ 790 h 962"/>
                  <a:gd name="T38" fmla="*/ 212 w 802"/>
                  <a:gd name="T39" fmla="*/ 885 h 962"/>
                  <a:gd name="T40" fmla="*/ 231 w 802"/>
                  <a:gd name="T41" fmla="*/ 926 h 962"/>
                  <a:gd name="T42" fmla="*/ 244 w 802"/>
                  <a:gd name="T43" fmla="*/ 939 h 962"/>
                  <a:gd name="T44" fmla="*/ 280 w 802"/>
                  <a:gd name="T45" fmla="*/ 951 h 962"/>
                  <a:gd name="T46" fmla="*/ 340 w 802"/>
                  <a:gd name="T47" fmla="*/ 960 h 962"/>
                  <a:gd name="T48" fmla="*/ 401 w 802"/>
                  <a:gd name="T49" fmla="*/ 962 h 962"/>
                  <a:gd name="T50" fmla="*/ 482 w 802"/>
                  <a:gd name="T51" fmla="*/ 958 h 962"/>
                  <a:gd name="T52" fmla="*/ 540 w 802"/>
                  <a:gd name="T53" fmla="*/ 945 h 962"/>
                  <a:gd name="T54" fmla="*/ 562 w 802"/>
                  <a:gd name="T55" fmla="*/ 936 h 962"/>
                  <a:gd name="T56" fmla="*/ 578 w 802"/>
                  <a:gd name="T57" fmla="*/ 913 h 962"/>
                  <a:gd name="T58" fmla="*/ 597 w 802"/>
                  <a:gd name="T59" fmla="*/ 866 h 962"/>
                  <a:gd name="T60" fmla="*/ 633 w 802"/>
                  <a:gd name="T61" fmla="*/ 753 h 962"/>
                  <a:gd name="T62" fmla="*/ 650 w 802"/>
                  <a:gd name="T63" fmla="*/ 716 h 962"/>
                  <a:gd name="T64" fmla="*/ 672 w 802"/>
                  <a:gd name="T65" fmla="*/ 696 h 962"/>
                  <a:gd name="T66" fmla="*/ 717 w 802"/>
                  <a:gd name="T67" fmla="*/ 648 h 962"/>
                  <a:gd name="T68" fmla="*/ 753 w 802"/>
                  <a:gd name="T69" fmla="*/ 594 h 962"/>
                  <a:gd name="T70" fmla="*/ 779 w 802"/>
                  <a:gd name="T71" fmla="*/ 534 h 962"/>
                  <a:gd name="T72" fmla="*/ 796 w 802"/>
                  <a:gd name="T73" fmla="*/ 470 h 962"/>
                  <a:gd name="T74" fmla="*/ 802 w 802"/>
                  <a:gd name="T75" fmla="*/ 401 h 962"/>
                  <a:gd name="T76" fmla="*/ 800 w 802"/>
                  <a:gd name="T77" fmla="*/ 360 h 962"/>
                  <a:gd name="T78" fmla="*/ 789 w 802"/>
                  <a:gd name="T79" fmla="*/ 301 h 962"/>
                  <a:gd name="T80" fmla="*/ 770 w 802"/>
                  <a:gd name="T81" fmla="*/ 246 h 962"/>
                  <a:gd name="T82" fmla="*/ 744 w 802"/>
                  <a:gd name="T83" fmla="*/ 193 h 962"/>
                  <a:gd name="T84" fmla="*/ 711 w 802"/>
                  <a:gd name="T85" fmla="*/ 146 h 962"/>
                  <a:gd name="T86" fmla="*/ 670 w 802"/>
                  <a:gd name="T87" fmla="*/ 105 h 962"/>
                  <a:gd name="T88" fmla="*/ 625 w 802"/>
                  <a:gd name="T89" fmla="*/ 69 h 962"/>
                  <a:gd name="T90" fmla="*/ 575 w 802"/>
                  <a:gd name="T91" fmla="*/ 41 h 962"/>
                  <a:gd name="T92" fmla="*/ 520 w 802"/>
                  <a:gd name="T93" fmla="*/ 19 h 962"/>
                  <a:gd name="T94" fmla="*/ 461 w 802"/>
                  <a:gd name="T95" fmla="*/ 5 h 962"/>
                  <a:gd name="T96" fmla="*/ 401 w 802"/>
                  <a:gd name="T97"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02" h="962">
                    <a:moveTo>
                      <a:pt x="401" y="0"/>
                    </a:moveTo>
                    <a:lnTo>
                      <a:pt x="401" y="0"/>
                    </a:lnTo>
                    <a:lnTo>
                      <a:pt x="380" y="1"/>
                    </a:lnTo>
                    <a:lnTo>
                      <a:pt x="360" y="2"/>
                    </a:lnTo>
                    <a:lnTo>
                      <a:pt x="340" y="5"/>
                    </a:lnTo>
                    <a:lnTo>
                      <a:pt x="320" y="8"/>
                    </a:lnTo>
                    <a:lnTo>
                      <a:pt x="301" y="13"/>
                    </a:lnTo>
                    <a:lnTo>
                      <a:pt x="281" y="19"/>
                    </a:lnTo>
                    <a:lnTo>
                      <a:pt x="262" y="26"/>
                    </a:lnTo>
                    <a:lnTo>
                      <a:pt x="244" y="33"/>
                    </a:lnTo>
                    <a:lnTo>
                      <a:pt x="227" y="41"/>
                    </a:lnTo>
                    <a:lnTo>
                      <a:pt x="209" y="49"/>
                    </a:lnTo>
                    <a:lnTo>
                      <a:pt x="193" y="59"/>
                    </a:lnTo>
                    <a:lnTo>
                      <a:pt x="177" y="69"/>
                    </a:lnTo>
                    <a:lnTo>
                      <a:pt x="161" y="80"/>
                    </a:lnTo>
                    <a:lnTo>
                      <a:pt x="146" y="92"/>
                    </a:lnTo>
                    <a:lnTo>
                      <a:pt x="131" y="105"/>
                    </a:lnTo>
                    <a:lnTo>
                      <a:pt x="117" y="118"/>
                    </a:lnTo>
                    <a:lnTo>
                      <a:pt x="104" y="132"/>
                    </a:lnTo>
                    <a:lnTo>
                      <a:pt x="91" y="146"/>
                    </a:lnTo>
                    <a:lnTo>
                      <a:pt x="79" y="161"/>
                    </a:lnTo>
                    <a:lnTo>
                      <a:pt x="68" y="177"/>
                    </a:lnTo>
                    <a:lnTo>
                      <a:pt x="57" y="193"/>
                    </a:lnTo>
                    <a:lnTo>
                      <a:pt x="48" y="210"/>
                    </a:lnTo>
                    <a:lnTo>
                      <a:pt x="39" y="228"/>
                    </a:lnTo>
                    <a:lnTo>
                      <a:pt x="31" y="246"/>
                    </a:lnTo>
                    <a:lnTo>
                      <a:pt x="24" y="264"/>
                    </a:lnTo>
                    <a:lnTo>
                      <a:pt x="17" y="282"/>
                    </a:lnTo>
                    <a:lnTo>
                      <a:pt x="12" y="301"/>
                    </a:lnTo>
                    <a:lnTo>
                      <a:pt x="8" y="320"/>
                    </a:lnTo>
                    <a:lnTo>
                      <a:pt x="4" y="340"/>
                    </a:lnTo>
                    <a:lnTo>
                      <a:pt x="2" y="360"/>
                    </a:lnTo>
                    <a:lnTo>
                      <a:pt x="0" y="380"/>
                    </a:lnTo>
                    <a:lnTo>
                      <a:pt x="0" y="401"/>
                    </a:lnTo>
                    <a:lnTo>
                      <a:pt x="0" y="401"/>
                    </a:lnTo>
                    <a:lnTo>
                      <a:pt x="0" y="425"/>
                    </a:lnTo>
                    <a:lnTo>
                      <a:pt x="2" y="448"/>
                    </a:lnTo>
                    <a:lnTo>
                      <a:pt x="5" y="470"/>
                    </a:lnTo>
                    <a:lnTo>
                      <a:pt x="10" y="492"/>
                    </a:lnTo>
                    <a:lnTo>
                      <a:pt x="16" y="514"/>
                    </a:lnTo>
                    <a:lnTo>
                      <a:pt x="22" y="535"/>
                    </a:lnTo>
                    <a:lnTo>
                      <a:pt x="30" y="556"/>
                    </a:lnTo>
                    <a:lnTo>
                      <a:pt x="40" y="576"/>
                    </a:lnTo>
                    <a:lnTo>
                      <a:pt x="50" y="595"/>
                    </a:lnTo>
                    <a:lnTo>
                      <a:pt x="61" y="614"/>
                    </a:lnTo>
                    <a:lnTo>
                      <a:pt x="73" y="633"/>
                    </a:lnTo>
                    <a:lnTo>
                      <a:pt x="86" y="650"/>
                    </a:lnTo>
                    <a:lnTo>
                      <a:pt x="101" y="667"/>
                    </a:lnTo>
                    <a:lnTo>
                      <a:pt x="116" y="683"/>
                    </a:lnTo>
                    <a:lnTo>
                      <a:pt x="132" y="698"/>
                    </a:lnTo>
                    <a:lnTo>
                      <a:pt x="148" y="712"/>
                    </a:lnTo>
                    <a:lnTo>
                      <a:pt x="148" y="712"/>
                    </a:lnTo>
                    <a:lnTo>
                      <a:pt x="154" y="718"/>
                    </a:lnTo>
                    <a:lnTo>
                      <a:pt x="159" y="728"/>
                    </a:lnTo>
                    <a:lnTo>
                      <a:pt x="165" y="740"/>
                    </a:lnTo>
                    <a:lnTo>
                      <a:pt x="170" y="755"/>
                    </a:lnTo>
                    <a:lnTo>
                      <a:pt x="182" y="790"/>
                    </a:lnTo>
                    <a:lnTo>
                      <a:pt x="194" y="829"/>
                    </a:lnTo>
                    <a:lnTo>
                      <a:pt x="206" y="867"/>
                    </a:lnTo>
                    <a:lnTo>
                      <a:pt x="212" y="885"/>
                    </a:lnTo>
                    <a:lnTo>
                      <a:pt x="218" y="901"/>
                    </a:lnTo>
                    <a:lnTo>
                      <a:pt x="224" y="914"/>
                    </a:lnTo>
                    <a:lnTo>
                      <a:pt x="231" y="926"/>
                    </a:lnTo>
                    <a:lnTo>
                      <a:pt x="237" y="934"/>
                    </a:lnTo>
                    <a:lnTo>
                      <a:pt x="240" y="937"/>
                    </a:lnTo>
                    <a:lnTo>
                      <a:pt x="244" y="939"/>
                    </a:lnTo>
                    <a:lnTo>
                      <a:pt x="244" y="939"/>
                    </a:lnTo>
                    <a:lnTo>
                      <a:pt x="262" y="945"/>
                    </a:lnTo>
                    <a:lnTo>
                      <a:pt x="280" y="951"/>
                    </a:lnTo>
                    <a:lnTo>
                      <a:pt x="300" y="955"/>
                    </a:lnTo>
                    <a:lnTo>
                      <a:pt x="320" y="958"/>
                    </a:lnTo>
                    <a:lnTo>
                      <a:pt x="340" y="960"/>
                    </a:lnTo>
                    <a:lnTo>
                      <a:pt x="360" y="961"/>
                    </a:lnTo>
                    <a:lnTo>
                      <a:pt x="401" y="962"/>
                    </a:lnTo>
                    <a:lnTo>
                      <a:pt x="401" y="962"/>
                    </a:lnTo>
                    <a:lnTo>
                      <a:pt x="442" y="961"/>
                    </a:lnTo>
                    <a:lnTo>
                      <a:pt x="462" y="960"/>
                    </a:lnTo>
                    <a:lnTo>
                      <a:pt x="482" y="958"/>
                    </a:lnTo>
                    <a:lnTo>
                      <a:pt x="502" y="954"/>
                    </a:lnTo>
                    <a:lnTo>
                      <a:pt x="521" y="950"/>
                    </a:lnTo>
                    <a:lnTo>
                      <a:pt x="540" y="945"/>
                    </a:lnTo>
                    <a:lnTo>
                      <a:pt x="558" y="938"/>
                    </a:lnTo>
                    <a:lnTo>
                      <a:pt x="558" y="938"/>
                    </a:lnTo>
                    <a:lnTo>
                      <a:pt x="562" y="936"/>
                    </a:lnTo>
                    <a:lnTo>
                      <a:pt x="565" y="933"/>
                    </a:lnTo>
                    <a:lnTo>
                      <a:pt x="572" y="925"/>
                    </a:lnTo>
                    <a:lnTo>
                      <a:pt x="578" y="913"/>
                    </a:lnTo>
                    <a:lnTo>
                      <a:pt x="584" y="899"/>
                    </a:lnTo>
                    <a:lnTo>
                      <a:pt x="591" y="883"/>
                    </a:lnTo>
                    <a:lnTo>
                      <a:pt x="597" y="866"/>
                    </a:lnTo>
                    <a:lnTo>
                      <a:pt x="609" y="828"/>
                    </a:lnTo>
                    <a:lnTo>
                      <a:pt x="621" y="788"/>
                    </a:lnTo>
                    <a:lnTo>
                      <a:pt x="633" y="753"/>
                    </a:lnTo>
                    <a:lnTo>
                      <a:pt x="639" y="739"/>
                    </a:lnTo>
                    <a:lnTo>
                      <a:pt x="645" y="726"/>
                    </a:lnTo>
                    <a:lnTo>
                      <a:pt x="650" y="716"/>
                    </a:lnTo>
                    <a:lnTo>
                      <a:pt x="656" y="710"/>
                    </a:lnTo>
                    <a:lnTo>
                      <a:pt x="656" y="710"/>
                    </a:lnTo>
                    <a:lnTo>
                      <a:pt x="672" y="696"/>
                    </a:lnTo>
                    <a:lnTo>
                      <a:pt x="687" y="681"/>
                    </a:lnTo>
                    <a:lnTo>
                      <a:pt x="703" y="665"/>
                    </a:lnTo>
                    <a:lnTo>
                      <a:pt x="717" y="648"/>
                    </a:lnTo>
                    <a:lnTo>
                      <a:pt x="730" y="631"/>
                    </a:lnTo>
                    <a:lnTo>
                      <a:pt x="742" y="612"/>
                    </a:lnTo>
                    <a:lnTo>
                      <a:pt x="753" y="594"/>
                    </a:lnTo>
                    <a:lnTo>
                      <a:pt x="763" y="574"/>
                    </a:lnTo>
                    <a:lnTo>
                      <a:pt x="771" y="554"/>
                    </a:lnTo>
                    <a:lnTo>
                      <a:pt x="779" y="534"/>
                    </a:lnTo>
                    <a:lnTo>
                      <a:pt x="786" y="513"/>
                    </a:lnTo>
                    <a:lnTo>
                      <a:pt x="792" y="492"/>
                    </a:lnTo>
                    <a:lnTo>
                      <a:pt x="796" y="470"/>
                    </a:lnTo>
                    <a:lnTo>
                      <a:pt x="799" y="447"/>
                    </a:lnTo>
                    <a:lnTo>
                      <a:pt x="801" y="425"/>
                    </a:lnTo>
                    <a:lnTo>
                      <a:pt x="802" y="401"/>
                    </a:lnTo>
                    <a:lnTo>
                      <a:pt x="802" y="401"/>
                    </a:lnTo>
                    <a:lnTo>
                      <a:pt x="801" y="380"/>
                    </a:lnTo>
                    <a:lnTo>
                      <a:pt x="800" y="360"/>
                    </a:lnTo>
                    <a:lnTo>
                      <a:pt x="797" y="340"/>
                    </a:lnTo>
                    <a:lnTo>
                      <a:pt x="794" y="320"/>
                    </a:lnTo>
                    <a:lnTo>
                      <a:pt x="789" y="301"/>
                    </a:lnTo>
                    <a:lnTo>
                      <a:pt x="784" y="282"/>
                    </a:lnTo>
                    <a:lnTo>
                      <a:pt x="778" y="264"/>
                    </a:lnTo>
                    <a:lnTo>
                      <a:pt x="770" y="246"/>
                    </a:lnTo>
                    <a:lnTo>
                      <a:pt x="762" y="228"/>
                    </a:lnTo>
                    <a:lnTo>
                      <a:pt x="754" y="210"/>
                    </a:lnTo>
                    <a:lnTo>
                      <a:pt x="744" y="193"/>
                    </a:lnTo>
                    <a:lnTo>
                      <a:pt x="734" y="177"/>
                    </a:lnTo>
                    <a:lnTo>
                      <a:pt x="723" y="161"/>
                    </a:lnTo>
                    <a:lnTo>
                      <a:pt x="711" y="146"/>
                    </a:lnTo>
                    <a:lnTo>
                      <a:pt x="698" y="132"/>
                    </a:lnTo>
                    <a:lnTo>
                      <a:pt x="684" y="118"/>
                    </a:lnTo>
                    <a:lnTo>
                      <a:pt x="670" y="105"/>
                    </a:lnTo>
                    <a:lnTo>
                      <a:pt x="656" y="92"/>
                    </a:lnTo>
                    <a:lnTo>
                      <a:pt x="641" y="80"/>
                    </a:lnTo>
                    <a:lnTo>
                      <a:pt x="625" y="69"/>
                    </a:lnTo>
                    <a:lnTo>
                      <a:pt x="609" y="59"/>
                    </a:lnTo>
                    <a:lnTo>
                      <a:pt x="592" y="49"/>
                    </a:lnTo>
                    <a:lnTo>
                      <a:pt x="575" y="41"/>
                    </a:lnTo>
                    <a:lnTo>
                      <a:pt x="557" y="33"/>
                    </a:lnTo>
                    <a:lnTo>
                      <a:pt x="539" y="26"/>
                    </a:lnTo>
                    <a:lnTo>
                      <a:pt x="520" y="19"/>
                    </a:lnTo>
                    <a:lnTo>
                      <a:pt x="501" y="13"/>
                    </a:lnTo>
                    <a:lnTo>
                      <a:pt x="481" y="8"/>
                    </a:lnTo>
                    <a:lnTo>
                      <a:pt x="461" y="5"/>
                    </a:lnTo>
                    <a:lnTo>
                      <a:pt x="442" y="2"/>
                    </a:lnTo>
                    <a:lnTo>
                      <a:pt x="421" y="1"/>
                    </a:lnTo>
                    <a:lnTo>
                      <a:pt x="401" y="0"/>
                    </a:lnTo>
                    <a:lnTo>
                      <a:pt x="401"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8" name="Rectangle 495"/>
              <p:cNvSpPr>
                <a:spLocks noChangeArrowheads="1"/>
              </p:cNvSpPr>
              <p:nvPr/>
            </p:nvSpPr>
            <p:spPr bwMode="auto">
              <a:xfrm>
                <a:off x="-437985" y="1080338"/>
                <a:ext cx="32568" cy="237279"/>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9" name="Freeform 496"/>
              <p:cNvSpPr>
                <a:spLocks/>
              </p:cNvSpPr>
              <p:nvPr/>
            </p:nvSpPr>
            <p:spPr bwMode="auto">
              <a:xfrm>
                <a:off x="-437985" y="1080338"/>
                <a:ext cx="32568" cy="237279"/>
              </a:xfrm>
              <a:custGeom>
                <a:avLst/>
                <a:gdLst>
                  <a:gd name="T0" fmla="*/ 36 w 36"/>
                  <a:gd name="T1" fmla="*/ 255 h 255"/>
                  <a:gd name="T2" fmla="*/ 36 w 36"/>
                  <a:gd name="T3" fmla="*/ 0 h 255"/>
                  <a:gd name="T4" fmla="*/ 0 w 36"/>
                  <a:gd name="T5" fmla="*/ 0 h 255"/>
                  <a:gd name="T6" fmla="*/ 0 w 36"/>
                  <a:gd name="T7" fmla="*/ 255 h 255"/>
                </a:gdLst>
                <a:ahLst/>
                <a:cxnLst>
                  <a:cxn ang="0">
                    <a:pos x="T0" y="T1"/>
                  </a:cxn>
                  <a:cxn ang="0">
                    <a:pos x="T2" y="T3"/>
                  </a:cxn>
                  <a:cxn ang="0">
                    <a:pos x="T4" y="T5"/>
                  </a:cxn>
                  <a:cxn ang="0">
                    <a:pos x="T6" y="T7"/>
                  </a:cxn>
                </a:cxnLst>
                <a:rect l="0" t="0" r="r" b="b"/>
                <a:pathLst>
                  <a:path w="36" h="255">
                    <a:moveTo>
                      <a:pt x="36" y="255"/>
                    </a:moveTo>
                    <a:lnTo>
                      <a:pt x="36" y="0"/>
                    </a:lnTo>
                    <a:lnTo>
                      <a:pt x="0" y="0"/>
                    </a:lnTo>
                    <a:lnTo>
                      <a:pt x="0" y="255"/>
                    </a:lnTo>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7" name="Rectangle 499"/>
              <p:cNvSpPr>
                <a:spLocks noChangeArrowheads="1"/>
              </p:cNvSpPr>
              <p:nvPr/>
            </p:nvSpPr>
            <p:spPr bwMode="auto">
              <a:xfrm>
                <a:off x="124968" y="1787522"/>
                <a:ext cx="209363" cy="37220"/>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8" name="Freeform 500"/>
              <p:cNvSpPr>
                <a:spLocks/>
              </p:cNvSpPr>
              <p:nvPr/>
            </p:nvSpPr>
            <p:spPr bwMode="auto">
              <a:xfrm>
                <a:off x="41925" y="1787523"/>
                <a:ext cx="209364" cy="37220"/>
              </a:xfrm>
              <a:custGeom>
                <a:avLst/>
                <a:gdLst>
                  <a:gd name="T0" fmla="*/ 0 w 225"/>
                  <a:gd name="T1" fmla="*/ 40 h 40"/>
                  <a:gd name="T2" fmla="*/ 225 w 225"/>
                  <a:gd name="T3" fmla="*/ 40 h 40"/>
                  <a:gd name="T4" fmla="*/ 225 w 225"/>
                  <a:gd name="T5" fmla="*/ 0 h 40"/>
                  <a:gd name="T6" fmla="*/ 0 w 225"/>
                  <a:gd name="T7" fmla="*/ 0 h 40"/>
                </a:gdLst>
                <a:ahLst/>
                <a:cxnLst>
                  <a:cxn ang="0">
                    <a:pos x="T0" y="T1"/>
                  </a:cxn>
                  <a:cxn ang="0">
                    <a:pos x="T2" y="T3"/>
                  </a:cxn>
                  <a:cxn ang="0">
                    <a:pos x="T4" y="T5"/>
                  </a:cxn>
                  <a:cxn ang="0">
                    <a:pos x="T6" y="T7"/>
                  </a:cxn>
                </a:cxnLst>
                <a:rect l="0" t="0" r="r" b="b"/>
                <a:pathLst>
                  <a:path w="225" h="40">
                    <a:moveTo>
                      <a:pt x="0" y="40"/>
                    </a:moveTo>
                    <a:lnTo>
                      <a:pt x="225" y="40"/>
                    </a:lnTo>
                    <a:lnTo>
                      <a:pt x="225" y="0"/>
                    </a:lnTo>
                    <a:lnTo>
                      <a:pt x="0" y="0"/>
                    </a:lnTo>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9" name="Rectangle 501"/>
              <p:cNvSpPr>
                <a:spLocks noChangeArrowheads="1"/>
              </p:cNvSpPr>
              <p:nvPr/>
            </p:nvSpPr>
            <p:spPr bwMode="auto">
              <a:xfrm>
                <a:off x="-1080031" y="1787522"/>
                <a:ext cx="204710" cy="37220"/>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40" name="Freeform 502"/>
              <p:cNvSpPr>
                <a:spLocks/>
              </p:cNvSpPr>
              <p:nvPr/>
            </p:nvSpPr>
            <p:spPr bwMode="auto">
              <a:xfrm>
                <a:off x="-103005" y="1252481"/>
                <a:ext cx="200058" cy="200058"/>
              </a:xfrm>
              <a:custGeom>
                <a:avLst/>
                <a:gdLst>
                  <a:gd name="T0" fmla="*/ 29 w 217"/>
                  <a:gd name="T1" fmla="*/ 217 h 217"/>
                  <a:gd name="T2" fmla="*/ 217 w 217"/>
                  <a:gd name="T3" fmla="*/ 28 h 217"/>
                  <a:gd name="T4" fmla="*/ 189 w 217"/>
                  <a:gd name="T5" fmla="*/ 0 h 217"/>
                  <a:gd name="T6" fmla="*/ 0 w 217"/>
                  <a:gd name="T7" fmla="*/ 188 h 217"/>
                  <a:gd name="T8" fmla="*/ 29 w 217"/>
                  <a:gd name="T9" fmla="*/ 217 h 217"/>
                </a:gdLst>
                <a:ahLst/>
                <a:cxnLst>
                  <a:cxn ang="0">
                    <a:pos x="T0" y="T1"/>
                  </a:cxn>
                  <a:cxn ang="0">
                    <a:pos x="T2" y="T3"/>
                  </a:cxn>
                  <a:cxn ang="0">
                    <a:pos x="T4" y="T5"/>
                  </a:cxn>
                  <a:cxn ang="0">
                    <a:pos x="T6" y="T7"/>
                  </a:cxn>
                  <a:cxn ang="0">
                    <a:pos x="T8" y="T9"/>
                  </a:cxn>
                </a:cxnLst>
                <a:rect l="0" t="0" r="r" b="b"/>
                <a:pathLst>
                  <a:path w="217" h="217">
                    <a:moveTo>
                      <a:pt x="29" y="217"/>
                    </a:moveTo>
                    <a:lnTo>
                      <a:pt x="217" y="28"/>
                    </a:lnTo>
                    <a:lnTo>
                      <a:pt x="189" y="0"/>
                    </a:lnTo>
                    <a:lnTo>
                      <a:pt x="0" y="188"/>
                    </a:lnTo>
                    <a:lnTo>
                      <a:pt x="29" y="21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503"/>
              <p:cNvSpPr>
                <a:spLocks/>
              </p:cNvSpPr>
              <p:nvPr/>
            </p:nvSpPr>
            <p:spPr bwMode="auto">
              <a:xfrm>
                <a:off x="-940456" y="1252481"/>
                <a:ext cx="200058" cy="200058"/>
              </a:xfrm>
              <a:custGeom>
                <a:avLst/>
                <a:gdLst>
                  <a:gd name="T0" fmla="*/ 29 w 217"/>
                  <a:gd name="T1" fmla="*/ 0 h 217"/>
                  <a:gd name="T2" fmla="*/ 217 w 217"/>
                  <a:gd name="T3" fmla="*/ 188 h 217"/>
                  <a:gd name="T4" fmla="*/ 189 w 217"/>
                  <a:gd name="T5" fmla="*/ 217 h 217"/>
                  <a:gd name="T6" fmla="*/ 0 w 217"/>
                  <a:gd name="T7" fmla="*/ 28 h 217"/>
                  <a:gd name="T8" fmla="*/ 29 w 217"/>
                  <a:gd name="T9" fmla="*/ 0 h 217"/>
                </a:gdLst>
                <a:ahLst/>
                <a:cxnLst>
                  <a:cxn ang="0">
                    <a:pos x="T0" y="T1"/>
                  </a:cxn>
                  <a:cxn ang="0">
                    <a:pos x="T2" y="T3"/>
                  </a:cxn>
                  <a:cxn ang="0">
                    <a:pos x="T4" y="T5"/>
                  </a:cxn>
                  <a:cxn ang="0">
                    <a:pos x="T6" y="T7"/>
                  </a:cxn>
                  <a:cxn ang="0">
                    <a:pos x="T8" y="T9"/>
                  </a:cxn>
                </a:cxnLst>
                <a:rect l="0" t="0" r="r" b="b"/>
                <a:pathLst>
                  <a:path w="217" h="217">
                    <a:moveTo>
                      <a:pt x="29" y="0"/>
                    </a:moveTo>
                    <a:lnTo>
                      <a:pt x="217" y="188"/>
                    </a:lnTo>
                    <a:lnTo>
                      <a:pt x="189" y="217"/>
                    </a:lnTo>
                    <a:lnTo>
                      <a:pt x="0" y="28"/>
                    </a:lnTo>
                    <a:lnTo>
                      <a:pt x="29"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Line 504"/>
              <p:cNvSpPr>
                <a:spLocks noChangeShapeType="1"/>
              </p:cNvSpPr>
              <p:nvPr/>
            </p:nvSpPr>
            <p:spPr bwMode="auto">
              <a:xfrm>
                <a:off x="-303062" y="2429570"/>
                <a:ext cx="0" cy="0"/>
              </a:xfrm>
              <a:prstGeom prst="line">
                <a:avLst/>
              </a:prstGeom>
              <a:grpFill/>
              <a:ln w="8">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 name="Rectangle 2"/>
              <p:cNvSpPr/>
              <p:nvPr/>
            </p:nvSpPr>
            <p:spPr>
              <a:xfrm>
                <a:off x="-554298" y="2323225"/>
                <a:ext cx="265193"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554298" y="2404216"/>
                <a:ext cx="265193"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6"/>
              <p:cNvSpPr>
                <a:spLocks/>
              </p:cNvSpPr>
              <p:nvPr/>
            </p:nvSpPr>
            <p:spPr bwMode="auto">
              <a:xfrm>
                <a:off x="-588766" y="1613661"/>
                <a:ext cx="485761" cy="384942"/>
              </a:xfrm>
              <a:custGeom>
                <a:avLst/>
                <a:gdLst>
                  <a:gd name="T0" fmla="*/ 0 w 1164"/>
                  <a:gd name="T1" fmla="*/ 522 h 923"/>
                  <a:gd name="T2" fmla="*/ 241 w 1164"/>
                  <a:gd name="T3" fmla="*/ 923 h 923"/>
                  <a:gd name="T4" fmla="*/ 1164 w 1164"/>
                  <a:gd name="T5" fmla="*/ 0 h 923"/>
                  <a:gd name="T6" fmla="*/ 301 w 1164"/>
                  <a:gd name="T7" fmla="*/ 642 h 923"/>
                  <a:gd name="T8" fmla="*/ 0 w 1164"/>
                  <a:gd name="T9" fmla="*/ 522 h 923"/>
                </a:gdLst>
                <a:ahLst/>
                <a:cxnLst>
                  <a:cxn ang="0">
                    <a:pos x="T0" y="T1"/>
                  </a:cxn>
                  <a:cxn ang="0">
                    <a:pos x="T2" y="T3"/>
                  </a:cxn>
                  <a:cxn ang="0">
                    <a:pos x="T4" y="T5"/>
                  </a:cxn>
                  <a:cxn ang="0">
                    <a:pos x="T6" y="T7"/>
                  </a:cxn>
                  <a:cxn ang="0">
                    <a:pos x="T8" y="T9"/>
                  </a:cxn>
                </a:cxnLst>
                <a:rect l="0" t="0" r="r" b="b"/>
                <a:pathLst>
                  <a:path w="1164" h="923">
                    <a:moveTo>
                      <a:pt x="0" y="522"/>
                    </a:moveTo>
                    <a:lnTo>
                      <a:pt x="241" y="923"/>
                    </a:lnTo>
                    <a:lnTo>
                      <a:pt x="1164" y="0"/>
                    </a:lnTo>
                    <a:lnTo>
                      <a:pt x="301" y="642"/>
                    </a:lnTo>
                    <a:lnTo>
                      <a:pt x="0" y="522"/>
                    </a:lnTo>
                    <a:close/>
                  </a:path>
                </a:pathLst>
              </a:custGeom>
              <a:solidFill>
                <a:srgbClr val="0D65AC"/>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p:cNvGrpSpPr/>
          <p:nvPr/>
        </p:nvGrpSpPr>
        <p:grpSpPr>
          <a:xfrm>
            <a:off x="5719794" y="1763230"/>
            <a:ext cx="1024207" cy="1024207"/>
            <a:chOff x="5486400" y="1585913"/>
            <a:chExt cx="1299094" cy="1299094"/>
          </a:xfrm>
        </p:grpSpPr>
        <p:sp>
          <p:nvSpPr>
            <p:cNvPr id="51" name="Oval 50"/>
            <p:cNvSpPr/>
            <p:nvPr/>
          </p:nvSpPr>
          <p:spPr>
            <a:xfrm>
              <a:off x="5486400" y="1585913"/>
              <a:ext cx="1299094" cy="1299094"/>
            </a:xfrm>
            <a:prstGeom prst="ellipse">
              <a:avLst/>
            </a:prstGeom>
            <a:solidFill>
              <a:srgbClr val="2A9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p:cNvGrpSpPr/>
            <p:nvPr/>
          </p:nvGrpSpPr>
          <p:grpSpPr>
            <a:xfrm>
              <a:off x="5818704" y="1948302"/>
              <a:ext cx="792827" cy="639792"/>
              <a:chOff x="-866775" y="857250"/>
              <a:chExt cx="2549525" cy="2057400"/>
            </a:xfrm>
            <a:solidFill>
              <a:schemeClr val="bg1"/>
            </a:solidFill>
          </p:grpSpPr>
          <p:sp>
            <p:nvSpPr>
              <p:cNvPr id="47" name="Freeform 13"/>
              <p:cNvSpPr>
                <a:spLocks/>
              </p:cNvSpPr>
              <p:nvPr/>
            </p:nvSpPr>
            <p:spPr bwMode="auto">
              <a:xfrm>
                <a:off x="146050" y="876300"/>
                <a:ext cx="1536700" cy="1012825"/>
              </a:xfrm>
              <a:custGeom>
                <a:avLst/>
                <a:gdLst>
                  <a:gd name="T0" fmla="*/ 870 w 968"/>
                  <a:gd name="T1" fmla="*/ 0 h 638"/>
                  <a:gd name="T2" fmla="*/ 824 w 968"/>
                  <a:gd name="T3" fmla="*/ 162 h 638"/>
                  <a:gd name="T4" fmla="*/ 968 w 968"/>
                  <a:gd name="T5" fmla="*/ 180 h 638"/>
                  <a:gd name="T6" fmla="*/ 744 w 968"/>
                  <a:gd name="T7" fmla="*/ 314 h 638"/>
                  <a:gd name="T8" fmla="*/ 622 w 968"/>
                  <a:gd name="T9" fmla="*/ 288 h 638"/>
                  <a:gd name="T10" fmla="*/ 22 w 968"/>
                  <a:gd name="T11" fmla="*/ 638 h 638"/>
                  <a:gd name="T12" fmla="*/ 0 w 968"/>
                  <a:gd name="T13" fmla="*/ 604 h 638"/>
                  <a:gd name="T14" fmla="*/ 608 w 968"/>
                  <a:gd name="T15" fmla="*/ 236 h 638"/>
                  <a:gd name="T16" fmla="*/ 628 w 968"/>
                  <a:gd name="T17" fmla="*/ 130 h 638"/>
                  <a:gd name="T18" fmla="*/ 870 w 968"/>
                  <a:gd name="T19" fmla="*/ 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8" h="638">
                    <a:moveTo>
                      <a:pt x="870" y="0"/>
                    </a:moveTo>
                    <a:lnTo>
                      <a:pt x="824" y="162"/>
                    </a:lnTo>
                    <a:lnTo>
                      <a:pt x="968" y="180"/>
                    </a:lnTo>
                    <a:lnTo>
                      <a:pt x="744" y="314"/>
                    </a:lnTo>
                    <a:lnTo>
                      <a:pt x="622" y="288"/>
                    </a:lnTo>
                    <a:lnTo>
                      <a:pt x="22" y="638"/>
                    </a:lnTo>
                    <a:lnTo>
                      <a:pt x="0" y="604"/>
                    </a:lnTo>
                    <a:lnTo>
                      <a:pt x="608" y="236"/>
                    </a:lnTo>
                    <a:lnTo>
                      <a:pt x="628" y="130"/>
                    </a:lnTo>
                    <a:lnTo>
                      <a:pt x="8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4"/>
              <p:cNvSpPr>
                <a:spLocks/>
              </p:cNvSpPr>
              <p:nvPr/>
            </p:nvSpPr>
            <p:spPr bwMode="auto">
              <a:xfrm>
                <a:off x="-57150" y="1663700"/>
                <a:ext cx="441325" cy="441325"/>
              </a:xfrm>
              <a:custGeom>
                <a:avLst/>
                <a:gdLst>
                  <a:gd name="T0" fmla="*/ 152 w 278"/>
                  <a:gd name="T1" fmla="*/ 140 h 278"/>
                  <a:gd name="T2" fmla="*/ 262 w 278"/>
                  <a:gd name="T3" fmla="*/ 74 h 278"/>
                  <a:gd name="T4" fmla="*/ 240 w 278"/>
                  <a:gd name="T5" fmla="*/ 44 h 278"/>
                  <a:gd name="T6" fmla="*/ 210 w 278"/>
                  <a:gd name="T7" fmla="*/ 20 h 278"/>
                  <a:gd name="T8" fmla="*/ 176 w 278"/>
                  <a:gd name="T9" fmla="*/ 6 h 278"/>
                  <a:gd name="T10" fmla="*/ 138 w 278"/>
                  <a:gd name="T11" fmla="*/ 0 h 278"/>
                  <a:gd name="T12" fmla="*/ 124 w 278"/>
                  <a:gd name="T13" fmla="*/ 2 h 278"/>
                  <a:gd name="T14" fmla="*/ 98 w 278"/>
                  <a:gd name="T15" fmla="*/ 6 h 278"/>
                  <a:gd name="T16" fmla="*/ 72 w 278"/>
                  <a:gd name="T17" fmla="*/ 18 h 278"/>
                  <a:gd name="T18" fmla="*/ 50 w 278"/>
                  <a:gd name="T19" fmla="*/ 32 h 278"/>
                  <a:gd name="T20" fmla="*/ 32 w 278"/>
                  <a:gd name="T21" fmla="*/ 52 h 278"/>
                  <a:gd name="T22" fmla="*/ 16 w 278"/>
                  <a:gd name="T23" fmla="*/ 74 h 278"/>
                  <a:gd name="T24" fmla="*/ 6 w 278"/>
                  <a:gd name="T25" fmla="*/ 98 h 278"/>
                  <a:gd name="T26" fmla="*/ 0 w 278"/>
                  <a:gd name="T27" fmla="*/ 126 h 278"/>
                  <a:gd name="T28" fmla="*/ 0 w 278"/>
                  <a:gd name="T29" fmla="*/ 140 h 278"/>
                  <a:gd name="T30" fmla="*/ 2 w 278"/>
                  <a:gd name="T31" fmla="*/ 168 h 278"/>
                  <a:gd name="T32" fmla="*/ 10 w 278"/>
                  <a:gd name="T33" fmla="*/ 194 h 278"/>
                  <a:gd name="T34" fmla="*/ 24 w 278"/>
                  <a:gd name="T35" fmla="*/ 218 h 278"/>
                  <a:gd name="T36" fmla="*/ 40 w 278"/>
                  <a:gd name="T37" fmla="*/ 238 h 278"/>
                  <a:gd name="T38" fmla="*/ 62 w 278"/>
                  <a:gd name="T39" fmla="*/ 254 h 278"/>
                  <a:gd name="T40" fmla="*/ 84 w 278"/>
                  <a:gd name="T41" fmla="*/ 268 h 278"/>
                  <a:gd name="T42" fmla="*/ 110 w 278"/>
                  <a:gd name="T43" fmla="*/ 276 h 278"/>
                  <a:gd name="T44" fmla="*/ 138 w 278"/>
                  <a:gd name="T45" fmla="*/ 278 h 278"/>
                  <a:gd name="T46" fmla="*/ 152 w 278"/>
                  <a:gd name="T47" fmla="*/ 278 h 278"/>
                  <a:gd name="T48" fmla="*/ 180 w 278"/>
                  <a:gd name="T49" fmla="*/ 272 h 278"/>
                  <a:gd name="T50" fmla="*/ 206 w 278"/>
                  <a:gd name="T51" fmla="*/ 262 h 278"/>
                  <a:gd name="T52" fmla="*/ 228 w 278"/>
                  <a:gd name="T53" fmla="*/ 246 h 278"/>
                  <a:gd name="T54" fmla="*/ 246 w 278"/>
                  <a:gd name="T55" fmla="*/ 228 h 278"/>
                  <a:gd name="T56" fmla="*/ 260 w 278"/>
                  <a:gd name="T57" fmla="*/ 206 h 278"/>
                  <a:gd name="T58" fmla="*/ 272 w 278"/>
                  <a:gd name="T59" fmla="*/ 182 h 278"/>
                  <a:gd name="T60" fmla="*/ 278 w 278"/>
                  <a:gd name="T61" fmla="*/ 154 h 278"/>
                  <a:gd name="T62" fmla="*/ 278 w 278"/>
                  <a:gd name="T63" fmla="*/ 140 h 278"/>
                  <a:gd name="T64" fmla="*/ 174 w 278"/>
                  <a:gd name="T65"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174" y="174"/>
                    </a:moveTo>
                    <a:lnTo>
                      <a:pt x="152" y="140"/>
                    </a:lnTo>
                    <a:lnTo>
                      <a:pt x="262" y="74"/>
                    </a:lnTo>
                    <a:lnTo>
                      <a:pt x="262" y="74"/>
                    </a:lnTo>
                    <a:lnTo>
                      <a:pt x="252" y="58"/>
                    </a:lnTo>
                    <a:lnTo>
                      <a:pt x="240" y="44"/>
                    </a:lnTo>
                    <a:lnTo>
                      <a:pt x="226" y="32"/>
                    </a:lnTo>
                    <a:lnTo>
                      <a:pt x="210" y="20"/>
                    </a:lnTo>
                    <a:lnTo>
                      <a:pt x="194" y="12"/>
                    </a:lnTo>
                    <a:lnTo>
                      <a:pt x="176" y="6"/>
                    </a:lnTo>
                    <a:lnTo>
                      <a:pt x="158" y="2"/>
                    </a:lnTo>
                    <a:lnTo>
                      <a:pt x="138" y="0"/>
                    </a:lnTo>
                    <a:lnTo>
                      <a:pt x="138" y="0"/>
                    </a:lnTo>
                    <a:lnTo>
                      <a:pt x="124" y="2"/>
                    </a:lnTo>
                    <a:lnTo>
                      <a:pt x="110" y="4"/>
                    </a:lnTo>
                    <a:lnTo>
                      <a:pt x="98" y="6"/>
                    </a:lnTo>
                    <a:lnTo>
                      <a:pt x="84" y="12"/>
                    </a:lnTo>
                    <a:lnTo>
                      <a:pt x="72" y="18"/>
                    </a:lnTo>
                    <a:lnTo>
                      <a:pt x="62" y="24"/>
                    </a:lnTo>
                    <a:lnTo>
                      <a:pt x="50" y="32"/>
                    </a:lnTo>
                    <a:lnTo>
                      <a:pt x="40" y="42"/>
                    </a:lnTo>
                    <a:lnTo>
                      <a:pt x="32" y="52"/>
                    </a:lnTo>
                    <a:lnTo>
                      <a:pt x="24" y="62"/>
                    </a:lnTo>
                    <a:lnTo>
                      <a:pt x="16" y="74"/>
                    </a:lnTo>
                    <a:lnTo>
                      <a:pt x="10" y="86"/>
                    </a:lnTo>
                    <a:lnTo>
                      <a:pt x="6" y="98"/>
                    </a:lnTo>
                    <a:lnTo>
                      <a:pt x="2" y="112"/>
                    </a:lnTo>
                    <a:lnTo>
                      <a:pt x="0" y="126"/>
                    </a:lnTo>
                    <a:lnTo>
                      <a:pt x="0" y="140"/>
                    </a:lnTo>
                    <a:lnTo>
                      <a:pt x="0" y="140"/>
                    </a:lnTo>
                    <a:lnTo>
                      <a:pt x="0" y="154"/>
                    </a:lnTo>
                    <a:lnTo>
                      <a:pt x="2" y="168"/>
                    </a:lnTo>
                    <a:lnTo>
                      <a:pt x="6" y="182"/>
                    </a:lnTo>
                    <a:lnTo>
                      <a:pt x="10" y="194"/>
                    </a:lnTo>
                    <a:lnTo>
                      <a:pt x="16" y="206"/>
                    </a:lnTo>
                    <a:lnTo>
                      <a:pt x="24" y="218"/>
                    </a:lnTo>
                    <a:lnTo>
                      <a:pt x="32" y="228"/>
                    </a:lnTo>
                    <a:lnTo>
                      <a:pt x="40" y="238"/>
                    </a:lnTo>
                    <a:lnTo>
                      <a:pt x="50" y="246"/>
                    </a:lnTo>
                    <a:lnTo>
                      <a:pt x="62" y="254"/>
                    </a:lnTo>
                    <a:lnTo>
                      <a:pt x="72" y="262"/>
                    </a:lnTo>
                    <a:lnTo>
                      <a:pt x="84" y="268"/>
                    </a:lnTo>
                    <a:lnTo>
                      <a:pt x="98" y="272"/>
                    </a:lnTo>
                    <a:lnTo>
                      <a:pt x="110" y="276"/>
                    </a:lnTo>
                    <a:lnTo>
                      <a:pt x="124" y="278"/>
                    </a:lnTo>
                    <a:lnTo>
                      <a:pt x="138" y="278"/>
                    </a:lnTo>
                    <a:lnTo>
                      <a:pt x="138" y="278"/>
                    </a:lnTo>
                    <a:lnTo>
                      <a:pt x="152" y="278"/>
                    </a:lnTo>
                    <a:lnTo>
                      <a:pt x="166" y="276"/>
                    </a:lnTo>
                    <a:lnTo>
                      <a:pt x="180" y="272"/>
                    </a:lnTo>
                    <a:lnTo>
                      <a:pt x="192" y="268"/>
                    </a:lnTo>
                    <a:lnTo>
                      <a:pt x="206" y="262"/>
                    </a:lnTo>
                    <a:lnTo>
                      <a:pt x="216" y="254"/>
                    </a:lnTo>
                    <a:lnTo>
                      <a:pt x="228" y="246"/>
                    </a:lnTo>
                    <a:lnTo>
                      <a:pt x="238" y="238"/>
                    </a:lnTo>
                    <a:lnTo>
                      <a:pt x="246" y="228"/>
                    </a:lnTo>
                    <a:lnTo>
                      <a:pt x="254" y="218"/>
                    </a:lnTo>
                    <a:lnTo>
                      <a:pt x="260" y="206"/>
                    </a:lnTo>
                    <a:lnTo>
                      <a:pt x="266" y="194"/>
                    </a:lnTo>
                    <a:lnTo>
                      <a:pt x="272" y="182"/>
                    </a:lnTo>
                    <a:lnTo>
                      <a:pt x="274" y="168"/>
                    </a:lnTo>
                    <a:lnTo>
                      <a:pt x="278" y="154"/>
                    </a:lnTo>
                    <a:lnTo>
                      <a:pt x="278" y="140"/>
                    </a:lnTo>
                    <a:lnTo>
                      <a:pt x="278" y="140"/>
                    </a:lnTo>
                    <a:lnTo>
                      <a:pt x="276" y="114"/>
                    </a:lnTo>
                    <a:lnTo>
                      <a:pt x="174"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5"/>
              <p:cNvSpPr>
                <a:spLocks/>
              </p:cNvSpPr>
              <p:nvPr/>
            </p:nvSpPr>
            <p:spPr bwMode="auto">
              <a:xfrm>
                <a:off x="-549275" y="1174750"/>
                <a:ext cx="1425575" cy="1422400"/>
              </a:xfrm>
              <a:custGeom>
                <a:avLst/>
                <a:gdLst>
                  <a:gd name="T0" fmla="*/ 714 w 898"/>
                  <a:gd name="T1" fmla="*/ 374 h 896"/>
                  <a:gd name="T2" fmla="*/ 724 w 898"/>
                  <a:gd name="T3" fmla="*/ 448 h 896"/>
                  <a:gd name="T4" fmla="*/ 720 w 898"/>
                  <a:gd name="T5" fmla="*/ 504 h 896"/>
                  <a:gd name="T6" fmla="*/ 692 w 898"/>
                  <a:gd name="T7" fmla="*/ 580 h 896"/>
                  <a:gd name="T8" fmla="*/ 644 w 898"/>
                  <a:gd name="T9" fmla="*/ 642 h 896"/>
                  <a:gd name="T10" fmla="*/ 580 w 898"/>
                  <a:gd name="T11" fmla="*/ 690 h 896"/>
                  <a:gd name="T12" fmla="*/ 504 w 898"/>
                  <a:gd name="T13" fmla="*/ 718 h 896"/>
                  <a:gd name="T14" fmla="*/ 448 w 898"/>
                  <a:gd name="T15" fmla="*/ 724 h 896"/>
                  <a:gd name="T16" fmla="*/ 366 w 898"/>
                  <a:gd name="T17" fmla="*/ 712 h 896"/>
                  <a:gd name="T18" fmla="*/ 294 w 898"/>
                  <a:gd name="T19" fmla="*/ 676 h 896"/>
                  <a:gd name="T20" fmla="*/ 236 w 898"/>
                  <a:gd name="T21" fmla="*/ 624 h 896"/>
                  <a:gd name="T22" fmla="*/ 194 w 898"/>
                  <a:gd name="T23" fmla="*/ 556 h 896"/>
                  <a:gd name="T24" fmla="*/ 174 w 898"/>
                  <a:gd name="T25" fmla="*/ 476 h 896"/>
                  <a:gd name="T26" fmla="*/ 174 w 898"/>
                  <a:gd name="T27" fmla="*/ 420 h 896"/>
                  <a:gd name="T28" fmla="*/ 194 w 898"/>
                  <a:gd name="T29" fmla="*/ 340 h 896"/>
                  <a:gd name="T30" fmla="*/ 236 w 898"/>
                  <a:gd name="T31" fmla="*/ 272 h 896"/>
                  <a:gd name="T32" fmla="*/ 294 w 898"/>
                  <a:gd name="T33" fmla="*/ 218 h 896"/>
                  <a:gd name="T34" fmla="*/ 366 w 898"/>
                  <a:gd name="T35" fmla="*/ 184 h 896"/>
                  <a:gd name="T36" fmla="*/ 448 w 898"/>
                  <a:gd name="T37" fmla="*/ 172 h 896"/>
                  <a:gd name="T38" fmla="*/ 486 w 898"/>
                  <a:gd name="T39" fmla="*/ 174 h 896"/>
                  <a:gd name="T40" fmla="*/ 540 w 898"/>
                  <a:gd name="T41" fmla="*/ 188 h 896"/>
                  <a:gd name="T42" fmla="*/ 618 w 898"/>
                  <a:gd name="T43" fmla="*/ 230 h 896"/>
                  <a:gd name="T44" fmla="*/ 688 w 898"/>
                  <a:gd name="T45" fmla="*/ 310 h 896"/>
                  <a:gd name="T46" fmla="*/ 820 w 898"/>
                  <a:gd name="T47" fmla="*/ 198 h 896"/>
                  <a:gd name="T48" fmla="*/ 766 w 898"/>
                  <a:gd name="T49" fmla="*/ 130 h 896"/>
                  <a:gd name="T50" fmla="*/ 700 w 898"/>
                  <a:gd name="T51" fmla="*/ 76 h 896"/>
                  <a:gd name="T52" fmla="*/ 624 w 898"/>
                  <a:gd name="T53" fmla="*/ 34 h 896"/>
                  <a:gd name="T54" fmla="*/ 540 w 898"/>
                  <a:gd name="T55" fmla="*/ 8 h 896"/>
                  <a:gd name="T56" fmla="*/ 448 w 898"/>
                  <a:gd name="T57" fmla="*/ 0 h 896"/>
                  <a:gd name="T58" fmla="*/ 358 w 898"/>
                  <a:gd name="T59" fmla="*/ 8 h 896"/>
                  <a:gd name="T60" fmla="*/ 236 w 898"/>
                  <a:gd name="T61" fmla="*/ 54 h 896"/>
                  <a:gd name="T62" fmla="*/ 132 w 898"/>
                  <a:gd name="T63" fmla="*/ 130 h 896"/>
                  <a:gd name="T64" fmla="*/ 54 w 898"/>
                  <a:gd name="T65" fmla="*/ 234 h 896"/>
                  <a:gd name="T66" fmla="*/ 10 w 898"/>
                  <a:gd name="T67" fmla="*/ 358 h 896"/>
                  <a:gd name="T68" fmla="*/ 0 w 898"/>
                  <a:gd name="T69" fmla="*/ 448 h 896"/>
                  <a:gd name="T70" fmla="*/ 20 w 898"/>
                  <a:gd name="T71" fmla="*/ 582 h 896"/>
                  <a:gd name="T72" fmla="*/ 78 w 898"/>
                  <a:gd name="T73" fmla="*/ 698 h 896"/>
                  <a:gd name="T74" fmla="*/ 164 w 898"/>
                  <a:gd name="T75" fmla="*/ 794 h 896"/>
                  <a:gd name="T76" fmla="*/ 274 w 898"/>
                  <a:gd name="T77" fmla="*/ 860 h 896"/>
                  <a:gd name="T78" fmla="*/ 402 w 898"/>
                  <a:gd name="T79" fmla="*/ 894 h 896"/>
                  <a:gd name="T80" fmla="*/ 494 w 898"/>
                  <a:gd name="T81" fmla="*/ 894 h 896"/>
                  <a:gd name="T82" fmla="*/ 624 w 898"/>
                  <a:gd name="T83" fmla="*/ 860 h 896"/>
                  <a:gd name="T84" fmla="*/ 734 w 898"/>
                  <a:gd name="T85" fmla="*/ 794 h 896"/>
                  <a:gd name="T86" fmla="*/ 820 w 898"/>
                  <a:gd name="T87" fmla="*/ 698 h 896"/>
                  <a:gd name="T88" fmla="*/ 876 w 898"/>
                  <a:gd name="T89" fmla="*/ 582 h 896"/>
                  <a:gd name="T90" fmla="*/ 898 w 898"/>
                  <a:gd name="T91" fmla="*/ 448 h 896"/>
                  <a:gd name="T92" fmla="*/ 894 w 898"/>
                  <a:gd name="T93" fmla="*/ 400 h 896"/>
                  <a:gd name="T94" fmla="*/ 882 w 898"/>
                  <a:gd name="T95" fmla="*/ 330 h 896"/>
                  <a:gd name="T96" fmla="*/ 858 w 898"/>
                  <a:gd name="T97" fmla="*/ 264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8" h="896">
                    <a:moveTo>
                      <a:pt x="708" y="352"/>
                    </a:moveTo>
                    <a:lnTo>
                      <a:pt x="708" y="352"/>
                    </a:lnTo>
                    <a:lnTo>
                      <a:pt x="714" y="374"/>
                    </a:lnTo>
                    <a:lnTo>
                      <a:pt x="720" y="398"/>
                    </a:lnTo>
                    <a:lnTo>
                      <a:pt x="724" y="422"/>
                    </a:lnTo>
                    <a:lnTo>
                      <a:pt x="724" y="448"/>
                    </a:lnTo>
                    <a:lnTo>
                      <a:pt x="724" y="448"/>
                    </a:lnTo>
                    <a:lnTo>
                      <a:pt x="724" y="476"/>
                    </a:lnTo>
                    <a:lnTo>
                      <a:pt x="720" y="504"/>
                    </a:lnTo>
                    <a:lnTo>
                      <a:pt x="712" y="530"/>
                    </a:lnTo>
                    <a:lnTo>
                      <a:pt x="704" y="556"/>
                    </a:lnTo>
                    <a:lnTo>
                      <a:pt x="692" y="580"/>
                    </a:lnTo>
                    <a:lnTo>
                      <a:pt x="678" y="602"/>
                    </a:lnTo>
                    <a:lnTo>
                      <a:pt x="662" y="624"/>
                    </a:lnTo>
                    <a:lnTo>
                      <a:pt x="644" y="642"/>
                    </a:lnTo>
                    <a:lnTo>
                      <a:pt x="624" y="660"/>
                    </a:lnTo>
                    <a:lnTo>
                      <a:pt x="604" y="676"/>
                    </a:lnTo>
                    <a:lnTo>
                      <a:pt x="580" y="690"/>
                    </a:lnTo>
                    <a:lnTo>
                      <a:pt x="556" y="702"/>
                    </a:lnTo>
                    <a:lnTo>
                      <a:pt x="530" y="712"/>
                    </a:lnTo>
                    <a:lnTo>
                      <a:pt x="504" y="718"/>
                    </a:lnTo>
                    <a:lnTo>
                      <a:pt x="476" y="722"/>
                    </a:lnTo>
                    <a:lnTo>
                      <a:pt x="448" y="724"/>
                    </a:lnTo>
                    <a:lnTo>
                      <a:pt x="448" y="724"/>
                    </a:lnTo>
                    <a:lnTo>
                      <a:pt x="420" y="722"/>
                    </a:lnTo>
                    <a:lnTo>
                      <a:pt x="394" y="718"/>
                    </a:lnTo>
                    <a:lnTo>
                      <a:pt x="366" y="712"/>
                    </a:lnTo>
                    <a:lnTo>
                      <a:pt x="342" y="702"/>
                    </a:lnTo>
                    <a:lnTo>
                      <a:pt x="318" y="690"/>
                    </a:lnTo>
                    <a:lnTo>
                      <a:pt x="294" y="676"/>
                    </a:lnTo>
                    <a:lnTo>
                      <a:pt x="274" y="660"/>
                    </a:lnTo>
                    <a:lnTo>
                      <a:pt x="254" y="642"/>
                    </a:lnTo>
                    <a:lnTo>
                      <a:pt x="236" y="624"/>
                    </a:lnTo>
                    <a:lnTo>
                      <a:pt x="220" y="602"/>
                    </a:lnTo>
                    <a:lnTo>
                      <a:pt x="206" y="580"/>
                    </a:lnTo>
                    <a:lnTo>
                      <a:pt x="194" y="556"/>
                    </a:lnTo>
                    <a:lnTo>
                      <a:pt x="186" y="530"/>
                    </a:lnTo>
                    <a:lnTo>
                      <a:pt x="178" y="504"/>
                    </a:lnTo>
                    <a:lnTo>
                      <a:pt x="174" y="476"/>
                    </a:lnTo>
                    <a:lnTo>
                      <a:pt x="172" y="448"/>
                    </a:lnTo>
                    <a:lnTo>
                      <a:pt x="172" y="448"/>
                    </a:lnTo>
                    <a:lnTo>
                      <a:pt x="174" y="420"/>
                    </a:lnTo>
                    <a:lnTo>
                      <a:pt x="178" y="392"/>
                    </a:lnTo>
                    <a:lnTo>
                      <a:pt x="186" y="366"/>
                    </a:lnTo>
                    <a:lnTo>
                      <a:pt x="194" y="340"/>
                    </a:lnTo>
                    <a:lnTo>
                      <a:pt x="206" y="316"/>
                    </a:lnTo>
                    <a:lnTo>
                      <a:pt x="220" y="294"/>
                    </a:lnTo>
                    <a:lnTo>
                      <a:pt x="236" y="272"/>
                    </a:lnTo>
                    <a:lnTo>
                      <a:pt x="254" y="252"/>
                    </a:lnTo>
                    <a:lnTo>
                      <a:pt x="274" y="234"/>
                    </a:lnTo>
                    <a:lnTo>
                      <a:pt x="294" y="218"/>
                    </a:lnTo>
                    <a:lnTo>
                      <a:pt x="318" y="206"/>
                    </a:lnTo>
                    <a:lnTo>
                      <a:pt x="342" y="194"/>
                    </a:lnTo>
                    <a:lnTo>
                      <a:pt x="366" y="184"/>
                    </a:lnTo>
                    <a:lnTo>
                      <a:pt x="394" y="178"/>
                    </a:lnTo>
                    <a:lnTo>
                      <a:pt x="420" y="174"/>
                    </a:lnTo>
                    <a:lnTo>
                      <a:pt x="448" y="172"/>
                    </a:lnTo>
                    <a:lnTo>
                      <a:pt x="448" y="172"/>
                    </a:lnTo>
                    <a:lnTo>
                      <a:pt x="468" y="172"/>
                    </a:lnTo>
                    <a:lnTo>
                      <a:pt x="486" y="174"/>
                    </a:lnTo>
                    <a:lnTo>
                      <a:pt x="504" y="178"/>
                    </a:lnTo>
                    <a:lnTo>
                      <a:pt x="522" y="182"/>
                    </a:lnTo>
                    <a:lnTo>
                      <a:pt x="540" y="188"/>
                    </a:lnTo>
                    <a:lnTo>
                      <a:pt x="558" y="194"/>
                    </a:lnTo>
                    <a:lnTo>
                      <a:pt x="590" y="210"/>
                    </a:lnTo>
                    <a:lnTo>
                      <a:pt x="618" y="230"/>
                    </a:lnTo>
                    <a:lnTo>
                      <a:pt x="646" y="254"/>
                    </a:lnTo>
                    <a:lnTo>
                      <a:pt x="668" y="280"/>
                    </a:lnTo>
                    <a:lnTo>
                      <a:pt x="688" y="310"/>
                    </a:lnTo>
                    <a:lnTo>
                      <a:pt x="836" y="222"/>
                    </a:lnTo>
                    <a:lnTo>
                      <a:pt x="836" y="222"/>
                    </a:lnTo>
                    <a:lnTo>
                      <a:pt x="820" y="198"/>
                    </a:lnTo>
                    <a:lnTo>
                      <a:pt x="804" y="174"/>
                    </a:lnTo>
                    <a:lnTo>
                      <a:pt x="786" y="152"/>
                    </a:lnTo>
                    <a:lnTo>
                      <a:pt x="766" y="130"/>
                    </a:lnTo>
                    <a:lnTo>
                      <a:pt x="744" y="112"/>
                    </a:lnTo>
                    <a:lnTo>
                      <a:pt x="722" y="92"/>
                    </a:lnTo>
                    <a:lnTo>
                      <a:pt x="700" y="76"/>
                    </a:lnTo>
                    <a:lnTo>
                      <a:pt x="674" y="60"/>
                    </a:lnTo>
                    <a:lnTo>
                      <a:pt x="650" y="46"/>
                    </a:lnTo>
                    <a:lnTo>
                      <a:pt x="624" y="34"/>
                    </a:lnTo>
                    <a:lnTo>
                      <a:pt x="596" y="24"/>
                    </a:lnTo>
                    <a:lnTo>
                      <a:pt x="568" y="16"/>
                    </a:lnTo>
                    <a:lnTo>
                      <a:pt x="540" y="8"/>
                    </a:lnTo>
                    <a:lnTo>
                      <a:pt x="510" y="4"/>
                    </a:lnTo>
                    <a:lnTo>
                      <a:pt x="480" y="0"/>
                    </a:lnTo>
                    <a:lnTo>
                      <a:pt x="448" y="0"/>
                    </a:lnTo>
                    <a:lnTo>
                      <a:pt x="448" y="0"/>
                    </a:lnTo>
                    <a:lnTo>
                      <a:pt x="402" y="2"/>
                    </a:lnTo>
                    <a:lnTo>
                      <a:pt x="358" y="8"/>
                    </a:lnTo>
                    <a:lnTo>
                      <a:pt x="316" y="20"/>
                    </a:lnTo>
                    <a:lnTo>
                      <a:pt x="274" y="34"/>
                    </a:lnTo>
                    <a:lnTo>
                      <a:pt x="236" y="54"/>
                    </a:lnTo>
                    <a:lnTo>
                      <a:pt x="198" y="76"/>
                    </a:lnTo>
                    <a:lnTo>
                      <a:pt x="164" y="102"/>
                    </a:lnTo>
                    <a:lnTo>
                      <a:pt x="132" y="130"/>
                    </a:lnTo>
                    <a:lnTo>
                      <a:pt x="102" y="162"/>
                    </a:lnTo>
                    <a:lnTo>
                      <a:pt x="78" y="198"/>
                    </a:lnTo>
                    <a:lnTo>
                      <a:pt x="54" y="234"/>
                    </a:lnTo>
                    <a:lnTo>
                      <a:pt x="36" y="274"/>
                    </a:lnTo>
                    <a:lnTo>
                      <a:pt x="20" y="314"/>
                    </a:lnTo>
                    <a:lnTo>
                      <a:pt x="10" y="358"/>
                    </a:lnTo>
                    <a:lnTo>
                      <a:pt x="2" y="402"/>
                    </a:lnTo>
                    <a:lnTo>
                      <a:pt x="0" y="448"/>
                    </a:lnTo>
                    <a:lnTo>
                      <a:pt x="0" y="448"/>
                    </a:lnTo>
                    <a:lnTo>
                      <a:pt x="2" y="494"/>
                    </a:lnTo>
                    <a:lnTo>
                      <a:pt x="10" y="538"/>
                    </a:lnTo>
                    <a:lnTo>
                      <a:pt x="20" y="582"/>
                    </a:lnTo>
                    <a:lnTo>
                      <a:pt x="36" y="622"/>
                    </a:lnTo>
                    <a:lnTo>
                      <a:pt x="54" y="662"/>
                    </a:lnTo>
                    <a:lnTo>
                      <a:pt x="78" y="698"/>
                    </a:lnTo>
                    <a:lnTo>
                      <a:pt x="102" y="732"/>
                    </a:lnTo>
                    <a:lnTo>
                      <a:pt x="132" y="764"/>
                    </a:lnTo>
                    <a:lnTo>
                      <a:pt x="164" y="794"/>
                    </a:lnTo>
                    <a:lnTo>
                      <a:pt x="198" y="820"/>
                    </a:lnTo>
                    <a:lnTo>
                      <a:pt x="236" y="842"/>
                    </a:lnTo>
                    <a:lnTo>
                      <a:pt x="274" y="860"/>
                    </a:lnTo>
                    <a:lnTo>
                      <a:pt x="316" y="876"/>
                    </a:lnTo>
                    <a:lnTo>
                      <a:pt x="358" y="886"/>
                    </a:lnTo>
                    <a:lnTo>
                      <a:pt x="402" y="894"/>
                    </a:lnTo>
                    <a:lnTo>
                      <a:pt x="448" y="896"/>
                    </a:lnTo>
                    <a:lnTo>
                      <a:pt x="448" y="896"/>
                    </a:lnTo>
                    <a:lnTo>
                      <a:pt x="494" y="894"/>
                    </a:lnTo>
                    <a:lnTo>
                      <a:pt x="540" y="886"/>
                    </a:lnTo>
                    <a:lnTo>
                      <a:pt x="582" y="876"/>
                    </a:lnTo>
                    <a:lnTo>
                      <a:pt x="624" y="860"/>
                    </a:lnTo>
                    <a:lnTo>
                      <a:pt x="662" y="842"/>
                    </a:lnTo>
                    <a:lnTo>
                      <a:pt x="700" y="820"/>
                    </a:lnTo>
                    <a:lnTo>
                      <a:pt x="734" y="794"/>
                    </a:lnTo>
                    <a:lnTo>
                      <a:pt x="766" y="764"/>
                    </a:lnTo>
                    <a:lnTo>
                      <a:pt x="794" y="732"/>
                    </a:lnTo>
                    <a:lnTo>
                      <a:pt x="820" y="698"/>
                    </a:lnTo>
                    <a:lnTo>
                      <a:pt x="842" y="662"/>
                    </a:lnTo>
                    <a:lnTo>
                      <a:pt x="862" y="622"/>
                    </a:lnTo>
                    <a:lnTo>
                      <a:pt x="876" y="582"/>
                    </a:lnTo>
                    <a:lnTo>
                      <a:pt x="888" y="538"/>
                    </a:lnTo>
                    <a:lnTo>
                      <a:pt x="894" y="494"/>
                    </a:lnTo>
                    <a:lnTo>
                      <a:pt x="898" y="448"/>
                    </a:lnTo>
                    <a:lnTo>
                      <a:pt x="898" y="448"/>
                    </a:lnTo>
                    <a:lnTo>
                      <a:pt x="896" y="424"/>
                    </a:lnTo>
                    <a:lnTo>
                      <a:pt x="894" y="400"/>
                    </a:lnTo>
                    <a:lnTo>
                      <a:pt x="892" y="376"/>
                    </a:lnTo>
                    <a:lnTo>
                      <a:pt x="886" y="352"/>
                    </a:lnTo>
                    <a:lnTo>
                      <a:pt x="882" y="330"/>
                    </a:lnTo>
                    <a:lnTo>
                      <a:pt x="874" y="308"/>
                    </a:lnTo>
                    <a:lnTo>
                      <a:pt x="866" y="286"/>
                    </a:lnTo>
                    <a:lnTo>
                      <a:pt x="858" y="264"/>
                    </a:lnTo>
                    <a:lnTo>
                      <a:pt x="708"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6"/>
              <p:cNvSpPr>
                <a:spLocks/>
              </p:cNvSpPr>
              <p:nvPr/>
            </p:nvSpPr>
            <p:spPr bwMode="auto">
              <a:xfrm>
                <a:off x="-866775" y="857250"/>
                <a:ext cx="2057400" cy="2057400"/>
              </a:xfrm>
              <a:custGeom>
                <a:avLst/>
                <a:gdLst>
                  <a:gd name="T0" fmla="*/ 1226 w 1296"/>
                  <a:gd name="T1" fmla="*/ 442 h 1296"/>
                  <a:gd name="T2" fmla="*/ 1258 w 1296"/>
                  <a:gd name="T3" fmla="*/ 576 h 1296"/>
                  <a:gd name="T4" fmla="*/ 1260 w 1296"/>
                  <a:gd name="T5" fmla="*/ 680 h 1296"/>
                  <a:gd name="T6" fmla="*/ 1242 w 1296"/>
                  <a:gd name="T7" fmla="*/ 800 h 1296"/>
                  <a:gd name="T8" fmla="*/ 1202 w 1296"/>
                  <a:gd name="T9" fmla="*/ 914 h 1296"/>
                  <a:gd name="T10" fmla="*/ 1140 w 1296"/>
                  <a:gd name="T11" fmla="*/ 1014 h 1296"/>
                  <a:gd name="T12" fmla="*/ 1060 w 1296"/>
                  <a:gd name="T13" fmla="*/ 1102 h 1296"/>
                  <a:gd name="T14" fmla="*/ 966 w 1296"/>
                  <a:gd name="T15" fmla="*/ 1172 h 1296"/>
                  <a:gd name="T16" fmla="*/ 860 w 1296"/>
                  <a:gd name="T17" fmla="*/ 1224 h 1296"/>
                  <a:gd name="T18" fmla="*/ 742 w 1296"/>
                  <a:gd name="T19" fmla="*/ 1254 h 1296"/>
                  <a:gd name="T20" fmla="*/ 648 w 1296"/>
                  <a:gd name="T21" fmla="*/ 1260 h 1296"/>
                  <a:gd name="T22" fmla="*/ 526 w 1296"/>
                  <a:gd name="T23" fmla="*/ 1248 h 1296"/>
                  <a:gd name="T24" fmla="*/ 410 w 1296"/>
                  <a:gd name="T25" fmla="*/ 1212 h 1296"/>
                  <a:gd name="T26" fmla="*/ 306 w 1296"/>
                  <a:gd name="T27" fmla="*/ 1156 h 1296"/>
                  <a:gd name="T28" fmla="*/ 216 w 1296"/>
                  <a:gd name="T29" fmla="*/ 1082 h 1296"/>
                  <a:gd name="T30" fmla="*/ 140 w 1296"/>
                  <a:gd name="T31" fmla="*/ 990 h 1296"/>
                  <a:gd name="T32" fmla="*/ 84 w 1296"/>
                  <a:gd name="T33" fmla="*/ 886 h 1296"/>
                  <a:gd name="T34" fmla="*/ 48 w 1296"/>
                  <a:gd name="T35" fmla="*/ 772 h 1296"/>
                  <a:gd name="T36" fmla="*/ 36 w 1296"/>
                  <a:gd name="T37" fmla="*/ 648 h 1296"/>
                  <a:gd name="T38" fmla="*/ 44 w 1296"/>
                  <a:gd name="T39" fmla="*/ 554 h 1296"/>
                  <a:gd name="T40" fmla="*/ 74 w 1296"/>
                  <a:gd name="T41" fmla="*/ 438 h 1296"/>
                  <a:gd name="T42" fmla="*/ 124 w 1296"/>
                  <a:gd name="T43" fmla="*/ 330 h 1296"/>
                  <a:gd name="T44" fmla="*/ 196 w 1296"/>
                  <a:gd name="T45" fmla="*/ 236 h 1296"/>
                  <a:gd name="T46" fmla="*/ 282 w 1296"/>
                  <a:gd name="T47" fmla="*/ 156 h 1296"/>
                  <a:gd name="T48" fmla="*/ 384 w 1296"/>
                  <a:gd name="T49" fmla="*/ 96 h 1296"/>
                  <a:gd name="T50" fmla="*/ 496 w 1296"/>
                  <a:gd name="T51" fmla="*/ 54 h 1296"/>
                  <a:gd name="T52" fmla="*/ 618 w 1296"/>
                  <a:gd name="T53" fmla="*/ 36 h 1296"/>
                  <a:gd name="T54" fmla="*/ 732 w 1296"/>
                  <a:gd name="T55" fmla="*/ 40 h 1296"/>
                  <a:gd name="T56" fmla="*/ 886 w 1296"/>
                  <a:gd name="T57" fmla="*/ 82 h 1296"/>
                  <a:gd name="T58" fmla="*/ 1022 w 1296"/>
                  <a:gd name="T59" fmla="*/ 162 h 1296"/>
                  <a:gd name="T60" fmla="*/ 1132 w 1296"/>
                  <a:gd name="T61" fmla="*/ 272 h 1296"/>
                  <a:gd name="T62" fmla="*/ 1206 w 1296"/>
                  <a:gd name="T63" fmla="*/ 318 h 1296"/>
                  <a:gd name="T64" fmla="*/ 1106 w 1296"/>
                  <a:gd name="T65" fmla="*/ 188 h 1296"/>
                  <a:gd name="T66" fmla="*/ 974 w 1296"/>
                  <a:gd name="T67" fmla="*/ 88 h 1296"/>
                  <a:gd name="T68" fmla="*/ 820 w 1296"/>
                  <a:gd name="T69" fmla="*/ 22 h 1296"/>
                  <a:gd name="T70" fmla="*/ 648 w 1296"/>
                  <a:gd name="T71" fmla="*/ 0 h 1296"/>
                  <a:gd name="T72" fmla="*/ 550 w 1296"/>
                  <a:gd name="T73" fmla="*/ 8 h 1296"/>
                  <a:gd name="T74" fmla="*/ 426 w 1296"/>
                  <a:gd name="T75" fmla="*/ 40 h 1296"/>
                  <a:gd name="T76" fmla="*/ 312 w 1296"/>
                  <a:gd name="T77" fmla="*/ 94 h 1296"/>
                  <a:gd name="T78" fmla="*/ 214 w 1296"/>
                  <a:gd name="T79" fmla="*/ 168 h 1296"/>
                  <a:gd name="T80" fmla="*/ 130 w 1296"/>
                  <a:gd name="T81" fmla="*/ 260 h 1296"/>
                  <a:gd name="T82" fmla="*/ 64 w 1296"/>
                  <a:gd name="T83" fmla="*/ 366 h 1296"/>
                  <a:gd name="T84" fmla="*/ 22 w 1296"/>
                  <a:gd name="T85" fmla="*/ 486 h 1296"/>
                  <a:gd name="T86" fmla="*/ 2 w 1296"/>
                  <a:gd name="T87" fmla="*/ 614 h 1296"/>
                  <a:gd name="T88" fmla="*/ 4 w 1296"/>
                  <a:gd name="T89" fmla="*/ 714 h 1296"/>
                  <a:gd name="T90" fmla="*/ 30 w 1296"/>
                  <a:gd name="T91" fmla="*/ 840 h 1296"/>
                  <a:gd name="T92" fmla="*/ 78 w 1296"/>
                  <a:gd name="T93" fmla="*/ 956 h 1296"/>
                  <a:gd name="T94" fmla="*/ 148 w 1296"/>
                  <a:gd name="T95" fmla="*/ 1060 h 1296"/>
                  <a:gd name="T96" fmla="*/ 236 w 1296"/>
                  <a:gd name="T97" fmla="*/ 1148 h 1296"/>
                  <a:gd name="T98" fmla="*/ 340 w 1296"/>
                  <a:gd name="T99" fmla="*/ 1218 h 1296"/>
                  <a:gd name="T100" fmla="*/ 456 w 1296"/>
                  <a:gd name="T101" fmla="*/ 1266 h 1296"/>
                  <a:gd name="T102" fmla="*/ 582 w 1296"/>
                  <a:gd name="T103" fmla="*/ 1292 h 1296"/>
                  <a:gd name="T104" fmla="*/ 682 w 1296"/>
                  <a:gd name="T105" fmla="*/ 1294 h 1296"/>
                  <a:gd name="T106" fmla="*/ 810 w 1296"/>
                  <a:gd name="T107" fmla="*/ 1276 h 1296"/>
                  <a:gd name="T108" fmla="*/ 930 w 1296"/>
                  <a:gd name="T109" fmla="*/ 1232 h 1296"/>
                  <a:gd name="T110" fmla="*/ 1036 w 1296"/>
                  <a:gd name="T111" fmla="*/ 1168 h 1296"/>
                  <a:gd name="T112" fmla="*/ 1128 w 1296"/>
                  <a:gd name="T113" fmla="*/ 1084 h 1296"/>
                  <a:gd name="T114" fmla="*/ 1202 w 1296"/>
                  <a:gd name="T115" fmla="*/ 984 h 1296"/>
                  <a:gd name="T116" fmla="*/ 1258 w 1296"/>
                  <a:gd name="T117" fmla="*/ 870 h 1296"/>
                  <a:gd name="T118" fmla="*/ 1290 w 1296"/>
                  <a:gd name="T119" fmla="*/ 746 h 1296"/>
                  <a:gd name="T120" fmla="*/ 1296 w 1296"/>
                  <a:gd name="T121" fmla="*/ 648 h 1296"/>
                  <a:gd name="T122" fmla="*/ 1280 w 1296"/>
                  <a:gd name="T123" fmla="*/ 500 h 1296"/>
                  <a:gd name="T124" fmla="*/ 1230 w 1296"/>
                  <a:gd name="T125" fmla="*/ 36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6" h="1296">
                    <a:moveTo>
                      <a:pt x="1200" y="380"/>
                    </a:moveTo>
                    <a:lnTo>
                      <a:pt x="1200" y="380"/>
                    </a:lnTo>
                    <a:lnTo>
                      <a:pt x="1214" y="412"/>
                    </a:lnTo>
                    <a:lnTo>
                      <a:pt x="1226" y="442"/>
                    </a:lnTo>
                    <a:lnTo>
                      <a:pt x="1236" y="476"/>
                    </a:lnTo>
                    <a:lnTo>
                      <a:pt x="1246" y="508"/>
                    </a:lnTo>
                    <a:lnTo>
                      <a:pt x="1252" y="542"/>
                    </a:lnTo>
                    <a:lnTo>
                      <a:pt x="1258" y="576"/>
                    </a:lnTo>
                    <a:lnTo>
                      <a:pt x="1260" y="612"/>
                    </a:lnTo>
                    <a:lnTo>
                      <a:pt x="1262" y="648"/>
                    </a:lnTo>
                    <a:lnTo>
                      <a:pt x="1262" y="648"/>
                    </a:lnTo>
                    <a:lnTo>
                      <a:pt x="1260" y="680"/>
                    </a:lnTo>
                    <a:lnTo>
                      <a:pt x="1258" y="710"/>
                    </a:lnTo>
                    <a:lnTo>
                      <a:pt x="1254" y="742"/>
                    </a:lnTo>
                    <a:lnTo>
                      <a:pt x="1250" y="772"/>
                    </a:lnTo>
                    <a:lnTo>
                      <a:pt x="1242" y="800"/>
                    </a:lnTo>
                    <a:lnTo>
                      <a:pt x="1234" y="830"/>
                    </a:lnTo>
                    <a:lnTo>
                      <a:pt x="1224" y="858"/>
                    </a:lnTo>
                    <a:lnTo>
                      <a:pt x="1214" y="886"/>
                    </a:lnTo>
                    <a:lnTo>
                      <a:pt x="1202" y="914"/>
                    </a:lnTo>
                    <a:lnTo>
                      <a:pt x="1188" y="940"/>
                    </a:lnTo>
                    <a:lnTo>
                      <a:pt x="1172" y="966"/>
                    </a:lnTo>
                    <a:lnTo>
                      <a:pt x="1156" y="990"/>
                    </a:lnTo>
                    <a:lnTo>
                      <a:pt x="1140" y="1014"/>
                    </a:lnTo>
                    <a:lnTo>
                      <a:pt x="1122" y="1038"/>
                    </a:lnTo>
                    <a:lnTo>
                      <a:pt x="1102" y="1060"/>
                    </a:lnTo>
                    <a:lnTo>
                      <a:pt x="1082" y="1082"/>
                    </a:lnTo>
                    <a:lnTo>
                      <a:pt x="1060" y="1102"/>
                    </a:lnTo>
                    <a:lnTo>
                      <a:pt x="1038" y="1120"/>
                    </a:lnTo>
                    <a:lnTo>
                      <a:pt x="1016" y="1138"/>
                    </a:lnTo>
                    <a:lnTo>
                      <a:pt x="992" y="1156"/>
                    </a:lnTo>
                    <a:lnTo>
                      <a:pt x="966" y="1172"/>
                    </a:lnTo>
                    <a:lnTo>
                      <a:pt x="940" y="1186"/>
                    </a:lnTo>
                    <a:lnTo>
                      <a:pt x="914" y="1200"/>
                    </a:lnTo>
                    <a:lnTo>
                      <a:pt x="888" y="1212"/>
                    </a:lnTo>
                    <a:lnTo>
                      <a:pt x="860" y="1224"/>
                    </a:lnTo>
                    <a:lnTo>
                      <a:pt x="830" y="1232"/>
                    </a:lnTo>
                    <a:lnTo>
                      <a:pt x="802" y="1242"/>
                    </a:lnTo>
                    <a:lnTo>
                      <a:pt x="772" y="1248"/>
                    </a:lnTo>
                    <a:lnTo>
                      <a:pt x="742" y="1254"/>
                    </a:lnTo>
                    <a:lnTo>
                      <a:pt x="712" y="1258"/>
                    </a:lnTo>
                    <a:lnTo>
                      <a:pt x="680" y="1260"/>
                    </a:lnTo>
                    <a:lnTo>
                      <a:pt x="648" y="1260"/>
                    </a:lnTo>
                    <a:lnTo>
                      <a:pt x="648" y="1260"/>
                    </a:lnTo>
                    <a:lnTo>
                      <a:pt x="618" y="1260"/>
                    </a:lnTo>
                    <a:lnTo>
                      <a:pt x="586" y="1258"/>
                    </a:lnTo>
                    <a:lnTo>
                      <a:pt x="556" y="1254"/>
                    </a:lnTo>
                    <a:lnTo>
                      <a:pt x="526" y="1248"/>
                    </a:lnTo>
                    <a:lnTo>
                      <a:pt x="496" y="1242"/>
                    </a:lnTo>
                    <a:lnTo>
                      <a:pt x="466" y="1232"/>
                    </a:lnTo>
                    <a:lnTo>
                      <a:pt x="438" y="1224"/>
                    </a:lnTo>
                    <a:lnTo>
                      <a:pt x="410" y="1212"/>
                    </a:lnTo>
                    <a:lnTo>
                      <a:pt x="384" y="1200"/>
                    </a:lnTo>
                    <a:lnTo>
                      <a:pt x="356" y="1186"/>
                    </a:lnTo>
                    <a:lnTo>
                      <a:pt x="332" y="1172"/>
                    </a:lnTo>
                    <a:lnTo>
                      <a:pt x="306" y="1156"/>
                    </a:lnTo>
                    <a:lnTo>
                      <a:pt x="282" y="1138"/>
                    </a:lnTo>
                    <a:lnTo>
                      <a:pt x="258" y="1120"/>
                    </a:lnTo>
                    <a:lnTo>
                      <a:pt x="236" y="1102"/>
                    </a:lnTo>
                    <a:lnTo>
                      <a:pt x="216" y="1082"/>
                    </a:lnTo>
                    <a:lnTo>
                      <a:pt x="196" y="1060"/>
                    </a:lnTo>
                    <a:lnTo>
                      <a:pt x="176" y="1038"/>
                    </a:lnTo>
                    <a:lnTo>
                      <a:pt x="158" y="1014"/>
                    </a:lnTo>
                    <a:lnTo>
                      <a:pt x="140" y="990"/>
                    </a:lnTo>
                    <a:lnTo>
                      <a:pt x="124" y="966"/>
                    </a:lnTo>
                    <a:lnTo>
                      <a:pt x="110" y="940"/>
                    </a:lnTo>
                    <a:lnTo>
                      <a:pt x="96" y="914"/>
                    </a:lnTo>
                    <a:lnTo>
                      <a:pt x="84" y="886"/>
                    </a:lnTo>
                    <a:lnTo>
                      <a:pt x="74" y="858"/>
                    </a:lnTo>
                    <a:lnTo>
                      <a:pt x="64" y="830"/>
                    </a:lnTo>
                    <a:lnTo>
                      <a:pt x="56" y="800"/>
                    </a:lnTo>
                    <a:lnTo>
                      <a:pt x="48" y="772"/>
                    </a:lnTo>
                    <a:lnTo>
                      <a:pt x="44" y="742"/>
                    </a:lnTo>
                    <a:lnTo>
                      <a:pt x="40" y="710"/>
                    </a:lnTo>
                    <a:lnTo>
                      <a:pt x="36" y="680"/>
                    </a:lnTo>
                    <a:lnTo>
                      <a:pt x="36" y="648"/>
                    </a:lnTo>
                    <a:lnTo>
                      <a:pt x="36" y="648"/>
                    </a:lnTo>
                    <a:lnTo>
                      <a:pt x="36" y="616"/>
                    </a:lnTo>
                    <a:lnTo>
                      <a:pt x="40" y="586"/>
                    </a:lnTo>
                    <a:lnTo>
                      <a:pt x="44" y="554"/>
                    </a:lnTo>
                    <a:lnTo>
                      <a:pt x="48" y="524"/>
                    </a:lnTo>
                    <a:lnTo>
                      <a:pt x="56" y="494"/>
                    </a:lnTo>
                    <a:lnTo>
                      <a:pt x="64" y="466"/>
                    </a:lnTo>
                    <a:lnTo>
                      <a:pt x="74" y="438"/>
                    </a:lnTo>
                    <a:lnTo>
                      <a:pt x="84" y="410"/>
                    </a:lnTo>
                    <a:lnTo>
                      <a:pt x="96" y="382"/>
                    </a:lnTo>
                    <a:lnTo>
                      <a:pt x="110" y="356"/>
                    </a:lnTo>
                    <a:lnTo>
                      <a:pt x="124" y="330"/>
                    </a:lnTo>
                    <a:lnTo>
                      <a:pt x="140" y="306"/>
                    </a:lnTo>
                    <a:lnTo>
                      <a:pt x="158" y="282"/>
                    </a:lnTo>
                    <a:lnTo>
                      <a:pt x="176" y="258"/>
                    </a:lnTo>
                    <a:lnTo>
                      <a:pt x="196" y="236"/>
                    </a:lnTo>
                    <a:lnTo>
                      <a:pt x="216" y="214"/>
                    </a:lnTo>
                    <a:lnTo>
                      <a:pt x="236" y="194"/>
                    </a:lnTo>
                    <a:lnTo>
                      <a:pt x="258" y="174"/>
                    </a:lnTo>
                    <a:lnTo>
                      <a:pt x="282" y="156"/>
                    </a:lnTo>
                    <a:lnTo>
                      <a:pt x="306" y="140"/>
                    </a:lnTo>
                    <a:lnTo>
                      <a:pt x="332" y="124"/>
                    </a:lnTo>
                    <a:lnTo>
                      <a:pt x="356" y="108"/>
                    </a:lnTo>
                    <a:lnTo>
                      <a:pt x="384" y="96"/>
                    </a:lnTo>
                    <a:lnTo>
                      <a:pt x="410" y="84"/>
                    </a:lnTo>
                    <a:lnTo>
                      <a:pt x="438" y="72"/>
                    </a:lnTo>
                    <a:lnTo>
                      <a:pt x="466" y="62"/>
                    </a:lnTo>
                    <a:lnTo>
                      <a:pt x="496" y="54"/>
                    </a:lnTo>
                    <a:lnTo>
                      <a:pt x="526" y="48"/>
                    </a:lnTo>
                    <a:lnTo>
                      <a:pt x="556" y="42"/>
                    </a:lnTo>
                    <a:lnTo>
                      <a:pt x="586" y="38"/>
                    </a:lnTo>
                    <a:lnTo>
                      <a:pt x="618" y="36"/>
                    </a:lnTo>
                    <a:lnTo>
                      <a:pt x="648" y="34"/>
                    </a:lnTo>
                    <a:lnTo>
                      <a:pt x="648" y="34"/>
                    </a:lnTo>
                    <a:lnTo>
                      <a:pt x="690" y="36"/>
                    </a:lnTo>
                    <a:lnTo>
                      <a:pt x="732" y="40"/>
                    </a:lnTo>
                    <a:lnTo>
                      <a:pt x="772" y="48"/>
                    </a:lnTo>
                    <a:lnTo>
                      <a:pt x="810" y="56"/>
                    </a:lnTo>
                    <a:lnTo>
                      <a:pt x="850" y="68"/>
                    </a:lnTo>
                    <a:lnTo>
                      <a:pt x="886" y="82"/>
                    </a:lnTo>
                    <a:lnTo>
                      <a:pt x="922" y="100"/>
                    </a:lnTo>
                    <a:lnTo>
                      <a:pt x="956" y="118"/>
                    </a:lnTo>
                    <a:lnTo>
                      <a:pt x="990" y="138"/>
                    </a:lnTo>
                    <a:lnTo>
                      <a:pt x="1022" y="162"/>
                    </a:lnTo>
                    <a:lnTo>
                      <a:pt x="1052" y="186"/>
                    </a:lnTo>
                    <a:lnTo>
                      <a:pt x="1080" y="212"/>
                    </a:lnTo>
                    <a:lnTo>
                      <a:pt x="1108" y="242"/>
                    </a:lnTo>
                    <a:lnTo>
                      <a:pt x="1132" y="272"/>
                    </a:lnTo>
                    <a:lnTo>
                      <a:pt x="1156" y="302"/>
                    </a:lnTo>
                    <a:lnTo>
                      <a:pt x="1176" y="336"/>
                    </a:lnTo>
                    <a:lnTo>
                      <a:pt x="1206" y="318"/>
                    </a:lnTo>
                    <a:lnTo>
                      <a:pt x="1206" y="318"/>
                    </a:lnTo>
                    <a:lnTo>
                      <a:pt x="1184" y="282"/>
                    </a:lnTo>
                    <a:lnTo>
                      <a:pt x="1160" y="250"/>
                    </a:lnTo>
                    <a:lnTo>
                      <a:pt x="1134" y="218"/>
                    </a:lnTo>
                    <a:lnTo>
                      <a:pt x="1106" y="188"/>
                    </a:lnTo>
                    <a:lnTo>
                      <a:pt x="1074" y="160"/>
                    </a:lnTo>
                    <a:lnTo>
                      <a:pt x="1044" y="134"/>
                    </a:lnTo>
                    <a:lnTo>
                      <a:pt x="1010" y="110"/>
                    </a:lnTo>
                    <a:lnTo>
                      <a:pt x="974" y="88"/>
                    </a:lnTo>
                    <a:lnTo>
                      <a:pt x="938" y="68"/>
                    </a:lnTo>
                    <a:lnTo>
                      <a:pt x="900" y="50"/>
                    </a:lnTo>
                    <a:lnTo>
                      <a:pt x="860" y="36"/>
                    </a:lnTo>
                    <a:lnTo>
                      <a:pt x="820" y="22"/>
                    </a:lnTo>
                    <a:lnTo>
                      <a:pt x="778" y="12"/>
                    </a:lnTo>
                    <a:lnTo>
                      <a:pt x="736" y="6"/>
                    </a:lnTo>
                    <a:lnTo>
                      <a:pt x="692" y="2"/>
                    </a:lnTo>
                    <a:lnTo>
                      <a:pt x="648" y="0"/>
                    </a:lnTo>
                    <a:lnTo>
                      <a:pt x="648" y="0"/>
                    </a:lnTo>
                    <a:lnTo>
                      <a:pt x="616" y="0"/>
                    </a:lnTo>
                    <a:lnTo>
                      <a:pt x="582" y="4"/>
                    </a:lnTo>
                    <a:lnTo>
                      <a:pt x="550" y="8"/>
                    </a:lnTo>
                    <a:lnTo>
                      <a:pt x="518" y="12"/>
                    </a:lnTo>
                    <a:lnTo>
                      <a:pt x="486" y="20"/>
                    </a:lnTo>
                    <a:lnTo>
                      <a:pt x="456" y="28"/>
                    </a:lnTo>
                    <a:lnTo>
                      <a:pt x="426" y="40"/>
                    </a:lnTo>
                    <a:lnTo>
                      <a:pt x="396" y="50"/>
                    </a:lnTo>
                    <a:lnTo>
                      <a:pt x="368" y="64"/>
                    </a:lnTo>
                    <a:lnTo>
                      <a:pt x="340" y="78"/>
                    </a:lnTo>
                    <a:lnTo>
                      <a:pt x="312" y="94"/>
                    </a:lnTo>
                    <a:lnTo>
                      <a:pt x="286" y="110"/>
                    </a:lnTo>
                    <a:lnTo>
                      <a:pt x="262" y="128"/>
                    </a:lnTo>
                    <a:lnTo>
                      <a:pt x="236" y="148"/>
                    </a:lnTo>
                    <a:lnTo>
                      <a:pt x="214" y="168"/>
                    </a:lnTo>
                    <a:lnTo>
                      <a:pt x="190" y="190"/>
                    </a:lnTo>
                    <a:lnTo>
                      <a:pt x="170" y="212"/>
                    </a:lnTo>
                    <a:lnTo>
                      <a:pt x="148" y="236"/>
                    </a:lnTo>
                    <a:lnTo>
                      <a:pt x="130" y="260"/>
                    </a:lnTo>
                    <a:lnTo>
                      <a:pt x="112" y="286"/>
                    </a:lnTo>
                    <a:lnTo>
                      <a:pt x="94" y="312"/>
                    </a:lnTo>
                    <a:lnTo>
                      <a:pt x="78" y="338"/>
                    </a:lnTo>
                    <a:lnTo>
                      <a:pt x="64" y="366"/>
                    </a:lnTo>
                    <a:lnTo>
                      <a:pt x="52" y="396"/>
                    </a:lnTo>
                    <a:lnTo>
                      <a:pt x="40" y="424"/>
                    </a:lnTo>
                    <a:lnTo>
                      <a:pt x="30" y="456"/>
                    </a:lnTo>
                    <a:lnTo>
                      <a:pt x="22" y="486"/>
                    </a:lnTo>
                    <a:lnTo>
                      <a:pt x="14" y="518"/>
                    </a:lnTo>
                    <a:lnTo>
                      <a:pt x="8" y="550"/>
                    </a:lnTo>
                    <a:lnTo>
                      <a:pt x="4" y="582"/>
                    </a:lnTo>
                    <a:lnTo>
                      <a:pt x="2" y="614"/>
                    </a:lnTo>
                    <a:lnTo>
                      <a:pt x="0" y="648"/>
                    </a:lnTo>
                    <a:lnTo>
                      <a:pt x="0" y="648"/>
                    </a:lnTo>
                    <a:lnTo>
                      <a:pt x="2" y="682"/>
                    </a:lnTo>
                    <a:lnTo>
                      <a:pt x="4" y="714"/>
                    </a:lnTo>
                    <a:lnTo>
                      <a:pt x="8" y="746"/>
                    </a:lnTo>
                    <a:lnTo>
                      <a:pt x="14" y="778"/>
                    </a:lnTo>
                    <a:lnTo>
                      <a:pt x="22" y="810"/>
                    </a:lnTo>
                    <a:lnTo>
                      <a:pt x="30" y="840"/>
                    </a:lnTo>
                    <a:lnTo>
                      <a:pt x="40" y="870"/>
                    </a:lnTo>
                    <a:lnTo>
                      <a:pt x="52" y="900"/>
                    </a:lnTo>
                    <a:lnTo>
                      <a:pt x="64" y="928"/>
                    </a:lnTo>
                    <a:lnTo>
                      <a:pt x="78" y="956"/>
                    </a:lnTo>
                    <a:lnTo>
                      <a:pt x="94" y="984"/>
                    </a:lnTo>
                    <a:lnTo>
                      <a:pt x="112" y="1010"/>
                    </a:lnTo>
                    <a:lnTo>
                      <a:pt x="130" y="1036"/>
                    </a:lnTo>
                    <a:lnTo>
                      <a:pt x="148" y="1060"/>
                    </a:lnTo>
                    <a:lnTo>
                      <a:pt x="170" y="1084"/>
                    </a:lnTo>
                    <a:lnTo>
                      <a:pt x="190" y="1106"/>
                    </a:lnTo>
                    <a:lnTo>
                      <a:pt x="214" y="1128"/>
                    </a:lnTo>
                    <a:lnTo>
                      <a:pt x="236" y="1148"/>
                    </a:lnTo>
                    <a:lnTo>
                      <a:pt x="262" y="1168"/>
                    </a:lnTo>
                    <a:lnTo>
                      <a:pt x="286" y="1186"/>
                    </a:lnTo>
                    <a:lnTo>
                      <a:pt x="312" y="1202"/>
                    </a:lnTo>
                    <a:lnTo>
                      <a:pt x="340" y="1218"/>
                    </a:lnTo>
                    <a:lnTo>
                      <a:pt x="368" y="1232"/>
                    </a:lnTo>
                    <a:lnTo>
                      <a:pt x="396" y="1244"/>
                    </a:lnTo>
                    <a:lnTo>
                      <a:pt x="426" y="1256"/>
                    </a:lnTo>
                    <a:lnTo>
                      <a:pt x="456" y="1266"/>
                    </a:lnTo>
                    <a:lnTo>
                      <a:pt x="486" y="1276"/>
                    </a:lnTo>
                    <a:lnTo>
                      <a:pt x="518" y="1282"/>
                    </a:lnTo>
                    <a:lnTo>
                      <a:pt x="550" y="1288"/>
                    </a:lnTo>
                    <a:lnTo>
                      <a:pt x="582" y="1292"/>
                    </a:lnTo>
                    <a:lnTo>
                      <a:pt x="616" y="1294"/>
                    </a:lnTo>
                    <a:lnTo>
                      <a:pt x="648" y="1296"/>
                    </a:lnTo>
                    <a:lnTo>
                      <a:pt x="648" y="1296"/>
                    </a:lnTo>
                    <a:lnTo>
                      <a:pt x="682" y="1294"/>
                    </a:lnTo>
                    <a:lnTo>
                      <a:pt x="716" y="1292"/>
                    </a:lnTo>
                    <a:lnTo>
                      <a:pt x="748" y="1288"/>
                    </a:lnTo>
                    <a:lnTo>
                      <a:pt x="780" y="1282"/>
                    </a:lnTo>
                    <a:lnTo>
                      <a:pt x="810" y="1276"/>
                    </a:lnTo>
                    <a:lnTo>
                      <a:pt x="842" y="1266"/>
                    </a:lnTo>
                    <a:lnTo>
                      <a:pt x="872" y="1256"/>
                    </a:lnTo>
                    <a:lnTo>
                      <a:pt x="900" y="1244"/>
                    </a:lnTo>
                    <a:lnTo>
                      <a:pt x="930" y="1232"/>
                    </a:lnTo>
                    <a:lnTo>
                      <a:pt x="958" y="1218"/>
                    </a:lnTo>
                    <a:lnTo>
                      <a:pt x="984" y="1202"/>
                    </a:lnTo>
                    <a:lnTo>
                      <a:pt x="1012" y="1186"/>
                    </a:lnTo>
                    <a:lnTo>
                      <a:pt x="1036" y="1168"/>
                    </a:lnTo>
                    <a:lnTo>
                      <a:pt x="1060" y="1148"/>
                    </a:lnTo>
                    <a:lnTo>
                      <a:pt x="1084" y="1128"/>
                    </a:lnTo>
                    <a:lnTo>
                      <a:pt x="1106" y="1106"/>
                    </a:lnTo>
                    <a:lnTo>
                      <a:pt x="1128" y="1084"/>
                    </a:lnTo>
                    <a:lnTo>
                      <a:pt x="1148" y="1060"/>
                    </a:lnTo>
                    <a:lnTo>
                      <a:pt x="1168" y="1036"/>
                    </a:lnTo>
                    <a:lnTo>
                      <a:pt x="1186" y="1010"/>
                    </a:lnTo>
                    <a:lnTo>
                      <a:pt x="1202" y="984"/>
                    </a:lnTo>
                    <a:lnTo>
                      <a:pt x="1218" y="956"/>
                    </a:lnTo>
                    <a:lnTo>
                      <a:pt x="1232" y="928"/>
                    </a:lnTo>
                    <a:lnTo>
                      <a:pt x="1246" y="900"/>
                    </a:lnTo>
                    <a:lnTo>
                      <a:pt x="1258" y="870"/>
                    </a:lnTo>
                    <a:lnTo>
                      <a:pt x="1268" y="840"/>
                    </a:lnTo>
                    <a:lnTo>
                      <a:pt x="1276" y="810"/>
                    </a:lnTo>
                    <a:lnTo>
                      <a:pt x="1284" y="778"/>
                    </a:lnTo>
                    <a:lnTo>
                      <a:pt x="1290" y="746"/>
                    </a:lnTo>
                    <a:lnTo>
                      <a:pt x="1294" y="714"/>
                    </a:lnTo>
                    <a:lnTo>
                      <a:pt x="1296" y="682"/>
                    </a:lnTo>
                    <a:lnTo>
                      <a:pt x="1296" y="648"/>
                    </a:lnTo>
                    <a:lnTo>
                      <a:pt x="1296" y="648"/>
                    </a:lnTo>
                    <a:lnTo>
                      <a:pt x="1296" y="610"/>
                    </a:lnTo>
                    <a:lnTo>
                      <a:pt x="1292" y="572"/>
                    </a:lnTo>
                    <a:lnTo>
                      <a:pt x="1288" y="536"/>
                    </a:lnTo>
                    <a:lnTo>
                      <a:pt x="1280" y="500"/>
                    </a:lnTo>
                    <a:lnTo>
                      <a:pt x="1270" y="464"/>
                    </a:lnTo>
                    <a:lnTo>
                      <a:pt x="1258" y="430"/>
                    </a:lnTo>
                    <a:lnTo>
                      <a:pt x="1246" y="396"/>
                    </a:lnTo>
                    <a:lnTo>
                      <a:pt x="1230" y="362"/>
                    </a:lnTo>
                    <a:lnTo>
                      <a:pt x="1200"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custDataLst>
      <p:tags r:id="rId1"/>
    </p:custDataLst>
    <p:extLst>
      <p:ext uri="{BB962C8B-B14F-4D97-AF65-F5344CB8AC3E}">
        <p14:creationId xmlns:p14="http://schemas.microsoft.com/office/powerpoint/2010/main" val="14553939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p:cNvCxnSpPr>
            <a:stCxn id="9" idx="0"/>
          </p:cNvCxnSpPr>
          <p:nvPr/>
        </p:nvCxnSpPr>
        <p:spPr>
          <a:xfrm>
            <a:off x="1282450" y="3048000"/>
            <a:ext cx="0" cy="1032669"/>
          </a:xfrm>
          <a:prstGeom prst="line">
            <a:avLst/>
          </a:prstGeom>
          <a:ln>
            <a:solidFill>
              <a:srgbClr val="2ECC71"/>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16</a:t>
            </a:fld>
            <a:endParaRPr lang="en-US"/>
          </a:p>
        </p:txBody>
      </p:sp>
      <p:cxnSp>
        <p:nvCxnSpPr>
          <p:cNvPr id="6" name="Straight Connector 5"/>
          <p:cNvCxnSpPr/>
          <p:nvPr/>
        </p:nvCxnSpPr>
        <p:spPr>
          <a:xfrm>
            <a:off x="0" y="3242469"/>
            <a:ext cx="9144000" cy="0"/>
          </a:xfrm>
          <a:prstGeom prst="line">
            <a:avLst/>
          </a:prstGeom>
          <a:ln w="38100">
            <a:solidFill>
              <a:srgbClr val="2ECC71"/>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939550" y="2264755"/>
            <a:ext cx="685800" cy="685800"/>
          </a:xfrm>
          <a:prstGeom prst="ellipse">
            <a:avLst/>
          </a:prstGeom>
          <a:solidFill>
            <a:srgbClr val="2ECC71"/>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dirty="0" smtClean="0">
                <a:solidFill>
                  <a:schemeClr val="bg1"/>
                </a:solidFill>
                <a:latin typeface="Calibri Light" panose="020F0302020204030204" pitchFamily="34" charset="0"/>
              </a:rPr>
              <a:t>Jan</a:t>
            </a:r>
            <a:endParaRPr lang="id-ID" sz="1400" dirty="0">
              <a:solidFill>
                <a:schemeClr val="bg1"/>
              </a:solidFill>
              <a:latin typeface="Calibri Light" panose="020F0302020204030204" pitchFamily="34" charset="0"/>
            </a:endParaRPr>
          </a:p>
        </p:txBody>
      </p:sp>
      <p:sp>
        <p:nvSpPr>
          <p:cNvPr id="9" name="Isosceles Triangle 8"/>
          <p:cNvSpPr/>
          <p:nvPr/>
        </p:nvSpPr>
        <p:spPr>
          <a:xfrm flipV="1">
            <a:off x="1164721" y="2858622"/>
            <a:ext cx="235458" cy="189378"/>
          </a:xfrm>
          <a:prstGeom prst="triangle">
            <a:avLst/>
          </a:prstGeom>
          <a:solidFill>
            <a:srgbClr val="2E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7F8C8D"/>
              </a:solidFill>
            </a:endParaRPr>
          </a:p>
        </p:txBody>
      </p:sp>
      <p:sp>
        <p:nvSpPr>
          <p:cNvPr id="136" name="Oval 135"/>
          <p:cNvSpPr/>
          <p:nvPr/>
        </p:nvSpPr>
        <p:spPr>
          <a:xfrm>
            <a:off x="3607248" y="2264755"/>
            <a:ext cx="685800" cy="685800"/>
          </a:xfrm>
          <a:prstGeom prst="ellipse">
            <a:avLst/>
          </a:prstGeom>
          <a:solidFill>
            <a:srgbClr val="2ECC71"/>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dirty="0" smtClean="0">
                <a:solidFill>
                  <a:schemeClr val="bg1"/>
                </a:solidFill>
                <a:latin typeface="Calibri Light" panose="020F0302020204030204" pitchFamily="34" charset="0"/>
              </a:rPr>
              <a:t>Aug</a:t>
            </a:r>
            <a:endParaRPr lang="id-ID" sz="1400" dirty="0">
              <a:solidFill>
                <a:schemeClr val="bg1"/>
              </a:solidFill>
              <a:latin typeface="Calibri Light" panose="020F0302020204030204" pitchFamily="34" charset="0"/>
            </a:endParaRPr>
          </a:p>
        </p:txBody>
      </p:sp>
      <p:sp>
        <p:nvSpPr>
          <p:cNvPr id="137" name="Isosceles Triangle 136"/>
          <p:cNvSpPr/>
          <p:nvPr/>
        </p:nvSpPr>
        <p:spPr>
          <a:xfrm flipV="1">
            <a:off x="3832419" y="2858622"/>
            <a:ext cx="235458" cy="189378"/>
          </a:xfrm>
          <a:prstGeom prst="triangle">
            <a:avLst/>
          </a:prstGeom>
          <a:solidFill>
            <a:srgbClr val="2E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rgbClr val="7F8C8D"/>
              </a:solidFill>
              <a:latin typeface="Calibri Light" panose="020F0302020204030204" pitchFamily="34" charset="0"/>
            </a:endParaRPr>
          </a:p>
        </p:txBody>
      </p:sp>
      <p:sp>
        <p:nvSpPr>
          <p:cNvPr id="142" name="Oval 141"/>
          <p:cNvSpPr/>
          <p:nvPr/>
        </p:nvSpPr>
        <p:spPr>
          <a:xfrm>
            <a:off x="6274946" y="2282404"/>
            <a:ext cx="685800" cy="685800"/>
          </a:xfrm>
          <a:prstGeom prst="ellipse">
            <a:avLst/>
          </a:prstGeom>
          <a:solidFill>
            <a:srgbClr val="2ECC71"/>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dirty="0" smtClean="0">
                <a:solidFill>
                  <a:schemeClr val="bg1"/>
                </a:solidFill>
                <a:latin typeface="Calibri Light" panose="020F0302020204030204" pitchFamily="34" charset="0"/>
              </a:rPr>
              <a:t>Jan</a:t>
            </a:r>
            <a:endParaRPr lang="id-ID" sz="1400" dirty="0">
              <a:solidFill>
                <a:schemeClr val="bg1"/>
              </a:solidFill>
              <a:latin typeface="Calibri Light" panose="020F0302020204030204" pitchFamily="34" charset="0"/>
            </a:endParaRPr>
          </a:p>
        </p:txBody>
      </p:sp>
      <p:sp>
        <p:nvSpPr>
          <p:cNvPr id="143" name="Isosceles Triangle 142"/>
          <p:cNvSpPr/>
          <p:nvPr/>
        </p:nvSpPr>
        <p:spPr>
          <a:xfrm flipV="1">
            <a:off x="6500117" y="2876271"/>
            <a:ext cx="235458" cy="189378"/>
          </a:xfrm>
          <a:prstGeom prst="triangle">
            <a:avLst/>
          </a:prstGeom>
          <a:solidFill>
            <a:srgbClr val="2E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rgbClr val="7F8C8D"/>
              </a:solidFill>
              <a:latin typeface="Calibri Light" panose="020F0302020204030204" pitchFamily="34" charset="0"/>
            </a:endParaRPr>
          </a:p>
        </p:txBody>
      </p:sp>
      <p:sp>
        <p:nvSpPr>
          <p:cNvPr id="148" name="Oval 147"/>
          <p:cNvSpPr/>
          <p:nvPr/>
        </p:nvSpPr>
        <p:spPr>
          <a:xfrm>
            <a:off x="2273399" y="2264755"/>
            <a:ext cx="685800" cy="685800"/>
          </a:xfrm>
          <a:prstGeom prst="ellipse">
            <a:avLst/>
          </a:prstGeom>
          <a:solidFill>
            <a:srgbClr val="2ECC71"/>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dirty="0" smtClean="0">
                <a:solidFill>
                  <a:schemeClr val="bg1"/>
                </a:solidFill>
                <a:latin typeface="Calibri Light" panose="020F0302020204030204" pitchFamily="34" charset="0"/>
              </a:rPr>
              <a:t>Apr</a:t>
            </a:r>
            <a:endParaRPr lang="id-ID" sz="1400" dirty="0">
              <a:solidFill>
                <a:schemeClr val="bg1"/>
              </a:solidFill>
              <a:latin typeface="Calibri Light" panose="020F0302020204030204" pitchFamily="34" charset="0"/>
            </a:endParaRPr>
          </a:p>
        </p:txBody>
      </p:sp>
      <p:sp>
        <p:nvSpPr>
          <p:cNvPr id="149" name="Isosceles Triangle 148"/>
          <p:cNvSpPr/>
          <p:nvPr/>
        </p:nvSpPr>
        <p:spPr>
          <a:xfrm flipV="1">
            <a:off x="2498570" y="2858622"/>
            <a:ext cx="235458" cy="189378"/>
          </a:xfrm>
          <a:prstGeom prst="triangle">
            <a:avLst/>
          </a:prstGeom>
          <a:solidFill>
            <a:srgbClr val="2E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7F8C8D"/>
              </a:solidFill>
            </a:endParaRPr>
          </a:p>
        </p:txBody>
      </p:sp>
      <p:sp>
        <p:nvSpPr>
          <p:cNvPr id="151" name="Oval 150"/>
          <p:cNvSpPr/>
          <p:nvPr/>
        </p:nvSpPr>
        <p:spPr>
          <a:xfrm>
            <a:off x="4941097" y="2282404"/>
            <a:ext cx="685800" cy="685800"/>
          </a:xfrm>
          <a:prstGeom prst="ellipse">
            <a:avLst/>
          </a:prstGeom>
          <a:solidFill>
            <a:srgbClr val="2ECC71"/>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dirty="0" smtClean="0">
                <a:solidFill>
                  <a:schemeClr val="bg1"/>
                </a:solidFill>
                <a:latin typeface="Calibri Light" panose="020F0302020204030204" pitchFamily="34" charset="0"/>
              </a:rPr>
              <a:t>Nov</a:t>
            </a:r>
            <a:endParaRPr lang="id-ID" sz="1400" dirty="0">
              <a:solidFill>
                <a:schemeClr val="bg1"/>
              </a:solidFill>
              <a:latin typeface="Calibri Light" panose="020F0302020204030204" pitchFamily="34" charset="0"/>
            </a:endParaRPr>
          </a:p>
        </p:txBody>
      </p:sp>
      <p:sp>
        <p:nvSpPr>
          <p:cNvPr id="152" name="Isosceles Triangle 151"/>
          <p:cNvSpPr/>
          <p:nvPr/>
        </p:nvSpPr>
        <p:spPr>
          <a:xfrm flipV="1">
            <a:off x="5166268" y="2876271"/>
            <a:ext cx="235458" cy="189378"/>
          </a:xfrm>
          <a:prstGeom prst="triangle">
            <a:avLst/>
          </a:prstGeom>
          <a:solidFill>
            <a:srgbClr val="2E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rgbClr val="7F8C8D"/>
              </a:solidFill>
              <a:latin typeface="Calibri Light" panose="020F0302020204030204" pitchFamily="34" charset="0"/>
            </a:endParaRPr>
          </a:p>
        </p:txBody>
      </p:sp>
      <p:sp>
        <p:nvSpPr>
          <p:cNvPr id="154" name="Oval 153"/>
          <p:cNvSpPr/>
          <p:nvPr/>
        </p:nvSpPr>
        <p:spPr>
          <a:xfrm>
            <a:off x="7620149" y="2264755"/>
            <a:ext cx="685800" cy="685800"/>
          </a:xfrm>
          <a:prstGeom prst="ellipse">
            <a:avLst/>
          </a:prstGeom>
          <a:solidFill>
            <a:srgbClr val="2ECC71"/>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dirty="0" smtClean="0">
                <a:solidFill>
                  <a:schemeClr val="bg1"/>
                </a:solidFill>
                <a:latin typeface="Calibri Light" panose="020F0302020204030204" pitchFamily="34" charset="0"/>
              </a:rPr>
              <a:t>Apr</a:t>
            </a:r>
            <a:endParaRPr lang="id-ID" sz="1400" dirty="0">
              <a:solidFill>
                <a:schemeClr val="bg1"/>
              </a:solidFill>
              <a:latin typeface="Calibri Light" panose="020F0302020204030204" pitchFamily="34" charset="0"/>
            </a:endParaRPr>
          </a:p>
        </p:txBody>
      </p:sp>
      <p:sp>
        <p:nvSpPr>
          <p:cNvPr id="155" name="Isosceles Triangle 154"/>
          <p:cNvSpPr/>
          <p:nvPr/>
        </p:nvSpPr>
        <p:spPr>
          <a:xfrm flipV="1">
            <a:off x="7845320" y="2858622"/>
            <a:ext cx="235458" cy="189378"/>
          </a:xfrm>
          <a:prstGeom prst="triangle">
            <a:avLst/>
          </a:prstGeom>
          <a:solidFill>
            <a:srgbClr val="2E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rgbClr val="7F8C8D"/>
              </a:solidFill>
              <a:latin typeface="Calibri Light" panose="020F0302020204030204" pitchFamily="34" charset="0"/>
            </a:endParaRPr>
          </a:p>
        </p:txBody>
      </p:sp>
      <p:cxnSp>
        <p:nvCxnSpPr>
          <p:cNvPr id="156" name="Straight Connector 155"/>
          <p:cNvCxnSpPr/>
          <p:nvPr/>
        </p:nvCxnSpPr>
        <p:spPr>
          <a:xfrm>
            <a:off x="2616299" y="3048000"/>
            <a:ext cx="0" cy="1032669"/>
          </a:xfrm>
          <a:prstGeom prst="line">
            <a:avLst/>
          </a:prstGeom>
          <a:ln>
            <a:solidFill>
              <a:srgbClr val="2ECC7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3950148" y="3048000"/>
            <a:ext cx="0" cy="1032669"/>
          </a:xfrm>
          <a:prstGeom prst="line">
            <a:avLst/>
          </a:prstGeom>
          <a:ln>
            <a:solidFill>
              <a:srgbClr val="2ECC7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5283997" y="3048000"/>
            <a:ext cx="0" cy="1032669"/>
          </a:xfrm>
          <a:prstGeom prst="line">
            <a:avLst/>
          </a:prstGeom>
          <a:ln>
            <a:solidFill>
              <a:srgbClr val="2ECC7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6617846" y="3048000"/>
            <a:ext cx="0" cy="1032669"/>
          </a:xfrm>
          <a:prstGeom prst="line">
            <a:avLst/>
          </a:prstGeom>
          <a:ln>
            <a:solidFill>
              <a:srgbClr val="2ECC7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7957372" y="3048000"/>
            <a:ext cx="0" cy="1032669"/>
          </a:xfrm>
          <a:prstGeom prst="line">
            <a:avLst/>
          </a:prstGeom>
          <a:ln>
            <a:solidFill>
              <a:srgbClr val="2ECC71"/>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1206250" y="3166269"/>
            <a:ext cx="152400" cy="152400"/>
          </a:xfrm>
          <a:prstGeom prst="ellipse">
            <a:avLst/>
          </a:prstGeom>
          <a:solidFill>
            <a:schemeClr val="bg1"/>
          </a:solidFill>
          <a:ln>
            <a:solidFill>
              <a:srgbClr val="2ECC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9" name="Oval 78"/>
          <p:cNvSpPr/>
          <p:nvPr/>
        </p:nvSpPr>
        <p:spPr>
          <a:xfrm>
            <a:off x="2540099" y="3166269"/>
            <a:ext cx="152400" cy="152400"/>
          </a:xfrm>
          <a:prstGeom prst="ellipse">
            <a:avLst/>
          </a:prstGeom>
          <a:solidFill>
            <a:schemeClr val="bg1"/>
          </a:solidFill>
          <a:ln>
            <a:solidFill>
              <a:srgbClr val="2ECC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sp>
        <p:nvSpPr>
          <p:cNvPr id="80" name="Oval 79"/>
          <p:cNvSpPr/>
          <p:nvPr/>
        </p:nvSpPr>
        <p:spPr>
          <a:xfrm>
            <a:off x="3873948" y="3166269"/>
            <a:ext cx="152400" cy="152400"/>
          </a:xfrm>
          <a:prstGeom prst="ellipse">
            <a:avLst/>
          </a:prstGeom>
          <a:solidFill>
            <a:schemeClr val="bg1"/>
          </a:solidFill>
          <a:ln>
            <a:solidFill>
              <a:srgbClr val="2ECC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sp>
        <p:nvSpPr>
          <p:cNvPr id="81" name="Oval 80"/>
          <p:cNvSpPr/>
          <p:nvPr/>
        </p:nvSpPr>
        <p:spPr>
          <a:xfrm>
            <a:off x="5207797" y="3166269"/>
            <a:ext cx="152400" cy="152400"/>
          </a:xfrm>
          <a:prstGeom prst="ellipse">
            <a:avLst/>
          </a:prstGeom>
          <a:solidFill>
            <a:schemeClr val="bg1"/>
          </a:solidFill>
          <a:ln>
            <a:solidFill>
              <a:srgbClr val="2ECC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sp>
        <p:nvSpPr>
          <p:cNvPr id="82" name="Oval 81"/>
          <p:cNvSpPr/>
          <p:nvPr/>
        </p:nvSpPr>
        <p:spPr>
          <a:xfrm>
            <a:off x="6541646" y="3166269"/>
            <a:ext cx="152400" cy="152400"/>
          </a:xfrm>
          <a:prstGeom prst="ellipse">
            <a:avLst/>
          </a:prstGeom>
          <a:solidFill>
            <a:schemeClr val="bg1"/>
          </a:solidFill>
          <a:ln>
            <a:solidFill>
              <a:srgbClr val="2ECC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sp>
        <p:nvSpPr>
          <p:cNvPr id="83" name="Oval 82"/>
          <p:cNvSpPr/>
          <p:nvPr/>
        </p:nvSpPr>
        <p:spPr>
          <a:xfrm>
            <a:off x="7875494" y="3166269"/>
            <a:ext cx="152400" cy="152400"/>
          </a:xfrm>
          <a:prstGeom prst="ellipse">
            <a:avLst/>
          </a:prstGeom>
          <a:solidFill>
            <a:schemeClr val="bg1"/>
          </a:solidFill>
          <a:ln>
            <a:solidFill>
              <a:srgbClr val="2ECC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sp>
        <p:nvSpPr>
          <p:cNvPr id="161" name="Rectangle 160"/>
          <p:cNvSpPr/>
          <p:nvPr/>
        </p:nvSpPr>
        <p:spPr>
          <a:xfrm>
            <a:off x="605322" y="4257489"/>
            <a:ext cx="1354255" cy="1277273"/>
          </a:xfrm>
          <a:prstGeom prst="rect">
            <a:avLst/>
          </a:prstGeom>
        </p:spPr>
        <p:txBody>
          <a:bodyPr wrap="square">
            <a:spAutoFit/>
          </a:bodyPr>
          <a:lstStyle/>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id-ID" sz="1100" dirty="0" smtClean="0">
              <a:solidFill>
                <a:schemeClr val="tx1">
                  <a:lumMod val="75000"/>
                  <a:lumOff val="25000"/>
                </a:schemeClr>
              </a:solidFill>
              <a:latin typeface="Calibri Light" pitchFamily="34" charset="0"/>
            </a:endParaRPr>
          </a:p>
          <a:p>
            <a:pPr marL="171450" indent="-171450">
              <a:buFont typeface="Arial" panose="020B0604020202020204" pitchFamily="34" charset="0"/>
              <a:buChar char="•"/>
            </a:pPr>
            <a:endParaRPr lang="id-ID"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en-US" sz="1100" dirty="0"/>
          </a:p>
        </p:txBody>
      </p:sp>
      <p:sp>
        <p:nvSpPr>
          <p:cNvPr id="162" name="Rectangle 161"/>
          <p:cNvSpPr/>
          <p:nvPr/>
        </p:nvSpPr>
        <p:spPr>
          <a:xfrm>
            <a:off x="1940306" y="4257489"/>
            <a:ext cx="1354255" cy="1277273"/>
          </a:xfrm>
          <a:prstGeom prst="rect">
            <a:avLst/>
          </a:prstGeom>
        </p:spPr>
        <p:txBody>
          <a:bodyPr wrap="square">
            <a:spAutoFit/>
          </a:bodyPr>
          <a:lstStyle/>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id-ID" sz="1100" dirty="0" smtClean="0">
              <a:solidFill>
                <a:schemeClr val="tx1">
                  <a:lumMod val="75000"/>
                  <a:lumOff val="25000"/>
                </a:schemeClr>
              </a:solidFill>
              <a:latin typeface="Calibri Light" pitchFamily="34" charset="0"/>
            </a:endParaRPr>
          </a:p>
          <a:p>
            <a:pPr marL="171450" indent="-171450">
              <a:buFont typeface="Arial" panose="020B0604020202020204" pitchFamily="34" charset="0"/>
              <a:buChar char="•"/>
            </a:pPr>
            <a:endParaRPr lang="id-ID"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en-US" sz="1100" dirty="0"/>
          </a:p>
        </p:txBody>
      </p:sp>
      <p:sp>
        <p:nvSpPr>
          <p:cNvPr id="163" name="Rectangle 162"/>
          <p:cNvSpPr/>
          <p:nvPr/>
        </p:nvSpPr>
        <p:spPr>
          <a:xfrm>
            <a:off x="3275290" y="4257489"/>
            <a:ext cx="1354255" cy="1277273"/>
          </a:xfrm>
          <a:prstGeom prst="rect">
            <a:avLst/>
          </a:prstGeom>
        </p:spPr>
        <p:txBody>
          <a:bodyPr wrap="square">
            <a:spAutoFit/>
          </a:bodyPr>
          <a:lstStyle/>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id-ID" sz="1100" dirty="0" smtClean="0">
              <a:solidFill>
                <a:schemeClr val="tx1">
                  <a:lumMod val="75000"/>
                  <a:lumOff val="25000"/>
                </a:schemeClr>
              </a:solidFill>
              <a:latin typeface="Calibri Light" pitchFamily="34" charset="0"/>
            </a:endParaRPr>
          </a:p>
          <a:p>
            <a:pPr marL="171450" indent="-171450">
              <a:buFont typeface="Arial" panose="020B0604020202020204" pitchFamily="34" charset="0"/>
              <a:buChar char="•"/>
            </a:pPr>
            <a:endParaRPr lang="id-ID"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en-US" sz="1100" dirty="0"/>
          </a:p>
        </p:txBody>
      </p:sp>
      <p:sp>
        <p:nvSpPr>
          <p:cNvPr id="164" name="Rectangle 163"/>
          <p:cNvSpPr/>
          <p:nvPr/>
        </p:nvSpPr>
        <p:spPr>
          <a:xfrm>
            <a:off x="4610274" y="4257489"/>
            <a:ext cx="1354255" cy="1277273"/>
          </a:xfrm>
          <a:prstGeom prst="rect">
            <a:avLst/>
          </a:prstGeom>
        </p:spPr>
        <p:txBody>
          <a:bodyPr wrap="square">
            <a:spAutoFit/>
          </a:bodyPr>
          <a:lstStyle/>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id-ID" sz="1100" dirty="0" smtClean="0">
              <a:solidFill>
                <a:schemeClr val="tx1">
                  <a:lumMod val="75000"/>
                  <a:lumOff val="25000"/>
                </a:schemeClr>
              </a:solidFill>
              <a:latin typeface="Calibri Light" pitchFamily="34" charset="0"/>
            </a:endParaRPr>
          </a:p>
          <a:p>
            <a:pPr marL="171450" indent="-171450">
              <a:buFont typeface="Arial" panose="020B0604020202020204" pitchFamily="34" charset="0"/>
              <a:buChar char="•"/>
            </a:pPr>
            <a:endParaRPr lang="id-ID"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en-US" sz="1100" dirty="0"/>
          </a:p>
        </p:txBody>
      </p:sp>
      <p:sp>
        <p:nvSpPr>
          <p:cNvPr id="165" name="Rectangle 164"/>
          <p:cNvSpPr/>
          <p:nvPr/>
        </p:nvSpPr>
        <p:spPr>
          <a:xfrm>
            <a:off x="5945258" y="4257489"/>
            <a:ext cx="1354255" cy="1277273"/>
          </a:xfrm>
          <a:prstGeom prst="rect">
            <a:avLst/>
          </a:prstGeom>
        </p:spPr>
        <p:txBody>
          <a:bodyPr wrap="square">
            <a:spAutoFit/>
          </a:bodyPr>
          <a:lstStyle/>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id-ID" sz="1100" dirty="0" smtClean="0">
              <a:solidFill>
                <a:schemeClr val="tx1">
                  <a:lumMod val="75000"/>
                  <a:lumOff val="25000"/>
                </a:schemeClr>
              </a:solidFill>
              <a:latin typeface="Calibri Light" pitchFamily="34" charset="0"/>
            </a:endParaRPr>
          </a:p>
          <a:p>
            <a:pPr marL="171450" indent="-171450">
              <a:buFont typeface="Arial" panose="020B0604020202020204" pitchFamily="34" charset="0"/>
              <a:buChar char="•"/>
            </a:pPr>
            <a:endParaRPr lang="id-ID"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en-US" sz="1100" dirty="0"/>
          </a:p>
        </p:txBody>
      </p:sp>
      <p:sp>
        <p:nvSpPr>
          <p:cNvPr id="166" name="Rectangle 165"/>
          <p:cNvSpPr/>
          <p:nvPr/>
        </p:nvSpPr>
        <p:spPr>
          <a:xfrm>
            <a:off x="7280244" y="4257489"/>
            <a:ext cx="1354255" cy="1277273"/>
          </a:xfrm>
          <a:prstGeom prst="rect">
            <a:avLst/>
          </a:prstGeom>
        </p:spPr>
        <p:txBody>
          <a:bodyPr wrap="square">
            <a:spAutoFit/>
          </a:bodyPr>
          <a:lstStyle/>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id-ID" sz="1100" dirty="0" smtClean="0">
              <a:solidFill>
                <a:schemeClr val="tx1">
                  <a:lumMod val="75000"/>
                  <a:lumOff val="25000"/>
                </a:schemeClr>
              </a:solidFill>
              <a:latin typeface="Calibri Light" pitchFamily="34" charset="0"/>
            </a:endParaRPr>
          </a:p>
          <a:p>
            <a:pPr marL="171450" indent="-171450">
              <a:buFont typeface="Arial" panose="020B0604020202020204" pitchFamily="34" charset="0"/>
              <a:buChar char="•"/>
            </a:pPr>
            <a:endParaRPr lang="id-ID"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a:t>
            </a:r>
            <a:r>
              <a:rPr lang="en-US" sz="1100" dirty="0" smtClean="0">
                <a:solidFill>
                  <a:schemeClr val="tx1">
                    <a:lumMod val="75000"/>
                    <a:lumOff val="25000"/>
                  </a:schemeClr>
                </a:solidFill>
                <a:latin typeface="Calibri Light" pitchFamily="34" charset="0"/>
              </a:rPr>
              <a:t>text</a:t>
            </a:r>
            <a:endParaRPr lang="en-US" sz="1100" dirty="0"/>
          </a:p>
        </p:txBody>
      </p:sp>
      <p:sp>
        <p:nvSpPr>
          <p:cNvPr id="15" name="Rectangle 14"/>
          <p:cNvSpPr/>
          <p:nvPr/>
        </p:nvSpPr>
        <p:spPr>
          <a:xfrm>
            <a:off x="956077" y="1893769"/>
            <a:ext cx="652743" cy="369332"/>
          </a:xfrm>
          <a:prstGeom prst="rect">
            <a:avLst/>
          </a:prstGeom>
        </p:spPr>
        <p:txBody>
          <a:bodyPr wrap="none">
            <a:spAutoFit/>
          </a:bodyPr>
          <a:lstStyle/>
          <a:p>
            <a:r>
              <a:rPr lang="id-ID" dirty="0" smtClean="0">
                <a:solidFill>
                  <a:srgbClr val="2ECC71"/>
                </a:solidFill>
                <a:latin typeface="Calibri Light" panose="020F0302020204030204" pitchFamily="34" charset="0"/>
              </a:rPr>
              <a:t>2014</a:t>
            </a:r>
            <a:endParaRPr lang="id-ID" dirty="0">
              <a:solidFill>
                <a:srgbClr val="2ECC71"/>
              </a:solidFill>
            </a:endParaRPr>
          </a:p>
        </p:txBody>
      </p:sp>
      <p:sp>
        <p:nvSpPr>
          <p:cNvPr id="167" name="Rectangle 166"/>
          <p:cNvSpPr/>
          <p:nvPr/>
        </p:nvSpPr>
        <p:spPr>
          <a:xfrm>
            <a:off x="6291475" y="1893769"/>
            <a:ext cx="652743" cy="369332"/>
          </a:xfrm>
          <a:prstGeom prst="rect">
            <a:avLst/>
          </a:prstGeom>
        </p:spPr>
        <p:txBody>
          <a:bodyPr wrap="none">
            <a:spAutoFit/>
          </a:bodyPr>
          <a:lstStyle/>
          <a:p>
            <a:r>
              <a:rPr lang="id-ID" dirty="0" smtClean="0">
                <a:solidFill>
                  <a:srgbClr val="2ECC71"/>
                </a:solidFill>
                <a:latin typeface="Calibri Light" panose="020F0302020204030204" pitchFamily="34" charset="0"/>
              </a:rPr>
              <a:t>2015</a:t>
            </a:r>
            <a:endParaRPr lang="id-ID" dirty="0">
              <a:solidFill>
                <a:srgbClr val="2ECC71"/>
              </a:solidFill>
            </a:endParaRPr>
          </a:p>
        </p:txBody>
      </p:sp>
    </p:spTree>
    <p:extLst>
      <p:ext uri="{BB962C8B-B14F-4D97-AF65-F5344CB8AC3E}">
        <p14:creationId xmlns:p14="http://schemas.microsoft.com/office/powerpoint/2010/main" val="7602630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p:cNvSpPr/>
          <p:nvPr>
            <p:custDataLst>
              <p:tags r:id="rId1"/>
            </p:custDataLst>
          </p:nvPr>
        </p:nvSpPr>
        <p:spPr>
          <a:xfrm>
            <a:off x="0" y="5496580"/>
            <a:ext cx="9144000" cy="136142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152" name="Straight Connector 151"/>
          <p:cNvCxnSpPr/>
          <p:nvPr/>
        </p:nvCxnSpPr>
        <p:spPr>
          <a:xfrm flipH="1">
            <a:off x="0" y="5486400"/>
            <a:ext cx="9144000" cy="0"/>
          </a:xfrm>
          <a:prstGeom prst="line">
            <a:avLst/>
          </a:prstGeom>
          <a:ln w="12700">
            <a:solidFill>
              <a:srgbClr val="F1C40F"/>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3"/>
          </p:nvPr>
        </p:nvSpPr>
        <p:spPr>
          <a:prstGeom prst="rect">
            <a:avLst/>
          </a:prstGeom>
        </p:spPr>
        <p:txBody>
          <a:bodyPr/>
          <a:lstStyle/>
          <a:p>
            <a:r>
              <a:rPr lang="en-US" dirty="0"/>
              <a:t>REPLACE </a:t>
            </a:r>
            <a:r>
              <a:rPr lang="en-US" dirty="0" err="1"/>
              <a:t>YOuR</a:t>
            </a:r>
            <a:r>
              <a:rPr lang="en-US" dirty="0"/>
              <a:t> OWN TEXT</a:t>
            </a:r>
          </a:p>
        </p:txBody>
      </p:sp>
      <p:sp>
        <p:nvSpPr>
          <p:cNvPr id="2" name="Text Placeholder 1"/>
          <p:cNvSpPr>
            <a:spLocks noGrp="1"/>
          </p:cNvSpPr>
          <p:nvPr>
            <p:ph type="body" sz="quarter" idx="14"/>
          </p:nvPr>
        </p:nvSpPr>
        <p:spPr>
          <a:prstGeom prst="rect">
            <a:avLst/>
          </a:prstGeom>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dirty="0"/>
          </a:p>
        </p:txBody>
      </p:sp>
      <p:sp>
        <p:nvSpPr>
          <p:cNvPr id="5" name="Footer Placeholder 4"/>
          <p:cNvSpPr>
            <a:spLocks noGrp="1"/>
          </p:cNvSpPr>
          <p:nvPr>
            <p:ph type="ftr" sz="quarter" idx="16"/>
          </p:nvPr>
        </p:nvSpPr>
        <p:spPr/>
        <p:txBody>
          <a:bodyPr/>
          <a:lstStyle/>
          <a:p>
            <a:r>
              <a:rPr lang="en-US" smtClean="0"/>
              <a:t>Logo Company</a:t>
            </a:r>
            <a:endParaRPr lang="en-US" dirty="0"/>
          </a:p>
        </p:txBody>
      </p:sp>
      <p:sp>
        <p:nvSpPr>
          <p:cNvPr id="6" name="Slide Number Placeholder 5"/>
          <p:cNvSpPr>
            <a:spLocks noGrp="1"/>
          </p:cNvSpPr>
          <p:nvPr>
            <p:ph type="sldNum" sz="quarter" idx="17"/>
          </p:nvPr>
        </p:nvSpPr>
        <p:spPr/>
        <p:txBody>
          <a:bodyPr/>
          <a:lstStyle/>
          <a:p>
            <a:fld id="{3101D46F-57A9-43DB-8B55-C38BE2226748}" type="slidenum">
              <a:rPr lang="en-US" smtClean="0"/>
              <a:pPr/>
              <a:t>17</a:t>
            </a:fld>
            <a:endParaRPr lang="en-US"/>
          </a:p>
        </p:txBody>
      </p:sp>
      <p:sp>
        <p:nvSpPr>
          <p:cNvPr id="153" name="Rectangle 152"/>
          <p:cNvSpPr/>
          <p:nvPr>
            <p:custDataLst>
              <p:tags r:id="rId2"/>
            </p:custDataLst>
          </p:nvPr>
        </p:nvSpPr>
        <p:spPr>
          <a:xfrm>
            <a:off x="304800" y="5648236"/>
            <a:ext cx="8305800" cy="600164"/>
          </a:xfrm>
          <a:prstGeom prst="rect">
            <a:avLst/>
          </a:prstGeom>
        </p:spPr>
        <p:txBody>
          <a:bodyPr wrap="square">
            <a:spAutoFit/>
          </a:bodyPr>
          <a:lstStyle/>
          <a:p>
            <a:r>
              <a:rPr lang="en-US" sz="1100" dirty="0" err="1" smtClean="0">
                <a:solidFill>
                  <a:schemeClr val="bg1"/>
                </a:solidFill>
                <a:latin typeface="Calibri Light" pitchFamily="34" charset="0"/>
              </a:rPr>
              <a:t>Lorem</a:t>
            </a:r>
            <a:r>
              <a:rPr lang="en-US" sz="1100" dirty="0" smtClean="0">
                <a:solidFill>
                  <a:schemeClr val="bg1"/>
                </a:solidFill>
                <a:latin typeface="Calibri Light" pitchFamily="34" charset="0"/>
              </a:rPr>
              <a:t> </a:t>
            </a:r>
            <a:r>
              <a:rPr lang="en-US" sz="1100" dirty="0" err="1">
                <a:solidFill>
                  <a:schemeClr val="bg1"/>
                </a:solidFill>
                <a:latin typeface="Calibri Light" pitchFamily="34" charset="0"/>
              </a:rPr>
              <a:t>Ipsum</a:t>
            </a:r>
            <a:r>
              <a:rPr lang="en-US" sz="1100" dirty="0">
                <a:solidFill>
                  <a:schemeClr val="bg1"/>
                </a:solidFill>
                <a:latin typeface="Calibri Light" pitchFamily="34" charset="0"/>
              </a:rPr>
              <a:t> is </a:t>
            </a:r>
            <a:r>
              <a:rPr lang="en-US" sz="1100" dirty="0" smtClean="0">
                <a:solidFill>
                  <a:schemeClr val="bg1"/>
                </a:solidFill>
                <a:latin typeface="Calibri Light" pitchFamily="34" charset="0"/>
              </a:rPr>
              <a:t>simply dummy text of the printing and </a:t>
            </a:r>
            <a:r>
              <a:rPr lang="en-US" sz="1100" dirty="0">
                <a:solidFill>
                  <a:schemeClr val="bg1"/>
                </a:solidFill>
                <a:latin typeface="Calibri Light" pitchFamily="34" charset="0"/>
              </a:rPr>
              <a:t>typesetting. </a:t>
            </a:r>
            <a:r>
              <a:rPr lang="en-US" sz="1100" dirty="0" err="1">
                <a:solidFill>
                  <a:schemeClr val="bg1"/>
                </a:solidFill>
                <a:latin typeface="Calibri Light" pitchFamily="34" charset="0"/>
              </a:rPr>
              <a:t>Lorem</a:t>
            </a:r>
            <a:r>
              <a:rPr lang="en-US" sz="1100" dirty="0">
                <a:solidFill>
                  <a:schemeClr val="bg1"/>
                </a:solidFill>
                <a:latin typeface="Calibri Light" pitchFamily="34" charset="0"/>
              </a:rPr>
              <a:t> </a:t>
            </a:r>
            <a:r>
              <a:rPr lang="en-US" sz="1100" dirty="0" err="1">
                <a:solidFill>
                  <a:schemeClr val="bg1"/>
                </a:solidFill>
                <a:latin typeface="Calibri Light" pitchFamily="34" charset="0"/>
              </a:rPr>
              <a:t>Ipsum</a:t>
            </a:r>
            <a:r>
              <a:rPr lang="en-US" sz="1100" dirty="0">
                <a:solidFill>
                  <a:schemeClr val="bg1"/>
                </a:solidFill>
                <a:latin typeface="Calibri Light" pitchFamily="34" charset="0"/>
              </a:rPr>
              <a:t> is simply dummy text of the printing and </a:t>
            </a:r>
            <a:r>
              <a:rPr lang="en-US" sz="1100" dirty="0" smtClean="0">
                <a:solidFill>
                  <a:schemeClr val="bg1"/>
                </a:solidFill>
                <a:latin typeface="Calibri Light" pitchFamily="34" charset="0"/>
              </a:rPr>
              <a:t>typesetting. </a:t>
            </a:r>
            <a:r>
              <a:rPr lang="en-US" sz="1100" dirty="0" err="1">
                <a:solidFill>
                  <a:schemeClr val="bg1"/>
                </a:solidFill>
                <a:latin typeface="Calibri Light" pitchFamily="34" charset="0"/>
              </a:rPr>
              <a:t>Lorem</a:t>
            </a:r>
            <a:r>
              <a:rPr lang="en-US" sz="1100" dirty="0">
                <a:solidFill>
                  <a:schemeClr val="bg1"/>
                </a:solidFill>
                <a:latin typeface="Calibri Light" pitchFamily="34" charset="0"/>
              </a:rPr>
              <a:t> </a:t>
            </a:r>
            <a:r>
              <a:rPr lang="en-US" sz="1100" dirty="0" err="1">
                <a:solidFill>
                  <a:schemeClr val="bg1"/>
                </a:solidFill>
                <a:latin typeface="Calibri Light" pitchFamily="34" charset="0"/>
              </a:rPr>
              <a:t>Ipsum</a:t>
            </a:r>
            <a:r>
              <a:rPr lang="en-US" sz="1100" dirty="0">
                <a:solidFill>
                  <a:schemeClr val="bg1"/>
                </a:solidFill>
                <a:latin typeface="Calibri Light" pitchFamily="34" charset="0"/>
              </a:rPr>
              <a:t> is simply dummy text of the printing and </a:t>
            </a:r>
            <a:r>
              <a:rPr lang="en-US" sz="1100" dirty="0" smtClean="0">
                <a:solidFill>
                  <a:schemeClr val="bg1"/>
                </a:solidFill>
                <a:latin typeface="Calibri Light" pitchFamily="34" charset="0"/>
              </a:rPr>
              <a:t>typesetting. </a:t>
            </a:r>
            <a:r>
              <a:rPr lang="en-US" sz="1100" dirty="0" err="1" smtClean="0">
                <a:solidFill>
                  <a:schemeClr val="bg1"/>
                </a:solidFill>
                <a:latin typeface="Calibri Light" pitchFamily="34" charset="0"/>
              </a:rPr>
              <a:t>Lorem</a:t>
            </a:r>
            <a:r>
              <a:rPr lang="en-US" sz="1100" dirty="0" smtClean="0">
                <a:solidFill>
                  <a:schemeClr val="bg1"/>
                </a:solidFill>
                <a:latin typeface="Calibri Light" pitchFamily="34" charset="0"/>
              </a:rPr>
              <a:t> </a:t>
            </a:r>
            <a:r>
              <a:rPr lang="en-US" sz="1100" dirty="0" err="1">
                <a:solidFill>
                  <a:schemeClr val="bg1"/>
                </a:solidFill>
                <a:latin typeface="Calibri Light" pitchFamily="34" charset="0"/>
              </a:rPr>
              <a:t>Ipsum</a:t>
            </a:r>
            <a:r>
              <a:rPr lang="en-US" sz="1100" dirty="0">
                <a:solidFill>
                  <a:schemeClr val="bg1"/>
                </a:solidFill>
                <a:latin typeface="Calibri Light" pitchFamily="34" charset="0"/>
              </a:rPr>
              <a:t> is simply dummy text of the printing and </a:t>
            </a:r>
            <a:r>
              <a:rPr lang="en-US" sz="1100" dirty="0" smtClean="0">
                <a:solidFill>
                  <a:schemeClr val="bg1"/>
                </a:solidFill>
                <a:latin typeface="Calibri Light" pitchFamily="34" charset="0"/>
              </a:rPr>
              <a:t>typesetting. </a:t>
            </a:r>
            <a:r>
              <a:rPr lang="en-US" sz="1100" dirty="0" err="1">
                <a:solidFill>
                  <a:schemeClr val="bg1"/>
                </a:solidFill>
                <a:latin typeface="Calibri Light" pitchFamily="34" charset="0"/>
              </a:rPr>
              <a:t>Lorem</a:t>
            </a:r>
            <a:r>
              <a:rPr lang="en-US" sz="1100" dirty="0">
                <a:solidFill>
                  <a:schemeClr val="bg1"/>
                </a:solidFill>
                <a:latin typeface="Calibri Light" pitchFamily="34" charset="0"/>
              </a:rPr>
              <a:t> </a:t>
            </a:r>
            <a:r>
              <a:rPr lang="en-US" sz="1100" dirty="0" err="1">
                <a:solidFill>
                  <a:schemeClr val="bg1"/>
                </a:solidFill>
                <a:latin typeface="Calibri Light" pitchFamily="34" charset="0"/>
              </a:rPr>
              <a:t>Ipsum</a:t>
            </a:r>
            <a:r>
              <a:rPr lang="en-US" sz="1100" dirty="0">
                <a:solidFill>
                  <a:schemeClr val="bg1"/>
                </a:solidFill>
                <a:latin typeface="Calibri Light" pitchFamily="34" charset="0"/>
              </a:rPr>
              <a:t> is simply dummy text of the printing and </a:t>
            </a:r>
            <a:r>
              <a:rPr lang="en-US" sz="1100" dirty="0" smtClean="0">
                <a:solidFill>
                  <a:schemeClr val="bg1"/>
                </a:solidFill>
                <a:latin typeface="Calibri Light" pitchFamily="34" charset="0"/>
              </a:rPr>
              <a:t>typesetting. </a:t>
            </a:r>
          </a:p>
        </p:txBody>
      </p:sp>
      <p:sp>
        <p:nvSpPr>
          <p:cNvPr id="154" name="TextBox 153"/>
          <p:cNvSpPr txBox="1"/>
          <p:nvPr>
            <p:custDataLst>
              <p:tags r:id="rId3"/>
            </p:custDataLst>
          </p:nvPr>
        </p:nvSpPr>
        <p:spPr>
          <a:xfrm>
            <a:off x="304800" y="4953000"/>
            <a:ext cx="1266693" cy="523220"/>
          </a:xfrm>
          <a:prstGeom prst="rect">
            <a:avLst/>
          </a:prstGeom>
          <a:noFill/>
        </p:spPr>
        <p:txBody>
          <a:bodyPr wrap="none" rtlCol="0">
            <a:spAutoFit/>
          </a:bodyPr>
          <a:lstStyle/>
          <a:p>
            <a:r>
              <a:rPr lang="id-ID" sz="2800" dirty="0" smtClean="0">
                <a:solidFill>
                  <a:schemeClr val="bg1"/>
                </a:solidFill>
                <a:latin typeface="Calibri Light" pitchFamily="34" charset="0"/>
              </a:rPr>
              <a:t>MODEL</a:t>
            </a:r>
            <a:endParaRPr lang="en-US" sz="2800" dirty="0">
              <a:solidFill>
                <a:schemeClr val="bg1"/>
              </a:solidFill>
              <a:latin typeface="Calibri Light" pitchFamily="34" charset="0"/>
            </a:endParaRPr>
          </a:p>
        </p:txBody>
      </p:sp>
      <p:sp>
        <p:nvSpPr>
          <p:cNvPr id="49" name="Rectangle 48"/>
          <p:cNvSpPr/>
          <p:nvPr/>
        </p:nvSpPr>
        <p:spPr>
          <a:xfrm>
            <a:off x="6153031" y="3302818"/>
            <a:ext cx="1926642" cy="400110"/>
          </a:xfrm>
          <a:prstGeom prst="rect">
            <a:avLst/>
          </a:prstGeom>
        </p:spPr>
        <p:txBody>
          <a:bodyPr wrap="square">
            <a:spAutoFit/>
          </a:bodyPr>
          <a:lstStyle/>
          <a:p>
            <a:pPr algn="ctr"/>
            <a:r>
              <a:rPr lang="id-ID" sz="2000" b="1" dirty="0" smtClean="0">
                <a:solidFill>
                  <a:srgbClr val="F1C40F"/>
                </a:solidFill>
                <a:latin typeface="Calibri Light" panose="020F0302020204030204" pitchFamily="34" charset="0"/>
              </a:rPr>
              <a:t>EXECUTION</a:t>
            </a:r>
            <a:endParaRPr lang="id-ID" sz="2000" b="1" dirty="0">
              <a:solidFill>
                <a:srgbClr val="F1C40F"/>
              </a:solidFill>
            </a:endParaRPr>
          </a:p>
        </p:txBody>
      </p:sp>
      <p:grpSp>
        <p:nvGrpSpPr>
          <p:cNvPr id="3" name="Group 2"/>
          <p:cNvGrpSpPr/>
          <p:nvPr/>
        </p:nvGrpSpPr>
        <p:grpSpPr>
          <a:xfrm>
            <a:off x="1423712" y="1709586"/>
            <a:ext cx="1219200" cy="1305227"/>
            <a:chOff x="-1046920" y="2123773"/>
            <a:chExt cx="1219200" cy="1305227"/>
          </a:xfrm>
        </p:grpSpPr>
        <p:sp>
          <p:nvSpPr>
            <p:cNvPr id="50" name="Oval 49"/>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2" name="Oval 51"/>
            <p:cNvSpPr/>
            <p:nvPr/>
          </p:nvSpPr>
          <p:spPr>
            <a:xfrm>
              <a:off x="-961755" y="2294965"/>
              <a:ext cx="1048871" cy="1048871"/>
            </a:xfrm>
            <a:prstGeom prst="ellipse">
              <a:avLst/>
            </a:prstGeom>
            <a:solidFill>
              <a:srgbClr val="F1C40F"/>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3" name="Oval 52"/>
            <p:cNvSpPr/>
            <p:nvPr/>
          </p:nvSpPr>
          <p:spPr>
            <a:xfrm>
              <a:off x="-627820" y="2123773"/>
              <a:ext cx="381000" cy="381000"/>
            </a:xfrm>
            <a:prstGeom prst="ellipse">
              <a:avLst/>
            </a:prstGeom>
            <a:solidFill>
              <a:schemeClr val="bg1"/>
            </a:solidFill>
            <a:ln w="38100">
              <a:solidFill>
                <a:srgbClr val="F1C4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b="1" dirty="0" smtClean="0">
                  <a:solidFill>
                    <a:srgbClr val="7F8C8D"/>
                  </a:solidFill>
                  <a:latin typeface="Calibri Light" panose="020F0302020204030204" pitchFamily="34" charset="0"/>
                </a:rPr>
                <a:t>1</a:t>
              </a:r>
              <a:endParaRPr lang="id-ID" sz="1200" b="1" dirty="0">
                <a:solidFill>
                  <a:srgbClr val="7F8C8D"/>
                </a:solidFill>
                <a:latin typeface="Calibri Light" panose="020F0302020204030204" pitchFamily="34" charset="0"/>
              </a:endParaRPr>
            </a:p>
          </p:txBody>
        </p:sp>
      </p:grpSp>
      <p:sp>
        <p:nvSpPr>
          <p:cNvPr id="10" name="Rectangle 9"/>
          <p:cNvSpPr/>
          <p:nvPr/>
        </p:nvSpPr>
        <p:spPr>
          <a:xfrm>
            <a:off x="1244419" y="3302818"/>
            <a:ext cx="1577786" cy="400110"/>
          </a:xfrm>
          <a:prstGeom prst="rect">
            <a:avLst/>
          </a:prstGeom>
        </p:spPr>
        <p:txBody>
          <a:bodyPr wrap="square">
            <a:spAutoFit/>
          </a:bodyPr>
          <a:lstStyle/>
          <a:p>
            <a:pPr algn="ctr"/>
            <a:r>
              <a:rPr lang="id-ID" sz="2000" b="1" dirty="0" smtClean="0">
                <a:solidFill>
                  <a:srgbClr val="F1C40F"/>
                </a:solidFill>
                <a:latin typeface="Calibri Light" panose="020F0302020204030204" pitchFamily="34" charset="0"/>
              </a:rPr>
              <a:t>STRATEGY</a:t>
            </a:r>
            <a:endParaRPr lang="id-ID" sz="2000" b="1" dirty="0">
              <a:solidFill>
                <a:srgbClr val="F1C40F"/>
              </a:solidFill>
            </a:endParaRPr>
          </a:p>
        </p:txBody>
      </p:sp>
      <p:sp>
        <p:nvSpPr>
          <p:cNvPr id="79" name="Rectangle 78"/>
          <p:cNvSpPr/>
          <p:nvPr/>
        </p:nvSpPr>
        <p:spPr>
          <a:xfrm>
            <a:off x="1366010" y="3769372"/>
            <a:ext cx="1334605" cy="769441"/>
          </a:xfrm>
          <a:prstGeom prst="rect">
            <a:avLst/>
          </a:prstGeom>
        </p:spPr>
        <p:txBody>
          <a:bodyPr wrap="square">
            <a:spAutoFit/>
          </a:bodyPr>
          <a:lstStyle/>
          <a:p>
            <a:pPr algn="ctr"/>
            <a:r>
              <a:rPr lang="en-US" sz="1100" dirty="0" err="1">
                <a:solidFill>
                  <a:schemeClr val="bg1"/>
                </a:solidFill>
                <a:latin typeface="Calibri Light" pitchFamily="34" charset="0"/>
              </a:rPr>
              <a:t>Lorem</a:t>
            </a:r>
            <a:r>
              <a:rPr lang="en-US" sz="1100" dirty="0">
                <a:solidFill>
                  <a:schemeClr val="bg1"/>
                </a:solidFill>
                <a:latin typeface="Calibri Light" pitchFamily="34" charset="0"/>
              </a:rPr>
              <a:t> </a:t>
            </a:r>
            <a:r>
              <a:rPr lang="en-US" sz="1100" dirty="0" err="1">
                <a:solidFill>
                  <a:schemeClr val="bg1"/>
                </a:solidFill>
                <a:latin typeface="Calibri Light" pitchFamily="34" charset="0"/>
              </a:rPr>
              <a:t>Ipsum</a:t>
            </a:r>
            <a:r>
              <a:rPr lang="en-US" sz="1100" dirty="0">
                <a:solidFill>
                  <a:schemeClr val="bg1"/>
                </a:solidFill>
                <a:latin typeface="Calibri Light" pitchFamily="34" charset="0"/>
              </a:rPr>
              <a:t> is simply dummy text of the printing and typesetting. </a:t>
            </a:r>
            <a:endParaRPr lang="en-US" sz="1100" dirty="0">
              <a:solidFill>
                <a:schemeClr val="bg1"/>
              </a:solidFill>
            </a:endParaRPr>
          </a:p>
        </p:txBody>
      </p:sp>
      <p:grpSp>
        <p:nvGrpSpPr>
          <p:cNvPr id="57" name="Group 56"/>
          <p:cNvGrpSpPr/>
          <p:nvPr/>
        </p:nvGrpSpPr>
        <p:grpSpPr>
          <a:xfrm>
            <a:off x="1843697" y="2165184"/>
            <a:ext cx="379230" cy="557312"/>
            <a:chOff x="7188200" y="1789113"/>
            <a:chExt cx="469901" cy="690563"/>
          </a:xfrm>
          <a:solidFill>
            <a:schemeClr val="bg1"/>
          </a:solidFill>
        </p:grpSpPr>
        <p:sp>
          <p:nvSpPr>
            <p:cNvPr id="58" name="Freeform 121"/>
            <p:cNvSpPr>
              <a:spLocks/>
            </p:cNvSpPr>
            <p:nvPr/>
          </p:nvSpPr>
          <p:spPr bwMode="auto">
            <a:xfrm>
              <a:off x="7243763" y="1925638"/>
              <a:ext cx="220663" cy="28575"/>
            </a:xfrm>
            <a:custGeom>
              <a:avLst/>
              <a:gdLst>
                <a:gd name="T0" fmla="*/ 391 w 417"/>
                <a:gd name="T1" fmla="*/ 54 h 54"/>
                <a:gd name="T2" fmla="*/ 26 w 417"/>
                <a:gd name="T3" fmla="*/ 54 h 54"/>
                <a:gd name="T4" fmla="*/ 21 w 417"/>
                <a:gd name="T5" fmla="*/ 52 h 54"/>
                <a:gd name="T6" fmla="*/ 15 w 417"/>
                <a:gd name="T7" fmla="*/ 51 h 54"/>
                <a:gd name="T8" fmla="*/ 11 w 417"/>
                <a:gd name="T9" fmla="*/ 49 h 54"/>
                <a:gd name="T10" fmla="*/ 7 w 417"/>
                <a:gd name="T11" fmla="*/ 45 h 54"/>
                <a:gd name="T12" fmla="*/ 4 w 417"/>
                <a:gd name="T13" fmla="*/ 42 h 54"/>
                <a:gd name="T14" fmla="*/ 3 w 417"/>
                <a:gd name="T15" fmla="*/ 38 h 54"/>
                <a:gd name="T16" fmla="*/ 1 w 417"/>
                <a:gd name="T17" fmla="*/ 32 h 54"/>
                <a:gd name="T18" fmla="*/ 0 w 417"/>
                <a:gd name="T19" fmla="*/ 28 h 54"/>
                <a:gd name="T20" fmla="*/ 1 w 417"/>
                <a:gd name="T21" fmla="*/ 22 h 54"/>
                <a:gd name="T22" fmla="*/ 3 w 417"/>
                <a:gd name="T23" fmla="*/ 18 h 54"/>
                <a:gd name="T24" fmla="*/ 4 w 417"/>
                <a:gd name="T25" fmla="*/ 12 h 54"/>
                <a:gd name="T26" fmla="*/ 7 w 417"/>
                <a:gd name="T27" fmla="*/ 9 h 54"/>
                <a:gd name="T28" fmla="*/ 11 w 417"/>
                <a:gd name="T29" fmla="*/ 6 h 54"/>
                <a:gd name="T30" fmla="*/ 15 w 417"/>
                <a:gd name="T31" fmla="*/ 3 h 54"/>
                <a:gd name="T32" fmla="*/ 21 w 417"/>
                <a:gd name="T33" fmla="*/ 2 h 54"/>
                <a:gd name="T34" fmla="*/ 26 w 417"/>
                <a:gd name="T35" fmla="*/ 0 h 54"/>
                <a:gd name="T36" fmla="*/ 391 w 417"/>
                <a:gd name="T37" fmla="*/ 0 h 54"/>
                <a:gd name="T38" fmla="*/ 397 w 417"/>
                <a:gd name="T39" fmla="*/ 2 h 54"/>
                <a:gd name="T40" fmla="*/ 401 w 417"/>
                <a:gd name="T41" fmla="*/ 3 h 54"/>
                <a:gd name="T42" fmla="*/ 406 w 417"/>
                <a:gd name="T43" fmla="*/ 6 h 54"/>
                <a:gd name="T44" fmla="*/ 410 w 417"/>
                <a:gd name="T45" fmla="*/ 9 h 54"/>
                <a:gd name="T46" fmla="*/ 413 w 417"/>
                <a:gd name="T47" fmla="*/ 12 h 54"/>
                <a:gd name="T48" fmla="*/ 416 w 417"/>
                <a:gd name="T49" fmla="*/ 18 h 54"/>
                <a:gd name="T50" fmla="*/ 417 w 417"/>
                <a:gd name="T51" fmla="*/ 22 h 54"/>
                <a:gd name="T52" fmla="*/ 417 w 417"/>
                <a:gd name="T53" fmla="*/ 28 h 54"/>
                <a:gd name="T54" fmla="*/ 417 w 417"/>
                <a:gd name="T55" fmla="*/ 32 h 54"/>
                <a:gd name="T56" fmla="*/ 416 w 417"/>
                <a:gd name="T57" fmla="*/ 38 h 54"/>
                <a:gd name="T58" fmla="*/ 413 w 417"/>
                <a:gd name="T59" fmla="*/ 42 h 54"/>
                <a:gd name="T60" fmla="*/ 410 w 417"/>
                <a:gd name="T61" fmla="*/ 45 h 54"/>
                <a:gd name="T62" fmla="*/ 406 w 417"/>
                <a:gd name="T63" fmla="*/ 49 h 54"/>
                <a:gd name="T64" fmla="*/ 401 w 417"/>
                <a:gd name="T65" fmla="*/ 51 h 54"/>
                <a:gd name="T66" fmla="*/ 397 w 417"/>
                <a:gd name="T67" fmla="*/ 52 h 54"/>
                <a:gd name="T68" fmla="*/ 391 w 417"/>
                <a:gd name="T6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4">
                  <a:moveTo>
                    <a:pt x="391" y="54"/>
                  </a:moveTo>
                  <a:lnTo>
                    <a:pt x="26" y="54"/>
                  </a:lnTo>
                  <a:lnTo>
                    <a:pt x="21" y="52"/>
                  </a:lnTo>
                  <a:lnTo>
                    <a:pt x="15" y="51"/>
                  </a:lnTo>
                  <a:lnTo>
                    <a:pt x="11" y="49"/>
                  </a:lnTo>
                  <a:lnTo>
                    <a:pt x="7" y="45"/>
                  </a:lnTo>
                  <a:lnTo>
                    <a:pt x="4" y="42"/>
                  </a:lnTo>
                  <a:lnTo>
                    <a:pt x="3" y="38"/>
                  </a:lnTo>
                  <a:lnTo>
                    <a:pt x="1" y="32"/>
                  </a:lnTo>
                  <a:lnTo>
                    <a:pt x="0" y="28"/>
                  </a:lnTo>
                  <a:lnTo>
                    <a:pt x="1" y="22"/>
                  </a:lnTo>
                  <a:lnTo>
                    <a:pt x="3" y="18"/>
                  </a:lnTo>
                  <a:lnTo>
                    <a:pt x="4" y="12"/>
                  </a:lnTo>
                  <a:lnTo>
                    <a:pt x="7" y="9"/>
                  </a:lnTo>
                  <a:lnTo>
                    <a:pt x="11" y="6"/>
                  </a:lnTo>
                  <a:lnTo>
                    <a:pt x="15" y="3"/>
                  </a:lnTo>
                  <a:lnTo>
                    <a:pt x="21" y="2"/>
                  </a:lnTo>
                  <a:lnTo>
                    <a:pt x="26" y="0"/>
                  </a:lnTo>
                  <a:lnTo>
                    <a:pt x="391" y="0"/>
                  </a:lnTo>
                  <a:lnTo>
                    <a:pt x="397" y="2"/>
                  </a:lnTo>
                  <a:lnTo>
                    <a:pt x="401" y="3"/>
                  </a:lnTo>
                  <a:lnTo>
                    <a:pt x="406" y="6"/>
                  </a:lnTo>
                  <a:lnTo>
                    <a:pt x="410" y="9"/>
                  </a:lnTo>
                  <a:lnTo>
                    <a:pt x="413" y="12"/>
                  </a:lnTo>
                  <a:lnTo>
                    <a:pt x="416" y="18"/>
                  </a:lnTo>
                  <a:lnTo>
                    <a:pt x="417" y="22"/>
                  </a:lnTo>
                  <a:lnTo>
                    <a:pt x="417" y="28"/>
                  </a:lnTo>
                  <a:lnTo>
                    <a:pt x="417" y="32"/>
                  </a:lnTo>
                  <a:lnTo>
                    <a:pt x="416" y="38"/>
                  </a:lnTo>
                  <a:lnTo>
                    <a:pt x="413" y="42"/>
                  </a:lnTo>
                  <a:lnTo>
                    <a:pt x="410" y="45"/>
                  </a:lnTo>
                  <a:lnTo>
                    <a:pt x="406" y="49"/>
                  </a:lnTo>
                  <a:lnTo>
                    <a:pt x="401" y="51"/>
                  </a:lnTo>
                  <a:lnTo>
                    <a:pt x="397" y="52"/>
                  </a:lnTo>
                  <a:lnTo>
                    <a:pt x="391"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22"/>
            <p:cNvSpPr>
              <a:spLocks/>
            </p:cNvSpPr>
            <p:nvPr/>
          </p:nvSpPr>
          <p:spPr bwMode="auto">
            <a:xfrm>
              <a:off x="7243763" y="2038351"/>
              <a:ext cx="220663" cy="26988"/>
            </a:xfrm>
            <a:custGeom>
              <a:avLst/>
              <a:gdLst>
                <a:gd name="T0" fmla="*/ 391 w 417"/>
                <a:gd name="T1" fmla="*/ 51 h 51"/>
                <a:gd name="T2" fmla="*/ 26 w 417"/>
                <a:gd name="T3" fmla="*/ 51 h 51"/>
                <a:gd name="T4" fmla="*/ 21 w 417"/>
                <a:gd name="T5" fmla="*/ 50 h 51"/>
                <a:gd name="T6" fmla="*/ 15 w 417"/>
                <a:gd name="T7" fmla="*/ 49 h 51"/>
                <a:gd name="T8" fmla="*/ 11 w 417"/>
                <a:gd name="T9" fmla="*/ 47 h 51"/>
                <a:gd name="T10" fmla="*/ 7 w 417"/>
                <a:gd name="T11" fmla="*/ 44 h 51"/>
                <a:gd name="T12" fmla="*/ 4 w 417"/>
                <a:gd name="T13" fmla="*/ 40 h 51"/>
                <a:gd name="T14" fmla="*/ 3 w 417"/>
                <a:gd name="T15" fmla="*/ 36 h 51"/>
                <a:gd name="T16" fmla="*/ 1 w 417"/>
                <a:gd name="T17" fmla="*/ 30 h 51"/>
                <a:gd name="T18" fmla="*/ 0 w 417"/>
                <a:gd name="T19" fmla="*/ 26 h 51"/>
                <a:gd name="T20" fmla="*/ 1 w 417"/>
                <a:gd name="T21" fmla="*/ 20 h 51"/>
                <a:gd name="T22" fmla="*/ 3 w 417"/>
                <a:gd name="T23" fmla="*/ 15 h 51"/>
                <a:gd name="T24" fmla="*/ 4 w 417"/>
                <a:gd name="T25" fmla="*/ 11 h 51"/>
                <a:gd name="T26" fmla="*/ 7 w 417"/>
                <a:gd name="T27" fmla="*/ 7 h 51"/>
                <a:gd name="T28" fmla="*/ 11 w 417"/>
                <a:gd name="T29" fmla="*/ 4 h 51"/>
                <a:gd name="T30" fmla="*/ 15 w 417"/>
                <a:gd name="T31" fmla="*/ 1 h 51"/>
                <a:gd name="T32" fmla="*/ 21 w 417"/>
                <a:gd name="T33" fmla="*/ 0 h 51"/>
                <a:gd name="T34" fmla="*/ 26 w 417"/>
                <a:gd name="T35" fmla="*/ 0 h 51"/>
                <a:gd name="T36" fmla="*/ 391 w 417"/>
                <a:gd name="T37" fmla="*/ 0 h 51"/>
                <a:gd name="T38" fmla="*/ 397 w 417"/>
                <a:gd name="T39" fmla="*/ 0 h 51"/>
                <a:gd name="T40" fmla="*/ 401 w 417"/>
                <a:gd name="T41" fmla="*/ 1 h 51"/>
                <a:gd name="T42" fmla="*/ 406 w 417"/>
                <a:gd name="T43" fmla="*/ 4 h 51"/>
                <a:gd name="T44" fmla="*/ 410 w 417"/>
                <a:gd name="T45" fmla="*/ 7 h 51"/>
                <a:gd name="T46" fmla="*/ 413 w 417"/>
                <a:gd name="T47" fmla="*/ 11 h 51"/>
                <a:gd name="T48" fmla="*/ 416 w 417"/>
                <a:gd name="T49" fmla="*/ 15 h 51"/>
                <a:gd name="T50" fmla="*/ 417 w 417"/>
                <a:gd name="T51" fmla="*/ 20 h 51"/>
                <a:gd name="T52" fmla="*/ 417 w 417"/>
                <a:gd name="T53" fmla="*/ 26 h 51"/>
                <a:gd name="T54" fmla="*/ 417 w 417"/>
                <a:gd name="T55" fmla="*/ 30 h 51"/>
                <a:gd name="T56" fmla="*/ 416 w 417"/>
                <a:gd name="T57" fmla="*/ 36 h 51"/>
                <a:gd name="T58" fmla="*/ 413 w 417"/>
                <a:gd name="T59" fmla="*/ 40 h 51"/>
                <a:gd name="T60" fmla="*/ 410 w 417"/>
                <a:gd name="T61" fmla="*/ 44 h 51"/>
                <a:gd name="T62" fmla="*/ 406 w 417"/>
                <a:gd name="T63" fmla="*/ 47 h 51"/>
                <a:gd name="T64" fmla="*/ 401 w 417"/>
                <a:gd name="T65" fmla="*/ 49 h 51"/>
                <a:gd name="T66" fmla="*/ 397 w 417"/>
                <a:gd name="T67" fmla="*/ 50 h 51"/>
                <a:gd name="T68" fmla="*/ 391 w 417"/>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1">
                  <a:moveTo>
                    <a:pt x="391" y="51"/>
                  </a:moveTo>
                  <a:lnTo>
                    <a:pt x="26" y="51"/>
                  </a:lnTo>
                  <a:lnTo>
                    <a:pt x="21" y="50"/>
                  </a:lnTo>
                  <a:lnTo>
                    <a:pt x="15" y="49"/>
                  </a:lnTo>
                  <a:lnTo>
                    <a:pt x="11" y="47"/>
                  </a:lnTo>
                  <a:lnTo>
                    <a:pt x="7" y="44"/>
                  </a:lnTo>
                  <a:lnTo>
                    <a:pt x="4" y="40"/>
                  </a:lnTo>
                  <a:lnTo>
                    <a:pt x="3" y="36"/>
                  </a:lnTo>
                  <a:lnTo>
                    <a:pt x="1" y="30"/>
                  </a:lnTo>
                  <a:lnTo>
                    <a:pt x="0" y="26"/>
                  </a:lnTo>
                  <a:lnTo>
                    <a:pt x="1" y="20"/>
                  </a:lnTo>
                  <a:lnTo>
                    <a:pt x="3" y="15"/>
                  </a:lnTo>
                  <a:lnTo>
                    <a:pt x="4" y="11"/>
                  </a:lnTo>
                  <a:lnTo>
                    <a:pt x="7" y="7"/>
                  </a:lnTo>
                  <a:lnTo>
                    <a:pt x="11" y="4"/>
                  </a:lnTo>
                  <a:lnTo>
                    <a:pt x="15" y="1"/>
                  </a:lnTo>
                  <a:lnTo>
                    <a:pt x="21" y="0"/>
                  </a:lnTo>
                  <a:lnTo>
                    <a:pt x="26" y="0"/>
                  </a:lnTo>
                  <a:lnTo>
                    <a:pt x="391" y="0"/>
                  </a:lnTo>
                  <a:lnTo>
                    <a:pt x="397" y="0"/>
                  </a:lnTo>
                  <a:lnTo>
                    <a:pt x="401" y="1"/>
                  </a:lnTo>
                  <a:lnTo>
                    <a:pt x="406" y="4"/>
                  </a:lnTo>
                  <a:lnTo>
                    <a:pt x="410" y="7"/>
                  </a:lnTo>
                  <a:lnTo>
                    <a:pt x="413" y="11"/>
                  </a:lnTo>
                  <a:lnTo>
                    <a:pt x="416" y="15"/>
                  </a:lnTo>
                  <a:lnTo>
                    <a:pt x="417" y="20"/>
                  </a:lnTo>
                  <a:lnTo>
                    <a:pt x="417" y="26"/>
                  </a:lnTo>
                  <a:lnTo>
                    <a:pt x="417" y="30"/>
                  </a:lnTo>
                  <a:lnTo>
                    <a:pt x="416" y="36"/>
                  </a:lnTo>
                  <a:lnTo>
                    <a:pt x="413" y="40"/>
                  </a:lnTo>
                  <a:lnTo>
                    <a:pt x="410" y="44"/>
                  </a:lnTo>
                  <a:lnTo>
                    <a:pt x="406" y="47"/>
                  </a:lnTo>
                  <a:lnTo>
                    <a:pt x="401" y="49"/>
                  </a:lnTo>
                  <a:lnTo>
                    <a:pt x="397" y="50"/>
                  </a:lnTo>
                  <a:lnTo>
                    <a:pt x="39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23"/>
            <p:cNvSpPr>
              <a:spLocks/>
            </p:cNvSpPr>
            <p:nvPr/>
          </p:nvSpPr>
          <p:spPr bwMode="auto">
            <a:xfrm>
              <a:off x="7243763" y="2147888"/>
              <a:ext cx="220663" cy="26988"/>
            </a:xfrm>
            <a:custGeom>
              <a:avLst/>
              <a:gdLst>
                <a:gd name="T0" fmla="*/ 391 w 417"/>
                <a:gd name="T1" fmla="*/ 52 h 52"/>
                <a:gd name="T2" fmla="*/ 26 w 417"/>
                <a:gd name="T3" fmla="*/ 52 h 52"/>
                <a:gd name="T4" fmla="*/ 21 w 417"/>
                <a:gd name="T5" fmla="*/ 52 h 52"/>
                <a:gd name="T6" fmla="*/ 15 w 417"/>
                <a:gd name="T7" fmla="*/ 51 h 52"/>
                <a:gd name="T8" fmla="*/ 11 w 417"/>
                <a:gd name="T9" fmla="*/ 48 h 52"/>
                <a:gd name="T10" fmla="*/ 7 w 417"/>
                <a:gd name="T11" fmla="*/ 45 h 52"/>
                <a:gd name="T12" fmla="*/ 4 w 417"/>
                <a:gd name="T13" fmla="*/ 41 h 52"/>
                <a:gd name="T14" fmla="*/ 3 w 417"/>
                <a:gd name="T15" fmla="*/ 36 h 52"/>
                <a:gd name="T16" fmla="*/ 1 w 417"/>
                <a:gd name="T17" fmla="*/ 31 h 52"/>
                <a:gd name="T18" fmla="*/ 0 w 417"/>
                <a:gd name="T19" fmla="*/ 26 h 52"/>
                <a:gd name="T20" fmla="*/ 1 w 417"/>
                <a:gd name="T21" fmla="*/ 21 h 52"/>
                <a:gd name="T22" fmla="*/ 3 w 417"/>
                <a:gd name="T23" fmla="*/ 16 h 52"/>
                <a:gd name="T24" fmla="*/ 4 w 417"/>
                <a:gd name="T25" fmla="*/ 12 h 52"/>
                <a:gd name="T26" fmla="*/ 7 w 417"/>
                <a:gd name="T27" fmla="*/ 8 h 52"/>
                <a:gd name="T28" fmla="*/ 11 w 417"/>
                <a:gd name="T29" fmla="*/ 5 h 52"/>
                <a:gd name="T30" fmla="*/ 15 w 417"/>
                <a:gd name="T31" fmla="*/ 2 h 52"/>
                <a:gd name="T32" fmla="*/ 21 w 417"/>
                <a:gd name="T33" fmla="*/ 0 h 52"/>
                <a:gd name="T34" fmla="*/ 26 w 417"/>
                <a:gd name="T35" fmla="*/ 0 h 52"/>
                <a:gd name="T36" fmla="*/ 391 w 417"/>
                <a:gd name="T37" fmla="*/ 0 h 52"/>
                <a:gd name="T38" fmla="*/ 397 w 417"/>
                <a:gd name="T39" fmla="*/ 0 h 52"/>
                <a:gd name="T40" fmla="*/ 401 w 417"/>
                <a:gd name="T41" fmla="*/ 2 h 52"/>
                <a:gd name="T42" fmla="*/ 406 w 417"/>
                <a:gd name="T43" fmla="*/ 5 h 52"/>
                <a:gd name="T44" fmla="*/ 410 w 417"/>
                <a:gd name="T45" fmla="*/ 8 h 52"/>
                <a:gd name="T46" fmla="*/ 413 w 417"/>
                <a:gd name="T47" fmla="*/ 12 h 52"/>
                <a:gd name="T48" fmla="*/ 416 w 417"/>
                <a:gd name="T49" fmla="*/ 16 h 52"/>
                <a:gd name="T50" fmla="*/ 417 w 417"/>
                <a:gd name="T51" fmla="*/ 21 h 52"/>
                <a:gd name="T52" fmla="*/ 417 w 417"/>
                <a:gd name="T53" fmla="*/ 26 h 52"/>
                <a:gd name="T54" fmla="*/ 417 w 417"/>
                <a:gd name="T55" fmla="*/ 31 h 52"/>
                <a:gd name="T56" fmla="*/ 416 w 417"/>
                <a:gd name="T57" fmla="*/ 36 h 52"/>
                <a:gd name="T58" fmla="*/ 413 w 417"/>
                <a:gd name="T59" fmla="*/ 41 h 52"/>
                <a:gd name="T60" fmla="*/ 410 w 417"/>
                <a:gd name="T61" fmla="*/ 45 h 52"/>
                <a:gd name="T62" fmla="*/ 406 w 417"/>
                <a:gd name="T63" fmla="*/ 48 h 52"/>
                <a:gd name="T64" fmla="*/ 401 w 417"/>
                <a:gd name="T65" fmla="*/ 51 h 52"/>
                <a:gd name="T66" fmla="*/ 397 w 417"/>
                <a:gd name="T67" fmla="*/ 52 h 52"/>
                <a:gd name="T68" fmla="*/ 391 w 41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2">
                  <a:moveTo>
                    <a:pt x="391" y="52"/>
                  </a:moveTo>
                  <a:lnTo>
                    <a:pt x="26" y="52"/>
                  </a:lnTo>
                  <a:lnTo>
                    <a:pt x="21" y="52"/>
                  </a:lnTo>
                  <a:lnTo>
                    <a:pt x="15" y="51"/>
                  </a:lnTo>
                  <a:lnTo>
                    <a:pt x="11" y="48"/>
                  </a:lnTo>
                  <a:lnTo>
                    <a:pt x="7" y="45"/>
                  </a:lnTo>
                  <a:lnTo>
                    <a:pt x="4" y="41"/>
                  </a:lnTo>
                  <a:lnTo>
                    <a:pt x="3" y="36"/>
                  </a:lnTo>
                  <a:lnTo>
                    <a:pt x="1" y="31"/>
                  </a:lnTo>
                  <a:lnTo>
                    <a:pt x="0" y="26"/>
                  </a:lnTo>
                  <a:lnTo>
                    <a:pt x="1" y="21"/>
                  </a:lnTo>
                  <a:lnTo>
                    <a:pt x="3" y="16"/>
                  </a:lnTo>
                  <a:lnTo>
                    <a:pt x="4" y="12"/>
                  </a:lnTo>
                  <a:lnTo>
                    <a:pt x="7" y="8"/>
                  </a:lnTo>
                  <a:lnTo>
                    <a:pt x="11" y="5"/>
                  </a:lnTo>
                  <a:lnTo>
                    <a:pt x="15" y="2"/>
                  </a:lnTo>
                  <a:lnTo>
                    <a:pt x="21" y="0"/>
                  </a:lnTo>
                  <a:lnTo>
                    <a:pt x="26" y="0"/>
                  </a:lnTo>
                  <a:lnTo>
                    <a:pt x="391" y="0"/>
                  </a:lnTo>
                  <a:lnTo>
                    <a:pt x="397" y="0"/>
                  </a:lnTo>
                  <a:lnTo>
                    <a:pt x="401" y="2"/>
                  </a:lnTo>
                  <a:lnTo>
                    <a:pt x="406" y="5"/>
                  </a:lnTo>
                  <a:lnTo>
                    <a:pt x="410" y="8"/>
                  </a:lnTo>
                  <a:lnTo>
                    <a:pt x="413" y="12"/>
                  </a:lnTo>
                  <a:lnTo>
                    <a:pt x="416" y="16"/>
                  </a:lnTo>
                  <a:lnTo>
                    <a:pt x="417" y="21"/>
                  </a:lnTo>
                  <a:lnTo>
                    <a:pt x="417" y="26"/>
                  </a:lnTo>
                  <a:lnTo>
                    <a:pt x="417" y="31"/>
                  </a:lnTo>
                  <a:lnTo>
                    <a:pt x="416" y="36"/>
                  </a:lnTo>
                  <a:lnTo>
                    <a:pt x="413" y="41"/>
                  </a:lnTo>
                  <a:lnTo>
                    <a:pt x="410" y="45"/>
                  </a:lnTo>
                  <a:lnTo>
                    <a:pt x="406" y="48"/>
                  </a:lnTo>
                  <a:lnTo>
                    <a:pt x="401" y="51"/>
                  </a:lnTo>
                  <a:lnTo>
                    <a:pt x="397" y="52"/>
                  </a:lnTo>
                  <a:lnTo>
                    <a:pt x="39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24"/>
            <p:cNvSpPr>
              <a:spLocks/>
            </p:cNvSpPr>
            <p:nvPr/>
          </p:nvSpPr>
          <p:spPr bwMode="auto">
            <a:xfrm>
              <a:off x="7243763" y="2259013"/>
              <a:ext cx="220663" cy="26988"/>
            </a:xfrm>
            <a:custGeom>
              <a:avLst/>
              <a:gdLst>
                <a:gd name="T0" fmla="*/ 391 w 417"/>
                <a:gd name="T1" fmla="*/ 52 h 52"/>
                <a:gd name="T2" fmla="*/ 26 w 417"/>
                <a:gd name="T3" fmla="*/ 52 h 52"/>
                <a:gd name="T4" fmla="*/ 21 w 417"/>
                <a:gd name="T5" fmla="*/ 52 h 52"/>
                <a:gd name="T6" fmla="*/ 15 w 417"/>
                <a:gd name="T7" fmla="*/ 51 h 52"/>
                <a:gd name="T8" fmla="*/ 11 w 417"/>
                <a:gd name="T9" fmla="*/ 48 h 52"/>
                <a:gd name="T10" fmla="*/ 7 w 417"/>
                <a:gd name="T11" fmla="*/ 45 h 52"/>
                <a:gd name="T12" fmla="*/ 4 w 417"/>
                <a:gd name="T13" fmla="*/ 41 h 52"/>
                <a:gd name="T14" fmla="*/ 3 w 417"/>
                <a:gd name="T15" fmla="*/ 36 h 52"/>
                <a:gd name="T16" fmla="*/ 1 w 417"/>
                <a:gd name="T17" fmla="*/ 32 h 52"/>
                <a:gd name="T18" fmla="*/ 0 w 417"/>
                <a:gd name="T19" fmla="*/ 26 h 52"/>
                <a:gd name="T20" fmla="*/ 1 w 417"/>
                <a:gd name="T21" fmla="*/ 20 h 52"/>
                <a:gd name="T22" fmla="*/ 3 w 417"/>
                <a:gd name="T23" fmla="*/ 16 h 52"/>
                <a:gd name="T24" fmla="*/ 4 w 417"/>
                <a:gd name="T25" fmla="*/ 12 h 52"/>
                <a:gd name="T26" fmla="*/ 7 w 417"/>
                <a:gd name="T27" fmla="*/ 7 h 52"/>
                <a:gd name="T28" fmla="*/ 11 w 417"/>
                <a:gd name="T29" fmla="*/ 5 h 52"/>
                <a:gd name="T30" fmla="*/ 15 w 417"/>
                <a:gd name="T31" fmla="*/ 2 h 52"/>
                <a:gd name="T32" fmla="*/ 21 w 417"/>
                <a:gd name="T33" fmla="*/ 0 h 52"/>
                <a:gd name="T34" fmla="*/ 26 w 417"/>
                <a:gd name="T35" fmla="*/ 0 h 52"/>
                <a:gd name="T36" fmla="*/ 391 w 417"/>
                <a:gd name="T37" fmla="*/ 0 h 52"/>
                <a:gd name="T38" fmla="*/ 397 w 417"/>
                <a:gd name="T39" fmla="*/ 0 h 52"/>
                <a:gd name="T40" fmla="*/ 401 w 417"/>
                <a:gd name="T41" fmla="*/ 2 h 52"/>
                <a:gd name="T42" fmla="*/ 406 w 417"/>
                <a:gd name="T43" fmla="*/ 5 h 52"/>
                <a:gd name="T44" fmla="*/ 410 w 417"/>
                <a:gd name="T45" fmla="*/ 7 h 52"/>
                <a:gd name="T46" fmla="*/ 413 w 417"/>
                <a:gd name="T47" fmla="*/ 12 h 52"/>
                <a:gd name="T48" fmla="*/ 416 w 417"/>
                <a:gd name="T49" fmla="*/ 16 h 52"/>
                <a:gd name="T50" fmla="*/ 417 w 417"/>
                <a:gd name="T51" fmla="*/ 20 h 52"/>
                <a:gd name="T52" fmla="*/ 417 w 417"/>
                <a:gd name="T53" fmla="*/ 26 h 52"/>
                <a:gd name="T54" fmla="*/ 417 w 417"/>
                <a:gd name="T55" fmla="*/ 32 h 52"/>
                <a:gd name="T56" fmla="*/ 416 w 417"/>
                <a:gd name="T57" fmla="*/ 36 h 52"/>
                <a:gd name="T58" fmla="*/ 413 w 417"/>
                <a:gd name="T59" fmla="*/ 41 h 52"/>
                <a:gd name="T60" fmla="*/ 410 w 417"/>
                <a:gd name="T61" fmla="*/ 45 h 52"/>
                <a:gd name="T62" fmla="*/ 406 w 417"/>
                <a:gd name="T63" fmla="*/ 48 h 52"/>
                <a:gd name="T64" fmla="*/ 401 w 417"/>
                <a:gd name="T65" fmla="*/ 51 h 52"/>
                <a:gd name="T66" fmla="*/ 397 w 417"/>
                <a:gd name="T67" fmla="*/ 52 h 52"/>
                <a:gd name="T68" fmla="*/ 391 w 41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2">
                  <a:moveTo>
                    <a:pt x="391" y="52"/>
                  </a:moveTo>
                  <a:lnTo>
                    <a:pt x="26" y="52"/>
                  </a:lnTo>
                  <a:lnTo>
                    <a:pt x="21" y="52"/>
                  </a:lnTo>
                  <a:lnTo>
                    <a:pt x="15" y="51"/>
                  </a:lnTo>
                  <a:lnTo>
                    <a:pt x="11" y="48"/>
                  </a:lnTo>
                  <a:lnTo>
                    <a:pt x="7" y="45"/>
                  </a:lnTo>
                  <a:lnTo>
                    <a:pt x="4" y="41"/>
                  </a:lnTo>
                  <a:lnTo>
                    <a:pt x="3" y="36"/>
                  </a:lnTo>
                  <a:lnTo>
                    <a:pt x="1" y="32"/>
                  </a:lnTo>
                  <a:lnTo>
                    <a:pt x="0" y="26"/>
                  </a:lnTo>
                  <a:lnTo>
                    <a:pt x="1" y="20"/>
                  </a:lnTo>
                  <a:lnTo>
                    <a:pt x="3" y="16"/>
                  </a:lnTo>
                  <a:lnTo>
                    <a:pt x="4" y="12"/>
                  </a:lnTo>
                  <a:lnTo>
                    <a:pt x="7" y="7"/>
                  </a:lnTo>
                  <a:lnTo>
                    <a:pt x="11" y="5"/>
                  </a:lnTo>
                  <a:lnTo>
                    <a:pt x="15" y="2"/>
                  </a:lnTo>
                  <a:lnTo>
                    <a:pt x="21" y="0"/>
                  </a:lnTo>
                  <a:lnTo>
                    <a:pt x="26" y="0"/>
                  </a:lnTo>
                  <a:lnTo>
                    <a:pt x="391" y="0"/>
                  </a:lnTo>
                  <a:lnTo>
                    <a:pt x="397" y="0"/>
                  </a:lnTo>
                  <a:lnTo>
                    <a:pt x="401" y="2"/>
                  </a:lnTo>
                  <a:lnTo>
                    <a:pt x="406" y="5"/>
                  </a:lnTo>
                  <a:lnTo>
                    <a:pt x="410" y="7"/>
                  </a:lnTo>
                  <a:lnTo>
                    <a:pt x="413" y="12"/>
                  </a:lnTo>
                  <a:lnTo>
                    <a:pt x="416" y="16"/>
                  </a:lnTo>
                  <a:lnTo>
                    <a:pt x="417" y="20"/>
                  </a:lnTo>
                  <a:lnTo>
                    <a:pt x="417" y="26"/>
                  </a:lnTo>
                  <a:lnTo>
                    <a:pt x="417" y="32"/>
                  </a:lnTo>
                  <a:lnTo>
                    <a:pt x="416" y="36"/>
                  </a:lnTo>
                  <a:lnTo>
                    <a:pt x="413" y="41"/>
                  </a:lnTo>
                  <a:lnTo>
                    <a:pt x="410" y="45"/>
                  </a:lnTo>
                  <a:lnTo>
                    <a:pt x="406" y="48"/>
                  </a:lnTo>
                  <a:lnTo>
                    <a:pt x="401" y="51"/>
                  </a:lnTo>
                  <a:lnTo>
                    <a:pt x="397" y="52"/>
                  </a:lnTo>
                  <a:lnTo>
                    <a:pt x="39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17"/>
            <p:cNvSpPr>
              <a:spLocks noEditPoints="1"/>
            </p:cNvSpPr>
            <p:nvPr/>
          </p:nvSpPr>
          <p:spPr bwMode="auto">
            <a:xfrm>
              <a:off x="7188200" y="1789113"/>
              <a:ext cx="469900" cy="690563"/>
            </a:xfrm>
            <a:custGeom>
              <a:avLst/>
              <a:gdLst>
                <a:gd name="T0" fmla="*/ 52 w 887"/>
                <a:gd name="T1" fmla="*/ 1254 h 1306"/>
                <a:gd name="T2" fmla="*/ 642 w 887"/>
                <a:gd name="T3" fmla="*/ 1254 h 1306"/>
                <a:gd name="T4" fmla="*/ 835 w 887"/>
                <a:gd name="T5" fmla="*/ 1060 h 1306"/>
                <a:gd name="T6" fmla="*/ 835 w 887"/>
                <a:gd name="T7" fmla="*/ 52 h 1306"/>
                <a:gd name="T8" fmla="*/ 52 w 887"/>
                <a:gd name="T9" fmla="*/ 52 h 1306"/>
                <a:gd name="T10" fmla="*/ 52 w 887"/>
                <a:gd name="T11" fmla="*/ 1254 h 1306"/>
                <a:gd name="T12" fmla="*/ 652 w 887"/>
                <a:gd name="T13" fmla="*/ 1306 h 1306"/>
                <a:gd name="T14" fmla="*/ 26 w 887"/>
                <a:gd name="T15" fmla="*/ 1306 h 1306"/>
                <a:gd name="T16" fmla="*/ 20 w 887"/>
                <a:gd name="T17" fmla="*/ 1306 h 1306"/>
                <a:gd name="T18" fmla="*/ 16 w 887"/>
                <a:gd name="T19" fmla="*/ 1304 h 1306"/>
                <a:gd name="T20" fmla="*/ 11 w 887"/>
                <a:gd name="T21" fmla="*/ 1301 h 1306"/>
                <a:gd name="T22" fmla="*/ 7 w 887"/>
                <a:gd name="T23" fmla="*/ 1299 h 1306"/>
                <a:gd name="T24" fmla="*/ 4 w 887"/>
                <a:gd name="T25" fmla="*/ 1294 h 1306"/>
                <a:gd name="T26" fmla="*/ 1 w 887"/>
                <a:gd name="T27" fmla="*/ 1290 h 1306"/>
                <a:gd name="T28" fmla="*/ 0 w 887"/>
                <a:gd name="T29" fmla="*/ 1286 h 1306"/>
                <a:gd name="T30" fmla="*/ 0 w 887"/>
                <a:gd name="T31" fmla="*/ 1280 h 1306"/>
                <a:gd name="T32" fmla="*/ 0 w 887"/>
                <a:gd name="T33" fmla="*/ 26 h 1306"/>
                <a:gd name="T34" fmla="*/ 0 w 887"/>
                <a:gd name="T35" fmla="*/ 21 h 1306"/>
                <a:gd name="T36" fmla="*/ 1 w 887"/>
                <a:gd name="T37" fmla="*/ 16 h 1306"/>
                <a:gd name="T38" fmla="*/ 4 w 887"/>
                <a:gd name="T39" fmla="*/ 11 h 1306"/>
                <a:gd name="T40" fmla="*/ 7 w 887"/>
                <a:gd name="T41" fmla="*/ 7 h 1306"/>
                <a:gd name="T42" fmla="*/ 11 w 887"/>
                <a:gd name="T43" fmla="*/ 4 h 1306"/>
                <a:gd name="T44" fmla="*/ 16 w 887"/>
                <a:gd name="T45" fmla="*/ 1 h 1306"/>
                <a:gd name="T46" fmla="*/ 20 w 887"/>
                <a:gd name="T47" fmla="*/ 0 h 1306"/>
                <a:gd name="T48" fmla="*/ 26 w 887"/>
                <a:gd name="T49" fmla="*/ 0 h 1306"/>
                <a:gd name="T50" fmla="*/ 861 w 887"/>
                <a:gd name="T51" fmla="*/ 0 h 1306"/>
                <a:gd name="T52" fmla="*/ 867 w 887"/>
                <a:gd name="T53" fmla="*/ 0 h 1306"/>
                <a:gd name="T54" fmla="*/ 871 w 887"/>
                <a:gd name="T55" fmla="*/ 1 h 1306"/>
                <a:gd name="T56" fmla="*/ 875 w 887"/>
                <a:gd name="T57" fmla="*/ 4 h 1306"/>
                <a:gd name="T58" fmla="*/ 880 w 887"/>
                <a:gd name="T59" fmla="*/ 7 h 1306"/>
                <a:gd name="T60" fmla="*/ 883 w 887"/>
                <a:gd name="T61" fmla="*/ 11 h 1306"/>
                <a:gd name="T62" fmla="*/ 886 w 887"/>
                <a:gd name="T63" fmla="*/ 16 h 1306"/>
                <a:gd name="T64" fmla="*/ 887 w 887"/>
                <a:gd name="T65" fmla="*/ 21 h 1306"/>
                <a:gd name="T66" fmla="*/ 887 w 887"/>
                <a:gd name="T67" fmla="*/ 26 h 1306"/>
                <a:gd name="T68" fmla="*/ 887 w 887"/>
                <a:gd name="T69" fmla="*/ 1071 h 1306"/>
                <a:gd name="T70" fmla="*/ 887 w 887"/>
                <a:gd name="T71" fmla="*/ 1075 h 1306"/>
                <a:gd name="T72" fmla="*/ 886 w 887"/>
                <a:gd name="T73" fmla="*/ 1081 h 1306"/>
                <a:gd name="T74" fmla="*/ 883 w 887"/>
                <a:gd name="T75" fmla="*/ 1085 h 1306"/>
                <a:gd name="T76" fmla="*/ 880 w 887"/>
                <a:gd name="T77" fmla="*/ 1090 h 1306"/>
                <a:gd name="T78" fmla="*/ 671 w 887"/>
                <a:gd name="T79" fmla="*/ 1299 h 1306"/>
                <a:gd name="T80" fmla="*/ 667 w 887"/>
                <a:gd name="T81" fmla="*/ 1301 h 1306"/>
                <a:gd name="T82" fmla="*/ 662 w 887"/>
                <a:gd name="T83" fmla="*/ 1304 h 1306"/>
                <a:gd name="T84" fmla="*/ 658 w 887"/>
                <a:gd name="T85" fmla="*/ 1306 h 1306"/>
                <a:gd name="T86" fmla="*/ 652 w 887"/>
                <a:gd name="T87" fmla="*/ 1306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7" h="1306">
                  <a:moveTo>
                    <a:pt x="52" y="1254"/>
                  </a:moveTo>
                  <a:lnTo>
                    <a:pt x="642" y="1254"/>
                  </a:lnTo>
                  <a:lnTo>
                    <a:pt x="835" y="1060"/>
                  </a:lnTo>
                  <a:lnTo>
                    <a:pt x="835" y="52"/>
                  </a:lnTo>
                  <a:lnTo>
                    <a:pt x="52" y="52"/>
                  </a:lnTo>
                  <a:lnTo>
                    <a:pt x="52" y="1254"/>
                  </a:lnTo>
                  <a:close/>
                  <a:moveTo>
                    <a:pt x="652" y="1306"/>
                  </a:moveTo>
                  <a:lnTo>
                    <a:pt x="26" y="1306"/>
                  </a:lnTo>
                  <a:lnTo>
                    <a:pt x="20" y="1306"/>
                  </a:lnTo>
                  <a:lnTo>
                    <a:pt x="16" y="1304"/>
                  </a:lnTo>
                  <a:lnTo>
                    <a:pt x="11" y="1301"/>
                  </a:lnTo>
                  <a:lnTo>
                    <a:pt x="7" y="1299"/>
                  </a:lnTo>
                  <a:lnTo>
                    <a:pt x="4" y="1294"/>
                  </a:lnTo>
                  <a:lnTo>
                    <a:pt x="1" y="1290"/>
                  </a:lnTo>
                  <a:lnTo>
                    <a:pt x="0" y="1286"/>
                  </a:lnTo>
                  <a:lnTo>
                    <a:pt x="0" y="1280"/>
                  </a:lnTo>
                  <a:lnTo>
                    <a:pt x="0" y="26"/>
                  </a:lnTo>
                  <a:lnTo>
                    <a:pt x="0" y="21"/>
                  </a:lnTo>
                  <a:lnTo>
                    <a:pt x="1" y="16"/>
                  </a:lnTo>
                  <a:lnTo>
                    <a:pt x="4" y="11"/>
                  </a:lnTo>
                  <a:lnTo>
                    <a:pt x="7" y="7"/>
                  </a:lnTo>
                  <a:lnTo>
                    <a:pt x="11" y="4"/>
                  </a:lnTo>
                  <a:lnTo>
                    <a:pt x="16" y="1"/>
                  </a:lnTo>
                  <a:lnTo>
                    <a:pt x="20" y="0"/>
                  </a:lnTo>
                  <a:lnTo>
                    <a:pt x="26" y="0"/>
                  </a:lnTo>
                  <a:lnTo>
                    <a:pt x="861" y="0"/>
                  </a:lnTo>
                  <a:lnTo>
                    <a:pt x="867" y="0"/>
                  </a:lnTo>
                  <a:lnTo>
                    <a:pt x="871" y="1"/>
                  </a:lnTo>
                  <a:lnTo>
                    <a:pt x="875" y="4"/>
                  </a:lnTo>
                  <a:lnTo>
                    <a:pt x="880" y="7"/>
                  </a:lnTo>
                  <a:lnTo>
                    <a:pt x="883" y="11"/>
                  </a:lnTo>
                  <a:lnTo>
                    <a:pt x="886" y="16"/>
                  </a:lnTo>
                  <a:lnTo>
                    <a:pt x="887" y="21"/>
                  </a:lnTo>
                  <a:lnTo>
                    <a:pt x="887" y="26"/>
                  </a:lnTo>
                  <a:lnTo>
                    <a:pt x="887" y="1071"/>
                  </a:lnTo>
                  <a:lnTo>
                    <a:pt x="887" y="1075"/>
                  </a:lnTo>
                  <a:lnTo>
                    <a:pt x="886" y="1081"/>
                  </a:lnTo>
                  <a:lnTo>
                    <a:pt x="883" y="1085"/>
                  </a:lnTo>
                  <a:lnTo>
                    <a:pt x="880" y="1090"/>
                  </a:lnTo>
                  <a:lnTo>
                    <a:pt x="671" y="1299"/>
                  </a:lnTo>
                  <a:lnTo>
                    <a:pt x="667" y="1301"/>
                  </a:lnTo>
                  <a:lnTo>
                    <a:pt x="662" y="1304"/>
                  </a:lnTo>
                  <a:lnTo>
                    <a:pt x="658" y="1306"/>
                  </a:lnTo>
                  <a:lnTo>
                    <a:pt x="652" y="1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20"/>
            <p:cNvSpPr>
              <a:spLocks/>
            </p:cNvSpPr>
            <p:nvPr/>
          </p:nvSpPr>
          <p:spPr bwMode="auto">
            <a:xfrm>
              <a:off x="7519988" y="2341563"/>
              <a:ext cx="138113" cy="138113"/>
            </a:xfrm>
            <a:custGeom>
              <a:avLst/>
              <a:gdLst>
                <a:gd name="T0" fmla="*/ 26 w 261"/>
                <a:gd name="T1" fmla="*/ 261 h 261"/>
                <a:gd name="T2" fmla="*/ 21 w 261"/>
                <a:gd name="T3" fmla="*/ 261 h 261"/>
                <a:gd name="T4" fmla="*/ 16 w 261"/>
                <a:gd name="T5" fmla="*/ 259 h 261"/>
                <a:gd name="T6" fmla="*/ 12 w 261"/>
                <a:gd name="T7" fmla="*/ 256 h 261"/>
                <a:gd name="T8" fmla="*/ 8 w 261"/>
                <a:gd name="T9" fmla="*/ 254 h 261"/>
                <a:gd name="T10" fmla="*/ 5 w 261"/>
                <a:gd name="T11" fmla="*/ 249 h 261"/>
                <a:gd name="T12" fmla="*/ 2 w 261"/>
                <a:gd name="T13" fmla="*/ 245 h 261"/>
                <a:gd name="T14" fmla="*/ 0 w 261"/>
                <a:gd name="T15" fmla="*/ 241 h 261"/>
                <a:gd name="T16" fmla="*/ 0 w 261"/>
                <a:gd name="T17" fmla="*/ 235 h 261"/>
                <a:gd name="T18" fmla="*/ 0 w 261"/>
                <a:gd name="T19" fmla="*/ 26 h 261"/>
                <a:gd name="T20" fmla="*/ 0 w 261"/>
                <a:gd name="T21" fmla="*/ 20 h 261"/>
                <a:gd name="T22" fmla="*/ 2 w 261"/>
                <a:gd name="T23" fmla="*/ 16 h 261"/>
                <a:gd name="T24" fmla="*/ 5 w 261"/>
                <a:gd name="T25" fmla="*/ 12 h 261"/>
                <a:gd name="T26" fmla="*/ 8 w 261"/>
                <a:gd name="T27" fmla="*/ 7 h 261"/>
                <a:gd name="T28" fmla="*/ 12 w 261"/>
                <a:gd name="T29" fmla="*/ 4 h 261"/>
                <a:gd name="T30" fmla="*/ 16 w 261"/>
                <a:gd name="T31" fmla="*/ 2 h 261"/>
                <a:gd name="T32" fmla="*/ 21 w 261"/>
                <a:gd name="T33" fmla="*/ 0 h 261"/>
                <a:gd name="T34" fmla="*/ 26 w 261"/>
                <a:gd name="T35" fmla="*/ 0 h 261"/>
                <a:gd name="T36" fmla="*/ 235 w 261"/>
                <a:gd name="T37" fmla="*/ 0 h 261"/>
                <a:gd name="T38" fmla="*/ 241 w 261"/>
                <a:gd name="T39" fmla="*/ 0 h 261"/>
                <a:gd name="T40" fmla="*/ 245 w 261"/>
                <a:gd name="T41" fmla="*/ 2 h 261"/>
                <a:gd name="T42" fmla="*/ 249 w 261"/>
                <a:gd name="T43" fmla="*/ 4 h 261"/>
                <a:gd name="T44" fmla="*/ 254 w 261"/>
                <a:gd name="T45" fmla="*/ 7 h 261"/>
                <a:gd name="T46" fmla="*/ 257 w 261"/>
                <a:gd name="T47" fmla="*/ 12 h 261"/>
                <a:gd name="T48" fmla="*/ 260 w 261"/>
                <a:gd name="T49" fmla="*/ 16 h 261"/>
                <a:gd name="T50" fmla="*/ 261 w 261"/>
                <a:gd name="T51" fmla="*/ 20 h 261"/>
                <a:gd name="T52" fmla="*/ 261 w 261"/>
                <a:gd name="T53" fmla="*/ 26 h 261"/>
                <a:gd name="T54" fmla="*/ 261 w 261"/>
                <a:gd name="T55" fmla="*/ 30 h 261"/>
                <a:gd name="T56" fmla="*/ 260 w 261"/>
                <a:gd name="T57" fmla="*/ 36 h 261"/>
                <a:gd name="T58" fmla="*/ 257 w 261"/>
                <a:gd name="T59" fmla="*/ 40 h 261"/>
                <a:gd name="T60" fmla="*/ 254 w 261"/>
                <a:gd name="T61" fmla="*/ 45 h 261"/>
                <a:gd name="T62" fmla="*/ 249 w 261"/>
                <a:gd name="T63" fmla="*/ 48 h 261"/>
                <a:gd name="T64" fmla="*/ 245 w 261"/>
                <a:gd name="T65" fmla="*/ 51 h 261"/>
                <a:gd name="T66" fmla="*/ 241 w 261"/>
                <a:gd name="T67" fmla="*/ 52 h 261"/>
                <a:gd name="T68" fmla="*/ 235 w 261"/>
                <a:gd name="T69" fmla="*/ 52 h 261"/>
                <a:gd name="T70" fmla="*/ 52 w 261"/>
                <a:gd name="T71" fmla="*/ 52 h 261"/>
                <a:gd name="T72" fmla="*/ 52 w 261"/>
                <a:gd name="T73" fmla="*/ 235 h 261"/>
                <a:gd name="T74" fmla="*/ 52 w 261"/>
                <a:gd name="T75" fmla="*/ 241 h 261"/>
                <a:gd name="T76" fmla="*/ 51 w 261"/>
                <a:gd name="T77" fmla="*/ 245 h 261"/>
                <a:gd name="T78" fmla="*/ 48 w 261"/>
                <a:gd name="T79" fmla="*/ 249 h 261"/>
                <a:gd name="T80" fmla="*/ 45 w 261"/>
                <a:gd name="T81" fmla="*/ 254 h 261"/>
                <a:gd name="T82" fmla="*/ 41 w 261"/>
                <a:gd name="T83" fmla="*/ 256 h 261"/>
                <a:gd name="T84" fmla="*/ 36 w 261"/>
                <a:gd name="T85" fmla="*/ 259 h 261"/>
                <a:gd name="T86" fmla="*/ 32 w 261"/>
                <a:gd name="T87" fmla="*/ 261 h 261"/>
                <a:gd name="T88" fmla="*/ 26 w 261"/>
                <a:gd name="T8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261">
                  <a:moveTo>
                    <a:pt x="26" y="261"/>
                  </a:moveTo>
                  <a:lnTo>
                    <a:pt x="21" y="261"/>
                  </a:lnTo>
                  <a:lnTo>
                    <a:pt x="16" y="259"/>
                  </a:lnTo>
                  <a:lnTo>
                    <a:pt x="12" y="256"/>
                  </a:lnTo>
                  <a:lnTo>
                    <a:pt x="8" y="254"/>
                  </a:lnTo>
                  <a:lnTo>
                    <a:pt x="5" y="249"/>
                  </a:lnTo>
                  <a:lnTo>
                    <a:pt x="2" y="245"/>
                  </a:lnTo>
                  <a:lnTo>
                    <a:pt x="0" y="241"/>
                  </a:lnTo>
                  <a:lnTo>
                    <a:pt x="0" y="235"/>
                  </a:lnTo>
                  <a:lnTo>
                    <a:pt x="0" y="26"/>
                  </a:lnTo>
                  <a:lnTo>
                    <a:pt x="0" y="20"/>
                  </a:lnTo>
                  <a:lnTo>
                    <a:pt x="2" y="16"/>
                  </a:lnTo>
                  <a:lnTo>
                    <a:pt x="5" y="12"/>
                  </a:lnTo>
                  <a:lnTo>
                    <a:pt x="8" y="7"/>
                  </a:lnTo>
                  <a:lnTo>
                    <a:pt x="12" y="4"/>
                  </a:lnTo>
                  <a:lnTo>
                    <a:pt x="16" y="2"/>
                  </a:lnTo>
                  <a:lnTo>
                    <a:pt x="21" y="0"/>
                  </a:lnTo>
                  <a:lnTo>
                    <a:pt x="26" y="0"/>
                  </a:lnTo>
                  <a:lnTo>
                    <a:pt x="235" y="0"/>
                  </a:lnTo>
                  <a:lnTo>
                    <a:pt x="241" y="0"/>
                  </a:lnTo>
                  <a:lnTo>
                    <a:pt x="245" y="2"/>
                  </a:lnTo>
                  <a:lnTo>
                    <a:pt x="249" y="4"/>
                  </a:lnTo>
                  <a:lnTo>
                    <a:pt x="254" y="7"/>
                  </a:lnTo>
                  <a:lnTo>
                    <a:pt x="257" y="12"/>
                  </a:lnTo>
                  <a:lnTo>
                    <a:pt x="260" y="16"/>
                  </a:lnTo>
                  <a:lnTo>
                    <a:pt x="261" y="20"/>
                  </a:lnTo>
                  <a:lnTo>
                    <a:pt x="261" y="26"/>
                  </a:lnTo>
                  <a:lnTo>
                    <a:pt x="261" y="30"/>
                  </a:lnTo>
                  <a:lnTo>
                    <a:pt x="260" y="36"/>
                  </a:lnTo>
                  <a:lnTo>
                    <a:pt x="257" y="40"/>
                  </a:lnTo>
                  <a:lnTo>
                    <a:pt x="254" y="45"/>
                  </a:lnTo>
                  <a:lnTo>
                    <a:pt x="249" y="48"/>
                  </a:lnTo>
                  <a:lnTo>
                    <a:pt x="245" y="51"/>
                  </a:lnTo>
                  <a:lnTo>
                    <a:pt x="241" y="52"/>
                  </a:lnTo>
                  <a:lnTo>
                    <a:pt x="235" y="52"/>
                  </a:lnTo>
                  <a:lnTo>
                    <a:pt x="52" y="52"/>
                  </a:lnTo>
                  <a:lnTo>
                    <a:pt x="52" y="235"/>
                  </a:lnTo>
                  <a:lnTo>
                    <a:pt x="52" y="241"/>
                  </a:lnTo>
                  <a:lnTo>
                    <a:pt x="51" y="245"/>
                  </a:lnTo>
                  <a:lnTo>
                    <a:pt x="48" y="249"/>
                  </a:lnTo>
                  <a:lnTo>
                    <a:pt x="45" y="254"/>
                  </a:lnTo>
                  <a:lnTo>
                    <a:pt x="41" y="256"/>
                  </a:lnTo>
                  <a:lnTo>
                    <a:pt x="36" y="259"/>
                  </a:lnTo>
                  <a:lnTo>
                    <a:pt x="32" y="261"/>
                  </a:lnTo>
                  <a:lnTo>
                    <a:pt x="26"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23"/>
            <p:cNvSpPr>
              <a:spLocks/>
            </p:cNvSpPr>
            <p:nvPr/>
          </p:nvSpPr>
          <p:spPr bwMode="auto">
            <a:xfrm>
              <a:off x="7493000" y="1898651"/>
              <a:ext cx="109538" cy="84138"/>
            </a:xfrm>
            <a:custGeom>
              <a:avLst/>
              <a:gdLst>
                <a:gd name="T0" fmla="*/ 77 w 208"/>
                <a:gd name="T1" fmla="*/ 157 h 157"/>
                <a:gd name="T2" fmla="*/ 73 w 208"/>
                <a:gd name="T3" fmla="*/ 157 h 157"/>
                <a:gd name="T4" fmla="*/ 67 w 208"/>
                <a:gd name="T5" fmla="*/ 155 h 157"/>
                <a:gd name="T6" fmla="*/ 63 w 208"/>
                <a:gd name="T7" fmla="*/ 152 h 157"/>
                <a:gd name="T8" fmla="*/ 59 w 208"/>
                <a:gd name="T9" fmla="*/ 149 h 157"/>
                <a:gd name="T10" fmla="*/ 7 w 208"/>
                <a:gd name="T11" fmla="*/ 96 h 157"/>
                <a:gd name="T12" fmla="*/ 4 w 208"/>
                <a:gd name="T13" fmla="*/ 93 h 157"/>
                <a:gd name="T14" fmla="*/ 1 w 208"/>
                <a:gd name="T15" fmla="*/ 87 h 157"/>
                <a:gd name="T16" fmla="*/ 0 w 208"/>
                <a:gd name="T17" fmla="*/ 83 h 157"/>
                <a:gd name="T18" fmla="*/ 0 w 208"/>
                <a:gd name="T19" fmla="*/ 79 h 157"/>
                <a:gd name="T20" fmla="*/ 0 w 208"/>
                <a:gd name="T21" fmla="*/ 73 h 157"/>
                <a:gd name="T22" fmla="*/ 1 w 208"/>
                <a:gd name="T23" fmla="*/ 69 h 157"/>
                <a:gd name="T24" fmla="*/ 4 w 208"/>
                <a:gd name="T25" fmla="*/ 64 h 157"/>
                <a:gd name="T26" fmla="*/ 7 w 208"/>
                <a:gd name="T27" fmla="*/ 60 h 157"/>
                <a:gd name="T28" fmla="*/ 11 w 208"/>
                <a:gd name="T29" fmla="*/ 56 h 157"/>
                <a:gd name="T30" fmla="*/ 15 w 208"/>
                <a:gd name="T31" fmla="*/ 54 h 157"/>
                <a:gd name="T32" fmla="*/ 20 w 208"/>
                <a:gd name="T33" fmla="*/ 53 h 157"/>
                <a:gd name="T34" fmla="*/ 25 w 208"/>
                <a:gd name="T35" fmla="*/ 51 h 157"/>
                <a:gd name="T36" fmla="*/ 30 w 208"/>
                <a:gd name="T37" fmla="*/ 53 h 157"/>
                <a:gd name="T38" fmla="*/ 36 w 208"/>
                <a:gd name="T39" fmla="*/ 54 h 157"/>
                <a:gd name="T40" fmla="*/ 40 w 208"/>
                <a:gd name="T41" fmla="*/ 56 h 157"/>
                <a:gd name="T42" fmla="*/ 44 w 208"/>
                <a:gd name="T43" fmla="*/ 60 h 157"/>
                <a:gd name="T44" fmla="*/ 77 w 208"/>
                <a:gd name="T45" fmla="*/ 93 h 157"/>
                <a:gd name="T46" fmla="*/ 164 w 208"/>
                <a:gd name="T47" fmla="*/ 7 h 157"/>
                <a:gd name="T48" fmla="*/ 168 w 208"/>
                <a:gd name="T49" fmla="*/ 4 h 157"/>
                <a:gd name="T50" fmla="*/ 172 w 208"/>
                <a:gd name="T51" fmla="*/ 2 h 157"/>
                <a:gd name="T52" fmla="*/ 177 w 208"/>
                <a:gd name="T53" fmla="*/ 1 h 157"/>
                <a:gd name="T54" fmla="*/ 182 w 208"/>
                <a:gd name="T55" fmla="*/ 0 h 157"/>
                <a:gd name="T56" fmla="*/ 187 w 208"/>
                <a:gd name="T57" fmla="*/ 1 h 157"/>
                <a:gd name="T58" fmla="*/ 191 w 208"/>
                <a:gd name="T59" fmla="*/ 2 h 157"/>
                <a:gd name="T60" fmla="*/ 197 w 208"/>
                <a:gd name="T61" fmla="*/ 4 h 157"/>
                <a:gd name="T62" fmla="*/ 200 w 208"/>
                <a:gd name="T63" fmla="*/ 7 h 157"/>
                <a:gd name="T64" fmla="*/ 204 w 208"/>
                <a:gd name="T65" fmla="*/ 11 h 157"/>
                <a:gd name="T66" fmla="*/ 205 w 208"/>
                <a:gd name="T67" fmla="*/ 15 h 157"/>
                <a:gd name="T68" fmla="*/ 207 w 208"/>
                <a:gd name="T69" fmla="*/ 21 h 157"/>
                <a:gd name="T70" fmla="*/ 208 w 208"/>
                <a:gd name="T71" fmla="*/ 25 h 157"/>
                <a:gd name="T72" fmla="*/ 207 w 208"/>
                <a:gd name="T73" fmla="*/ 31 h 157"/>
                <a:gd name="T74" fmla="*/ 205 w 208"/>
                <a:gd name="T75" fmla="*/ 36 h 157"/>
                <a:gd name="T76" fmla="*/ 204 w 208"/>
                <a:gd name="T77" fmla="*/ 40 h 157"/>
                <a:gd name="T78" fmla="*/ 200 w 208"/>
                <a:gd name="T79" fmla="*/ 44 h 157"/>
                <a:gd name="T80" fmla="*/ 96 w 208"/>
                <a:gd name="T81" fmla="*/ 149 h 157"/>
                <a:gd name="T82" fmla="*/ 92 w 208"/>
                <a:gd name="T83" fmla="*/ 152 h 157"/>
                <a:gd name="T84" fmla="*/ 87 w 208"/>
                <a:gd name="T85" fmla="*/ 155 h 157"/>
                <a:gd name="T86" fmla="*/ 83 w 208"/>
                <a:gd name="T87" fmla="*/ 157 h 157"/>
                <a:gd name="T88" fmla="*/ 77 w 208"/>
                <a:gd name="T8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7">
                  <a:moveTo>
                    <a:pt x="77" y="157"/>
                  </a:moveTo>
                  <a:lnTo>
                    <a:pt x="73" y="157"/>
                  </a:lnTo>
                  <a:lnTo>
                    <a:pt x="67" y="155"/>
                  </a:lnTo>
                  <a:lnTo>
                    <a:pt x="63" y="152"/>
                  </a:lnTo>
                  <a:lnTo>
                    <a:pt x="59" y="149"/>
                  </a:lnTo>
                  <a:lnTo>
                    <a:pt x="7" y="96"/>
                  </a:lnTo>
                  <a:lnTo>
                    <a:pt x="4" y="93"/>
                  </a:lnTo>
                  <a:lnTo>
                    <a:pt x="1" y="87"/>
                  </a:lnTo>
                  <a:lnTo>
                    <a:pt x="0" y="83"/>
                  </a:lnTo>
                  <a:lnTo>
                    <a:pt x="0" y="79"/>
                  </a:lnTo>
                  <a:lnTo>
                    <a:pt x="0" y="73"/>
                  </a:lnTo>
                  <a:lnTo>
                    <a:pt x="1" y="69"/>
                  </a:lnTo>
                  <a:lnTo>
                    <a:pt x="4" y="64"/>
                  </a:lnTo>
                  <a:lnTo>
                    <a:pt x="7" y="60"/>
                  </a:lnTo>
                  <a:lnTo>
                    <a:pt x="11" y="56"/>
                  </a:lnTo>
                  <a:lnTo>
                    <a:pt x="15" y="54"/>
                  </a:lnTo>
                  <a:lnTo>
                    <a:pt x="20" y="53"/>
                  </a:lnTo>
                  <a:lnTo>
                    <a:pt x="25" y="51"/>
                  </a:lnTo>
                  <a:lnTo>
                    <a:pt x="30" y="53"/>
                  </a:lnTo>
                  <a:lnTo>
                    <a:pt x="36" y="54"/>
                  </a:lnTo>
                  <a:lnTo>
                    <a:pt x="40" y="56"/>
                  </a:lnTo>
                  <a:lnTo>
                    <a:pt x="44" y="60"/>
                  </a:lnTo>
                  <a:lnTo>
                    <a:pt x="77" y="93"/>
                  </a:lnTo>
                  <a:lnTo>
                    <a:pt x="164" y="7"/>
                  </a:lnTo>
                  <a:lnTo>
                    <a:pt x="168" y="4"/>
                  </a:lnTo>
                  <a:lnTo>
                    <a:pt x="172" y="2"/>
                  </a:lnTo>
                  <a:lnTo>
                    <a:pt x="177" y="1"/>
                  </a:lnTo>
                  <a:lnTo>
                    <a:pt x="182" y="0"/>
                  </a:lnTo>
                  <a:lnTo>
                    <a:pt x="187" y="1"/>
                  </a:lnTo>
                  <a:lnTo>
                    <a:pt x="191" y="2"/>
                  </a:lnTo>
                  <a:lnTo>
                    <a:pt x="197" y="4"/>
                  </a:lnTo>
                  <a:lnTo>
                    <a:pt x="200" y="7"/>
                  </a:lnTo>
                  <a:lnTo>
                    <a:pt x="204" y="11"/>
                  </a:lnTo>
                  <a:lnTo>
                    <a:pt x="205" y="15"/>
                  </a:lnTo>
                  <a:lnTo>
                    <a:pt x="207" y="21"/>
                  </a:lnTo>
                  <a:lnTo>
                    <a:pt x="208" y="25"/>
                  </a:lnTo>
                  <a:lnTo>
                    <a:pt x="207" y="31"/>
                  </a:lnTo>
                  <a:lnTo>
                    <a:pt x="205" y="36"/>
                  </a:lnTo>
                  <a:lnTo>
                    <a:pt x="204" y="40"/>
                  </a:lnTo>
                  <a:lnTo>
                    <a:pt x="200" y="44"/>
                  </a:lnTo>
                  <a:lnTo>
                    <a:pt x="96" y="149"/>
                  </a:lnTo>
                  <a:lnTo>
                    <a:pt x="92" y="152"/>
                  </a:lnTo>
                  <a:lnTo>
                    <a:pt x="87" y="155"/>
                  </a:lnTo>
                  <a:lnTo>
                    <a:pt x="83" y="157"/>
                  </a:lnTo>
                  <a:lnTo>
                    <a:pt x="7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24"/>
            <p:cNvSpPr>
              <a:spLocks/>
            </p:cNvSpPr>
            <p:nvPr/>
          </p:nvSpPr>
          <p:spPr bwMode="auto">
            <a:xfrm>
              <a:off x="7493000" y="2009776"/>
              <a:ext cx="109538" cy="82550"/>
            </a:xfrm>
            <a:custGeom>
              <a:avLst/>
              <a:gdLst>
                <a:gd name="T0" fmla="*/ 77 w 208"/>
                <a:gd name="T1" fmla="*/ 157 h 157"/>
                <a:gd name="T2" fmla="*/ 73 w 208"/>
                <a:gd name="T3" fmla="*/ 157 h 157"/>
                <a:gd name="T4" fmla="*/ 67 w 208"/>
                <a:gd name="T5" fmla="*/ 156 h 157"/>
                <a:gd name="T6" fmla="*/ 63 w 208"/>
                <a:gd name="T7" fmla="*/ 153 h 157"/>
                <a:gd name="T8" fmla="*/ 59 w 208"/>
                <a:gd name="T9" fmla="*/ 150 h 157"/>
                <a:gd name="T10" fmla="*/ 7 w 208"/>
                <a:gd name="T11" fmla="*/ 98 h 157"/>
                <a:gd name="T12" fmla="*/ 4 w 208"/>
                <a:gd name="T13" fmla="*/ 94 h 157"/>
                <a:gd name="T14" fmla="*/ 1 w 208"/>
                <a:gd name="T15" fmla="*/ 90 h 157"/>
                <a:gd name="T16" fmla="*/ 0 w 208"/>
                <a:gd name="T17" fmla="*/ 84 h 157"/>
                <a:gd name="T18" fmla="*/ 0 w 208"/>
                <a:gd name="T19" fmla="*/ 80 h 157"/>
                <a:gd name="T20" fmla="*/ 0 w 208"/>
                <a:gd name="T21" fmla="*/ 74 h 157"/>
                <a:gd name="T22" fmla="*/ 1 w 208"/>
                <a:gd name="T23" fmla="*/ 69 h 157"/>
                <a:gd name="T24" fmla="*/ 4 w 208"/>
                <a:gd name="T25" fmla="*/ 65 h 157"/>
                <a:gd name="T26" fmla="*/ 7 w 208"/>
                <a:gd name="T27" fmla="*/ 61 h 157"/>
                <a:gd name="T28" fmla="*/ 11 w 208"/>
                <a:gd name="T29" fmla="*/ 58 h 157"/>
                <a:gd name="T30" fmla="*/ 15 w 208"/>
                <a:gd name="T31" fmla="*/ 55 h 157"/>
                <a:gd name="T32" fmla="*/ 20 w 208"/>
                <a:gd name="T33" fmla="*/ 54 h 157"/>
                <a:gd name="T34" fmla="*/ 25 w 208"/>
                <a:gd name="T35" fmla="*/ 54 h 157"/>
                <a:gd name="T36" fmla="*/ 30 w 208"/>
                <a:gd name="T37" fmla="*/ 54 h 157"/>
                <a:gd name="T38" fmla="*/ 36 w 208"/>
                <a:gd name="T39" fmla="*/ 55 h 157"/>
                <a:gd name="T40" fmla="*/ 40 w 208"/>
                <a:gd name="T41" fmla="*/ 58 h 157"/>
                <a:gd name="T42" fmla="*/ 44 w 208"/>
                <a:gd name="T43" fmla="*/ 61 h 157"/>
                <a:gd name="T44" fmla="*/ 77 w 208"/>
                <a:gd name="T45" fmla="*/ 94 h 157"/>
                <a:gd name="T46" fmla="*/ 164 w 208"/>
                <a:gd name="T47" fmla="*/ 9 h 157"/>
                <a:gd name="T48" fmla="*/ 168 w 208"/>
                <a:gd name="T49" fmla="*/ 5 h 157"/>
                <a:gd name="T50" fmla="*/ 172 w 208"/>
                <a:gd name="T51" fmla="*/ 3 h 157"/>
                <a:gd name="T52" fmla="*/ 177 w 208"/>
                <a:gd name="T53" fmla="*/ 2 h 157"/>
                <a:gd name="T54" fmla="*/ 182 w 208"/>
                <a:gd name="T55" fmla="*/ 0 h 157"/>
                <a:gd name="T56" fmla="*/ 187 w 208"/>
                <a:gd name="T57" fmla="*/ 2 h 157"/>
                <a:gd name="T58" fmla="*/ 191 w 208"/>
                <a:gd name="T59" fmla="*/ 3 h 157"/>
                <a:gd name="T60" fmla="*/ 197 w 208"/>
                <a:gd name="T61" fmla="*/ 5 h 157"/>
                <a:gd name="T62" fmla="*/ 200 w 208"/>
                <a:gd name="T63" fmla="*/ 9 h 157"/>
                <a:gd name="T64" fmla="*/ 204 w 208"/>
                <a:gd name="T65" fmla="*/ 12 h 157"/>
                <a:gd name="T66" fmla="*/ 205 w 208"/>
                <a:gd name="T67" fmla="*/ 18 h 157"/>
                <a:gd name="T68" fmla="*/ 207 w 208"/>
                <a:gd name="T69" fmla="*/ 22 h 157"/>
                <a:gd name="T70" fmla="*/ 208 w 208"/>
                <a:gd name="T71" fmla="*/ 26 h 157"/>
                <a:gd name="T72" fmla="*/ 207 w 208"/>
                <a:gd name="T73" fmla="*/ 32 h 157"/>
                <a:gd name="T74" fmla="*/ 205 w 208"/>
                <a:gd name="T75" fmla="*/ 36 h 157"/>
                <a:gd name="T76" fmla="*/ 204 w 208"/>
                <a:gd name="T77" fmla="*/ 41 h 157"/>
                <a:gd name="T78" fmla="*/ 200 w 208"/>
                <a:gd name="T79" fmla="*/ 45 h 157"/>
                <a:gd name="T80" fmla="*/ 96 w 208"/>
                <a:gd name="T81" fmla="*/ 150 h 157"/>
                <a:gd name="T82" fmla="*/ 92 w 208"/>
                <a:gd name="T83" fmla="*/ 153 h 157"/>
                <a:gd name="T84" fmla="*/ 87 w 208"/>
                <a:gd name="T85" fmla="*/ 156 h 157"/>
                <a:gd name="T86" fmla="*/ 83 w 208"/>
                <a:gd name="T87" fmla="*/ 157 h 157"/>
                <a:gd name="T88" fmla="*/ 77 w 208"/>
                <a:gd name="T8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7">
                  <a:moveTo>
                    <a:pt x="77" y="157"/>
                  </a:moveTo>
                  <a:lnTo>
                    <a:pt x="73" y="157"/>
                  </a:lnTo>
                  <a:lnTo>
                    <a:pt x="67" y="156"/>
                  </a:lnTo>
                  <a:lnTo>
                    <a:pt x="63" y="153"/>
                  </a:lnTo>
                  <a:lnTo>
                    <a:pt x="59" y="150"/>
                  </a:lnTo>
                  <a:lnTo>
                    <a:pt x="7" y="98"/>
                  </a:lnTo>
                  <a:lnTo>
                    <a:pt x="4" y="94"/>
                  </a:lnTo>
                  <a:lnTo>
                    <a:pt x="1" y="90"/>
                  </a:lnTo>
                  <a:lnTo>
                    <a:pt x="0" y="84"/>
                  </a:lnTo>
                  <a:lnTo>
                    <a:pt x="0" y="80"/>
                  </a:lnTo>
                  <a:lnTo>
                    <a:pt x="0" y="74"/>
                  </a:lnTo>
                  <a:lnTo>
                    <a:pt x="1" y="69"/>
                  </a:lnTo>
                  <a:lnTo>
                    <a:pt x="4" y="65"/>
                  </a:lnTo>
                  <a:lnTo>
                    <a:pt x="7" y="61"/>
                  </a:lnTo>
                  <a:lnTo>
                    <a:pt x="11" y="58"/>
                  </a:lnTo>
                  <a:lnTo>
                    <a:pt x="15" y="55"/>
                  </a:lnTo>
                  <a:lnTo>
                    <a:pt x="20" y="54"/>
                  </a:lnTo>
                  <a:lnTo>
                    <a:pt x="25" y="54"/>
                  </a:lnTo>
                  <a:lnTo>
                    <a:pt x="30" y="54"/>
                  </a:lnTo>
                  <a:lnTo>
                    <a:pt x="36" y="55"/>
                  </a:lnTo>
                  <a:lnTo>
                    <a:pt x="40" y="58"/>
                  </a:lnTo>
                  <a:lnTo>
                    <a:pt x="44" y="61"/>
                  </a:lnTo>
                  <a:lnTo>
                    <a:pt x="77" y="94"/>
                  </a:lnTo>
                  <a:lnTo>
                    <a:pt x="164" y="9"/>
                  </a:lnTo>
                  <a:lnTo>
                    <a:pt x="168" y="5"/>
                  </a:lnTo>
                  <a:lnTo>
                    <a:pt x="172" y="3"/>
                  </a:lnTo>
                  <a:lnTo>
                    <a:pt x="177" y="2"/>
                  </a:lnTo>
                  <a:lnTo>
                    <a:pt x="182" y="0"/>
                  </a:lnTo>
                  <a:lnTo>
                    <a:pt x="187" y="2"/>
                  </a:lnTo>
                  <a:lnTo>
                    <a:pt x="191" y="3"/>
                  </a:lnTo>
                  <a:lnTo>
                    <a:pt x="197" y="5"/>
                  </a:lnTo>
                  <a:lnTo>
                    <a:pt x="200" y="9"/>
                  </a:lnTo>
                  <a:lnTo>
                    <a:pt x="204" y="12"/>
                  </a:lnTo>
                  <a:lnTo>
                    <a:pt x="205" y="18"/>
                  </a:lnTo>
                  <a:lnTo>
                    <a:pt x="207" y="22"/>
                  </a:lnTo>
                  <a:lnTo>
                    <a:pt x="208" y="26"/>
                  </a:lnTo>
                  <a:lnTo>
                    <a:pt x="207" y="32"/>
                  </a:lnTo>
                  <a:lnTo>
                    <a:pt x="205" y="36"/>
                  </a:lnTo>
                  <a:lnTo>
                    <a:pt x="204" y="41"/>
                  </a:lnTo>
                  <a:lnTo>
                    <a:pt x="200" y="45"/>
                  </a:lnTo>
                  <a:lnTo>
                    <a:pt x="96" y="150"/>
                  </a:lnTo>
                  <a:lnTo>
                    <a:pt x="92" y="153"/>
                  </a:lnTo>
                  <a:lnTo>
                    <a:pt x="87" y="156"/>
                  </a:lnTo>
                  <a:lnTo>
                    <a:pt x="83" y="157"/>
                  </a:lnTo>
                  <a:lnTo>
                    <a:pt x="7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25"/>
            <p:cNvSpPr>
              <a:spLocks/>
            </p:cNvSpPr>
            <p:nvPr/>
          </p:nvSpPr>
          <p:spPr bwMode="auto">
            <a:xfrm>
              <a:off x="7493000" y="2230438"/>
              <a:ext cx="109538" cy="82550"/>
            </a:xfrm>
            <a:custGeom>
              <a:avLst/>
              <a:gdLst>
                <a:gd name="T0" fmla="*/ 77 w 208"/>
                <a:gd name="T1" fmla="*/ 156 h 156"/>
                <a:gd name="T2" fmla="*/ 73 w 208"/>
                <a:gd name="T3" fmla="*/ 156 h 156"/>
                <a:gd name="T4" fmla="*/ 67 w 208"/>
                <a:gd name="T5" fmla="*/ 154 h 156"/>
                <a:gd name="T6" fmla="*/ 63 w 208"/>
                <a:gd name="T7" fmla="*/ 152 h 156"/>
                <a:gd name="T8" fmla="*/ 59 w 208"/>
                <a:gd name="T9" fmla="*/ 149 h 156"/>
                <a:gd name="T10" fmla="*/ 7 w 208"/>
                <a:gd name="T11" fmla="*/ 97 h 156"/>
                <a:gd name="T12" fmla="*/ 4 w 208"/>
                <a:gd name="T13" fmla="*/ 93 h 156"/>
                <a:gd name="T14" fmla="*/ 1 w 208"/>
                <a:gd name="T15" fmla="*/ 88 h 156"/>
                <a:gd name="T16" fmla="*/ 0 w 208"/>
                <a:gd name="T17" fmla="*/ 82 h 156"/>
                <a:gd name="T18" fmla="*/ 0 w 208"/>
                <a:gd name="T19" fmla="*/ 78 h 156"/>
                <a:gd name="T20" fmla="*/ 0 w 208"/>
                <a:gd name="T21" fmla="*/ 74 h 156"/>
                <a:gd name="T22" fmla="*/ 1 w 208"/>
                <a:gd name="T23" fmla="*/ 68 h 156"/>
                <a:gd name="T24" fmla="*/ 4 w 208"/>
                <a:gd name="T25" fmla="*/ 64 h 156"/>
                <a:gd name="T26" fmla="*/ 7 w 208"/>
                <a:gd name="T27" fmla="*/ 59 h 156"/>
                <a:gd name="T28" fmla="*/ 11 w 208"/>
                <a:gd name="T29" fmla="*/ 57 h 156"/>
                <a:gd name="T30" fmla="*/ 15 w 208"/>
                <a:gd name="T31" fmla="*/ 54 h 156"/>
                <a:gd name="T32" fmla="*/ 20 w 208"/>
                <a:gd name="T33" fmla="*/ 52 h 156"/>
                <a:gd name="T34" fmla="*/ 25 w 208"/>
                <a:gd name="T35" fmla="*/ 52 h 156"/>
                <a:gd name="T36" fmla="*/ 30 w 208"/>
                <a:gd name="T37" fmla="*/ 52 h 156"/>
                <a:gd name="T38" fmla="*/ 36 w 208"/>
                <a:gd name="T39" fmla="*/ 54 h 156"/>
                <a:gd name="T40" fmla="*/ 40 w 208"/>
                <a:gd name="T41" fmla="*/ 57 h 156"/>
                <a:gd name="T42" fmla="*/ 44 w 208"/>
                <a:gd name="T43" fmla="*/ 59 h 156"/>
                <a:gd name="T44" fmla="*/ 77 w 208"/>
                <a:gd name="T45" fmla="*/ 94 h 156"/>
                <a:gd name="T46" fmla="*/ 164 w 208"/>
                <a:gd name="T47" fmla="*/ 8 h 156"/>
                <a:gd name="T48" fmla="*/ 168 w 208"/>
                <a:gd name="T49" fmla="*/ 5 h 156"/>
                <a:gd name="T50" fmla="*/ 172 w 208"/>
                <a:gd name="T51" fmla="*/ 2 h 156"/>
                <a:gd name="T52" fmla="*/ 177 w 208"/>
                <a:gd name="T53" fmla="*/ 0 h 156"/>
                <a:gd name="T54" fmla="*/ 182 w 208"/>
                <a:gd name="T55" fmla="*/ 0 h 156"/>
                <a:gd name="T56" fmla="*/ 187 w 208"/>
                <a:gd name="T57" fmla="*/ 0 h 156"/>
                <a:gd name="T58" fmla="*/ 191 w 208"/>
                <a:gd name="T59" fmla="*/ 2 h 156"/>
                <a:gd name="T60" fmla="*/ 197 w 208"/>
                <a:gd name="T61" fmla="*/ 5 h 156"/>
                <a:gd name="T62" fmla="*/ 200 w 208"/>
                <a:gd name="T63" fmla="*/ 8 h 156"/>
                <a:gd name="T64" fmla="*/ 204 w 208"/>
                <a:gd name="T65" fmla="*/ 12 h 156"/>
                <a:gd name="T66" fmla="*/ 205 w 208"/>
                <a:gd name="T67" fmla="*/ 16 h 156"/>
                <a:gd name="T68" fmla="*/ 207 w 208"/>
                <a:gd name="T69" fmla="*/ 21 h 156"/>
                <a:gd name="T70" fmla="*/ 208 w 208"/>
                <a:gd name="T71" fmla="*/ 26 h 156"/>
                <a:gd name="T72" fmla="*/ 207 w 208"/>
                <a:gd name="T73" fmla="*/ 31 h 156"/>
                <a:gd name="T74" fmla="*/ 205 w 208"/>
                <a:gd name="T75" fmla="*/ 36 h 156"/>
                <a:gd name="T76" fmla="*/ 204 w 208"/>
                <a:gd name="T77" fmla="*/ 41 h 156"/>
                <a:gd name="T78" fmla="*/ 200 w 208"/>
                <a:gd name="T79" fmla="*/ 45 h 156"/>
                <a:gd name="T80" fmla="*/ 96 w 208"/>
                <a:gd name="T81" fmla="*/ 149 h 156"/>
                <a:gd name="T82" fmla="*/ 92 w 208"/>
                <a:gd name="T83" fmla="*/ 152 h 156"/>
                <a:gd name="T84" fmla="*/ 87 w 208"/>
                <a:gd name="T85" fmla="*/ 154 h 156"/>
                <a:gd name="T86" fmla="*/ 83 w 208"/>
                <a:gd name="T87" fmla="*/ 156 h 156"/>
                <a:gd name="T88" fmla="*/ 77 w 208"/>
                <a:gd name="T8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6">
                  <a:moveTo>
                    <a:pt x="77" y="156"/>
                  </a:moveTo>
                  <a:lnTo>
                    <a:pt x="73" y="156"/>
                  </a:lnTo>
                  <a:lnTo>
                    <a:pt x="67" y="154"/>
                  </a:lnTo>
                  <a:lnTo>
                    <a:pt x="63" y="152"/>
                  </a:lnTo>
                  <a:lnTo>
                    <a:pt x="59" y="149"/>
                  </a:lnTo>
                  <a:lnTo>
                    <a:pt x="7" y="97"/>
                  </a:lnTo>
                  <a:lnTo>
                    <a:pt x="4" y="93"/>
                  </a:lnTo>
                  <a:lnTo>
                    <a:pt x="1" y="88"/>
                  </a:lnTo>
                  <a:lnTo>
                    <a:pt x="0" y="82"/>
                  </a:lnTo>
                  <a:lnTo>
                    <a:pt x="0" y="78"/>
                  </a:lnTo>
                  <a:lnTo>
                    <a:pt x="0" y="74"/>
                  </a:lnTo>
                  <a:lnTo>
                    <a:pt x="1" y="68"/>
                  </a:lnTo>
                  <a:lnTo>
                    <a:pt x="4" y="64"/>
                  </a:lnTo>
                  <a:lnTo>
                    <a:pt x="7" y="59"/>
                  </a:lnTo>
                  <a:lnTo>
                    <a:pt x="11" y="57"/>
                  </a:lnTo>
                  <a:lnTo>
                    <a:pt x="15" y="54"/>
                  </a:lnTo>
                  <a:lnTo>
                    <a:pt x="20" y="52"/>
                  </a:lnTo>
                  <a:lnTo>
                    <a:pt x="25" y="52"/>
                  </a:lnTo>
                  <a:lnTo>
                    <a:pt x="30" y="52"/>
                  </a:lnTo>
                  <a:lnTo>
                    <a:pt x="36" y="54"/>
                  </a:lnTo>
                  <a:lnTo>
                    <a:pt x="40" y="57"/>
                  </a:lnTo>
                  <a:lnTo>
                    <a:pt x="44" y="59"/>
                  </a:lnTo>
                  <a:lnTo>
                    <a:pt x="77" y="94"/>
                  </a:lnTo>
                  <a:lnTo>
                    <a:pt x="164" y="8"/>
                  </a:lnTo>
                  <a:lnTo>
                    <a:pt x="168" y="5"/>
                  </a:lnTo>
                  <a:lnTo>
                    <a:pt x="172" y="2"/>
                  </a:lnTo>
                  <a:lnTo>
                    <a:pt x="177" y="0"/>
                  </a:lnTo>
                  <a:lnTo>
                    <a:pt x="182" y="0"/>
                  </a:lnTo>
                  <a:lnTo>
                    <a:pt x="187" y="0"/>
                  </a:lnTo>
                  <a:lnTo>
                    <a:pt x="191" y="2"/>
                  </a:lnTo>
                  <a:lnTo>
                    <a:pt x="197" y="5"/>
                  </a:lnTo>
                  <a:lnTo>
                    <a:pt x="200" y="8"/>
                  </a:lnTo>
                  <a:lnTo>
                    <a:pt x="204" y="12"/>
                  </a:lnTo>
                  <a:lnTo>
                    <a:pt x="205" y="16"/>
                  </a:lnTo>
                  <a:lnTo>
                    <a:pt x="207" y="21"/>
                  </a:lnTo>
                  <a:lnTo>
                    <a:pt x="208" y="26"/>
                  </a:lnTo>
                  <a:lnTo>
                    <a:pt x="207" y="31"/>
                  </a:lnTo>
                  <a:lnTo>
                    <a:pt x="205" y="36"/>
                  </a:lnTo>
                  <a:lnTo>
                    <a:pt x="204" y="41"/>
                  </a:lnTo>
                  <a:lnTo>
                    <a:pt x="200" y="45"/>
                  </a:lnTo>
                  <a:lnTo>
                    <a:pt x="96" y="149"/>
                  </a:lnTo>
                  <a:lnTo>
                    <a:pt x="92" y="152"/>
                  </a:lnTo>
                  <a:lnTo>
                    <a:pt x="87" y="154"/>
                  </a:lnTo>
                  <a:lnTo>
                    <a:pt x="83" y="156"/>
                  </a:lnTo>
                  <a:lnTo>
                    <a:pt x="77"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26"/>
            <p:cNvSpPr>
              <a:spLocks/>
            </p:cNvSpPr>
            <p:nvPr/>
          </p:nvSpPr>
          <p:spPr bwMode="auto">
            <a:xfrm>
              <a:off x="7502525" y="2130426"/>
              <a:ext cx="90488" cy="90488"/>
            </a:xfrm>
            <a:custGeom>
              <a:avLst/>
              <a:gdLst>
                <a:gd name="T0" fmla="*/ 147 w 173"/>
                <a:gd name="T1" fmla="*/ 173 h 173"/>
                <a:gd name="T2" fmla="*/ 141 w 173"/>
                <a:gd name="T3" fmla="*/ 171 h 173"/>
                <a:gd name="T4" fmla="*/ 137 w 173"/>
                <a:gd name="T5" fmla="*/ 170 h 173"/>
                <a:gd name="T6" fmla="*/ 132 w 173"/>
                <a:gd name="T7" fmla="*/ 168 h 173"/>
                <a:gd name="T8" fmla="*/ 128 w 173"/>
                <a:gd name="T9" fmla="*/ 164 h 173"/>
                <a:gd name="T10" fmla="*/ 8 w 173"/>
                <a:gd name="T11" fmla="*/ 44 h 173"/>
                <a:gd name="T12" fmla="*/ 4 w 173"/>
                <a:gd name="T13" fmla="*/ 40 h 173"/>
                <a:gd name="T14" fmla="*/ 3 w 173"/>
                <a:gd name="T15" fmla="*/ 36 h 173"/>
                <a:gd name="T16" fmla="*/ 1 w 173"/>
                <a:gd name="T17" fmla="*/ 32 h 173"/>
                <a:gd name="T18" fmla="*/ 0 w 173"/>
                <a:gd name="T19" fmla="*/ 26 h 173"/>
                <a:gd name="T20" fmla="*/ 1 w 173"/>
                <a:gd name="T21" fmla="*/ 21 h 173"/>
                <a:gd name="T22" fmla="*/ 3 w 173"/>
                <a:gd name="T23" fmla="*/ 17 h 173"/>
                <a:gd name="T24" fmla="*/ 4 w 173"/>
                <a:gd name="T25" fmla="*/ 11 h 173"/>
                <a:gd name="T26" fmla="*/ 8 w 173"/>
                <a:gd name="T27" fmla="*/ 9 h 173"/>
                <a:gd name="T28" fmla="*/ 13 w 173"/>
                <a:gd name="T29" fmla="*/ 4 h 173"/>
                <a:gd name="T30" fmla="*/ 17 w 173"/>
                <a:gd name="T31" fmla="*/ 3 h 173"/>
                <a:gd name="T32" fmla="*/ 21 w 173"/>
                <a:gd name="T33" fmla="*/ 1 h 173"/>
                <a:gd name="T34" fmla="*/ 27 w 173"/>
                <a:gd name="T35" fmla="*/ 0 h 173"/>
                <a:gd name="T36" fmla="*/ 31 w 173"/>
                <a:gd name="T37" fmla="*/ 1 h 173"/>
                <a:gd name="T38" fmla="*/ 36 w 173"/>
                <a:gd name="T39" fmla="*/ 3 h 173"/>
                <a:gd name="T40" fmla="*/ 42 w 173"/>
                <a:gd name="T41" fmla="*/ 4 h 173"/>
                <a:gd name="T42" fmla="*/ 44 w 173"/>
                <a:gd name="T43" fmla="*/ 9 h 173"/>
                <a:gd name="T44" fmla="*/ 165 w 173"/>
                <a:gd name="T45" fmla="*/ 128 h 173"/>
                <a:gd name="T46" fmla="*/ 168 w 173"/>
                <a:gd name="T47" fmla="*/ 132 h 173"/>
                <a:gd name="T48" fmla="*/ 171 w 173"/>
                <a:gd name="T49" fmla="*/ 137 h 173"/>
                <a:gd name="T50" fmla="*/ 173 w 173"/>
                <a:gd name="T51" fmla="*/ 141 h 173"/>
                <a:gd name="T52" fmla="*/ 173 w 173"/>
                <a:gd name="T53" fmla="*/ 147 h 173"/>
                <a:gd name="T54" fmla="*/ 173 w 173"/>
                <a:gd name="T55" fmla="*/ 151 h 173"/>
                <a:gd name="T56" fmla="*/ 171 w 173"/>
                <a:gd name="T57" fmla="*/ 155 h 173"/>
                <a:gd name="T58" fmla="*/ 168 w 173"/>
                <a:gd name="T59" fmla="*/ 161 h 173"/>
                <a:gd name="T60" fmla="*/ 165 w 173"/>
                <a:gd name="T61" fmla="*/ 164 h 173"/>
                <a:gd name="T62" fmla="*/ 161 w 173"/>
                <a:gd name="T63" fmla="*/ 168 h 173"/>
                <a:gd name="T64" fmla="*/ 157 w 173"/>
                <a:gd name="T65" fmla="*/ 170 h 173"/>
                <a:gd name="T66" fmla="*/ 151 w 173"/>
                <a:gd name="T67" fmla="*/ 171 h 173"/>
                <a:gd name="T68" fmla="*/ 147 w 173"/>
                <a:gd name="T6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3">
                  <a:moveTo>
                    <a:pt x="147" y="173"/>
                  </a:moveTo>
                  <a:lnTo>
                    <a:pt x="141" y="171"/>
                  </a:lnTo>
                  <a:lnTo>
                    <a:pt x="137" y="170"/>
                  </a:lnTo>
                  <a:lnTo>
                    <a:pt x="132" y="168"/>
                  </a:lnTo>
                  <a:lnTo>
                    <a:pt x="128" y="164"/>
                  </a:lnTo>
                  <a:lnTo>
                    <a:pt x="8" y="44"/>
                  </a:lnTo>
                  <a:lnTo>
                    <a:pt x="4" y="40"/>
                  </a:lnTo>
                  <a:lnTo>
                    <a:pt x="3" y="36"/>
                  </a:lnTo>
                  <a:lnTo>
                    <a:pt x="1" y="32"/>
                  </a:lnTo>
                  <a:lnTo>
                    <a:pt x="0" y="26"/>
                  </a:lnTo>
                  <a:lnTo>
                    <a:pt x="1" y="21"/>
                  </a:lnTo>
                  <a:lnTo>
                    <a:pt x="3" y="17"/>
                  </a:lnTo>
                  <a:lnTo>
                    <a:pt x="4" y="11"/>
                  </a:lnTo>
                  <a:lnTo>
                    <a:pt x="8" y="9"/>
                  </a:lnTo>
                  <a:lnTo>
                    <a:pt x="13" y="4"/>
                  </a:lnTo>
                  <a:lnTo>
                    <a:pt x="17" y="3"/>
                  </a:lnTo>
                  <a:lnTo>
                    <a:pt x="21" y="1"/>
                  </a:lnTo>
                  <a:lnTo>
                    <a:pt x="27" y="0"/>
                  </a:lnTo>
                  <a:lnTo>
                    <a:pt x="31" y="1"/>
                  </a:lnTo>
                  <a:lnTo>
                    <a:pt x="36" y="3"/>
                  </a:lnTo>
                  <a:lnTo>
                    <a:pt x="42" y="4"/>
                  </a:lnTo>
                  <a:lnTo>
                    <a:pt x="44" y="9"/>
                  </a:lnTo>
                  <a:lnTo>
                    <a:pt x="165" y="128"/>
                  </a:lnTo>
                  <a:lnTo>
                    <a:pt x="168" y="132"/>
                  </a:lnTo>
                  <a:lnTo>
                    <a:pt x="171" y="137"/>
                  </a:lnTo>
                  <a:lnTo>
                    <a:pt x="173" y="141"/>
                  </a:lnTo>
                  <a:lnTo>
                    <a:pt x="173" y="147"/>
                  </a:lnTo>
                  <a:lnTo>
                    <a:pt x="173" y="151"/>
                  </a:lnTo>
                  <a:lnTo>
                    <a:pt x="171" y="155"/>
                  </a:lnTo>
                  <a:lnTo>
                    <a:pt x="168" y="161"/>
                  </a:lnTo>
                  <a:lnTo>
                    <a:pt x="165" y="164"/>
                  </a:lnTo>
                  <a:lnTo>
                    <a:pt x="161" y="168"/>
                  </a:lnTo>
                  <a:lnTo>
                    <a:pt x="157" y="170"/>
                  </a:lnTo>
                  <a:lnTo>
                    <a:pt x="151" y="171"/>
                  </a:lnTo>
                  <a:lnTo>
                    <a:pt x="147"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27"/>
            <p:cNvSpPr>
              <a:spLocks/>
            </p:cNvSpPr>
            <p:nvPr/>
          </p:nvSpPr>
          <p:spPr bwMode="auto">
            <a:xfrm>
              <a:off x="7502525" y="2130426"/>
              <a:ext cx="90488" cy="90488"/>
            </a:xfrm>
            <a:custGeom>
              <a:avLst/>
              <a:gdLst>
                <a:gd name="T0" fmla="*/ 27 w 173"/>
                <a:gd name="T1" fmla="*/ 173 h 173"/>
                <a:gd name="T2" fmla="*/ 21 w 173"/>
                <a:gd name="T3" fmla="*/ 171 h 173"/>
                <a:gd name="T4" fmla="*/ 17 w 173"/>
                <a:gd name="T5" fmla="*/ 170 h 173"/>
                <a:gd name="T6" fmla="*/ 13 w 173"/>
                <a:gd name="T7" fmla="*/ 168 h 173"/>
                <a:gd name="T8" fmla="*/ 8 w 173"/>
                <a:gd name="T9" fmla="*/ 164 h 173"/>
                <a:gd name="T10" fmla="*/ 4 w 173"/>
                <a:gd name="T11" fmla="*/ 161 h 173"/>
                <a:gd name="T12" fmla="*/ 3 w 173"/>
                <a:gd name="T13" fmla="*/ 155 h 173"/>
                <a:gd name="T14" fmla="*/ 1 w 173"/>
                <a:gd name="T15" fmla="*/ 151 h 173"/>
                <a:gd name="T16" fmla="*/ 0 w 173"/>
                <a:gd name="T17" fmla="*/ 147 h 173"/>
                <a:gd name="T18" fmla="*/ 1 w 173"/>
                <a:gd name="T19" fmla="*/ 141 h 173"/>
                <a:gd name="T20" fmla="*/ 3 w 173"/>
                <a:gd name="T21" fmla="*/ 137 h 173"/>
                <a:gd name="T22" fmla="*/ 4 w 173"/>
                <a:gd name="T23" fmla="*/ 132 h 173"/>
                <a:gd name="T24" fmla="*/ 8 w 173"/>
                <a:gd name="T25" fmla="*/ 128 h 173"/>
                <a:gd name="T26" fmla="*/ 128 w 173"/>
                <a:gd name="T27" fmla="*/ 9 h 173"/>
                <a:gd name="T28" fmla="*/ 132 w 173"/>
                <a:gd name="T29" fmla="*/ 4 h 173"/>
                <a:gd name="T30" fmla="*/ 137 w 173"/>
                <a:gd name="T31" fmla="*/ 3 h 173"/>
                <a:gd name="T32" fmla="*/ 141 w 173"/>
                <a:gd name="T33" fmla="*/ 1 h 173"/>
                <a:gd name="T34" fmla="*/ 147 w 173"/>
                <a:gd name="T35" fmla="*/ 0 h 173"/>
                <a:gd name="T36" fmla="*/ 151 w 173"/>
                <a:gd name="T37" fmla="*/ 1 h 173"/>
                <a:gd name="T38" fmla="*/ 157 w 173"/>
                <a:gd name="T39" fmla="*/ 3 h 173"/>
                <a:gd name="T40" fmla="*/ 161 w 173"/>
                <a:gd name="T41" fmla="*/ 4 h 173"/>
                <a:gd name="T42" fmla="*/ 165 w 173"/>
                <a:gd name="T43" fmla="*/ 9 h 173"/>
                <a:gd name="T44" fmla="*/ 168 w 173"/>
                <a:gd name="T45" fmla="*/ 11 h 173"/>
                <a:gd name="T46" fmla="*/ 171 w 173"/>
                <a:gd name="T47" fmla="*/ 17 h 173"/>
                <a:gd name="T48" fmla="*/ 173 w 173"/>
                <a:gd name="T49" fmla="*/ 21 h 173"/>
                <a:gd name="T50" fmla="*/ 173 w 173"/>
                <a:gd name="T51" fmla="*/ 26 h 173"/>
                <a:gd name="T52" fmla="*/ 173 w 173"/>
                <a:gd name="T53" fmla="*/ 32 h 173"/>
                <a:gd name="T54" fmla="*/ 171 w 173"/>
                <a:gd name="T55" fmla="*/ 36 h 173"/>
                <a:gd name="T56" fmla="*/ 168 w 173"/>
                <a:gd name="T57" fmla="*/ 40 h 173"/>
                <a:gd name="T58" fmla="*/ 165 w 173"/>
                <a:gd name="T59" fmla="*/ 44 h 173"/>
                <a:gd name="T60" fmla="*/ 44 w 173"/>
                <a:gd name="T61" fmla="*/ 164 h 173"/>
                <a:gd name="T62" fmla="*/ 42 w 173"/>
                <a:gd name="T63" fmla="*/ 168 h 173"/>
                <a:gd name="T64" fmla="*/ 36 w 173"/>
                <a:gd name="T65" fmla="*/ 170 h 173"/>
                <a:gd name="T66" fmla="*/ 31 w 173"/>
                <a:gd name="T67" fmla="*/ 171 h 173"/>
                <a:gd name="T68" fmla="*/ 27 w 173"/>
                <a:gd name="T6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3">
                  <a:moveTo>
                    <a:pt x="27" y="173"/>
                  </a:moveTo>
                  <a:lnTo>
                    <a:pt x="21" y="171"/>
                  </a:lnTo>
                  <a:lnTo>
                    <a:pt x="17" y="170"/>
                  </a:lnTo>
                  <a:lnTo>
                    <a:pt x="13" y="168"/>
                  </a:lnTo>
                  <a:lnTo>
                    <a:pt x="8" y="164"/>
                  </a:lnTo>
                  <a:lnTo>
                    <a:pt x="4" y="161"/>
                  </a:lnTo>
                  <a:lnTo>
                    <a:pt x="3" y="155"/>
                  </a:lnTo>
                  <a:lnTo>
                    <a:pt x="1" y="151"/>
                  </a:lnTo>
                  <a:lnTo>
                    <a:pt x="0" y="147"/>
                  </a:lnTo>
                  <a:lnTo>
                    <a:pt x="1" y="141"/>
                  </a:lnTo>
                  <a:lnTo>
                    <a:pt x="3" y="137"/>
                  </a:lnTo>
                  <a:lnTo>
                    <a:pt x="4" y="132"/>
                  </a:lnTo>
                  <a:lnTo>
                    <a:pt x="8" y="128"/>
                  </a:lnTo>
                  <a:lnTo>
                    <a:pt x="128" y="9"/>
                  </a:lnTo>
                  <a:lnTo>
                    <a:pt x="132" y="4"/>
                  </a:lnTo>
                  <a:lnTo>
                    <a:pt x="137" y="3"/>
                  </a:lnTo>
                  <a:lnTo>
                    <a:pt x="141" y="1"/>
                  </a:lnTo>
                  <a:lnTo>
                    <a:pt x="147" y="0"/>
                  </a:lnTo>
                  <a:lnTo>
                    <a:pt x="151" y="1"/>
                  </a:lnTo>
                  <a:lnTo>
                    <a:pt x="157" y="3"/>
                  </a:lnTo>
                  <a:lnTo>
                    <a:pt x="161" y="4"/>
                  </a:lnTo>
                  <a:lnTo>
                    <a:pt x="165" y="9"/>
                  </a:lnTo>
                  <a:lnTo>
                    <a:pt x="168" y="11"/>
                  </a:lnTo>
                  <a:lnTo>
                    <a:pt x="171" y="17"/>
                  </a:lnTo>
                  <a:lnTo>
                    <a:pt x="173" y="21"/>
                  </a:lnTo>
                  <a:lnTo>
                    <a:pt x="173" y="26"/>
                  </a:lnTo>
                  <a:lnTo>
                    <a:pt x="173" y="32"/>
                  </a:lnTo>
                  <a:lnTo>
                    <a:pt x="171" y="36"/>
                  </a:lnTo>
                  <a:lnTo>
                    <a:pt x="168" y="40"/>
                  </a:lnTo>
                  <a:lnTo>
                    <a:pt x="165" y="44"/>
                  </a:lnTo>
                  <a:lnTo>
                    <a:pt x="44" y="164"/>
                  </a:lnTo>
                  <a:lnTo>
                    <a:pt x="42" y="168"/>
                  </a:lnTo>
                  <a:lnTo>
                    <a:pt x="36" y="170"/>
                  </a:lnTo>
                  <a:lnTo>
                    <a:pt x="31" y="171"/>
                  </a:lnTo>
                  <a:lnTo>
                    <a:pt x="27"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 name="Group 87"/>
          <p:cNvGrpSpPr/>
          <p:nvPr/>
        </p:nvGrpSpPr>
        <p:grpSpPr>
          <a:xfrm>
            <a:off x="6506752" y="1709586"/>
            <a:ext cx="1219200" cy="1305227"/>
            <a:chOff x="-1046920" y="2123773"/>
            <a:chExt cx="1219200" cy="1305227"/>
          </a:xfrm>
        </p:grpSpPr>
        <p:sp>
          <p:nvSpPr>
            <p:cNvPr id="89" name="Oval 88"/>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0" name="Oval 89"/>
            <p:cNvSpPr/>
            <p:nvPr/>
          </p:nvSpPr>
          <p:spPr>
            <a:xfrm>
              <a:off x="-961755" y="2294965"/>
              <a:ext cx="1048871" cy="1048871"/>
            </a:xfrm>
            <a:prstGeom prst="ellipse">
              <a:avLst/>
            </a:prstGeom>
            <a:solidFill>
              <a:srgbClr val="F1C40F"/>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1" name="Oval 90"/>
            <p:cNvSpPr/>
            <p:nvPr/>
          </p:nvSpPr>
          <p:spPr>
            <a:xfrm>
              <a:off x="-627820" y="2123773"/>
              <a:ext cx="381000" cy="381000"/>
            </a:xfrm>
            <a:prstGeom prst="ellipse">
              <a:avLst/>
            </a:prstGeom>
            <a:solidFill>
              <a:schemeClr val="bg1"/>
            </a:solidFill>
            <a:ln w="38100">
              <a:solidFill>
                <a:srgbClr val="F1C4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b="1" dirty="0" smtClean="0">
                  <a:solidFill>
                    <a:srgbClr val="7F8C8D"/>
                  </a:solidFill>
                  <a:latin typeface="Calibri Light" panose="020F0302020204030204" pitchFamily="34" charset="0"/>
                </a:rPr>
                <a:t>3</a:t>
              </a:r>
              <a:endParaRPr lang="id-ID" sz="1200" b="1" dirty="0">
                <a:solidFill>
                  <a:srgbClr val="7F8C8D"/>
                </a:solidFill>
                <a:latin typeface="Calibri Light" panose="020F0302020204030204" pitchFamily="34" charset="0"/>
              </a:endParaRPr>
            </a:p>
          </p:txBody>
        </p:sp>
      </p:grpSp>
      <p:sp>
        <p:nvSpPr>
          <p:cNvPr id="81" name="Rectangle 80"/>
          <p:cNvSpPr/>
          <p:nvPr/>
        </p:nvSpPr>
        <p:spPr>
          <a:xfrm>
            <a:off x="6449050" y="3769372"/>
            <a:ext cx="1334605" cy="769441"/>
          </a:xfrm>
          <a:prstGeom prst="rect">
            <a:avLst/>
          </a:prstGeom>
        </p:spPr>
        <p:txBody>
          <a:bodyPr wrap="square">
            <a:spAutoFit/>
          </a:bodyPr>
          <a:lstStyle/>
          <a:p>
            <a:pPr algn="ctr"/>
            <a:r>
              <a:rPr lang="en-US" sz="1100" dirty="0" err="1">
                <a:solidFill>
                  <a:schemeClr val="bg1"/>
                </a:solidFill>
                <a:latin typeface="Calibri Light" pitchFamily="34" charset="0"/>
              </a:rPr>
              <a:t>Lorem</a:t>
            </a:r>
            <a:r>
              <a:rPr lang="en-US" sz="1100" dirty="0">
                <a:solidFill>
                  <a:schemeClr val="bg1"/>
                </a:solidFill>
                <a:latin typeface="Calibri Light" pitchFamily="34" charset="0"/>
              </a:rPr>
              <a:t> </a:t>
            </a:r>
            <a:r>
              <a:rPr lang="en-US" sz="1100" dirty="0" err="1">
                <a:solidFill>
                  <a:schemeClr val="bg1"/>
                </a:solidFill>
                <a:latin typeface="Calibri Light" pitchFamily="34" charset="0"/>
              </a:rPr>
              <a:t>Ipsum</a:t>
            </a:r>
            <a:r>
              <a:rPr lang="en-US" sz="1100" dirty="0">
                <a:solidFill>
                  <a:schemeClr val="bg1"/>
                </a:solidFill>
                <a:latin typeface="Calibri Light" pitchFamily="34" charset="0"/>
              </a:rPr>
              <a:t> is simply dummy text of the printing and typesetting. </a:t>
            </a:r>
            <a:endParaRPr lang="en-US" sz="1100" dirty="0">
              <a:solidFill>
                <a:schemeClr val="bg1"/>
              </a:solidFill>
            </a:endParaRPr>
          </a:p>
        </p:txBody>
      </p:sp>
      <p:grpSp>
        <p:nvGrpSpPr>
          <p:cNvPr id="69" name="Group 68"/>
          <p:cNvGrpSpPr/>
          <p:nvPr/>
        </p:nvGrpSpPr>
        <p:grpSpPr>
          <a:xfrm>
            <a:off x="6922741" y="2157620"/>
            <a:ext cx="387222" cy="568037"/>
            <a:chOff x="8640211" y="1701541"/>
            <a:chExt cx="418808" cy="614374"/>
          </a:xfrm>
          <a:solidFill>
            <a:schemeClr val="bg1"/>
          </a:solidFill>
        </p:grpSpPr>
        <p:sp>
          <p:nvSpPr>
            <p:cNvPr id="70" name="Freeform 10"/>
            <p:cNvSpPr>
              <a:spLocks noEditPoints="1"/>
            </p:cNvSpPr>
            <p:nvPr/>
          </p:nvSpPr>
          <p:spPr bwMode="auto">
            <a:xfrm>
              <a:off x="8640211" y="1701541"/>
              <a:ext cx="418808" cy="614374"/>
            </a:xfrm>
            <a:custGeom>
              <a:avLst/>
              <a:gdLst>
                <a:gd name="T0" fmla="*/ 40 w 680"/>
                <a:gd name="T1" fmla="*/ 960 h 1000"/>
                <a:gd name="T2" fmla="*/ 640 w 680"/>
                <a:gd name="T3" fmla="*/ 960 h 1000"/>
                <a:gd name="T4" fmla="*/ 640 w 680"/>
                <a:gd name="T5" fmla="*/ 40 h 1000"/>
                <a:gd name="T6" fmla="*/ 189 w 680"/>
                <a:gd name="T7" fmla="*/ 40 h 1000"/>
                <a:gd name="T8" fmla="*/ 40 w 680"/>
                <a:gd name="T9" fmla="*/ 189 h 1000"/>
                <a:gd name="T10" fmla="*/ 40 w 680"/>
                <a:gd name="T11" fmla="*/ 960 h 1000"/>
                <a:gd name="T12" fmla="*/ 660 w 680"/>
                <a:gd name="T13" fmla="*/ 1000 h 1000"/>
                <a:gd name="T14" fmla="*/ 20 w 680"/>
                <a:gd name="T15" fmla="*/ 1000 h 1000"/>
                <a:gd name="T16" fmla="*/ 16 w 680"/>
                <a:gd name="T17" fmla="*/ 999 h 1000"/>
                <a:gd name="T18" fmla="*/ 13 w 680"/>
                <a:gd name="T19" fmla="*/ 999 h 1000"/>
                <a:gd name="T20" fmla="*/ 9 w 680"/>
                <a:gd name="T21" fmla="*/ 996 h 1000"/>
                <a:gd name="T22" fmla="*/ 7 w 680"/>
                <a:gd name="T23" fmla="*/ 994 h 1000"/>
                <a:gd name="T24" fmla="*/ 4 w 680"/>
                <a:gd name="T25" fmla="*/ 991 h 1000"/>
                <a:gd name="T26" fmla="*/ 2 w 680"/>
                <a:gd name="T27" fmla="*/ 988 h 1000"/>
                <a:gd name="T28" fmla="*/ 0 w 680"/>
                <a:gd name="T29" fmla="*/ 984 h 1000"/>
                <a:gd name="T30" fmla="*/ 0 w 680"/>
                <a:gd name="T31" fmla="*/ 980 h 1000"/>
                <a:gd name="T32" fmla="*/ 0 w 680"/>
                <a:gd name="T33" fmla="*/ 180 h 1000"/>
                <a:gd name="T34" fmla="*/ 0 w 680"/>
                <a:gd name="T35" fmla="*/ 176 h 1000"/>
                <a:gd name="T36" fmla="*/ 2 w 680"/>
                <a:gd name="T37" fmla="*/ 173 h 1000"/>
                <a:gd name="T38" fmla="*/ 4 w 680"/>
                <a:gd name="T39" fmla="*/ 169 h 1000"/>
                <a:gd name="T40" fmla="*/ 7 w 680"/>
                <a:gd name="T41" fmla="*/ 165 h 1000"/>
                <a:gd name="T42" fmla="*/ 167 w 680"/>
                <a:gd name="T43" fmla="*/ 6 h 1000"/>
                <a:gd name="T44" fmla="*/ 169 w 680"/>
                <a:gd name="T45" fmla="*/ 4 h 1000"/>
                <a:gd name="T46" fmla="*/ 173 w 680"/>
                <a:gd name="T47" fmla="*/ 1 h 1000"/>
                <a:gd name="T48" fmla="*/ 177 w 680"/>
                <a:gd name="T49" fmla="*/ 0 h 1000"/>
                <a:gd name="T50" fmla="*/ 180 w 680"/>
                <a:gd name="T51" fmla="*/ 0 h 1000"/>
                <a:gd name="T52" fmla="*/ 660 w 680"/>
                <a:gd name="T53" fmla="*/ 0 h 1000"/>
                <a:gd name="T54" fmla="*/ 664 w 680"/>
                <a:gd name="T55" fmla="*/ 0 h 1000"/>
                <a:gd name="T56" fmla="*/ 667 w 680"/>
                <a:gd name="T57" fmla="*/ 1 h 1000"/>
                <a:gd name="T58" fmla="*/ 671 w 680"/>
                <a:gd name="T59" fmla="*/ 4 h 1000"/>
                <a:gd name="T60" fmla="*/ 675 w 680"/>
                <a:gd name="T61" fmla="*/ 6 h 1000"/>
                <a:gd name="T62" fmla="*/ 677 w 680"/>
                <a:gd name="T63" fmla="*/ 9 h 1000"/>
                <a:gd name="T64" fmla="*/ 678 w 680"/>
                <a:gd name="T65" fmla="*/ 12 h 1000"/>
                <a:gd name="T66" fmla="*/ 680 w 680"/>
                <a:gd name="T67" fmla="*/ 16 h 1000"/>
                <a:gd name="T68" fmla="*/ 680 w 680"/>
                <a:gd name="T69" fmla="*/ 20 h 1000"/>
                <a:gd name="T70" fmla="*/ 680 w 680"/>
                <a:gd name="T71" fmla="*/ 980 h 1000"/>
                <a:gd name="T72" fmla="*/ 680 w 680"/>
                <a:gd name="T73" fmla="*/ 984 h 1000"/>
                <a:gd name="T74" fmla="*/ 678 w 680"/>
                <a:gd name="T75" fmla="*/ 988 h 1000"/>
                <a:gd name="T76" fmla="*/ 677 w 680"/>
                <a:gd name="T77" fmla="*/ 991 h 1000"/>
                <a:gd name="T78" fmla="*/ 675 w 680"/>
                <a:gd name="T79" fmla="*/ 994 h 1000"/>
                <a:gd name="T80" fmla="*/ 671 w 680"/>
                <a:gd name="T81" fmla="*/ 996 h 1000"/>
                <a:gd name="T82" fmla="*/ 667 w 680"/>
                <a:gd name="T83" fmla="*/ 999 h 1000"/>
                <a:gd name="T84" fmla="*/ 664 w 680"/>
                <a:gd name="T85" fmla="*/ 999 h 1000"/>
                <a:gd name="T86" fmla="*/ 660 w 680"/>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1000">
                  <a:moveTo>
                    <a:pt x="40" y="960"/>
                  </a:moveTo>
                  <a:lnTo>
                    <a:pt x="640" y="960"/>
                  </a:lnTo>
                  <a:lnTo>
                    <a:pt x="640" y="40"/>
                  </a:lnTo>
                  <a:lnTo>
                    <a:pt x="189" y="40"/>
                  </a:lnTo>
                  <a:lnTo>
                    <a:pt x="40" y="189"/>
                  </a:lnTo>
                  <a:lnTo>
                    <a:pt x="40" y="960"/>
                  </a:lnTo>
                  <a:close/>
                  <a:moveTo>
                    <a:pt x="660" y="1000"/>
                  </a:moveTo>
                  <a:lnTo>
                    <a:pt x="20" y="1000"/>
                  </a:lnTo>
                  <a:lnTo>
                    <a:pt x="16" y="999"/>
                  </a:lnTo>
                  <a:lnTo>
                    <a:pt x="13" y="999"/>
                  </a:lnTo>
                  <a:lnTo>
                    <a:pt x="9" y="996"/>
                  </a:lnTo>
                  <a:lnTo>
                    <a:pt x="7" y="994"/>
                  </a:lnTo>
                  <a:lnTo>
                    <a:pt x="4" y="991"/>
                  </a:lnTo>
                  <a:lnTo>
                    <a:pt x="2" y="988"/>
                  </a:lnTo>
                  <a:lnTo>
                    <a:pt x="0" y="984"/>
                  </a:lnTo>
                  <a:lnTo>
                    <a:pt x="0" y="980"/>
                  </a:lnTo>
                  <a:lnTo>
                    <a:pt x="0" y="180"/>
                  </a:lnTo>
                  <a:lnTo>
                    <a:pt x="0" y="176"/>
                  </a:lnTo>
                  <a:lnTo>
                    <a:pt x="2" y="173"/>
                  </a:lnTo>
                  <a:lnTo>
                    <a:pt x="4" y="169"/>
                  </a:lnTo>
                  <a:lnTo>
                    <a:pt x="7" y="165"/>
                  </a:lnTo>
                  <a:lnTo>
                    <a:pt x="167" y="6"/>
                  </a:lnTo>
                  <a:lnTo>
                    <a:pt x="169" y="4"/>
                  </a:lnTo>
                  <a:lnTo>
                    <a:pt x="173" y="1"/>
                  </a:lnTo>
                  <a:lnTo>
                    <a:pt x="177" y="0"/>
                  </a:lnTo>
                  <a:lnTo>
                    <a:pt x="180" y="0"/>
                  </a:lnTo>
                  <a:lnTo>
                    <a:pt x="660" y="0"/>
                  </a:lnTo>
                  <a:lnTo>
                    <a:pt x="664" y="0"/>
                  </a:lnTo>
                  <a:lnTo>
                    <a:pt x="667" y="1"/>
                  </a:lnTo>
                  <a:lnTo>
                    <a:pt x="671" y="4"/>
                  </a:lnTo>
                  <a:lnTo>
                    <a:pt x="675" y="6"/>
                  </a:lnTo>
                  <a:lnTo>
                    <a:pt x="677" y="9"/>
                  </a:lnTo>
                  <a:lnTo>
                    <a:pt x="678" y="12"/>
                  </a:lnTo>
                  <a:lnTo>
                    <a:pt x="680" y="16"/>
                  </a:lnTo>
                  <a:lnTo>
                    <a:pt x="680" y="20"/>
                  </a:lnTo>
                  <a:lnTo>
                    <a:pt x="680" y="980"/>
                  </a:lnTo>
                  <a:lnTo>
                    <a:pt x="680" y="984"/>
                  </a:lnTo>
                  <a:lnTo>
                    <a:pt x="678" y="988"/>
                  </a:lnTo>
                  <a:lnTo>
                    <a:pt x="677" y="991"/>
                  </a:lnTo>
                  <a:lnTo>
                    <a:pt x="675" y="994"/>
                  </a:lnTo>
                  <a:lnTo>
                    <a:pt x="671" y="996"/>
                  </a:lnTo>
                  <a:lnTo>
                    <a:pt x="667" y="999"/>
                  </a:lnTo>
                  <a:lnTo>
                    <a:pt x="664" y="999"/>
                  </a:lnTo>
                  <a:lnTo>
                    <a:pt x="660"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1"/>
            <p:cNvSpPr>
              <a:spLocks/>
            </p:cNvSpPr>
            <p:nvPr/>
          </p:nvSpPr>
          <p:spPr bwMode="auto">
            <a:xfrm>
              <a:off x="8640211" y="1701541"/>
              <a:ext cx="123613" cy="123613"/>
            </a:xfrm>
            <a:custGeom>
              <a:avLst/>
              <a:gdLst>
                <a:gd name="T0" fmla="*/ 180 w 200"/>
                <a:gd name="T1" fmla="*/ 200 h 200"/>
                <a:gd name="T2" fmla="*/ 20 w 200"/>
                <a:gd name="T3" fmla="*/ 200 h 200"/>
                <a:gd name="T4" fmla="*/ 16 w 200"/>
                <a:gd name="T5" fmla="*/ 200 h 200"/>
                <a:gd name="T6" fmla="*/ 13 w 200"/>
                <a:gd name="T7" fmla="*/ 199 h 200"/>
                <a:gd name="T8" fmla="*/ 9 w 200"/>
                <a:gd name="T9" fmla="*/ 196 h 200"/>
                <a:gd name="T10" fmla="*/ 7 w 200"/>
                <a:gd name="T11" fmla="*/ 194 h 200"/>
                <a:gd name="T12" fmla="*/ 4 w 200"/>
                <a:gd name="T13" fmla="*/ 191 h 200"/>
                <a:gd name="T14" fmla="*/ 2 w 200"/>
                <a:gd name="T15" fmla="*/ 188 h 200"/>
                <a:gd name="T16" fmla="*/ 0 w 200"/>
                <a:gd name="T17" fmla="*/ 184 h 200"/>
                <a:gd name="T18" fmla="*/ 0 w 200"/>
                <a:gd name="T19" fmla="*/ 180 h 200"/>
                <a:gd name="T20" fmla="*/ 0 w 200"/>
                <a:gd name="T21" fmla="*/ 176 h 200"/>
                <a:gd name="T22" fmla="*/ 2 w 200"/>
                <a:gd name="T23" fmla="*/ 173 h 200"/>
                <a:gd name="T24" fmla="*/ 4 w 200"/>
                <a:gd name="T25" fmla="*/ 169 h 200"/>
                <a:gd name="T26" fmla="*/ 7 w 200"/>
                <a:gd name="T27" fmla="*/ 165 h 200"/>
                <a:gd name="T28" fmla="*/ 9 w 200"/>
                <a:gd name="T29" fmla="*/ 164 h 200"/>
                <a:gd name="T30" fmla="*/ 13 w 200"/>
                <a:gd name="T31" fmla="*/ 162 h 200"/>
                <a:gd name="T32" fmla="*/ 16 w 200"/>
                <a:gd name="T33" fmla="*/ 160 h 200"/>
                <a:gd name="T34" fmla="*/ 20 w 200"/>
                <a:gd name="T35" fmla="*/ 160 h 200"/>
                <a:gd name="T36" fmla="*/ 161 w 200"/>
                <a:gd name="T37" fmla="*/ 160 h 200"/>
                <a:gd name="T38" fmla="*/ 161 w 200"/>
                <a:gd name="T39" fmla="*/ 20 h 200"/>
                <a:gd name="T40" fmla="*/ 161 w 200"/>
                <a:gd name="T41" fmla="*/ 16 h 200"/>
                <a:gd name="T42" fmla="*/ 162 w 200"/>
                <a:gd name="T43" fmla="*/ 12 h 200"/>
                <a:gd name="T44" fmla="*/ 164 w 200"/>
                <a:gd name="T45" fmla="*/ 9 h 200"/>
                <a:gd name="T46" fmla="*/ 167 w 200"/>
                <a:gd name="T47" fmla="*/ 6 h 200"/>
                <a:gd name="T48" fmla="*/ 169 w 200"/>
                <a:gd name="T49" fmla="*/ 4 h 200"/>
                <a:gd name="T50" fmla="*/ 173 w 200"/>
                <a:gd name="T51" fmla="*/ 1 h 200"/>
                <a:gd name="T52" fmla="*/ 177 w 200"/>
                <a:gd name="T53" fmla="*/ 0 h 200"/>
                <a:gd name="T54" fmla="*/ 180 w 200"/>
                <a:gd name="T55" fmla="*/ 0 h 200"/>
                <a:gd name="T56" fmla="*/ 184 w 200"/>
                <a:gd name="T57" fmla="*/ 0 h 200"/>
                <a:gd name="T58" fmla="*/ 188 w 200"/>
                <a:gd name="T59" fmla="*/ 1 h 200"/>
                <a:gd name="T60" fmla="*/ 192 w 200"/>
                <a:gd name="T61" fmla="*/ 4 h 200"/>
                <a:gd name="T62" fmla="*/ 194 w 200"/>
                <a:gd name="T63" fmla="*/ 6 h 200"/>
                <a:gd name="T64" fmla="*/ 197 w 200"/>
                <a:gd name="T65" fmla="*/ 9 h 200"/>
                <a:gd name="T66" fmla="*/ 199 w 200"/>
                <a:gd name="T67" fmla="*/ 12 h 200"/>
                <a:gd name="T68" fmla="*/ 200 w 200"/>
                <a:gd name="T69" fmla="*/ 16 h 200"/>
                <a:gd name="T70" fmla="*/ 200 w 200"/>
                <a:gd name="T71" fmla="*/ 20 h 200"/>
                <a:gd name="T72" fmla="*/ 200 w 200"/>
                <a:gd name="T73" fmla="*/ 180 h 200"/>
                <a:gd name="T74" fmla="*/ 200 w 200"/>
                <a:gd name="T75" fmla="*/ 184 h 200"/>
                <a:gd name="T76" fmla="*/ 199 w 200"/>
                <a:gd name="T77" fmla="*/ 188 h 200"/>
                <a:gd name="T78" fmla="*/ 197 w 200"/>
                <a:gd name="T79" fmla="*/ 191 h 200"/>
                <a:gd name="T80" fmla="*/ 194 w 200"/>
                <a:gd name="T81" fmla="*/ 194 h 200"/>
                <a:gd name="T82" fmla="*/ 192 w 200"/>
                <a:gd name="T83" fmla="*/ 196 h 200"/>
                <a:gd name="T84" fmla="*/ 188 w 200"/>
                <a:gd name="T85" fmla="*/ 199 h 200"/>
                <a:gd name="T86" fmla="*/ 184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20" y="200"/>
                  </a:lnTo>
                  <a:lnTo>
                    <a:pt x="16" y="200"/>
                  </a:lnTo>
                  <a:lnTo>
                    <a:pt x="13" y="199"/>
                  </a:lnTo>
                  <a:lnTo>
                    <a:pt x="9" y="196"/>
                  </a:lnTo>
                  <a:lnTo>
                    <a:pt x="7" y="194"/>
                  </a:lnTo>
                  <a:lnTo>
                    <a:pt x="4" y="191"/>
                  </a:lnTo>
                  <a:lnTo>
                    <a:pt x="2" y="188"/>
                  </a:lnTo>
                  <a:lnTo>
                    <a:pt x="0" y="184"/>
                  </a:lnTo>
                  <a:lnTo>
                    <a:pt x="0" y="180"/>
                  </a:lnTo>
                  <a:lnTo>
                    <a:pt x="0" y="176"/>
                  </a:lnTo>
                  <a:lnTo>
                    <a:pt x="2" y="173"/>
                  </a:lnTo>
                  <a:lnTo>
                    <a:pt x="4" y="169"/>
                  </a:lnTo>
                  <a:lnTo>
                    <a:pt x="7" y="165"/>
                  </a:lnTo>
                  <a:lnTo>
                    <a:pt x="9" y="164"/>
                  </a:lnTo>
                  <a:lnTo>
                    <a:pt x="13" y="162"/>
                  </a:lnTo>
                  <a:lnTo>
                    <a:pt x="16" y="160"/>
                  </a:lnTo>
                  <a:lnTo>
                    <a:pt x="20" y="160"/>
                  </a:lnTo>
                  <a:lnTo>
                    <a:pt x="161" y="160"/>
                  </a:lnTo>
                  <a:lnTo>
                    <a:pt x="161" y="20"/>
                  </a:lnTo>
                  <a:lnTo>
                    <a:pt x="161" y="16"/>
                  </a:lnTo>
                  <a:lnTo>
                    <a:pt x="162" y="12"/>
                  </a:lnTo>
                  <a:lnTo>
                    <a:pt x="164" y="9"/>
                  </a:lnTo>
                  <a:lnTo>
                    <a:pt x="167" y="6"/>
                  </a:lnTo>
                  <a:lnTo>
                    <a:pt x="169" y="4"/>
                  </a:lnTo>
                  <a:lnTo>
                    <a:pt x="173" y="1"/>
                  </a:lnTo>
                  <a:lnTo>
                    <a:pt x="177" y="0"/>
                  </a:lnTo>
                  <a:lnTo>
                    <a:pt x="180" y="0"/>
                  </a:lnTo>
                  <a:lnTo>
                    <a:pt x="184" y="0"/>
                  </a:lnTo>
                  <a:lnTo>
                    <a:pt x="188" y="1"/>
                  </a:lnTo>
                  <a:lnTo>
                    <a:pt x="192" y="4"/>
                  </a:lnTo>
                  <a:lnTo>
                    <a:pt x="194" y="6"/>
                  </a:lnTo>
                  <a:lnTo>
                    <a:pt x="197" y="9"/>
                  </a:lnTo>
                  <a:lnTo>
                    <a:pt x="199" y="12"/>
                  </a:lnTo>
                  <a:lnTo>
                    <a:pt x="200" y="16"/>
                  </a:lnTo>
                  <a:lnTo>
                    <a:pt x="200" y="20"/>
                  </a:lnTo>
                  <a:lnTo>
                    <a:pt x="200" y="180"/>
                  </a:lnTo>
                  <a:lnTo>
                    <a:pt x="200" y="184"/>
                  </a:lnTo>
                  <a:lnTo>
                    <a:pt x="199" y="188"/>
                  </a:lnTo>
                  <a:lnTo>
                    <a:pt x="197" y="191"/>
                  </a:lnTo>
                  <a:lnTo>
                    <a:pt x="194" y="194"/>
                  </a:lnTo>
                  <a:lnTo>
                    <a:pt x="192" y="196"/>
                  </a:lnTo>
                  <a:lnTo>
                    <a:pt x="188" y="199"/>
                  </a:lnTo>
                  <a:lnTo>
                    <a:pt x="184"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9"/>
            <p:cNvSpPr>
              <a:spLocks noEditPoints="1"/>
            </p:cNvSpPr>
            <p:nvPr/>
          </p:nvSpPr>
          <p:spPr bwMode="auto">
            <a:xfrm>
              <a:off x="8715855" y="1898953"/>
              <a:ext cx="269365" cy="269365"/>
            </a:xfrm>
            <a:custGeom>
              <a:avLst/>
              <a:gdLst>
                <a:gd name="T0" fmla="*/ 184 w 439"/>
                <a:gd name="T1" fmla="*/ 43 h 439"/>
                <a:gd name="T2" fmla="*/ 134 w 439"/>
                <a:gd name="T3" fmla="*/ 60 h 439"/>
                <a:gd name="T4" fmla="*/ 92 w 439"/>
                <a:gd name="T5" fmla="*/ 91 h 439"/>
                <a:gd name="T6" fmla="*/ 61 w 439"/>
                <a:gd name="T7" fmla="*/ 134 h 439"/>
                <a:gd name="T8" fmla="*/ 43 w 439"/>
                <a:gd name="T9" fmla="*/ 182 h 439"/>
                <a:gd name="T10" fmla="*/ 41 w 439"/>
                <a:gd name="T11" fmla="*/ 237 h 439"/>
                <a:gd name="T12" fmla="*/ 53 w 439"/>
                <a:gd name="T13" fmla="*/ 289 h 439"/>
                <a:gd name="T14" fmla="*/ 81 w 439"/>
                <a:gd name="T15" fmla="*/ 334 h 439"/>
                <a:gd name="T16" fmla="*/ 119 w 439"/>
                <a:gd name="T17" fmla="*/ 369 h 439"/>
                <a:gd name="T18" fmla="*/ 166 w 439"/>
                <a:gd name="T19" fmla="*/ 391 h 439"/>
                <a:gd name="T20" fmla="*/ 220 w 439"/>
                <a:gd name="T21" fmla="*/ 398 h 439"/>
                <a:gd name="T22" fmla="*/ 273 w 439"/>
                <a:gd name="T23" fmla="*/ 391 h 439"/>
                <a:gd name="T24" fmla="*/ 320 w 439"/>
                <a:gd name="T25" fmla="*/ 369 h 439"/>
                <a:gd name="T26" fmla="*/ 358 w 439"/>
                <a:gd name="T27" fmla="*/ 334 h 439"/>
                <a:gd name="T28" fmla="*/ 385 w 439"/>
                <a:gd name="T29" fmla="*/ 289 h 439"/>
                <a:gd name="T30" fmla="*/ 399 w 439"/>
                <a:gd name="T31" fmla="*/ 237 h 439"/>
                <a:gd name="T32" fmla="*/ 396 w 439"/>
                <a:gd name="T33" fmla="*/ 182 h 439"/>
                <a:gd name="T34" fmla="*/ 377 w 439"/>
                <a:gd name="T35" fmla="*/ 134 h 439"/>
                <a:gd name="T36" fmla="*/ 346 w 439"/>
                <a:gd name="T37" fmla="*/ 91 h 439"/>
                <a:gd name="T38" fmla="*/ 305 w 439"/>
                <a:gd name="T39" fmla="*/ 60 h 439"/>
                <a:gd name="T40" fmla="*/ 256 w 439"/>
                <a:gd name="T41" fmla="*/ 43 h 439"/>
                <a:gd name="T42" fmla="*/ 220 w 439"/>
                <a:gd name="T43" fmla="*/ 439 h 439"/>
                <a:gd name="T44" fmla="*/ 154 w 439"/>
                <a:gd name="T45" fmla="*/ 429 h 439"/>
                <a:gd name="T46" fmla="*/ 97 w 439"/>
                <a:gd name="T47" fmla="*/ 401 h 439"/>
                <a:gd name="T48" fmla="*/ 49 w 439"/>
                <a:gd name="T49" fmla="*/ 359 h 439"/>
                <a:gd name="T50" fmla="*/ 17 w 439"/>
                <a:gd name="T51" fmla="*/ 304 h 439"/>
                <a:gd name="T52" fmla="*/ 1 w 439"/>
                <a:gd name="T53" fmla="*/ 242 h 439"/>
                <a:gd name="T54" fmla="*/ 4 w 439"/>
                <a:gd name="T55" fmla="*/ 175 h 439"/>
                <a:gd name="T56" fmla="*/ 26 w 439"/>
                <a:gd name="T57" fmla="*/ 114 h 439"/>
                <a:gd name="T58" fmla="*/ 64 w 439"/>
                <a:gd name="T59" fmla="*/ 63 h 439"/>
                <a:gd name="T60" fmla="*/ 114 w 439"/>
                <a:gd name="T61" fmla="*/ 26 h 439"/>
                <a:gd name="T62" fmla="*/ 175 w 439"/>
                <a:gd name="T63" fmla="*/ 3 h 439"/>
                <a:gd name="T64" fmla="*/ 242 w 439"/>
                <a:gd name="T65" fmla="*/ 0 h 439"/>
                <a:gd name="T66" fmla="*/ 305 w 439"/>
                <a:gd name="T67" fmla="*/ 16 h 439"/>
                <a:gd name="T68" fmla="*/ 359 w 439"/>
                <a:gd name="T69" fmla="*/ 49 h 439"/>
                <a:gd name="T70" fmla="*/ 401 w 439"/>
                <a:gd name="T71" fmla="*/ 96 h 439"/>
                <a:gd name="T72" fmla="*/ 430 w 439"/>
                <a:gd name="T73" fmla="*/ 154 h 439"/>
                <a:gd name="T74" fmla="*/ 439 w 439"/>
                <a:gd name="T75" fmla="*/ 219 h 439"/>
                <a:gd name="T76" fmla="*/ 430 w 439"/>
                <a:gd name="T77" fmla="*/ 284 h 439"/>
                <a:gd name="T78" fmla="*/ 401 w 439"/>
                <a:gd name="T79" fmla="*/ 342 h 439"/>
                <a:gd name="T80" fmla="*/ 359 w 439"/>
                <a:gd name="T81" fmla="*/ 388 h 439"/>
                <a:gd name="T82" fmla="*/ 305 w 439"/>
                <a:gd name="T83" fmla="*/ 422 h 439"/>
                <a:gd name="T84" fmla="*/ 242 w 439"/>
                <a:gd name="T85"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9" h="439">
                  <a:moveTo>
                    <a:pt x="220" y="39"/>
                  </a:moveTo>
                  <a:lnTo>
                    <a:pt x="201" y="39"/>
                  </a:lnTo>
                  <a:lnTo>
                    <a:pt x="184" y="43"/>
                  </a:lnTo>
                  <a:lnTo>
                    <a:pt x="166" y="47"/>
                  </a:lnTo>
                  <a:lnTo>
                    <a:pt x="149" y="53"/>
                  </a:lnTo>
                  <a:lnTo>
                    <a:pt x="134" y="60"/>
                  </a:lnTo>
                  <a:lnTo>
                    <a:pt x="119" y="70"/>
                  </a:lnTo>
                  <a:lnTo>
                    <a:pt x="105" y="80"/>
                  </a:lnTo>
                  <a:lnTo>
                    <a:pt x="92" y="91"/>
                  </a:lnTo>
                  <a:lnTo>
                    <a:pt x="81" y="105"/>
                  </a:lnTo>
                  <a:lnTo>
                    <a:pt x="71" y="119"/>
                  </a:lnTo>
                  <a:lnTo>
                    <a:pt x="61" y="134"/>
                  </a:lnTo>
                  <a:lnTo>
                    <a:pt x="53" y="149"/>
                  </a:lnTo>
                  <a:lnTo>
                    <a:pt x="47" y="166"/>
                  </a:lnTo>
                  <a:lnTo>
                    <a:pt x="43" y="182"/>
                  </a:lnTo>
                  <a:lnTo>
                    <a:pt x="41" y="201"/>
                  </a:lnTo>
                  <a:lnTo>
                    <a:pt x="40" y="219"/>
                  </a:lnTo>
                  <a:lnTo>
                    <a:pt x="41" y="237"/>
                  </a:lnTo>
                  <a:lnTo>
                    <a:pt x="43" y="255"/>
                  </a:lnTo>
                  <a:lnTo>
                    <a:pt x="47" y="273"/>
                  </a:lnTo>
                  <a:lnTo>
                    <a:pt x="53" y="289"/>
                  </a:lnTo>
                  <a:lnTo>
                    <a:pt x="61" y="305"/>
                  </a:lnTo>
                  <a:lnTo>
                    <a:pt x="71" y="320"/>
                  </a:lnTo>
                  <a:lnTo>
                    <a:pt x="81" y="334"/>
                  </a:lnTo>
                  <a:lnTo>
                    <a:pt x="92" y="346"/>
                  </a:lnTo>
                  <a:lnTo>
                    <a:pt x="105" y="357"/>
                  </a:lnTo>
                  <a:lnTo>
                    <a:pt x="119" y="369"/>
                  </a:lnTo>
                  <a:lnTo>
                    <a:pt x="134" y="377"/>
                  </a:lnTo>
                  <a:lnTo>
                    <a:pt x="149" y="385"/>
                  </a:lnTo>
                  <a:lnTo>
                    <a:pt x="166" y="391"/>
                  </a:lnTo>
                  <a:lnTo>
                    <a:pt x="184" y="396"/>
                  </a:lnTo>
                  <a:lnTo>
                    <a:pt x="201" y="398"/>
                  </a:lnTo>
                  <a:lnTo>
                    <a:pt x="220" y="398"/>
                  </a:lnTo>
                  <a:lnTo>
                    <a:pt x="237" y="398"/>
                  </a:lnTo>
                  <a:lnTo>
                    <a:pt x="256" y="396"/>
                  </a:lnTo>
                  <a:lnTo>
                    <a:pt x="273" y="391"/>
                  </a:lnTo>
                  <a:lnTo>
                    <a:pt x="289" y="385"/>
                  </a:lnTo>
                  <a:lnTo>
                    <a:pt x="305" y="377"/>
                  </a:lnTo>
                  <a:lnTo>
                    <a:pt x="320" y="369"/>
                  </a:lnTo>
                  <a:lnTo>
                    <a:pt x="334" y="357"/>
                  </a:lnTo>
                  <a:lnTo>
                    <a:pt x="346" y="346"/>
                  </a:lnTo>
                  <a:lnTo>
                    <a:pt x="358" y="334"/>
                  </a:lnTo>
                  <a:lnTo>
                    <a:pt x="369" y="320"/>
                  </a:lnTo>
                  <a:lnTo>
                    <a:pt x="377" y="305"/>
                  </a:lnTo>
                  <a:lnTo>
                    <a:pt x="385" y="289"/>
                  </a:lnTo>
                  <a:lnTo>
                    <a:pt x="391" y="273"/>
                  </a:lnTo>
                  <a:lnTo>
                    <a:pt x="396" y="255"/>
                  </a:lnTo>
                  <a:lnTo>
                    <a:pt x="399" y="237"/>
                  </a:lnTo>
                  <a:lnTo>
                    <a:pt x="400" y="219"/>
                  </a:lnTo>
                  <a:lnTo>
                    <a:pt x="399" y="201"/>
                  </a:lnTo>
                  <a:lnTo>
                    <a:pt x="396" y="182"/>
                  </a:lnTo>
                  <a:lnTo>
                    <a:pt x="391" y="166"/>
                  </a:lnTo>
                  <a:lnTo>
                    <a:pt x="385" y="149"/>
                  </a:lnTo>
                  <a:lnTo>
                    <a:pt x="377" y="134"/>
                  </a:lnTo>
                  <a:lnTo>
                    <a:pt x="369" y="119"/>
                  </a:lnTo>
                  <a:lnTo>
                    <a:pt x="358" y="105"/>
                  </a:lnTo>
                  <a:lnTo>
                    <a:pt x="346" y="91"/>
                  </a:lnTo>
                  <a:lnTo>
                    <a:pt x="334" y="80"/>
                  </a:lnTo>
                  <a:lnTo>
                    <a:pt x="320" y="70"/>
                  </a:lnTo>
                  <a:lnTo>
                    <a:pt x="305" y="60"/>
                  </a:lnTo>
                  <a:lnTo>
                    <a:pt x="289" y="53"/>
                  </a:lnTo>
                  <a:lnTo>
                    <a:pt x="273" y="47"/>
                  </a:lnTo>
                  <a:lnTo>
                    <a:pt x="256" y="43"/>
                  </a:lnTo>
                  <a:lnTo>
                    <a:pt x="237" y="39"/>
                  </a:lnTo>
                  <a:lnTo>
                    <a:pt x="220" y="39"/>
                  </a:lnTo>
                  <a:close/>
                  <a:moveTo>
                    <a:pt x="220" y="439"/>
                  </a:moveTo>
                  <a:lnTo>
                    <a:pt x="197" y="438"/>
                  </a:lnTo>
                  <a:lnTo>
                    <a:pt x="175" y="434"/>
                  </a:lnTo>
                  <a:lnTo>
                    <a:pt x="154" y="429"/>
                  </a:lnTo>
                  <a:lnTo>
                    <a:pt x="134" y="422"/>
                  </a:lnTo>
                  <a:lnTo>
                    <a:pt x="114" y="412"/>
                  </a:lnTo>
                  <a:lnTo>
                    <a:pt x="97" y="401"/>
                  </a:lnTo>
                  <a:lnTo>
                    <a:pt x="79" y="388"/>
                  </a:lnTo>
                  <a:lnTo>
                    <a:pt x="64" y="375"/>
                  </a:lnTo>
                  <a:lnTo>
                    <a:pt x="49" y="359"/>
                  </a:lnTo>
                  <a:lnTo>
                    <a:pt x="37" y="342"/>
                  </a:lnTo>
                  <a:lnTo>
                    <a:pt x="26" y="324"/>
                  </a:lnTo>
                  <a:lnTo>
                    <a:pt x="17" y="304"/>
                  </a:lnTo>
                  <a:lnTo>
                    <a:pt x="10" y="284"/>
                  </a:lnTo>
                  <a:lnTo>
                    <a:pt x="4" y="263"/>
                  </a:lnTo>
                  <a:lnTo>
                    <a:pt x="1" y="242"/>
                  </a:lnTo>
                  <a:lnTo>
                    <a:pt x="0" y="219"/>
                  </a:lnTo>
                  <a:lnTo>
                    <a:pt x="1" y="197"/>
                  </a:lnTo>
                  <a:lnTo>
                    <a:pt x="4" y="175"/>
                  </a:lnTo>
                  <a:lnTo>
                    <a:pt x="10" y="154"/>
                  </a:lnTo>
                  <a:lnTo>
                    <a:pt x="17" y="134"/>
                  </a:lnTo>
                  <a:lnTo>
                    <a:pt x="26" y="114"/>
                  </a:lnTo>
                  <a:lnTo>
                    <a:pt x="37" y="96"/>
                  </a:lnTo>
                  <a:lnTo>
                    <a:pt x="49" y="79"/>
                  </a:lnTo>
                  <a:lnTo>
                    <a:pt x="64" y="63"/>
                  </a:lnTo>
                  <a:lnTo>
                    <a:pt x="79" y="49"/>
                  </a:lnTo>
                  <a:lnTo>
                    <a:pt x="97" y="37"/>
                  </a:lnTo>
                  <a:lnTo>
                    <a:pt x="114" y="26"/>
                  </a:lnTo>
                  <a:lnTo>
                    <a:pt x="134" y="16"/>
                  </a:lnTo>
                  <a:lnTo>
                    <a:pt x="154" y="9"/>
                  </a:lnTo>
                  <a:lnTo>
                    <a:pt x="175" y="3"/>
                  </a:lnTo>
                  <a:lnTo>
                    <a:pt x="197" y="0"/>
                  </a:lnTo>
                  <a:lnTo>
                    <a:pt x="220" y="0"/>
                  </a:lnTo>
                  <a:lnTo>
                    <a:pt x="242" y="0"/>
                  </a:lnTo>
                  <a:lnTo>
                    <a:pt x="263" y="3"/>
                  </a:lnTo>
                  <a:lnTo>
                    <a:pt x="284" y="9"/>
                  </a:lnTo>
                  <a:lnTo>
                    <a:pt x="305" y="16"/>
                  </a:lnTo>
                  <a:lnTo>
                    <a:pt x="324" y="26"/>
                  </a:lnTo>
                  <a:lnTo>
                    <a:pt x="343" y="37"/>
                  </a:lnTo>
                  <a:lnTo>
                    <a:pt x="359" y="49"/>
                  </a:lnTo>
                  <a:lnTo>
                    <a:pt x="375" y="63"/>
                  </a:lnTo>
                  <a:lnTo>
                    <a:pt x="389" y="79"/>
                  </a:lnTo>
                  <a:lnTo>
                    <a:pt x="401" y="96"/>
                  </a:lnTo>
                  <a:lnTo>
                    <a:pt x="412" y="114"/>
                  </a:lnTo>
                  <a:lnTo>
                    <a:pt x="422" y="134"/>
                  </a:lnTo>
                  <a:lnTo>
                    <a:pt x="430" y="154"/>
                  </a:lnTo>
                  <a:lnTo>
                    <a:pt x="435" y="175"/>
                  </a:lnTo>
                  <a:lnTo>
                    <a:pt x="438" y="197"/>
                  </a:lnTo>
                  <a:lnTo>
                    <a:pt x="439" y="219"/>
                  </a:lnTo>
                  <a:lnTo>
                    <a:pt x="438" y="242"/>
                  </a:lnTo>
                  <a:lnTo>
                    <a:pt x="435" y="263"/>
                  </a:lnTo>
                  <a:lnTo>
                    <a:pt x="430" y="284"/>
                  </a:lnTo>
                  <a:lnTo>
                    <a:pt x="422" y="304"/>
                  </a:lnTo>
                  <a:lnTo>
                    <a:pt x="412" y="324"/>
                  </a:lnTo>
                  <a:lnTo>
                    <a:pt x="401" y="342"/>
                  </a:lnTo>
                  <a:lnTo>
                    <a:pt x="389" y="359"/>
                  </a:lnTo>
                  <a:lnTo>
                    <a:pt x="375" y="375"/>
                  </a:lnTo>
                  <a:lnTo>
                    <a:pt x="359" y="388"/>
                  </a:lnTo>
                  <a:lnTo>
                    <a:pt x="343" y="401"/>
                  </a:lnTo>
                  <a:lnTo>
                    <a:pt x="324" y="412"/>
                  </a:lnTo>
                  <a:lnTo>
                    <a:pt x="305" y="422"/>
                  </a:lnTo>
                  <a:lnTo>
                    <a:pt x="284" y="429"/>
                  </a:lnTo>
                  <a:lnTo>
                    <a:pt x="263" y="434"/>
                  </a:lnTo>
                  <a:lnTo>
                    <a:pt x="242" y="438"/>
                  </a:lnTo>
                  <a:lnTo>
                    <a:pt x="22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0"/>
            <p:cNvSpPr>
              <a:spLocks/>
            </p:cNvSpPr>
            <p:nvPr/>
          </p:nvSpPr>
          <p:spPr bwMode="auto">
            <a:xfrm>
              <a:off x="8763824" y="1983821"/>
              <a:ext cx="160512" cy="110698"/>
            </a:xfrm>
            <a:custGeom>
              <a:avLst/>
              <a:gdLst>
                <a:gd name="T0" fmla="*/ 100 w 260"/>
                <a:gd name="T1" fmla="*/ 180 h 180"/>
                <a:gd name="T2" fmla="*/ 96 w 260"/>
                <a:gd name="T3" fmla="*/ 180 h 180"/>
                <a:gd name="T4" fmla="*/ 92 w 260"/>
                <a:gd name="T5" fmla="*/ 179 h 180"/>
                <a:gd name="T6" fmla="*/ 90 w 260"/>
                <a:gd name="T7" fmla="*/ 176 h 180"/>
                <a:gd name="T8" fmla="*/ 86 w 260"/>
                <a:gd name="T9" fmla="*/ 174 h 180"/>
                <a:gd name="T10" fmla="*/ 7 w 260"/>
                <a:gd name="T11" fmla="*/ 94 h 180"/>
                <a:gd name="T12" fmla="*/ 4 w 260"/>
                <a:gd name="T13" fmla="*/ 90 h 180"/>
                <a:gd name="T14" fmla="*/ 2 w 260"/>
                <a:gd name="T15" fmla="*/ 88 h 180"/>
                <a:gd name="T16" fmla="*/ 0 w 260"/>
                <a:gd name="T17" fmla="*/ 84 h 180"/>
                <a:gd name="T18" fmla="*/ 0 w 260"/>
                <a:gd name="T19" fmla="*/ 80 h 180"/>
                <a:gd name="T20" fmla="*/ 0 w 260"/>
                <a:gd name="T21" fmla="*/ 77 h 180"/>
                <a:gd name="T22" fmla="*/ 2 w 260"/>
                <a:gd name="T23" fmla="*/ 73 h 180"/>
                <a:gd name="T24" fmla="*/ 4 w 260"/>
                <a:gd name="T25" fmla="*/ 69 h 180"/>
                <a:gd name="T26" fmla="*/ 7 w 260"/>
                <a:gd name="T27" fmla="*/ 66 h 180"/>
                <a:gd name="T28" fmla="*/ 9 w 260"/>
                <a:gd name="T29" fmla="*/ 63 h 180"/>
                <a:gd name="T30" fmla="*/ 13 w 260"/>
                <a:gd name="T31" fmla="*/ 62 h 180"/>
                <a:gd name="T32" fmla="*/ 16 w 260"/>
                <a:gd name="T33" fmla="*/ 61 h 180"/>
                <a:gd name="T34" fmla="*/ 20 w 260"/>
                <a:gd name="T35" fmla="*/ 61 h 180"/>
                <a:gd name="T36" fmla="*/ 24 w 260"/>
                <a:gd name="T37" fmla="*/ 61 h 180"/>
                <a:gd name="T38" fmla="*/ 28 w 260"/>
                <a:gd name="T39" fmla="*/ 62 h 180"/>
                <a:gd name="T40" fmla="*/ 31 w 260"/>
                <a:gd name="T41" fmla="*/ 63 h 180"/>
                <a:gd name="T42" fmla="*/ 34 w 260"/>
                <a:gd name="T43" fmla="*/ 66 h 180"/>
                <a:gd name="T44" fmla="*/ 100 w 260"/>
                <a:gd name="T45" fmla="*/ 131 h 180"/>
                <a:gd name="T46" fmla="*/ 226 w 260"/>
                <a:gd name="T47" fmla="*/ 6 h 180"/>
                <a:gd name="T48" fmla="*/ 229 w 260"/>
                <a:gd name="T49" fmla="*/ 3 h 180"/>
                <a:gd name="T50" fmla="*/ 233 w 260"/>
                <a:gd name="T51" fmla="*/ 1 h 180"/>
                <a:gd name="T52" fmla="*/ 236 w 260"/>
                <a:gd name="T53" fmla="*/ 1 h 180"/>
                <a:gd name="T54" fmla="*/ 240 w 260"/>
                <a:gd name="T55" fmla="*/ 0 h 180"/>
                <a:gd name="T56" fmla="*/ 244 w 260"/>
                <a:gd name="T57" fmla="*/ 1 h 180"/>
                <a:gd name="T58" fmla="*/ 247 w 260"/>
                <a:gd name="T59" fmla="*/ 1 h 180"/>
                <a:gd name="T60" fmla="*/ 251 w 260"/>
                <a:gd name="T61" fmla="*/ 3 h 180"/>
                <a:gd name="T62" fmla="*/ 255 w 260"/>
                <a:gd name="T63" fmla="*/ 6 h 180"/>
                <a:gd name="T64" fmla="*/ 257 w 260"/>
                <a:gd name="T65" fmla="*/ 8 h 180"/>
                <a:gd name="T66" fmla="*/ 259 w 260"/>
                <a:gd name="T67" fmla="*/ 12 h 180"/>
                <a:gd name="T68" fmla="*/ 260 w 260"/>
                <a:gd name="T69" fmla="*/ 16 h 180"/>
                <a:gd name="T70" fmla="*/ 260 w 260"/>
                <a:gd name="T71" fmla="*/ 20 h 180"/>
                <a:gd name="T72" fmla="*/ 260 w 260"/>
                <a:gd name="T73" fmla="*/ 23 h 180"/>
                <a:gd name="T74" fmla="*/ 259 w 260"/>
                <a:gd name="T75" fmla="*/ 27 h 180"/>
                <a:gd name="T76" fmla="*/ 257 w 260"/>
                <a:gd name="T77" fmla="*/ 31 h 180"/>
                <a:gd name="T78" fmla="*/ 255 w 260"/>
                <a:gd name="T79" fmla="*/ 34 h 180"/>
                <a:gd name="T80" fmla="*/ 115 w 260"/>
                <a:gd name="T81" fmla="*/ 174 h 180"/>
                <a:gd name="T82" fmla="*/ 111 w 260"/>
                <a:gd name="T83" fmla="*/ 176 h 180"/>
                <a:gd name="T84" fmla="*/ 108 w 260"/>
                <a:gd name="T85" fmla="*/ 179 h 180"/>
                <a:gd name="T86" fmla="*/ 105 w 260"/>
                <a:gd name="T87" fmla="*/ 180 h 180"/>
                <a:gd name="T88" fmla="*/ 100 w 260"/>
                <a:gd name="T8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180">
                  <a:moveTo>
                    <a:pt x="100" y="180"/>
                  </a:moveTo>
                  <a:lnTo>
                    <a:pt x="96" y="180"/>
                  </a:lnTo>
                  <a:lnTo>
                    <a:pt x="92" y="179"/>
                  </a:lnTo>
                  <a:lnTo>
                    <a:pt x="90" y="176"/>
                  </a:lnTo>
                  <a:lnTo>
                    <a:pt x="86" y="174"/>
                  </a:lnTo>
                  <a:lnTo>
                    <a:pt x="7" y="94"/>
                  </a:lnTo>
                  <a:lnTo>
                    <a:pt x="4" y="90"/>
                  </a:lnTo>
                  <a:lnTo>
                    <a:pt x="2" y="88"/>
                  </a:lnTo>
                  <a:lnTo>
                    <a:pt x="0" y="84"/>
                  </a:lnTo>
                  <a:lnTo>
                    <a:pt x="0" y="80"/>
                  </a:lnTo>
                  <a:lnTo>
                    <a:pt x="0" y="77"/>
                  </a:lnTo>
                  <a:lnTo>
                    <a:pt x="2" y="73"/>
                  </a:lnTo>
                  <a:lnTo>
                    <a:pt x="4" y="69"/>
                  </a:lnTo>
                  <a:lnTo>
                    <a:pt x="7" y="66"/>
                  </a:lnTo>
                  <a:lnTo>
                    <a:pt x="9" y="63"/>
                  </a:lnTo>
                  <a:lnTo>
                    <a:pt x="13" y="62"/>
                  </a:lnTo>
                  <a:lnTo>
                    <a:pt x="16" y="61"/>
                  </a:lnTo>
                  <a:lnTo>
                    <a:pt x="20" y="61"/>
                  </a:lnTo>
                  <a:lnTo>
                    <a:pt x="24" y="61"/>
                  </a:lnTo>
                  <a:lnTo>
                    <a:pt x="28" y="62"/>
                  </a:lnTo>
                  <a:lnTo>
                    <a:pt x="31" y="63"/>
                  </a:lnTo>
                  <a:lnTo>
                    <a:pt x="34" y="66"/>
                  </a:lnTo>
                  <a:lnTo>
                    <a:pt x="100" y="131"/>
                  </a:lnTo>
                  <a:lnTo>
                    <a:pt x="226" y="6"/>
                  </a:lnTo>
                  <a:lnTo>
                    <a:pt x="229" y="3"/>
                  </a:lnTo>
                  <a:lnTo>
                    <a:pt x="233" y="1"/>
                  </a:lnTo>
                  <a:lnTo>
                    <a:pt x="236" y="1"/>
                  </a:lnTo>
                  <a:lnTo>
                    <a:pt x="240" y="0"/>
                  </a:lnTo>
                  <a:lnTo>
                    <a:pt x="244" y="1"/>
                  </a:lnTo>
                  <a:lnTo>
                    <a:pt x="247" y="1"/>
                  </a:lnTo>
                  <a:lnTo>
                    <a:pt x="251" y="3"/>
                  </a:lnTo>
                  <a:lnTo>
                    <a:pt x="255" y="6"/>
                  </a:lnTo>
                  <a:lnTo>
                    <a:pt x="257" y="8"/>
                  </a:lnTo>
                  <a:lnTo>
                    <a:pt x="259" y="12"/>
                  </a:lnTo>
                  <a:lnTo>
                    <a:pt x="260" y="16"/>
                  </a:lnTo>
                  <a:lnTo>
                    <a:pt x="260" y="20"/>
                  </a:lnTo>
                  <a:lnTo>
                    <a:pt x="260" y="23"/>
                  </a:lnTo>
                  <a:lnTo>
                    <a:pt x="259" y="27"/>
                  </a:lnTo>
                  <a:lnTo>
                    <a:pt x="257" y="31"/>
                  </a:lnTo>
                  <a:lnTo>
                    <a:pt x="255" y="34"/>
                  </a:lnTo>
                  <a:lnTo>
                    <a:pt x="115" y="174"/>
                  </a:lnTo>
                  <a:lnTo>
                    <a:pt x="111" y="176"/>
                  </a:lnTo>
                  <a:lnTo>
                    <a:pt x="108" y="179"/>
                  </a:lnTo>
                  <a:lnTo>
                    <a:pt x="105" y="180"/>
                  </a:lnTo>
                  <a:lnTo>
                    <a:pt x="1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Group 54"/>
          <p:cNvGrpSpPr/>
          <p:nvPr/>
        </p:nvGrpSpPr>
        <p:grpSpPr>
          <a:xfrm>
            <a:off x="3962400" y="1709586"/>
            <a:ext cx="1219200" cy="1305227"/>
            <a:chOff x="-1046920" y="2123773"/>
            <a:chExt cx="1219200" cy="1305227"/>
          </a:xfrm>
        </p:grpSpPr>
        <p:sp>
          <p:nvSpPr>
            <p:cNvPr id="56" name="Oval 55"/>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2" name="Oval 81"/>
            <p:cNvSpPr/>
            <p:nvPr/>
          </p:nvSpPr>
          <p:spPr>
            <a:xfrm>
              <a:off x="-961755" y="2294965"/>
              <a:ext cx="1048871" cy="1048871"/>
            </a:xfrm>
            <a:prstGeom prst="ellipse">
              <a:avLst/>
            </a:prstGeom>
            <a:solidFill>
              <a:srgbClr val="F1C40F"/>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6" name="Oval 85"/>
            <p:cNvSpPr/>
            <p:nvPr/>
          </p:nvSpPr>
          <p:spPr>
            <a:xfrm>
              <a:off x="-627820" y="2123773"/>
              <a:ext cx="381000" cy="381000"/>
            </a:xfrm>
            <a:prstGeom prst="ellipse">
              <a:avLst/>
            </a:prstGeom>
            <a:solidFill>
              <a:schemeClr val="bg1"/>
            </a:solidFill>
            <a:ln w="38100">
              <a:solidFill>
                <a:srgbClr val="F1C4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b="1" dirty="0" smtClean="0">
                  <a:solidFill>
                    <a:srgbClr val="7F8C8D"/>
                  </a:solidFill>
                  <a:latin typeface="Calibri Light" panose="020F0302020204030204" pitchFamily="34" charset="0"/>
                </a:rPr>
                <a:t>2</a:t>
              </a:r>
              <a:endParaRPr lang="id-ID" sz="1200" b="1" dirty="0">
                <a:solidFill>
                  <a:srgbClr val="7F8C8D"/>
                </a:solidFill>
                <a:latin typeface="Calibri Light" panose="020F0302020204030204" pitchFamily="34" charset="0"/>
              </a:endParaRPr>
            </a:p>
          </p:txBody>
        </p:sp>
      </p:grpSp>
      <p:sp>
        <p:nvSpPr>
          <p:cNvPr id="48" name="Rectangle 47"/>
          <p:cNvSpPr/>
          <p:nvPr/>
        </p:nvSpPr>
        <p:spPr>
          <a:xfrm>
            <a:off x="3501838" y="3302818"/>
            <a:ext cx="2140324" cy="400110"/>
          </a:xfrm>
          <a:prstGeom prst="rect">
            <a:avLst/>
          </a:prstGeom>
        </p:spPr>
        <p:txBody>
          <a:bodyPr wrap="square">
            <a:spAutoFit/>
          </a:bodyPr>
          <a:lstStyle/>
          <a:p>
            <a:pPr algn="ctr"/>
            <a:r>
              <a:rPr lang="id-ID" sz="2000" b="1" dirty="0" smtClean="0">
                <a:solidFill>
                  <a:srgbClr val="F1C40F"/>
                </a:solidFill>
                <a:latin typeface="Calibri Light" panose="020F0302020204030204" pitchFamily="34" charset="0"/>
              </a:rPr>
              <a:t>BUSINESS MODEL</a:t>
            </a:r>
            <a:endParaRPr lang="id-ID" sz="2000" b="1" dirty="0">
              <a:solidFill>
                <a:srgbClr val="F1C40F"/>
              </a:solidFill>
            </a:endParaRPr>
          </a:p>
        </p:txBody>
      </p:sp>
      <p:sp>
        <p:nvSpPr>
          <p:cNvPr id="80" name="Rectangle 79"/>
          <p:cNvSpPr/>
          <p:nvPr/>
        </p:nvSpPr>
        <p:spPr>
          <a:xfrm>
            <a:off x="3904698" y="3769372"/>
            <a:ext cx="1334605" cy="769441"/>
          </a:xfrm>
          <a:prstGeom prst="rect">
            <a:avLst/>
          </a:prstGeom>
        </p:spPr>
        <p:txBody>
          <a:bodyPr wrap="square">
            <a:spAutoFit/>
          </a:bodyPr>
          <a:lstStyle/>
          <a:p>
            <a:pPr algn="ctr"/>
            <a:r>
              <a:rPr lang="en-US" sz="1100" dirty="0" err="1">
                <a:solidFill>
                  <a:schemeClr val="bg1"/>
                </a:solidFill>
                <a:latin typeface="Calibri Light" pitchFamily="34" charset="0"/>
              </a:rPr>
              <a:t>Lorem</a:t>
            </a:r>
            <a:r>
              <a:rPr lang="en-US" sz="1100" dirty="0">
                <a:solidFill>
                  <a:schemeClr val="bg1"/>
                </a:solidFill>
                <a:latin typeface="Calibri Light" pitchFamily="34" charset="0"/>
              </a:rPr>
              <a:t> </a:t>
            </a:r>
            <a:r>
              <a:rPr lang="en-US" sz="1100" dirty="0" err="1">
                <a:solidFill>
                  <a:schemeClr val="bg1"/>
                </a:solidFill>
                <a:latin typeface="Calibri Light" pitchFamily="34" charset="0"/>
              </a:rPr>
              <a:t>Ipsum</a:t>
            </a:r>
            <a:r>
              <a:rPr lang="en-US" sz="1100" dirty="0">
                <a:solidFill>
                  <a:schemeClr val="bg1"/>
                </a:solidFill>
                <a:latin typeface="Calibri Light" pitchFamily="34" charset="0"/>
              </a:rPr>
              <a:t> is simply dummy text of the printing and typesetting. </a:t>
            </a:r>
            <a:endParaRPr lang="en-US" sz="1100" dirty="0">
              <a:solidFill>
                <a:schemeClr val="bg1"/>
              </a:solidFill>
            </a:endParaRPr>
          </a:p>
        </p:txBody>
      </p:sp>
      <p:grpSp>
        <p:nvGrpSpPr>
          <p:cNvPr id="74" name="Group 73"/>
          <p:cNvGrpSpPr/>
          <p:nvPr/>
        </p:nvGrpSpPr>
        <p:grpSpPr>
          <a:xfrm>
            <a:off x="4315156" y="2185512"/>
            <a:ext cx="513689" cy="510249"/>
            <a:chOff x="5507038" y="2324101"/>
            <a:chExt cx="711200" cy="706438"/>
          </a:xfrm>
          <a:solidFill>
            <a:schemeClr val="bg1"/>
          </a:solidFill>
        </p:grpSpPr>
        <p:sp>
          <p:nvSpPr>
            <p:cNvPr id="75" name="Freeform 23"/>
            <p:cNvSpPr>
              <a:spLocks/>
            </p:cNvSpPr>
            <p:nvPr/>
          </p:nvSpPr>
          <p:spPr bwMode="auto">
            <a:xfrm>
              <a:off x="5575300" y="2374901"/>
              <a:ext cx="250825" cy="176213"/>
            </a:xfrm>
            <a:custGeom>
              <a:avLst/>
              <a:gdLst>
                <a:gd name="T0" fmla="*/ 758 w 790"/>
                <a:gd name="T1" fmla="*/ 78 h 559"/>
                <a:gd name="T2" fmla="*/ 772 w 790"/>
                <a:gd name="T3" fmla="*/ 72 h 559"/>
                <a:gd name="T4" fmla="*/ 783 w 790"/>
                <a:gd name="T5" fmla="*/ 61 h 559"/>
                <a:gd name="T6" fmla="*/ 789 w 790"/>
                <a:gd name="T7" fmla="*/ 48 h 559"/>
                <a:gd name="T8" fmla="*/ 789 w 790"/>
                <a:gd name="T9" fmla="*/ 31 h 559"/>
                <a:gd name="T10" fmla="*/ 783 w 790"/>
                <a:gd name="T11" fmla="*/ 18 h 559"/>
                <a:gd name="T12" fmla="*/ 772 w 790"/>
                <a:gd name="T13" fmla="*/ 6 h 559"/>
                <a:gd name="T14" fmla="*/ 758 w 790"/>
                <a:gd name="T15" fmla="*/ 0 h 559"/>
                <a:gd name="T16" fmla="*/ 749 w 790"/>
                <a:gd name="T17" fmla="*/ 0 h 559"/>
                <a:gd name="T18" fmla="*/ 689 w 790"/>
                <a:gd name="T19" fmla="*/ 2 h 559"/>
                <a:gd name="T20" fmla="*/ 627 w 790"/>
                <a:gd name="T21" fmla="*/ 9 h 559"/>
                <a:gd name="T22" fmla="*/ 569 w 790"/>
                <a:gd name="T23" fmla="*/ 20 h 559"/>
                <a:gd name="T24" fmla="*/ 511 w 790"/>
                <a:gd name="T25" fmla="*/ 36 h 559"/>
                <a:gd name="T26" fmla="*/ 455 w 790"/>
                <a:gd name="T27" fmla="*/ 55 h 559"/>
                <a:gd name="T28" fmla="*/ 400 w 790"/>
                <a:gd name="T29" fmla="*/ 78 h 559"/>
                <a:gd name="T30" fmla="*/ 349 w 790"/>
                <a:gd name="T31" fmla="*/ 106 h 559"/>
                <a:gd name="T32" fmla="*/ 298 w 790"/>
                <a:gd name="T33" fmla="*/ 137 h 559"/>
                <a:gd name="T34" fmla="*/ 251 w 790"/>
                <a:gd name="T35" fmla="*/ 172 h 559"/>
                <a:gd name="T36" fmla="*/ 207 w 790"/>
                <a:gd name="T37" fmla="*/ 210 h 559"/>
                <a:gd name="T38" fmla="*/ 164 w 790"/>
                <a:gd name="T39" fmla="*/ 252 h 559"/>
                <a:gd name="T40" fmla="*/ 125 w 790"/>
                <a:gd name="T41" fmla="*/ 296 h 559"/>
                <a:gd name="T42" fmla="*/ 89 w 790"/>
                <a:gd name="T43" fmla="*/ 344 h 559"/>
                <a:gd name="T44" fmla="*/ 57 w 790"/>
                <a:gd name="T45" fmla="*/ 395 h 559"/>
                <a:gd name="T46" fmla="*/ 28 w 790"/>
                <a:gd name="T47" fmla="*/ 449 h 559"/>
                <a:gd name="T48" fmla="*/ 3 w 790"/>
                <a:gd name="T49" fmla="*/ 505 h 559"/>
                <a:gd name="T50" fmla="*/ 0 w 790"/>
                <a:gd name="T51" fmla="*/ 520 h 559"/>
                <a:gd name="T52" fmla="*/ 3 w 790"/>
                <a:gd name="T53" fmla="*/ 535 h 559"/>
                <a:gd name="T54" fmla="*/ 12 w 790"/>
                <a:gd name="T55" fmla="*/ 548 h 559"/>
                <a:gd name="T56" fmla="*/ 24 w 790"/>
                <a:gd name="T57" fmla="*/ 556 h 559"/>
                <a:gd name="T58" fmla="*/ 40 w 790"/>
                <a:gd name="T59" fmla="*/ 559 h 559"/>
                <a:gd name="T60" fmla="*/ 51 w 790"/>
                <a:gd name="T61" fmla="*/ 557 h 559"/>
                <a:gd name="T62" fmla="*/ 61 w 790"/>
                <a:gd name="T63" fmla="*/ 553 h 559"/>
                <a:gd name="T64" fmla="*/ 70 w 790"/>
                <a:gd name="T65" fmla="*/ 545 h 559"/>
                <a:gd name="T66" fmla="*/ 77 w 790"/>
                <a:gd name="T67" fmla="*/ 535 h 559"/>
                <a:gd name="T68" fmla="*/ 99 w 790"/>
                <a:gd name="T69" fmla="*/ 483 h 559"/>
                <a:gd name="T70" fmla="*/ 125 w 790"/>
                <a:gd name="T71" fmla="*/ 435 h 559"/>
                <a:gd name="T72" fmla="*/ 155 w 790"/>
                <a:gd name="T73" fmla="*/ 389 h 559"/>
                <a:gd name="T74" fmla="*/ 187 w 790"/>
                <a:gd name="T75" fmla="*/ 347 h 559"/>
                <a:gd name="T76" fmla="*/ 222 w 790"/>
                <a:gd name="T77" fmla="*/ 306 h 559"/>
                <a:gd name="T78" fmla="*/ 260 w 790"/>
                <a:gd name="T79" fmla="*/ 269 h 559"/>
                <a:gd name="T80" fmla="*/ 301 w 790"/>
                <a:gd name="T81" fmla="*/ 235 h 559"/>
                <a:gd name="T82" fmla="*/ 343 w 790"/>
                <a:gd name="T83" fmla="*/ 203 h 559"/>
                <a:gd name="T84" fmla="*/ 388 w 790"/>
                <a:gd name="T85" fmla="*/ 175 h 559"/>
                <a:gd name="T86" fmla="*/ 435 w 790"/>
                <a:gd name="T87" fmla="*/ 151 h 559"/>
                <a:gd name="T88" fmla="*/ 484 w 790"/>
                <a:gd name="T89" fmla="*/ 130 h 559"/>
                <a:gd name="T90" fmla="*/ 535 w 790"/>
                <a:gd name="T91" fmla="*/ 112 h 559"/>
                <a:gd name="T92" fmla="*/ 587 w 790"/>
                <a:gd name="T93" fmla="*/ 98 h 559"/>
                <a:gd name="T94" fmla="*/ 640 w 790"/>
                <a:gd name="T95" fmla="*/ 88 h 559"/>
                <a:gd name="T96" fmla="*/ 695 w 790"/>
                <a:gd name="T97" fmla="*/ 81 h 559"/>
                <a:gd name="T98" fmla="*/ 749 w 790"/>
                <a:gd name="T99" fmla="*/ 7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0" h="559">
                  <a:moveTo>
                    <a:pt x="749" y="79"/>
                  </a:moveTo>
                  <a:lnTo>
                    <a:pt x="758" y="78"/>
                  </a:lnTo>
                  <a:lnTo>
                    <a:pt x="765" y="76"/>
                  </a:lnTo>
                  <a:lnTo>
                    <a:pt x="772" y="72"/>
                  </a:lnTo>
                  <a:lnTo>
                    <a:pt x="779" y="68"/>
                  </a:lnTo>
                  <a:lnTo>
                    <a:pt x="783" y="61"/>
                  </a:lnTo>
                  <a:lnTo>
                    <a:pt x="786" y="55"/>
                  </a:lnTo>
                  <a:lnTo>
                    <a:pt x="789" y="48"/>
                  </a:lnTo>
                  <a:lnTo>
                    <a:pt x="790" y="39"/>
                  </a:lnTo>
                  <a:lnTo>
                    <a:pt x="789" y="31"/>
                  </a:lnTo>
                  <a:lnTo>
                    <a:pt x="786" y="24"/>
                  </a:lnTo>
                  <a:lnTo>
                    <a:pt x="783" y="18"/>
                  </a:lnTo>
                  <a:lnTo>
                    <a:pt x="779" y="11"/>
                  </a:lnTo>
                  <a:lnTo>
                    <a:pt x="772" y="6"/>
                  </a:lnTo>
                  <a:lnTo>
                    <a:pt x="765" y="3"/>
                  </a:lnTo>
                  <a:lnTo>
                    <a:pt x="758" y="0"/>
                  </a:lnTo>
                  <a:lnTo>
                    <a:pt x="749" y="0"/>
                  </a:lnTo>
                  <a:lnTo>
                    <a:pt x="749" y="0"/>
                  </a:lnTo>
                  <a:lnTo>
                    <a:pt x="719" y="0"/>
                  </a:lnTo>
                  <a:lnTo>
                    <a:pt x="689" y="2"/>
                  </a:lnTo>
                  <a:lnTo>
                    <a:pt x="658" y="4"/>
                  </a:lnTo>
                  <a:lnTo>
                    <a:pt x="627" y="9"/>
                  </a:lnTo>
                  <a:lnTo>
                    <a:pt x="598" y="13"/>
                  </a:lnTo>
                  <a:lnTo>
                    <a:pt x="569" y="20"/>
                  </a:lnTo>
                  <a:lnTo>
                    <a:pt x="540" y="27"/>
                  </a:lnTo>
                  <a:lnTo>
                    <a:pt x="511" y="36"/>
                  </a:lnTo>
                  <a:lnTo>
                    <a:pt x="483" y="44"/>
                  </a:lnTo>
                  <a:lnTo>
                    <a:pt x="455" y="55"/>
                  </a:lnTo>
                  <a:lnTo>
                    <a:pt x="427" y="66"/>
                  </a:lnTo>
                  <a:lnTo>
                    <a:pt x="400" y="78"/>
                  </a:lnTo>
                  <a:lnTo>
                    <a:pt x="375" y="91"/>
                  </a:lnTo>
                  <a:lnTo>
                    <a:pt x="349" y="106"/>
                  </a:lnTo>
                  <a:lnTo>
                    <a:pt x="323" y="121"/>
                  </a:lnTo>
                  <a:lnTo>
                    <a:pt x="298" y="137"/>
                  </a:lnTo>
                  <a:lnTo>
                    <a:pt x="275" y="154"/>
                  </a:lnTo>
                  <a:lnTo>
                    <a:pt x="251" y="172"/>
                  </a:lnTo>
                  <a:lnTo>
                    <a:pt x="228" y="190"/>
                  </a:lnTo>
                  <a:lnTo>
                    <a:pt x="207" y="210"/>
                  </a:lnTo>
                  <a:lnTo>
                    <a:pt x="184" y="230"/>
                  </a:lnTo>
                  <a:lnTo>
                    <a:pt x="164" y="252"/>
                  </a:lnTo>
                  <a:lnTo>
                    <a:pt x="144" y="274"/>
                  </a:lnTo>
                  <a:lnTo>
                    <a:pt x="125" y="296"/>
                  </a:lnTo>
                  <a:lnTo>
                    <a:pt x="107" y="320"/>
                  </a:lnTo>
                  <a:lnTo>
                    <a:pt x="89" y="344"/>
                  </a:lnTo>
                  <a:lnTo>
                    <a:pt x="72" y="369"/>
                  </a:lnTo>
                  <a:lnTo>
                    <a:pt x="57" y="395"/>
                  </a:lnTo>
                  <a:lnTo>
                    <a:pt x="42" y="421"/>
                  </a:lnTo>
                  <a:lnTo>
                    <a:pt x="28" y="449"/>
                  </a:lnTo>
                  <a:lnTo>
                    <a:pt x="14" y="475"/>
                  </a:lnTo>
                  <a:lnTo>
                    <a:pt x="3" y="505"/>
                  </a:lnTo>
                  <a:lnTo>
                    <a:pt x="1" y="512"/>
                  </a:lnTo>
                  <a:lnTo>
                    <a:pt x="0" y="520"/>
                  </a:lnTo>
                  <a:lnTo>
                    <a:pt x="1" y="528"/>
                  </a:lnTo>
                  <a:lnTo>
                    <a:pt x="3" y="535"/>
                  </a:lnTo>
                  <a:lnTo>
                    <a:pt x="6" y="541"/>
                  </a:lnTo>
                  <a:lnTo>
                    <a:pt x="12" y="548"/>
                  </a:lnTo>
                  <a:lnTo>
                    <a:pt x="18" y="553"/>
                  </a:lnTo>
                  <a:lnTo>
                    <a:pt x="24" y="556"/>
                  </a:lnTo>
                  <a:lnTo>
                    <a:pt x="32" y="558"/>
                  </a:lnTo>
                  <a:lnTo>
                    <a:pt x="40" y="559"/>
                  </a:lnTo>
                  <a:lnTo>
                    <a:pt x="46" y="559"/>
                  </a:lnTo>
                  <a:lnTo>
                    <a:pt x="51" y="557"/>
                  </a:lnTo>
                  <a:lnTo>
                    <a:pt x="57" y="556"/>
                  </a:lnTo>
                  <a:lnTo>
                    <a:pt x="61" y="553"/>
                  </a:lnTo>
                  <a:lnTo>
                    <a:pt x="67" y="549"/>
                  </a:lnTo>
                  <a:lnTo>
                    <a:pt x="70" y="545"/>
                  </a:lnTo>
                  <a:lnTo>
                    <a:pt x="74" y="540"/>
                  </a:lnTo>
                  <a:lnTo>
                    <a:pt x="77" y="535"/>
                  </a:lnTo>
                  <a:lnTo>
                    <a:pt x="88" y="509"/>
                  </a:lnTo>
                  <a:lnTo>
                    <a:pt x="99" y="483"/>
                  </a:lnTo>
                  <a:lnTo>
                    <a:pt x="112" y="460"/>
                  </a:lnTo>
                  <a:lnTo>
                    <a:pt x="125" y="435"/>
                  </a:lnTo>
                  <a:lnTo>
                    <a:pt x="140" y="413"/>
                  </a:lnTo>
                  <a:lnTo>
                    <a:pt x="155" y="389"/>
                  </a:lnTo>
                  <a:lnTo>
                    <a:pt x="171" y="368"/>
                  </a:lnTo>
                  <a:lnTo>
                    <a:pt x="187" y="347"/>
                  </a:lnTo>
                  <a:lnTo>
                    <a:pt x="204" y="327"/>
                  </a:lnTo>
                  <a:lnTo>
                    <a:pt x="222" y="306"/>
                  </a:lnTo>
                  <a:lnTo>
                    <a:pt x="241" y="287"/>
                  </a:lnTo>
                  <a:lnTo>
                    <a:pt x="260" y="269"/>
                  </a:lnTo>
                  <a:lnTo>
                    <a:pt x="281" y="252"/>
                  </a:lnTo>
                  <a:lnTo>
                    <a:pt x="301" y="235"/>
                  </a:lnTo>
                  <a:lnTo>
                    <a:pt x="322" y="219"/>
                  </a:lnTo>
                  <a:lnTo>
                    <a:pt x="343" y="203"/>
                  </a:lnTo>
                  <a:lnTo>
                    <a:pt x="366" y="189"/>
                  </a:lnTo>
                  <a:lnTo>
                    <a:pt x="388" y="175"/>
                  </a:lnTo>
                  <a:lnTo>
                    <a:pt x="411" y="162"/>
                  </a:lnTo>
                  <a:lnTo>
                    <a:pt x="435" y="151"/>
                  </a:lnTo>
                  <a:lnTo>
                    <a:pt x="460" y="140"/>
                  </a:lnTo>
                  <a:lnTo>
                    <a:pt x="484" y="130"/>
                  </a:lnTo>
                  <a:lnTo>
                    <a:pt x="509" y="121"/>
                  </a:lnTo>
                  <a:lnTo>
                    <a:pt x="535" y="112"/>
                  </a:lnTo>
                  <a:lnTo>
                    <a:pt x="560" y="104"/>
                  </a:lnTo>
                  <a:lnTo>
                    <a:pt x="587" y="98"/>
                  </a:lnTo>
                  <a:lnTo>
                    <a:pt x="613" y="93"/>
                  </a:lnTo>
                  <a:lnTo>
                    <a:pt x="640" y="88"/>
                  </a:lnTo>
                  <a:lnTo>
                    <a:pt x="668" y="84"/>
                  </a:lnTo>
                  <a:lnTo>
                    <a:pt x="695" y="81"/>
                  </a:lnTo>
                  <a:lnTo>
                    <a:pt x="723" y="80"/>
                  </a:lnTo>
                  <a:lnTo>
                    <a:pt x="74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4"/>
            <p:cNvSpPr>
              <a:spLocks/>
            </p:cNvSpPr>
            <p:nvPr/>
          </p:nvSpPr>
          <p:spPr bwMode="auto">
            <a:xfrm>
              <a:off x="5557838" y="2574926"/>
              <a:ext cx="30163" cy="68263"/>
            </a:xfrm>
            <a:custGeom>
              <a:avLst/>
              <a:gdLst>
                <a:gd name="T0" fmla="*/ 58 w 92"/>
                <a:gd name="T1" fmla="*/ 0 h 215"/>
                <a:gd name="T2" fmla="*/ 50 w 92"/>
                <a:gd name="T3" fmla="*/ 0 h 215"/>
                <a:gd name="T4" fmla="*/ 42 w 92"/>
                <a:gd name="T5" fmla="*/ 1 h 215"/>
                <a:gd name="T6" fmla="*/ 36 w 92"/>
                <a:gd name="T7" fmla="*/ 3 h 215"/>
                <a:gd name="T8" fmla="*/ 29 w 92"/>
                <a:gd name="T9" fmla="*/ 7 h 215"/>
                <a:gd name="T10" fmla="*/ 22 w 92"/>
                <a:gd name="T11" fmla="*/ 12 h 215"/>
                <a:gd name="T12" fmla="*/ 18 w 92"/>
                <a:gd name="T13" fmla="*/ 18 h 215"/>
                <a:gd name="T14" fmla="*/ 14 w 92"/>
                <a:gd name="T15" fmla="*/ 25 h 215"/>
                <a:gd name="T16" fmla="*/ 12 w 92"/>
                <a:gd name="T17" fmla="*/ 32 h 215"/>
                <a:gd name="T18" fmla="*/ 7 w 92"/>
                <a:gd name="T19" fmla="*/ 68 h 215"/>
                <a:gd name="T20" fmla="*/ 2 w 92"/>
                <a:gd name="T21" fmla="*/ 103 h 215"/>
                <a:gd name="T22" fmla="*/ 0 w 92"/>
                <a:gd name="T23" fmla="*/ 139 h 215"/>
                <a:gd name="T24" fmla="*/ 0 w 92"/>
                <a:gd name="T25" fmla="*/ 176 h 215"/>
                <a:gd name="T26" fmla="*/ 0 w 92"/>
                <a:gd name="T27" fmla="*/ 183 h 215"/>
                <a:gd name="T28" fmla="*/ 2 w 92"/>
                <a:gd name="T29" fmla="*/ 191 h 215"/>
                <a:gd name="T30" fmla="*/ 7 w 92"/>
                <a:gd name="T31" fmla="*/ 198 h 215"/>
                <a:gd name="T32" fmla="*/ 11 w 92"/>
                <a:gd name="T33" fmla="*/ 204 h 215"/>
                <a:gd name="T34" fmla="*/ 17 w 92"/>
                <a:gd name="T35" fmla="*/ 208 h 215"/>
                <a:gd name="T36" fmla="*/ 23 w 92"/>
                <a:gd name="T37" fmla="*/ 213 h 215"/>
                <a:gd name="T38" fmla="*/ 31 w 92"/>
                <a:gd name="T39" fmla="*/ 215 h 215"/>
                <a:gd name="T40" fmla="*/ 39 w 92"/>
                <a:gd name="T41" fmla="*/ 215 h 215"/>
                <a:gd name="T42" fmla="*/ 48 w 92"/>
                <a:gd name="T43" fmla="*/ 215 h 215"/>
                <a:gd name="T44" fmla="*/ 55 w 92"/>
                <a:gd name="T45" fmla="*/ 213 h 215"/>
                <a:gd name="T46" fmla="*/ 61 w 92"/>
                <a:gd name="T47" fmla="*/ 208 h 215"/>
                <a:gd name="T48" fmla="*/ 68 w 92"/>
                <a:gd name="T49" fmla="*/ 204 h 215"/>
                <a:gd name="T50" fmla="*/ 73 w 92"/>
                <a:gd name="T51" fmla="*/ 198 h 215"/>
                <a:gd name="T52" fmla="*/ 76 w 92"/>
                <a:gd name="T53" fmla="*/ 191 h 215"/>
                <a:gd name="T54" fmla="*/ 78 w 92"/>
                <a:gd name="T55" fmla="*/ 183 h 215"/>
                <a:gd name="T56" fmla="*/ 79 w 92"/>
                <a:gd name="T57" fmla="*/ 176 h 215"/>
                <a:gd name="T58" fmla="*/ 80 w 92"/>
                <a:gd name="T59" fmla="*/ 143 h 215"/>
                <a:gd name="T60" fmla="*/ 83 w 92"/>
                <a:gd name="T61" fmla="*/ 111 h 215"/>
                <a:gd name="T62" fmla="*/ 86 w 92"/>
                <a:gd name="T63" fmla="*/ 78 h 215"/>
                <a:gd name="T64" fmla="*/ 90 w 92"/>
                <a:gd name="T65" fmla="*/ 47 h 215"/>
                <a:gd name="T66" fmla="*/ 92 w 92"/>
                <a:gd name="T67" fmla="*/ 39 h 215"/>
                <a:gd name="T68" fmla="*/ 90 w 92"/>
                <a:gd name="T69" fmla="*/ 31 h 215"/>
                <a:gd name="T70" fmla="*/ 88 w 92"/>
                <a:gd name="T71" fmla="*/ 23 h 215"/>
                <a:gd name="T72" fmla="*/ 84 w 92"/>
                <a:gd name="T73" fmla="*/ 17 h 215"/>
                <a:gd name="T74" fmla="*/ 79 w 92"/>
                <a:gd name="T75" fmla="*/ 11 h 215"/>
                <a:gd name="T76" fmla="*/ 74 w 92"/>
                <a:gd name="T77" fmla="*/ 6 h 215"/>
                <a:gd name="T78" fmla="*/ 66 w 92"/>
                <a:gd name="T79" fmla="*/ 2 h 215"/>
                <a:gd name="T80" fmla="*/ 58 w 92"/>
                <a:gd name="T8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215">
                  <a:moveTo>
                    <a:pt x="58" y="0"/>
                  </a:moveTo>
                  <a:lnTo>
                    <a:pt x="50" y="0"/>
                  </a:lnTo>
                  <a:lnTo>
                    <a:pt x="42" y="1"/>
                  </a:lnTo>
                  <a:lnTo>
                    <a:pt x="36" y="3"/>
                  </a:lnTo>
                  <a:lnTo>
                    <a:pt x="29" y="7"/>
                  </a:lnTo>
                  <a:lnTo>
                    <a:pt x="22" y="12"/>
                  </a:lnTo>
                  <a:lnTo>
                    <a:pt x="18" y="18"/>
                  </a:lnTo>
                  <a:lnTo>
                    <a:pt x="14" y="25"/>
                  </a:lnTo>
                  <a:lnTo>
                    <a:pt x="12" y="32"/>
                  </a:lnTo>
                  <a:lnTo>
                    <a:pt x="7" y="68"/>
                  </a:lnTo>
                  <a:lnTo>
                    <a:pt x="2" y="103"/>
                  </a:lnTo>
                  <a:lnTo>
                    <a:pt x="0" y="139"/>
                  </a:lnTo>
                  <a:lnTo>
                    <a:pt x="0" y="176"/>
                  </a:lnTo>
                  <a:lnTo>
                    <a:pt x="0" y="183"/>
                  </a:lnTo>
                  <a:lnTo>
                    <a:pt x="2" y="191"/>
                  </a:lnTo>
                  <a:lnTo>
                    <a:pt x="7" y="198"/>
                  </a:lnTo>
                  <a:lnTo>
                    <a:pt x="11" y="204"/>
                  </a:lnTo>
                  <a:lnTo>
                    <a:pt x="17" y="208"/>
                  </a:lnTo>
                  <a:lnTo>
                    <a:pt x="23" y="213"/>
                  </a:lnTo>
                  <a:lnTo>
                    <a:pt x="31" y="215"/>
                  </a:lnTo>
                  <a:lnTo>
                    <a:pt x="39" y="215"/>
                  </a:lnTo>
                  <a:lnTo>
                    <a:pt x="48" y="215"/>
                  </a:lnTo>
                  <a:lnTo>
                    <a:pt x="55" y="213"/>
                  </a:lnTo>
                  <a:lnTo>
                    <a:pt x="61" y="208"/>
                  </a:lnTo>
                  <a:lnTo>
                    <a:pt x="68" y="204"/>
                  </a:lnTo>
                  <a:lnTo>
                    <a:pt x="73" y="198"/>
                  </a:lnTo>
                  <a:lnTo>
                    <a:pt x="76" y="191"/>
                  </a:lnTo>
                  <a:lnTo>
                    <a:pt x="78" y="183"/>
                  </a:lnTo>
                  <a:lnTo>
                    <a:pt x="79" y="176"/>
                  </a:lnTo>
                  <a:lnTo>
                    <a:pt x="80" y="143"/>
                  </a:lnTo>
                  <a:lnTo>
                    <a:pt x="83" y="111"/>
                  </a:lnTo>
                  <a:lnTo>
                    <a:pt x="86" y="78"/>
                  </a:lnTo>
                  <a:lnTo>
                    <a:pt x="90" y="47"/>
                  </a:lnTo>
                  <a:lnTo>
                    <a:pt x="92" y="39"/>
                  </a:lnTo>
                  <a:lnTo>
                    <a:pt x="90" y="31"/>
                  </a:lnTo>
                  <a:lnTo>
                    <a:pt x="88" y="23"/>
                  </a:lnTo>
                  <a:lnTo>
                    <a:pt x="84" y="17"/>
                  </a:lnTo>
                  <a:lnTo>
                    <a:pt x="79" y="11"/>
                  </a:lnTo>
                  <a:lnTo>
                    <a:pt x="74" y="6"/>
                  </a:lnTo>
                  <a:lnTo>
                    <a:pt x="66" y="2"/>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5"/>
            <p:cNvSpPr>
              <a:spLocks noEditPoints="1"/>
            </p:cNvSpPr>
            <p:nvPr/>
          </p:nvSpPr>
          <p:spPr bwMode="auto">
            <a:xfrm>
              <a:off x="5507038" y="2324101"/>
              <a:ext cx="711200" cy="706438"/>
            </a:xfrm>
            <a:custGeom>
              <a:avLst/>
              <a:gdLst>
                <a:gd name="T0" fmla="*/ 874 w 2240"/>
                <a:gd name="T1" fmla="*/ 1847 h 2227"/>
                <a:gd name="T2" fmla="*/ 661 w 2240"/>
                <a:gd name="T3" fmla="*/ 1797 h 2227"/>
                <a:gd name="T4" fmla="*/ 470 w 2240"/>
                <a:gd name="T5" fmla="*/ 1700 h 2227"/>
                <a:gd name="T6" fmla="*/ 310 w 2240"/>
                <a:gd name="T7" fmla="*/ 1560 h 2227"/>
                <a:gd name="T8" fmla="*/ 187 w 2240"/>
                <a:gd name="T9" fmla="*/ 1387 h 2227"/>
                <a:gd name="T10" fmla="*/ 107 w 2240"/>
                <a:gd name="T11" fmla="*/ 1186 h 2227"/>
                <a:gd name="T12" fmla="*/ 79 w 2240"/>
                <a:gd name="T13" fmla="*/ 966 h 2227"/>
                <a:gd name="T14" fmla="*/ 107 w 2240"/>
                <a:gd name="T15" fmla="*/ 744 h 2227"/>
                <a:gd name="T16" fmla="*/ 187 w 2240"/>
                <a:gd name="T17" fmla="*/ 544 h 2227"/>
                <a:gd name="T18" fmla="*/ 310 w 2240"/>
                <a:gd name="T19" fmla="*/ 370 h 2227"/>
                <a:gd name="T20" fmla="*/ 470 w 2240"/>
                <a:gd name="T21" fmla="*/ 231 h 2227"/>
                <a:gd name="T22" fmla="*/ 661 w 2240"/>
                <a:gd name="T23" fmla="*/ 133 h 2227"/>
                <a:gd name="T24" fmla="*/ 875 w 2240"/>
                <a:gd name="T25" fmla="*/ 84 h 2227"/>
                <a:gd name="T26" fmla="*/ 1100 w 2240"/>
                <a:gd name="T27" fmla="*/ 89 h 2227"/>
                <a:gd name="T28" fmla="*/ 1309 w 2240"/>
                <a:gd name="T29" fmla="*/ 150 h 2227"/>
                <a:gd name="T30" fmla="*/ 1495 w 2240"/>
                <a:gd name="T31" fmla="*/ 256 h 2227"/>
                <a:gd name="T32" fmla="*/ 1648 w 2240"/>
                <a:gd name="T33" fmla="*/ 403 h 2227"/>
                <a:gd name="T34" fmla="*/ 1763 w 2240"/>
                <a:gd name="T35" fmla="*/ 582 h 2227"/>
                <a:gd name="T36" fmla="*/ 1833 w 2240"/>
                <a:gd name="T37" fmla="*/ 787 h 2227"/>
                <a:gd name="T38" fmla="*/ 1850 w 2240"/>
                <a:gd name="T39" fmla="*/ 1010 h 2227"/>
                <a:gd name="T40" fmla="*/ 1810 w 2240"/>
                <a:gd name="T41" fmla="*/ 1229 h 2227"/>
                <a:gd name="T42" fmla="*/ 1722 w 2240"/>
                <a:gd name="T43" fmla="*/ 1425 h 2227"/>
                <a:gd name="T44" fmla="*/ 1591 w 2240"/>
                <a:gd name="T45" fmla="*/ 1591 h 2227"/>
                <a:gd name="T46" fmla="*/ 1423 w 2240"/>
                <a:gd name="T47" fmla="*/ 1722 h 2227"/>
                <a:gd name="T48" fmla="*/ 1227 w 2240"/>
                <a:gd name="T49" fmla="*/ 1811 h 2227"/>
                <a:gd name="T50" fmla="*/ 1010 w 2240"/>
                <a:gd name="T51" fmla="*/ 1850 h 2227"/>
                <a:gd name="T52" fmla="*/ 1737 w 2240"/>
                <a:gd name="T53" fmla="*/ 1545 h 2227"/>
                <a:gd name="T54" fmla="*/ 1847 w 2240"/>
                <a:gd name="T55" fmla="*/ 1357 h 2227"/>
                <a:gd name="T56" fmla="*/ 1913 w 2240"/>
                <a:gd name="T57" fmla="*/ 1147 h 2227"/>
                <a:gd name="T58" fmla="*/ 1929 w 2240"/>
                <a:gd name="T59" fmla="*/ 915 h 2227"/>
                <a:gd name="T60" fmla="*/ 1887 w 2240"/>
                <a:gd name="T61" fmla="*/ 678 h 2227"/>
                <a:gd name="T62" fmla="*/ 1790 w 2240"/>
                <a:gd name="T63" fmla="*/ 465 h 2227"/>
                <a:gd name="T64" fmla="*/ 1647 w 2240"/>
                <a:gd name="T65" fmla="*/ 283 h 2227"/>
                <a:gd name="T66" fmla="*/ 1465 w 2240"/>
                <a:gd name="T67" fmla="*/ 140 h 2227"/>
                <a:gd name="T68" fmla="*/ 1252 w 2240"/>
                <a:gd name="T69" fmla="*/ 43 h 2227"/>
                <a:gd name="T70" fmla="*/ 1015 w 2240"/>
                <a:gd name="T71" fmla="*/ 1 h 2227"/>
                <a:gd name="T72" fmla="*/ 771 w 2240"/>
                <a:gd name="T73" fmla="*/ 19 h 2227"/>
                <a:gd name="T74" fmla="*/ 547 w 2240"/>
                <a:gd name="T75" fmla="*/ 95 h 2227"/>
                <a:gd name="T76" fmla="*/ 351 w 2240"/>
                <a:gd name="T77" fmla="*/ 220 h 2227"/>
                <a:gd name="T78" fmla="*/ 191 w 2240"/>
                <a:gd name="T79" fmla="*/ 388 h 2227"/>
                <a:gd name="T80" fmla="*/ 76 w 2240"/>
                <a:gd name="T81" fmla="*/ 590 h 2227"/>
                <a:gd name="T82" fmla="*/ 11 w 2240"/>
                <a:gd name="T83" fmla="*/ 818 h 2227"/>
                <a:gd name="T84" fmla="*/ 4 w 2240"/>
                <a:gd name="T85" fmla="*/ 1064 h 2227"/>
                <a:gd name="T86" fmla="*/ 58 w 2240"/>
                <a:gd name="T87" fmla="*/ 1297 h 2227"/>
                <a:gd name="T88" fmla="*/ 164 w 2240"/>
                <a:gd name="T89" fmla="*/ 1505 h 2227"/>
                <a:gd name="T90" fmla="*/ 316 w 2240"/>
                <a:gd name="T91" fmla="*/ 1680 h 2227"/>
                <a:gd name="T92" fmla="*/ 504 w 2240"/>
                <a:gd name="T93" fmla="*/ 1814 h 2227"/>
                <a:gd name="T94" fmla="*/ 724 w 2240"/>
                <a:gd name="T95" fmla="*/ 1900 h 2227"/>
                <a:gd name="T96" fmla="*/ 964 w 2240"/>
                <a:gd name="T97" fmla="*/ 1931 h 2227"/>
                <a:gd name="T98" fmla="*/ 1060 w 2240"/>
                <a:gd name="T99" fmla="*/ 1926 h 2227"/>
                <a:gd name="T100" fmla="*/ 1196 w 2240"/>
                <a:gd name="T101" fmla="*/ 1903 h 2227"/>
                <a:gd name="T102" fmla="*/ 1408 w 2240"/>
                <a:gd name="T103" fmla="*/ 1823 h 2227"/>
                <a:gd name="T104" fmla="*/ 1592 w 2240"/>
                <a:gd name="T105" fmla="*/ 1699 h 2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0" h="2227">
                  <a:moveTo>
                    <a:pt x="964" y="1851"/>
                  </a:moveTo>
                  <a:lnTo>
                    <a:pt x="964" y="1891"/>
                  </a:lnTo>
                  <a:lnTo>
                    <a:pt x="964" y="1851"/>
                  </a:lnTo>
                  <a:lnTo>
                    <a:pt x="920" y="1850"/>
                  </a:lnTo>
                  <a:lnTo>
                    <a:pt x="874" y="1847"/>
                  </a:lnTo>
                  <a:lnTo>
                    <a:pt x="830" y="1841"/>
                  </a:lnTo>
                  <a:lnTo>
                    <a:pt x="787" y="1833"/>
                  </a:lnTo>
                  <a:lnTo>
                    <a:pt x="744" y="1823"/>
                  </a:lnTo>
                  <a:lnTo>
                    <a:pt x="701" y="1811"/>
                  </a:lnTo>
                  <a:lnTo>
                    <a:pt x="661" y="1797"/>
                  </a:lnTo>
                  <a:lnTo>
                    <a:pt x="621" y="1782"/>
                  </a:lnTo>
                  <a:lnTo>
                    <a:pt x="582" y="1764"/>
                  </a:lnTo>
                  <a:lnTo>
                    <a:pt x="543" y="1744"/>
                  </a:lnTo>
                  <a:lnTo>
                    <a:pt x="506" y="1722"/>
                  </a:lnTo>
                  <a:lnTo>
                    <a:pt x="470" y="1700"/>
                  </a:lnTo>
                  <a:lnTo>
                    <a:pt x="435" y="1674"/>
                  </a:lnTo>
                  <a:lnTo>
                    <a:pt x="402" y="1648"/>
                  </a:lnTo>
                  <a:lnTo>
                    <a:pt x="370" y="1620"/>
                  </a:lnTo>
                  <a:lnTo>
                    <a:pt x="339" y="1591"/>
                  </a:lnTo>
                  <a:lnTo>
                    <a:pt x="310" y="1560"/>
                  </a:lnTo>
                  <a:lnTo>
                    <a:pt x="282" y="1529"/>
                  </a:lnTo>
                  <a:lnTo>
                    <a:pt x="256" y="1495"/>
                  </a:lnTo>
                  <a:lnTo>
                    <a:pt x="230" y="1460"/>
                  </a:lnTo>
                  <a:lnTo>
                    <a:pt x="208" y="1425"/>
                  </a:lnTo>
                  <a:lnTo>
                    <a:pt x="187" y="1387"/>
                  </a:lnTo>
                  <a:lnTo>
                    <a:pt x="167" y="1348"/>
                  </a:lnTo>
                  <a:lnTo>
                    <a:pt x="149" y="1309"/>
                  </a:lnTo>
                  <a:lnTo>
                    <a:pt x="133" y="1269"/>
                  </a:lnTo>
                  <a:lnTo>
                    <a:pt x="120" y="1229"/>
                  </a:lnTo>
                  <a:lnTo>
                    <a:pt x="107" y="1186"/>
                  </a:lnTo>
                  <a:lnTo>
                    <a:pt x="97" y="1144"/>
                  </a:lnTo>
                  <a:lnTo>
                    <a:pt x="89" y="1100"/>
                  </a:lnTo>
                  <a:lnTo>
                    <a:pt x="84" y="1055"/>
                  </a:lnTo>
                  <a:lnTo>
                    <a:pt x="80" y="1010"/>
                  </a:lnTo>
                  <a:lnTo>
                    <a:pt x="79" y="966"/>
                  </a:lnTo>
                  <a:lnTo>
                    <a:pt x="80" y="920"/>
                  </a:lnTo>
                  <a:lnTo>
                    <a:pt x="84" y="875"/>
                  </a:lnTo>
                  <a:lnTo>
                    <a:pt x="89" y="830"/>
                  </a:lnTo>
                  <a:lnTo>
                    <a:pt x="97" y="787"/>
                  </a:lnTo>
                  <a:lnTo>
                    <a:pt x="107" y="744"/>
                  </a:lnTo>
                  <a:lnTo>
                    <a:pt x="120" y="703"/>
                  </a:lnTo>
                  <a:lnTo>
                    <a:pt x="133" y="661"/>
                  </a:lnTo>
                  <a:lnTo>
                    <a:pt x="149" y="621"/>
                  </a:lnTo>
                  <a:lnTo>
                    <a:pt x="167" y="582"/>
                  </a:lnTo>
                  <a:lnTo>
                    <a:pt x="187" y="544"/>
                  </a:lnTo>
                  <a:lnTo>
                    <a:pt x="208" y="507"/>
                  </a:lnTo>
                  <a:lnTo>
                    <a:pt x="231" y="471"/>
                  </a:lnTo>
                  <a:lnTo>
                    <a:pt x="256" y="436"/>
                  </a:lnTo>
                  <a:lnTo>
                    <a:pt x="282" y="403"/>
                  </a:lnTo>
                  <a:lnTo>
                    <a:pt x="310" y="370"/>
                  </a:lnTo>
                  <a:lnTo>
                    <a:pt x="339" y="339"/>
                  </a:lnTo>
                  <a:lnTo>
                    <a:pt x="370" y="310"/>
                  </a:lnTo>
                  <a:lnTo>
                    <a:pt x="402" y="282"/>
                  </a:lnTo>
                  <a:lnTo>
                    <a:pt x="435" y="256"/>
                  </a:lnTo>
                  <a:lnTo>
                    <a:pt x="470" y="231"/>
                  </a:lnTo>
                  <a:lnTo>
                    <a:pt x="506" y="208"/>
                  </a:lnTo>
                  <a:lnTo>
                    <a:pt x="544" y="187"/>
                  </a:lnTo>
                  <a:lnTo>
                    <a:pt x="582" y="168"/>
                  </a:lnTo>
                  <a:lnTo>
                    <a:pt x="621" y="150"/>
                  </a:lnTo>
                  <a:lnTo>
                    <a:pt x="661" y="133"/>
                  </a:lnTo>
                  <a:lnTo>
                    <a:pt x="701" y="119"/>
                  </a:lnTo>
                  <a:lnTo>
                    <a:pt x="744" y="107"/>
                  </a:lnTo>
                  <a:lnTo>
                    <a:pt x="787" y="97"/>
                  </a:lnTo>
                  <a:lnTo>
                    <a:pt x="830" y="89"/>
                  </a:lnTo>
                  <a:lnTo>
                    <a:pt x="875" y="84"/>
                  </a:lnTo>
                  <a:lnTo>
                    <a:pt x="920" y="80"/>
                  </a:lnTo>
                  <a:lnTo>
                    <a:pt x="964" y="79"/>
                  </a:lnTo>
                  <a:lnTo>
                    <a:pt x="1010" y="80"/>
                  </a:lnTo>
                  <a:lnTo>
                    <a:pt x="1055" y="84"/>
                  </a:lnTo>
                  <a:lnTo>
                    <a:pt x="1100" y="89"/>
                  </a:lnTo>
                  <a:lnTo>
                    <a:pt x="1143" y="97"/>
                  </a:lnTo>
                  <a:lnTo>
                    <a:pt x="1186" y="107"/>
                  </a:lnTo>
                  <a:lnTo>
                    <a:pt x="1227" y="119"/>
                  </a:lnTo>
                  <a:lnTo>
                    <a:pt x="1269" y="133"/>
                  </a:lnTo>
                  <a:lnTo>
                    <a:pt x="1309" y="150"/>
                  </a:lnTo>
                  <a:lnTo>
                    <a:pt x="1348" y="166"/>
                  </a:lnTo>
                  <a:lnTo>
                    <a:pt x="1386" y="187"/>
                  </a:lnTo>
                  <a:lnTo>
                    <a:pt x="1423" y="208"/>
                  </a:lnTo>
                  <a:lnTo>
                    <a:pt x="1460" y="231"/>
                  </a:lnTo>
                  <a:lnTo>
                    <a:pt x="1495" y="256"/>
                  </a:lnTo>
                  <a:lnTo>
                    <a:pt x="1527" y="282"/>
                  </a:lnTo>
                  <a:lnTo>
                    <a:pt x="1560" y="310"/>
                  </a:lnTo>
                  <a:lnTo>
                    <a:pt x="1591" y="339"/>
                  </a:lnTo>
                  <a:lnTo>
                    <a:pt x="1620" y="370"/>
                  </a:lnTo>
                  <a:lnTo>
                    <a:pt x="1648" y="403"/>
                  </a:lnTo>
                  <a:lnTo>
                    <a:pt x="1674" y="435"/>
                  </a:lnTo>
                  <a:lnTo>
                    <a:pt x="1699" y="471"/>
                  </a:lnTo>
                  <a:lnTo>
                    <a:pt x="1722" y="507"/>
                  </a:lnTo>
                  <a:lnTo>
                    <a:pt x="1743" y="544"/>
                  </a:lnTo>
                  <a:lnTo>
                    <a:pt x="1763" y="582"/>
                  </a:lnTo>
                  <a:lnTo>
                    <a:pt x="1780" y="621"/>
                  </a:lnTo>
                  <a:lnTo>
                    <a:pt x="1797" y="661"/>
                  </a:lnTo>
                  <a:lnTo>
                    <a:pt x="1810" y="703"/>
                  </a:lnTo>
                  <a:lnTo>
                    <a:pt x="1823" y="744"/>
                  </a:lnTo>
                  <a:lnTo>
                    <a:pt x="1833" y="787"/>
                  </a:lnTo>
                  <a:lnTo>
                    <a:pt x="1841" y="830"/>
                  </a:lnTo>
                  <a:lnTo>
                    <a:pt x="1846" y="875"/>
                  </a:lnTo>
                  <a:lnTo>
                    <a:pt x="1850" y="920"/>
                  </a:lnTo>
                  <a:lnTo>
                    <a:pt x="1851" y="966"/>
                  </a:lnTo>
                  <a:lnTo>
                    <a:pt x="1850" y="1010"/>
                  </a:lnTo>
                  <a:lnTo>
                    <a:pt x="1846" y="1055"/>
                  </a:lnTo>
                  <a:lnTo>
                    <a:pt x="1841" y="1100"/>
                  </a:lnTo>
                  <a:lnTo>
                    <a:pt x="1833" y="1144"/>
                  </a:lnTo>
                  <a:lnTo>
                    <a:pt x="1823" y="1186"/>
                  </a:lnTo>
                  <a:lnTo>
                    <a:pt x="1810" y="1229"/>
                  </a:lnTo>
                  <a:lnTo>
                    <a:pt x="1797" y="1269"/>
                  </a:lnTo>
                  <a:lnTo>
                    <a:pt x="1780" y="1309"/>
                  </a:lnTo>
                  <a:lnTo>
                    <a:pt x="1763" y="1348"/>
                  </a:lnTo>
                  <a:lnTo>
                    <a:pt x="1743" y="1387"/>
                  </a:lnTo>
                  <a:lnTo>
                    <a:pt x="1722" y="1425"/>
                  </a:lnTo>
                  <a:lnTo>
                    <a:pt x="1699" y="1460"/>
                  </a:lnTo>
                  <a:lnTo>
                    <a:pt x="1674" y="1495"/>
                  </a:lnTo>
                  <a:lnTo>
                    <a:pt x="1648" y="1529"/>
                  </a:lnTo>
                  <a:lnTo>
                    <a:pt x="1620" y="1560"/>
                  </a:lnTo>
                  <a:lnTo>
                    <a:pt x="1591" y="1591"/>
                  </a:lnTo>
                  <a:lnTo>
                    <a:pt x="1560" y="1620"/>
                  </a:lnTo>
                  <a:lnTo>
                    <a:pt x="1527" y="1648"/>
                  </a:lnTo>
                  <a:lnTo>
                    <a:pt x="1495" y="1674"/>
                  </a:lnTo>
                  <a:lnTo>
                    <a:pt x="1460" y="1700"/>
                  </a:lnTo>
                  <a:lnTo>
                    <a:pt x="1423" y="1722"/>
                  </a:lnTo>
                  <a:lnTo>
                    <a:pt x="1386" y="1744"/>
                  </a:lnTo>
                  <a:lnTo>
                    <a:pt x="1348" y="1764"/>
                  </a:lnTo>
                  <a:lnTo>
                    <a:pt x="1309" y="1782"/>
                  </a:lnTo>
                  <a:lnTo>
                    <a:pt x="1269" y="1797"/>
                  </a:lnTo>
                  <a:lnTo>
                    <a:pt x="1227" y="1811"/>
                  </a:lnTo>
                  <a:lnTo>
                    <a:pt x="1186" y="1823"/>
                  </a:lnTo>
                  <a:lnTo>
                    <a:pt x="1143" y="1833"/>
                  </a:lnTo>
                  <a:lnTo>
                    <a:pt x="1100" y="1841"/>
                  </a:lnTo>
                  <a:lnTo>
                    <a:pt x="1055" y="1847"/>
                  </a:lnTo>
                  <a:lnTo>
                    <a:pt x="1010" y="1850"/>
                  </a:lnTo>
                  <a:lnTo>
                    <a:pt x="964" y="1851"/>
                  </a:lnTo>
                  <a:close/>
                  <a:moveTo>
                    <a:pt x="2240" y="2171"/>
                  </a:moveTo>
                  <a:lnTo>
                    <a:pt x="1682" y="1612"/>
                  </a:lnTo>
                  <a:lnTo>
                    <a:pt x="1710" y="1579"/>
                  </a:lnTo>
                  <a:lnTo>
                    <a:pt x="1737" y="1545"/>
                  </a:lnTo>
                  <a:lnTo>
                    <a:pt x="1762" y="1510"/>
                  </a:lnTo>
                  <a:lnTo>
                    <a:pt x="1786" y="1474"/>
                  </a:lnTo>
                  <a:lnTo>
                    <a:pt x="1808" y="1436"/>
                  </a:lnTo>
                  <a:lnTo>
                    <a:pt x="1828" y="1398"/>
                  </a:lnTo>
                  <a:lnTo>
                    <a:pt x="1847" y="1357"/>
                  </a:lnTo>
                  <a:lnTo>
                    <a:pt x="1864" y="1317"/>
                  </a:lnTo>
                  <a:lnTo>
                    <a:pt x="1879" y="1276"/>
                  </a:lnTo>
                  <a:lnTo>
                    <a:pt x="1892" y="1234"/>
                  </a:lnTo>
                  <a:lnTo>
                    <a:pt x="1903" y="1191"/>
                  </a:lnTo>
                  <a:lnTo>
                    <a:pt x="1913" y="1147"/>
                  </a:lnTo>
                  <a:lnTo>
                    <a:pt x="1920" y="1102"/>
                  </a:lnTo>
                  <a:lnTo>
                    <a:pt x="1926" y="1057"/>
                  </a:lnTo>
                  <a:lnTo>
                    <a:pt x="1929" y="1012"/>
                  </a:lnTo>
                  <a:lnTo>
                    <a:pt x="1930" y="966"/>
                  </a:lnTo>
                  <a:lnTo>
                    <a:pt x="1929" y="915"/>
                  </a:lnTo>
                  <a:lnTo>
                    <a:pt x="1926" y="867"/>
                  </a:lnTo>
                  <a:lnTo>
                    <a:pt x="1919" y="818"/>
                  </a:lnTo>
                  <a:lnTo>
                    <a:pt x="1911" y="771"/>
                  </a:lnTo>
                  <a:lnTo>
                    <a:pt x="1900" y="724"/>
                  </a:lnTo>
                  <a:lnTo>
                    <a:pt x="1887" y="678"/>
                  </a:lnTo>
                  <a:lnTo>
                    <a:pt x="1872" y="633"/>
                  </a:lnTo>
                  <a:lnTo>
                    <a:pt x="1854" y="590"/>
                  </a:lnTo>
                  <a:lnTo>
                    <a:pt x="1835" y="547"/>
                  </a:lnTo>
                  <a:lnTo>
                    <a:pt x="1814" y="506"/>
                  </a:lnTo>
                  <a:lnTo>
                    <a:pt x="1790" y="465"/>
                  </a:lnTo>
                  <a:lnTo>
                    <a:pt x="1766" y="426"/>
                  </a:lnTo>
                  <a:lnTo>
                    <a:pt x="1739" y="388"/>
                  </a:lnTo>
                  <a:lnTo>
                    <a:pt x="1710" y="351"/>
                  </a:lnTo>
                  <a:lnTo>
                    <a:pt x="1680" y="316"/>
                  </a:lnTo>
                  <a:lnTo>
                    <a:pt x="1647" y="283"/>
                  </a:lnTo>
                  <a:lnTo>
                    <a:pt x="1614" y="250"/>
                  </a:lnTo>
                  <a:lnTo>
                    <a:pt x="1579" y="220"/>
                  </a:lnTo>
                  <a:lnTo>
                    <a:pt x="1542" y="191"/>
                  </a:lnTo>
                  <a:lnTo>
                    <a:pt x="1504" y="164"/>
                  </a:lnTo>
                  <a:lnTo>
                    <a:pt x="1465" y="140"/>
                  </a:lnTo>
                  <a:lnTo>
                    <a:pt x="1424" y="116"/>
                  </a:lnTo>
                  <a:lnTo>
                    <a:pt x="1383" y="95"/>
                  </a:lnTo>
                  <a:lnTo>
                    <a:pt x="1340" y="76"/>
                  </a:lnTo>
                  <a:lnTo>
                    <a:pt x="1297" y="58"/>
                  </a:lnTo>
                  <a:lnTo>
                    <a:pt x="1252" y="43"/>
                  </a:lnTo>
                  <a:lnTo>
                    <a:pt x="1206" y="30"/>
                  </a:lnTo>
                  <a:lnTo>
                    <a:pt x="1159" y="19"/>
                  </a:lnTo>
                  <a:lnTo>
                    <a:pt x="1112" y="11"/>
                  </a:lnTo>
                  <a:lnTo>
                    <a:pt x="1064" y="4"/>
                  </a:lnTo>
                  <a:lnTo>
                    <a:pt x="1015" y="1"/>
                  </a:lnTo>
                  <a:lnTo>
                    <a:pt x="964" y="0"/>
                  </a:lnTo>
                  <a:lnTo>
                    <a:pt x="915" y="1"/>
                  </a:lnTo>
                  <a:lnTo>
                    <a:pt x="866" y="4"/>
                  </a:lnTo>
                  <a:lnTo>
                    <a:pt x="818" y="11"/>
                  </a:lnTo>
                  <a:lnTo>
                    <a:pt x="771" y="19"/>
                  </a:lnTo>
                  <a:lnTo>
                    <a:pt x="724" y="30"/>
                  </a:lnTo>
                  <a:lnTo>
                    <a:pt x="678" y="43"/>
                  </a:lnTo>
                  <a:lnTo>
                    <a:pt x="633" y="58"/>
                  </a:lnTo>
                  <a:lnTo>
                    <a:pt x="590" y="76"/>
                  </a:lnTo>
                  <a:lnTo>
                    <a:pt x="547" y="95"/>
                  </a:lnTo>
                  <a:lnTo>
                    <a:pt x="506" y="116"/>
                  </a:lnTo>
                  <a:lnTo>
                    <a:pt x="464" y="140"/>
                  </a:lnTo>
                  <a:lnTo>
                    <a:pt x="425" y="164"/>
                  </a:lnTo>
                  <a:lnTo>
                    <a:pt x="388" y="192"/>
                  </a:lnTo>
                  <a:lnTo>
                    <a:pt x="351" y="220"/>
                  </a:lnTo>
                  <a:lnTo>
                    <a:pt x="316" y="250"/>
                  </a:lnTo>
                  <a:lnTo>
                    <a:pt x="283" y="283"/>
                  </a:lnTo>
                  <a:lnTo>
                    <a:pt x="250" y="316"/>
                  </a:lnTo>
                  <a:lnTo>
                    <a:pt x="220" y="351"/>
                  </a:lnTo>
                  <a:lnTo>
                    <a:pt x="191" y="388"/>
                  </a:lnTo>
                  <a:lnTo>
                    <a:pt x="164" y="426"/>
                  </a:lnTo>
                  <a:lnTo>
                    <a:pt x="140" y="465"/>
                  </a:lnTo>
                  <a:lnTo>
                    <a:pt x="116" y="506"/>
                  </a:lnTo>
                  <a:lnTo>
                    <a:pt x="95" y="547"/>
                  </a:lnTo>
                  <a:lnTo>
                    <a:pt x="76" y="590"/>
                  </a:lnTo>
                  <a:lnTo>
                    <a:pt x="58" y="633"/>
                  </a:lnTo>
                  <a:lnTo>
                    <a:pt x="43" y="678"/>
                  </a:lnTo>
                  <a:lnTo>
                    <a:pt x="30" y="724"/>
                  </a:lnTo>
                  <a:lnTo>
                    <a:pt x="19" y="771"/>
                  </a:lnTo>
                  <a:lnTo>
                    <a:pt x="11" y="818"/>
                  </a:lnTo>
                  <a:lnTo>
                    <a:pt x="4" y="867"/>
                  </a:lnTo>
                  <a:lnTo>
                    <a:pt x="1" y="915"/>
                  </a:lnTo>
                  <a:lnTo>
                    <a:pt x="0" y="966"/>
                  </a:lnTo>
                  <a:lnTo>
                    <a:pt x="1" y="1015"/>
                  </a:lnTo>
                  <a:lnTo>
                    <a:pt x="4" y="1064"/>
                  </a:lnTo>
                  <a:lnTo>
                    <a:pt x="11" y="1112"/>
                  </a:lnTo>
                  <a:lnTo>
                    <a:pt x="19" y="1159"/>
                  </a:lnTo>
                  <a:lnTo>
                    <a:pt x="30" y="1206"/>
                  </a:lnTo>
                  <a:lnTo>
                    <a:pt x="43" y="1252"/>
                  </a:lnTo>
                  <a:lnTo>
                    <a:pt x="58" y="1297"/>
                  </a:lnTo>
                  <a:lnTo>
                    <a:pt x="76" y="1341"/>
                  </a:lnTo>
                  <a:lnTo>
                    <a:pt x="95" y="1383"/>
                  </a:lnTo>
                  <a:lnTo>
                    <a:pt x="116" y="1426"/>
                  </a:lnTo>
                  <a:lnTo>
                    <a:pt x="140" y="1466"/>
                  </a:lnTo>
                  <a:lnTo>
                    <a:pt x="164" y="1505"/>
                  </a:lnTo>
                  <a:lnTo>
                    <a:pt x="191" y="1542"/>
                  </a:lnTo>
                  <a:lnTo>
                    <a:pt x="220" y="1579"/>
                  </a:lnTo>
                  <a:lnTo>
                    <a:pt x="250" y="1614"/>
                  </a:lnTo>
                  <a:lnTo>
                    <a:pt x="283" y="1647"/>
                  </a:lnTo>
                  <a:lnTo>
                    <a:pt x="316" y="1680"/>
                  </a:lnTo>
                  <a:lnTo>
                    <a:pt x="351" y="1710"/>
                  </a:lnTo>
                  <a:lnTo>
                    <a:pt x="388" y="1739"/>
                  </a:lnTo>
                  <a:lnTo>
                    <a:pt x="425" y="1766"/>
                  </a:lnTo>
                  <a:lnTo>
                    <a:pt x="464" y="1791"/>
                  </a:lnTo>
                  <a:lnTo>
                    <a:pt x="504" y="1814"/>
                  </a:lnTo>
                  <a:lnTo>
                    <a:pt x="547" y="1835"/>
                  </a:lnTo>
                  <a:lnTo>
                    <a:pt x="590" y="1854"/>
                  </a:lnTo>
                  <a:lnTo>
                    <a:pt x="633" y="1872"/>
                  </a:lnTo>
                  <a:lnTo>
                    <a:pt x="678" y="1887"/>
                  </a:lnTo>
                  <a:lnTo>
                    <a:pt x="724" y="1900"/>
                  </a:lnTo>
                  <a:lnTo>
                    <a:pt x="771" y="1912"/>
                  </a:lnTo>
                  <a:lnTo>
                    <a:pt x="818" y="1919"/>
                  </a:lnTo>
                  <a:lnTo>
                    <a:pt x="866" y="1926"/>
                  </a:lnTo>
                  <a:lnTo>
                    <a:pt x="915" y="1929"/>
                  </a:lnTo>
                  <a:lnTo>
                    <a:pt x="964" y="1931"/>
                  </a:lnTo>
                  <a:lnTo>
                    <a:pt x="966" y="1931"/>
                  </a:lnTo>
                  <a:lnTo>
                    <a:pt x="989" y="1931"/>
                  </a:lnTo>
                  <a:lnTo>
                    <a:pt x="1013" y="1929"/>
                  </a:lnTo>
                  <a:lnTo>
                    <a:pt x="1036" y="1928"/>
                  </a:lnTo>
                  <a:lnTo>
                    <a:pt x="1060" y="1926"/>
                  </a:lnTo>
                  <a:lnTo>
                    <a:pt x="1083" y="1924"/>
                  </a:lnTo>
                  <a:lnTo>
                    <a:pt x="1105" y="1920"/>
                  </a:lnTo>
                  <a:lnTo>
                    <a:pt x="1129" y="1917"/>
                  </a:lnTo>
                  <a:lnTo>
                    <a:pt x="1151" y="1913"/>
                  </a:lnTo>
                  <a:lnTo>
                    <a:pt x="1196" y="1903"/>
                  </a:lnTo>
                  <a:lnTo>
                    <a:pt x="1241" y="1891"/>
                  </a:lnTo>
                  <a:lnTo>
                    <a:pt x="1283" y="1877"/>
                  </a:lnTo>
                  <a:lnTo>
                    <a:pt x="1326" y="1861"/>
                  </a:lnTo>
                  <a:lnTo>
                    <a:pt x="1367" y="1843"/>
                  </a:lnTo>
                  <a:lnTo>
                    <a:pt x="1408" y="1823"/>
                  </a:lnTo>
                  <a:lnTo>
                    <a:pt x="1447" y="1802"/>
                  </a:lnTo>
                  <a:lnTo>
                    <a:pt x="1485" y="1778"/>
                  </a:lnTo>
                  <a:lnTo>
                    <a:pt x="1522" y="1754"/>
                  </a:lnTo>
                  <a:lnTo>
                    <a:pt x="1558" y="1727"/>
                  </a:lnTo>
                  <a:lnTo>
                    <a:pt x="1592" y="1699"/>
                  </a:lnTo>
                  <a:lnTo>
                    <a:pt x="1626" y="1669"/>
                  </a:lnTo>
                  <a:lnTo>
                    <a:pt x="2184" y="2227"/>
                  </a:lnTo>
                  <a:lnTo>
                    <a:pt x="2240" y="2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6"/>
            <p:cNvSpPr>
              <a:spLocks noEditPoints="1"/>
            </p:cNvSpPr>
            <p:nvPr/>
          </p:nvSpPr>
          <p:spPr bwMode="auto">
            <a:xfrm>
              <a:off x="5634038" y="2476501"/>
              <a:ext cx="381000" cy="303213"/>
            </a:xfrm>
            <a:custGeom>
              <a:avLst/>
              <a:gdLst>
                <a:gd name="T0" fmla="*/ 880 w 1200"/>
                <a:gd name="T1" fmla="*/ 79 h 959"/>
                <a:gd name="T2" fmla="*/ 960 w 1200"/>
                <a:gd name="T3" fmla="*/ 880 h 959"/>
                <a:gd name="T4" fmla="*/ 560 w 1200"/>
                <a:gd name="T5" fmla="*/ 880 h 959"/>
                <a:gd name="T6" fmla="*/ 640 w 1200"/>
                <a:gd name="T7" fmla="*/ 319 h 959"/>
                <a:gd name="T8" fmla="*/ 560 w 1200"/>
                <a:gd name="T9" fmla="*/ 880 h 959"/>
                <a:gd name="T10" fmla="*/ 240 w 1200"/>
                <a:gd name="T11" fmla="*/ 560 h 959"/>
                <a:gd name="T12" fmla="*/ 320 w 1200"/>
                <a:gd name="T13" fmla="*/ 880 h 959"/>
                <a:gd name="T14" fmla="*/ 1160 w 1200"/>
                <a:gd name="T15" fmla="*/ 880 h 959"/>
                <a:gd name="T16" fmla="*/ 1040 w 1200"/>
                <a:gd name="T17" fmla="*/ 0 h 959"/>
                <a:gd name="T18" fmla="*/ 800 w 1200"/>
                <a:gd name="T19" fmla="*/ 880 h 959"/>
                <a:gd name="T20" fmla="*/ 720 w 1200"/>
                <a:gd name="T21" fmla="*/ 239 h 959"/>
                <a:gd name="T22" fmla="*/ 480 w 1200"/>
                <a:gd name="T23" fmla="*/ 880 h 959"/>
                <a:gd name="T24" fmla="*/ 400 w 1200"/>
                <a:gd name="T25" fmla="*/ 479 h 959"/>
                <a:gd name="T26" fmla="*/ 160 w 1200"/>
                <a:gd name="T27" fmla="*/ 880 h 959"/>
                <a:gd name="T28" fmla="*/ 33 w 1200"/>
                <a:gd name="T29" fmla="*/ 880 h 959"/>
                <a:gd name="T30" fmla="*/ 18 w 1200"/>
                <a:gd name="T31" fmla="*/ 886 h 959"/>
                <a:gd name="T32" fmla="*/ 7 w 1200"/>
                <a:gd name="T33" fmla="*/ 896 h 959"/>
                <a:gd name="T34" fmla="*/ 1 w 1200"/>
                <a:gd name="T35" fmla="*/ 911 h 959"/>
                <a:gd name="T36" fmla="*/ 1 w 1200"/>
                <a:gd name="T37" fmla="*/ 928 h 959"/>
                <a:gd name="T38" fmla="*/ 7 w 1200"/>
                <a:gd name="T39" fmla="*/ 941 h 959"/>
                <a:gd name="T40" fmla="*/ 18 w 1200"/>
                <a:gd name="T41" fmla="*/ 952 h 959"/>
                <a:gd name="T42" fmla="*/ 33 w 1200"/>
                <a:gd name="T43" fmla="*/ 958 h 959"/>
                <a:gd name="T44" fmla="*/ 160 w 1200"/>
                <a:gd name="T45" fmla="*/ 959 h 959"/>
                <a:gd name="T46" fmla="*/ 480 w 1200"/>
                <a:gd name="T47" fmla="*/ 959 h 959"/>
                <a:gd name="T48" fmla="*/ 800 w 1200"/>
                <a:gd name="T49" fmla="*/ 959 h 959"/>
                <a:gd name="T50" fmla="*/ 1160 w 1200"/>
                <a:gd name="T51" fmla="*/ 959 h 959"/>
                <a:gd name="T52" fmla="*/ 1175 w 1200"/>
                <a:gd name="T53" fmla="*/ 956 h 959"/>
                <a:gd name="T54" fmla="*/ 1188 w 1200"/>
                <a:gd name="T55" fmla="*/ 948 h 959"/>
                <a:gd name="T56" fmla="*/ 1197 w 1200"/>
                <a:gd name="T57" fmla="*/ 935 h 959"/>
                <a:gd name="T58" fmla="*/ 1200 w 1200"/>
                <a:gd name="T59" fmla="*/ 919 h 959"/>
                <a:gd name="T60" fmla="*/ 1197 w 1200"/>
                <a:gd name="T61" fmla="*/ 904 h 959"/>
                <a:gd name="T62" fmla="*/ 1188 w 1200"/>
                <a:gd name="T63" fmla="*/ 891 h 959"/>
                <a:gd name="T64" fmla="*/ 1175 w 1200"/>
                <a:gd name="T65" fmla="*/ 882 h 959"/>
                <a:gd name="T66" fmla="*/ 1160 w 1200"/>
                <a:gd name="T67" fmla="*/ 88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0" h="959">
                  <a:moveTo>
                    <a:pt x="880" y="880"/>
                  </a:moveTo>
                  <a:lnTo>
                    <a:pt x="880" y="79"/>
                  </a:lnTo>
                  <a:lnTo>
                    <a:pt x="960" y="79"/>
                  </a:lnTo>
                  <a:lnTo>
                    <a:pt x="960" y="880"/>
                  </a:lnTo>
                  <a:lnTo>
                    <a:pt x="880" y="880"/>
                  </a:lnTo>
                  <a:close/>
                  <a:moveTo>
                    <a:pt x="560" y="880"/>
                  </a:moveTo>
                  <a:lnTo>
                    <a:pt x="560" y="319"/>
                  </a:lnTo>
                  <a:lnTo>
                    <a:pt x="640" y="319"/>
                  </a:lnTo>
                  <a:lnTo>
                    <a:pt x="640" y="880"/>
                  </a:lnTo>
                  <a:lnTo>
                    <a:pt x="560" y="880"/>
                  </a:lnTo>
                  <a:close/>
                  <a:moveTo>
                    <a:pt x="240" y="880"/>
                  </a:moveTo>
                  <a:lnTo>
                    <a:pt x="240" y="560"/>
                  </a:lnTo>
                  <a:lnTo>
                    <a:pt x="320" y="560"/>
                  </a:lnTo>
                  <a:lnTo>
                    <a:pt x="320" y="880"/>
                  </a:lnTo>
                  <a:lnTo>
                    <a:pt x="240" y="880"/>
                  </a:lnTo>
                  <a:close/>
                  <a:moveTo>
                    <a:pt x="1160" y="880"/>
                  </a:moveTo>
                  <a:lnTo>
                    <a:pt x="1040" y="880"/>
                  </a:lnTo>
                  <a:lnTo>
                    <a:pt x="1040" y="0"/>
                  </a:lnTo>
                  <a:lnTo>
                    <a:pt x="800" y="0"/>
                  </a:lnTo>
                  <a:lnTo>
                    <a:pt x="800" y="880"/>
                  </a:lnTo>
                  <a:lnTo>
                    <a:pt x="720" y="880"/>
                  </a:lnTo>
                  <a:lnTo>
                    <a:pt x="720" y="239"/>
                  </a:lnTo>
                  <a:lnTo>
                    <a:pt x="480" y="239"/>
                  </a:lnTo>
                  <a:lnTo>
                    <a:pt x="480" y="880"/>
                  </a:lnTo>
                  <a:lnTo>
                    <a:pt x="400" y="880"/>
                  </a:lnTo>
                  <a:lnTo>
                    <a:pt x="400" y="479"/>
                  </a:lnTo>
                  <a:lnTo>
                    <a:pt x="160" y="479"/>
                  </a:lnTo>
                  <a:lnTo>
                    <a:pt x="160" y="880"/>
                  </a:lnTo>
                  <a:lnTo>
                    <a:pt x="41" y="880"/>
                  </a:lnTo>
                  <a:lnTo>
                    <a:pt x="33" y="880"/>
                  </a:lnTo>
                  <a:lnTo>
                    <a:pt x="25" y="882"/>
                  </a:lnTo>
                  <a:lnTo>
                    <a:pt x="18" y="886"/>
                  </a:lnTo>
                  <a:lnTo>
                    <a:pt x="11" y="891"/>
                  </a:lnTo>
                  <a:lnTo>
                    <a:pt x="7" y="896"/>
                  </a:lnTo>
                  <a:lnTo>
                    <a:pt x="4" y="904"/>
                  </a:lnTo>
                  <a:lnTo>
                    <a:pt x="1" y="911"/>
                  </a:lnTo>
                  <a:lnTo>
                    <a:pt x="0" y="919"/>
                  </a:lnTo>
                  <a:lnTo>
                    <a:pt x="1" y="928"/>
                  </a:lnTo>
                  <a:lnTo>
                    <a:pt x="4" y="935"/>
                  </a:lnTo>
                  <a:lnTo>
                    <a:pt x="7" y="941"/>
                  </a:lnTo>
                  <a:lnTo>
                    <a:pt x="11" y="948"/>
                  </a:lnTo>
                  <a:lnTo>
                    <a:pt x="18" y="952"/>
                  </a:lnTo>
                  <a:lnTo>
                    <a:pt x="25" y="956"/>
                  </a:lnTo>
                  <a:lnTo>
                    <a:pt x="33" y="958"/>
                  </a:lnTo>
                  <a:lnTo>
                    <a:pt x="41" y="959"/>
                  </a:lnTo>
                  <a:lnTo>
                    <a:pt x="160" y="959"/>
                  </a:lnTo>
                  <a:lnTo>
                    <a:pt x="400" y="959"/>
                  </a:lnTo>
                  <a:lnTo>
                    <a:pt x="480" y="959"/>
                  </a:lnTo>
                  <a:lnTo>
                    <a:pt x="720" y="959"/>
                  </a:lnTo>
                  <a:lnTo>
                    <a:pt x="800" y="959"/>
                  </a:lnTo>
                  <a:lnTo>
                    <a:pt x="1040" y="959"/>
                  </a:lnTo>
                  <a:lnTo>
                    <a:pt x="1160" y="959"/>
                  </a:lnTo>
                  <a:lnTo>
                    <a:pt x="1168" y="958"/>
                  </a:lnTo>
                  <a:lnTo>
                    <a:pt x="1175" y="956"/>
                  </a:lnTo>
                  <a:lnTo>
                    <a:pt x="1182" y="952"/>
                  </a:lnTo>
                  <a:lnTo>
                    <a:pt x="1188" y="948"/>
                  </a:lnTo>
                  <a:lnTo>
                    <a:pt x="1193" y="941"/>
                  </a:lnTo>
                  <a:lnTo>
                    <a:pt x="1197" y="935"/>
                  </a:lnTo>
                  <a:lnTo>
                    <a:pt x="1199" y="928"/>
                  </a:lnTo>
                  <a:lnTo>
                    <a:pt x="1200" y="919"/>
                  </a:lnTo>
                  <a:lnTo>
                    <a:pt x="1199" y="911"/>
                  </a:lnTo>
                  <a:lnTo>
                    <a:pt x="1197" y="904"/>
                  </a:lnTo>
                  <a:lnTo>
                    <a:pt x="1193" y="896"/>
                  </a:lnTo>
                  <a:lnTo>
                    <a:pt x="1188" y="891"/>
                  </a:lnTo>
                  <a:lnTo>
                    <a:pt x="1182" y="886"/>
                  </a:lnTo>
                  <a:lnTo>
                    <a:pt x="1175" y="882"/>
                  </a:lnTo>
                  <a:lnTo>
                    <a:pt x="1168" y="880"/>
                  </a:lnTo>
                  <a:lnTo>
                    <a:pt x="1160" y="8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87" name="Straight Arrow Connector 86"/>
          <p:cNvCxnSpPr>
            <a:stCxn id="56" idx="6"/>
            <a:endCxn id="89" idx="2"/>
          </p:cNvCxnSpPr>
          <p:nvPr/>
        </p:nvCxnSpPr>
        <p:spPr>
          <a:xfrm>
            <a:off x="5181600" y="2405213"/>
            <a:ext cx="1325152" cy="0"/>
          </a:xfrm>
          <a:prstGeom prst="straightConnector1">
            <a:avLst/>
          </a:prstGeom>
          <a:ln w="38100">
            <a:solidFill>
              <a:srgbClr val="F1C40F"/>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2638185" y="2405213"/>
            <a:ext cx="1325152" cy="0"/>
          </a:xfrm>
          <a:prstGeom prst="straightConnector1">
            <a:avLst/>
          </a:prstGeom>
          <a:ln w="38100">
            <a:solidFill>
              <a:srgbClr val="F1C40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79717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custDataLst>
              <p:tags r:id="rId1"/>
            </p:custDataLst>
          </p:nvPr>
        </p:nvSpPr>
        <p:spPr>
          <a:xfrm>
            <a:off x="0" y="5496580"/>
            <a:ext cx="9144000" cy="1361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18</a:t>
            </a:fld>
            <a:endParaRPr lang="en-US"/>
          </a:p>
        </p:txBody>
      </p:sp>
      <p:sp>
        <p:nvSpPr>
          <p:cNvPr id="47" name="Rectangle 46"/>
          <p:cNvSpPr/>
          <p:nvPr>
            <p:custDataLst>
              <p:tags r:id="rId2"/>
            </p:custDataLst>
          </p:nvPr>
        </p:nvSpPr>
        <p:spPr>
          <a:xfrm>
            <a:off x="304800" y="5648236"/>
            <a:ext cx="8305800" cy="600164"/>
          </a:xfrm>
          <a:prstGeom prst="rect">
            <a:avLst/>
          </a:prstGeom>
        </p:spPr>
        <p:txBody>
          <a:bodyPr wrap="square">
            <a:spAutoFit/>
          </a:bodyPr>
          <a:lstStyle/>
          <a:p>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a:t>
            </a:r>
            <a:r>
              <a:rPr lang="en-US" sz="1100" dirty="0" smtClean="0">
                <a:solidFill>
                  <a:schemeClr val="tx1">
                    <a:lumMod val="75000"/>
                    <a:lumOff val="25000"/>
                  </a:schemeClr>
                </a:solidFill>
                <a:latin typeface="Calibri Light" pitchFamily="34" charset="0"/>
              </a:rPr>
              <a:t>simply dummy text of the printing and </a:t>
            </a:r>
            <a:r>
              <a:rPr lang="en-US" sz="1100" dirty="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p>
        </p:txBody>
      </p:sp>
      <p:sp>
        <p:nvSpPr>
          <p:cNvPr id="237" name="Rectangle 236"/>
          <p:cNvSpPr/>
          <p:nvPr/>
        </p:nvSpPr>
        <p:spPr>
          <a:xfrm>
            <a:off x="695469" y="1480922"/>
            <a:ext cx="1605463" cy="784830"/>
          </a:xfrm>
          <a:prstGeom prst="rect">
            <a:avLst/>
          </a:prstGeom>
        </p:spPr>
        <p:txBody>
          <a:bodyPr wrap="square">
            <a:spAutoFit/>
          </a:bodyPr>
          <a:lstStyle/>
          <a:p>
            <a:r>
              <a:rPr lang="id-ID" sz="1200" b="1" dirty="0" smtClean="0">
                <a:solidFill>
                  <a:srgbClr val="7F8C8D"/>
                </a:solidFill>
                <a:latin typeface="Calibri Light" panose="020F0302020204030204" pitchFamily="34" charset="0"/>
              </a:rPr>
              <a:t>COSTS</a:t>
            </a:r>
            <a:endParaRPr lang="id-ID" sz="1200" dirty="0" smtClean="0">
              <a:solidFill>
                <a:srgbClr val="7F8C8D"/>
              </a:solidFill>
              <a:latin typeface="Calibri Light" pitchFamily="34" charset="0"/>
            </a:endParaRPr>
          </a:p>
          <a:p>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238" name="Rectangle 237"/>
          <p:cNvSpPr/>
          <p:nvPr/>
        </p:nvSpPr>
        <p:spPr>
          <a:xfrm>
            <a:off x="695469" y="2413251"/>
            <a:ext cx="1605463" cy="784830"/>
          </a:xfrm>
          <a:prstGeom prst="rect">
            <a:avLst/>
          </a:prstGeom>
        </p:spPr>
        <p:txBody>
          <a:bodyPr wrap="square">
            <a:spAutoFit/>
          </a:bodyPr>
          <a:lstStyle/>
          <a:p>
            <a:r>
              <a:rPr lang="id-ID" sz="1200" b="1" dirty="0" smtClean="0">
                <a:solidFill>
                  <a:srgbClr val="7F8C8D"/>
                </a:solidFill>
                <a:latin typeface="Calibri Light" panose="020F0302020204030204" pitchFamily="34" charset="0"/>
              </a:rPr>
              <a:t>PRODUCTS</a:t>
            </a:r>
            <a:endParaRPr lang="id-ID" sz="1200" dirty="0" smtClean="0">
              <a:solidFill>
                <a:srgbClr val="7F8C8D"/>
              </a:solidFill>
              <a:latin typeface="Calibri Light" pitchFamily="34" charset="0"/>
            </a:endParaRPr>
          </a:p>
          <a:p>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239" name="Rectangle 238"/>
          <p:cNvSpPr/>
          <p:nvPr/>
        </p:nvSpPr>
        <p:spPr>
          <a:xfrm>
            <a:off x="695469" y="3238005"/>
            <a:ext cx="1605463" cy="784830"/>
          </a:xfrm>
          <a:prstGeom prst="rect">
            <a:avLst/>
          </a:prstGeom>
        </p:spPr>
        <p:txBody>
          <a:bodyPr wrap="square">
            <a:spAutoFit/>
          </a:bodyPr>
          <a:lstStyle/>
          <a:p>
            <a:r>
              <a:rPr lang="id-ID" sz="1200" b="1" dirty="0" smtClean="0">
                <a:solidFill>
                  <a:srgbClr val="7F8C8D"/>
                </a:solidFill>
                <a:latin typeface="Calibri Light" panose="020F0302020204030204" pitchFamily="34" charset="0"/>
              </a:rPr>
              <a:t>REVENUE</a:t>
            </a:r>
            <a:endParaRPr lang="id-ID" sz="1200" dirty="0" smtClean="0">
              <a:solidFill>
                <a:srgbClr val="7F8C8D"/>
              </a:solidFill>
              <a:latin typeface="Calibri Light" pitchFamily="34" charset="0"/>
            </a:endParaRPr>
          </a:p>
          <a:p>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240" name="Rectangle 239"/>
          <p:cNvSpPr/>
          <p:nvPr/>
        </p:nvSpPr>
        <p:spPr>
          <a:xfrm>
            <a:off x="695469" y="4170334"/>
            <a:ext cx="1605463" cy="784830"/>
          </a:xfrm>
          <a:prstGeom prst="rect">
            <a:avLst/>
          </a:prstGeom>
        </p:spPr>
        <p:txBody>
          <a:bodyPr wrap="square">
            <a:spAutoFit/>
          </a:bodyPr>
          <a:lstStyle/>
          <a:p>
            <a:r>
              <a:rPr lang="id-ID" sz="1200" b="1" dirty="0" smtClean="0">
                <a:solidFill>
                  <a:srgbClr val="7F8C8D"/>
                </a:solidFill>
                <a:latin typeface="Calibri Light" panose="020F0302020204030204" pitchFamily="34" charset="0"/>
              </a:rPr>
              <a:t>COMPETENCIES</a:t>
            </a:r>
            <a:endParaRPr lang="id-ID" sz="1200" dirty="0" smtClean="0">
              <a:solidFill>
                <a:srgbClr val="7F8C8D"/>
              </a:solidFill>
              <a:latin typeface="Calibri Light" pitchFamily="34" charset="0"/>
            </a:endParaRPr>
          </a:p>
          <a:p>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245" name="Rectangle 244"/>
          <p:cNvSpPr/>
          <p:nvPr/>
        </p:nvSpPr>
        <p:spPr>
          <a:xfrm>
            <a:off x="6842468" y="1480922"/>
            <a:ext cx="1605463" cy="784830"/>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CUSTOMERS</a:t>
            </a:r>
            <a:endParaRPr lang="id-ID" sz="1200" dirty="0" smtClean="0">
              <a:solidFill>
                <a:srgbClr val="7F8C8D"/>
              </a:solidFill>
              <a:latin typeface="Calibri Light" pitchFamily="34" charset="0"/>
            </a:endParaRPr>
          </a:p>
          <a:p>
            <a:pPr algn="r"/>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246" name="Rectangle 245"/>
          <p:cNvSpPr/>
          <p:nvPr/>
        </p:nvSpPr>
        <p:spPr>
          <a:xfrm>
            <a:off x="6842468" y="2413251"/>
            <a:ext cx="1605463" cy="784830"/>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SERVICES</a:t>
            </a:r>
            <a:endParaRPr lang="id-ID" sz="1200" dirty="0" smtClean="0">
              <a:solidFill>
                <a:srgbClr val="7F8C8D"/>
              </a:solidFill>
              <a:latin typeface="Calibri Light" pitchFamily="34" charset="0"/>
            </a:endParaRPr>
          </a:p>
          <a:p>
            <a:pPr algn="r"/>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247" name="Rectangle 246"/>
          <p:cNvSpPr/>
          <p:nvPr/>
        </p:nvSpPr>
        <p:spPr>
          <a:xfrm>
            <a:off x="6842468" y="3238005"/>
            <a:ext cx="1605463" cy="784830"/>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DISTRIBUTION</a:t>
            </a:r>
            <a:endParaRPr lang="id-ID" sz="1200" dirty="0" smtClean="0">
              <a:solidFill>
                <a:srgbClr val="7F8C8D"/>
              </a:solidFill>
              <a:latin typeface="Calibri Light" pitchFamily="34" charset="0"/>
            </a:endParaRPr>
          </a:p>
          <a:p>
            <a:pPr algn="r"/>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248" name="Rectangle 247"/>
          <p:cNvSpPr/>
          <p:nvPr/>
        </p:nvSpPr>
        <p:spPr>
          <a:xfrm>
            <a:off x="6842468" y="4170334"/>
            <a:ext cx="1605463" cy="784830"/>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MANAGEMENT</a:t>
            </a:r>
            <a:endParaRPr lang="id-ID" sz="1200" dirty="0" smtClean="0">
              <a:solidFill>
                <a:srgbClr val="7F8C8D"/>
              </a:solidFill>
              <a:latin typeface="Calibri Light" pitchFamily="34" charset="0"/>
            </a:endParaRPr>
          </a:p>
          <a:p>
            <a:pPr algn="r"/>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189201"/>
            <a:ext cx="941884" cy="461665"/>
          </a:xfrm>
          <a:prstGeom prst="rect">
            <a:avLst/>
          </a:prstGeom>
        </p:spPr>
        <p:txBody>
          <a:bodyPr wrap="square">
            <a:spAutoFit/>
          </a:bodyPr>
          <a:lstStyle/>
          <a:p>
            <a:pPr algn="ctr"/>
            <a:r>
              <a:rPr lang="id-ID" sz="1200" b="1" dirty="0" smtClean="0">
                <a:solidFill>
                  <a:schemeClr val="bg1"/>
                </a:solidFill>
                <a:latin typeface="Calibri Light" panose="020F0302020204030204" pitchFamily="34" charset="0"/>
              </a:rPr>
              <a:t>BUSINESS MODEL</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309"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310"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311"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312"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313"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314"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315"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Tree>
    <p:extLst>
      <p:ext uri="{BB962C8B-B14F-4D97-AF65-F5344CB8AC3E}">
        <p14:creationId xmlns:p14="http://schemas.microsoft.com/office/powerpoint/2010/main" val="28298189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custDataLst>
              <p:tags r:id="rId1"/>
            </p:custDataLst>
          </p:nvPr>
        </p:nvSpPr>
        <p:spPr>
          <a:xfrm>
            <a:off x="0" y="5496580"/>
            <a:ext cx="9144000" cy="1361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19</a:t>
            </a:fld>
            <a:endParaRPr lang="en-US"/>
          </a:p>
        </p:txBody>
      </p:sp>
      <p:sp>
        <p:nvSpPr>
          <p:cNvPr id="47" name="Rectangle 46"/>
          <p:cNvSpPr/>
          <p:nvPr>
            <p:custDataLst>
              <p:tags r:id="rId2"/>
            </p:custDataLst>
          </p:nvPr>
        </p:nvSpPr>
        <p:spPr>
          <a:xfrm>
            <a:off x="304800" y="5648236"/>
            <a:ext cx="8305800" cy="600164"/>
          </a:xfrm>
          <a:prstGeom prst="rect">
            <a:avLst/>
          </a:prstGeom>
        </p:spPr>
        <p:txBody>
          <a:bodyPr wrap="square">
            <a:spAutoFit/>
          </a:bodyPr>
          <a:lstStyle/>
          <a:p>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a:t>
            </a:r>
            <a:r>
              <a:rPr lang="en-US" sz="1100" dirty="0" smtClean="0">
                <a:solidFill>
                  <a:schemeClr val="tx1">
                    <a:lumMod val="75000"/>
                    <a:lumOff val="25000"/>
                  </a:schemeClr>
                </a:solidFill>
                <a:latin typeface="Calibri Light" pitchFamily="34" charset="0"/>
              </a:rPr>
              <a:t>simply dummy text of the printing and </a:t>
            </a:r>
            <a:r>
              <a:rPr lang="en-US" sz="1100" dirty="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p>
        </p:txBody>
      </p:sp>
      <p:sp>
        <p:nvSpPr>
          <p:cNvPr id="48" name="TextBox 47"/>
          <p:cNvSpPr txBox="1"/>
          <p:nvPr>
            <p:custDataLst>
              <p:tags r:id="rId3"/>
            </p:custDataLst>
          </p:nvPr>
        </p:nvSpPr>
        <p:spPr>
          <a:xfrm>
            <a:off x="304800" y="4953000"/>
            <a:ext cx="1477969" cy="523220"/>
          </a:xfrm>
          <a:prstGeom prst="rect">
            <a:avLst/>
          </a:prstGeom>
          <a:noFill/>
        </p:spPr>
        <p:txBody>
          <a:bodyPr wrap="none" rtlCol="0">
            <a:spAutoFit/>
          </a:bodyPr>
          <a:lstStyle/>
          <a:p>
            <a:r>
              <a:rPr lang="id-ID" sz="2800" dirty="0" smtClean="0">
                <a:solidFill>
                  <a:schemeClr val="tx1">
                    <a:lumMod val="75000"/>
                    <a:lumOff val="25000"/>
                  </a:schemeClr>
                </a:solidFill>
                <a:latin typeface="Calibri Light" pitchFamily="34" charset="0"/>
              </a:rPr>
              <a:t>EXECUTE</a:t>
            </a:r>
            <a:endParaRPr lang="en-US" sz="2800" dirty="0">
              <a:solidFill>
                <a:schemeClr val="tx1">
                  <a:lumMod val="75000"/>
                  <a:lumOff val="25000"/>
                </a:schemeClr>
              </a:solidFill>
              <a:latin typeface="Calibri Light" pitchFamily="34" charset="0"/>
            </a:endParaRPr>
          </a:p>
        </p:txBody>
      </p:sp>
      <p:sp>
        <p:nvSpPr>
          <p:cNvPr id="5" name="Arc 4"/>
          <p:cNvSpPr/>
          <p:nvPr/>
        </p:nvSpPr>
        <p:spPr>
          <a:xfrm>
            <a:off x="2869481" y="2304802"/>
            <a:ext cx="3418754" cy="3418754"/>
          </a:xfrm>
          <a:prstGeom prst="arc">
            <a:avLst>
              <a:gd name="adj1" fmla="val 10886720"/>
              <a:gd name="adj2" fmla="val 0"/>
            </a:avLst>
          </a:prstGeom>
          <a:noFill/>
          <a:ln w="3810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lt1"/>
              </a:solidFill>
            </a:endParaRPr>
          </a:p>
        </p:txBody>
      </p:sp>
      <p:cxnSp>
        <p:nvCxnSpPr>
          <p:cNvPr id="7" name="Straight Connector 6"/>
          <p:cNvCxnSpPr/>
          <p:nvPr/>
        </p:nvCxnSpPr>
        <p:spPr>
          <a:xfrm>
            <a:off x="2969956" y="4025412"/>
            <a:ext cx="3204088" cy="0"/>
          </a:xfrm>
          <a:prstGeom prst="line">
            <a:avLst/>
          </a:prstGeom>
          <a:noFill/>
          <a:ln w="3810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42" name="Oval 141"/>
          <p:cNvSpPr/>
          <p:nvPr/>
        </p:nvSpPr>
        <p:spPr>
          <a:xfrm>
            <a:off x="4021286" y="1803709"/>
            <a:ext cx="1101429" cy="11014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3" name="Group 2"/>
          <p:cNvGrpSpPr/>
          <p:nvPr/>
        </p:nvGrpSpPr>
        <p:grpSpPr>
          <a:xfrm>
            <a:off x="3769377" y="3222790"/>
            <a:ext cx="1605246" cy="1605245"/>
            <a:chOff x="3446112" y="2106090"/>
            <a:chExt cx="2136532" cy="2136532"/>
          </a:xfrm>
        </p:grpSpPr>
        <p:sp>
          <p:nvSpPr>
            <p:cNvPr id="133" name="Oval 132"/>
            <p:cNvSpPr/>
            <p:nvPr/>
          </p:nvSpPr>
          <p:spPr>
            <a:xfrm>
              <a:off x="3446112" y="2106090"/>
              <a:ext cx="2136532" cy="213653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p:cNvSpPr/>
            <p:nvPr/>
          </p:nvSpPr>
          <p:spPr>
            <a:xfrm>
              <a:off x="3523778" y="2183756"/>
              <a:ext cx="1981200" cy="1981200"/>
            </a:xfrm>
            <a:prstGeom prst="ellipse">
              <a:avLst/>
            </a:prstGeom>
            <a:solidFill>
              <a:srgbClr val="7F8C8D"/>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p:cNvGrpSpPr/>
          <p:nvPr/>
        </p:nvGrpSpPr>
        <p:grpSpPr>
          <a:xfrm>
            <a:off x="4176838" y="3627610"/>
            <a:ext cx="790323" cy="790323"/>
            <a:chOff x="884238" y="2681288"/>
            <a:chExt cx="685800" cy="685800"/>
          </a:xfrm>
          <a:solidFill>
            <a:schemeClr val="bg1"/>
          </a:solidFill>
        </p:grpSpPr>
        <p:sp>
          <p:nvSpPr>
            <p:cNvPr id="145"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Block Arc 29"/>
          <p:cNvSpPr/>
          <p:nvPr/>
        </p:nvSpPr>
        <p:spPr>
          <a:xfrm>
            <a:off x="4090125" y="1872548"/>
            <a:ext cx="963750" cy="963750"/>
          </a:xfrm>
          <a:prstGeom prst="blockArc">
            <a:avLst>
              <a:gd name="adj1" fmla="val 2248365"/>
              <a:gd name="adj2" fmla="val 18986227"/>
              <a:gd name="adj3" fmla="val 8541"/>
            </a:avLst>
          </a:prstGeom>
          <a:solidFill>
            <a:srgbClr val="2EC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35" name="Rectangle 34"/>
          <p:cNvSpPr/>
          <p:nvPr/>
        </p:nvSpPr>
        <p:spPr>
          <a:xfrm>
            <a:off x="4081128" y="1267106"/>
            <a:ext cx="981744" cy="523220"/>
          </a:xfrm>
          <a:prstGeom prst="rect">
            <a:avLst/>
          </a:prstGeom>
        </p:spPr>
        <p:txBody>
          <a:bodyPr wrap="none">
            <a:spAutoFit/>
          </a:bodyPr>
          <a:lstStyle/>
          <a:p>
            <a:pPr algn="ctr"/>
            <a:r>
              <a:rPr lang="id-ID" sz="1400" b="1" dirty="0" smtClean="0">
                <a:solidFill>
                  <a:srgbClr val="7F8C8D"/>
                </a:solidFill>
                <a:latin typeface="Calibri Light" panose="020F0302020204030204" pitchFamily="34" charset="0"/>
              </a:rPr>
              <a:t>75%</a:t>
            </a:r>
          </a:p>
          <a:p>
            <a:pPr algn="ctr"/>
            <a:r>
              <a:rPr lang="id-ID" sz="1400" b="1" dirty="0" smtClean="0">
                <a:solidFill>
                  <a:srgbClr val="7F8C8D"/>
                </a:solidFill>
                <a:latin typeface="Calibri Light" panose="020F0302020204030204" pitchFamily="34" charset="0"/>
              </a:rPr>
              <a:t>MATERIALS</a:t>
            </a:r>
            <a:endParaRPr lang="id-ID" sz="1400" dirty="0"/>
          </a:p>
        </p:txBody>
      </p:sp>
      <p:sp>
        <p:nvSpPr>
          <p:cNvPr id="135" name="Oval 134"/>
          <p:cNvSpPr/>
          <p:nvPr/>
        </p:nvSpPr>
        <p:spPr>
          <a:xfrm>
            <a:off x="2362200" y="3474698"/>
            <a:ext cx="1101429" cy="11014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 name="Block Arc 5"/>
          <p:cNvSpPr/>
          <p:nvPr/>
        </p:nvSpPr>
        <p:spPr>
          <a:xfrm>
            <a:off x="2431039" y="3543537"/>
            <a:ext cx="963750" cy="963750"/>
          </a:xfrm>
          <a:prstGeom prst="blockArc">
            <a:avLst>
              <a:gd name="adj1" fmla="val 21007964"/>
              <a:gd name="adj2" fmla="val 18986227"/>
              <a:gd name="adj3" fmla="val 8541"/>
            </a:avLst>
          </a:prstGeom>
          <a:solidFill>
            <a:srgbClr val="34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8" name="Rectangle 7"/>
          <p:cNvSpPr/>
          <p:nvPr/>
        </p:nvSpPr>
        <p:spPr>
          <a:xfrm>
            <a:off x="2513077" y="4573535"/>
            <a:ext cx="885179" cy="523220"/>
          </a:xfrm>
          <a:prstGeom prst="rect">
            <a:avLst/>
          </a:prstGeom>
        </p:spPr>
        <p:txBody>
          <a:bodyPr wrap="none">
            <a:spAutoFit/>
          </a:bodyPr>
          <a:lstStyle/>
          <a:p>
            <a:pPr algn="ctr"/>
            <a:r>
              <a:rPr lang="id-ID" sz="1400" b="1" dirty="0" smtClean="0">
                <a:solidFill>
                  <a:srgbClr val="7F8C8D"/>
                </a:solidFill>
                <a:latin typeface="Calibri Light" panose="020F0302020204030204" pitchFamily="34" charset="0"/>
              </a:rPr>
              <a:t>90%</a:t>
            </a:r>
          </a:p>
          <a:p>
            <a:pPr algn="ctr"/>
            <a:r>
              <a:rPr lang="id-ID" sz="1400" b="1" dirty="0" smtClean="0">
                <a:solidFill>
                  <a:srgbClr val="7F8C8D"/>
                </a:solidFill>
                <a:latin typeface="Calibri Light" panose="020F0302020204030204" pitchFamily="34" charset="0"/>
              </a:rPr>
              <a:t>TRAINING</a:t>
            </a:r>
            <a:endParaRPr lang="id-ID" sz="1400" dirty="0"/>
          </a:p>
        </p:txBody>
      </p:sp>
      <p:grpSp>
        <p:nvGrpSpPr>
          <p:cNvPr id="36" name="Group 35"/>
          <p:cNvGrpSpPr/>
          <p:nvPr/>
        </p:nvGrpSpPr>
        <p:grpSpPr>
          <a:xfrm>
            <a:off x="2632733" y="3907940"/>
            <a:ext cx="560361" cy="251197"/>
            <a:chOff x="5094287" y="1206500"/>
            <a:chExt cx="736600" cy="330200"/>
          </a:xfrm>
          <a:solidFill>
            <a:srgbClr val="7F8C8D"/>
          </a:solidFill>
        </p:grpSpPr>
        <p:sp>
          <p:nvSpPr>
            <p:cNvPr id="38" name="Freeform 40"/>
            <p:cNvSpPr>
              <a:spLocks noEditPoints="1"/>
            </p:cNvSpPr>
            <p:nvPr/>
          </p:nvSpPr>
          <p:spPr bwMode="auto">
            <a:xfrm>
              <a:off x="5195887" y="1206500"/>
              <a:ext cx="101600" cy="330200"/>
            </a:xfrm>
            <a:custGeom>
              <a:avLst/>
              <a:gdLst>
                <a:gd name="T0" fmla="*/ 64 w 256"/>
                <a:gd name="T1" fmla="*/ 768 h 832"/>
                <a:gd name="T2" fmla="*/ 192 w 256"/>
                <a:gd name="T3" fmla="*/ 768 h 832"/>
                <a:gd name="T4" fmla="*/ 192 w 256"/>
                <a:gd name="T5" fmla="*/ 65 h 832"/>
                <a:gd name="T6" fmla="*/ 64 w 256"/>
                <a:gd name="T7" fmla="*/ 65 h 832"/>
                <a:gd name="T8" fmla="*/ 64 w 256"/>
                <a:gd name="T9" fmla="*/ 768 h 832"/>
                <a:gd name="T10" fmla="*/ 225 w 256"/>
                <a:gd name="T11" fmla="*/ 832 h 832"/>
                <a:gd name="T12" fmla="*/ 32 w 256"/>
                <a:gd name="T13" fmla="*/ 832 h 832"/>
                <a:gd name="T14" fmla="*/ 25 w 256"/>
                <a:gd name="T15" fmla="*/ 832 h 832"/>
                <a:gd name="T16" fmla="*/ 19 w 256"/>
                <a:gd name="T17" fmla="*/ 829 h 832"/>
                <a:gd name="T18" fmla="*/ 14 w 256"/>
                <a:gd name="T19" fmla="*/ 827 h 832"/>
                <a:gd name="T20" fmla="*/ 9 w 256"/>
                <a:gd name="T21" fmla="*/ 823 h 832"/>
                <a:gd name="T22" fmla="*/ 5 w 256"/>
                <a:gd name="T23" fmla="*/ 818 h 832"/>
                <a:gd name="T24" fmla="*/ 3 w 256"/>
                <a:gd name="T25" fmla="*/ 813 h 832"/>
                <a:gd name="T26" fmla="*/ 0 w 256"/>
                <a:gd name="T27" fmla="*/ 806 h 832"/>
                <a:gd name="T28" fmla="*/ 0 w 256"/>
                <a:gd name="T29" fmla="*/ 800 h 832"/>
                <a:gd name="T30" fmla="*/ 0 w 256"/>
                <a:gd name="T31" fmla="*/ 32 h 832"/>
                <a:gd name="T32" fmla="*/ 0 w 256"/>
                <a:gd name="T33" fmla="*/ 25 h 832"/>
                <a:gd name="T34" fmla="*/ 3 w 256"/>
                <a:gd name="T35" fmla="*/ 20 h 832"/>
                <a:gd name="T36" fmla="*/ 5 w 256"/>
                <a:gd name="T37" fmla="*/ 14 h 832"/>
                <a:gd name="T38" fmla="*/ 9 w 256"/>
                <a:gd name="T39" fmla="*/ 9 h 832"/>
                <a:gd name="T40" fmla="*/ 14 w 256"/>
                <a:gd name="T41" fmla="*/ 5 h 832"/>
                <a:gd name="T42" fmla="*/ 19 w 256"/>
                <a:gd name="T43" fmla="*/ 2 h 832"/>
                <a:gd name="T44" fmla="*/ 25 w 256"/>
                <a:gd name="T45" fmla="*/ 1 h 832"/>
                <a:gd name="T46" fmla="*/ 32 w 256"/>
                <a:gd name="T47" fmla="*/ 0 h 832"/>
                <a:gd name="T48" fmla="*/ 225 w 256"/>
                <a:gd name="T49" fmla="*/ 0 h 832"/>
                <a:gd name="T50" fmla="*/ 231 w 256"/>
                <a:gd name="T51" fmla="*/ 1 h 832"/>
                <a:gd name="T52" fmla="*/ 236 w 256"/>
                <a:gd name="T53" fmla="*/ 2 h 832"/>
                <a:gd name="T54" fmla="*/ 242 w 256"/>
                <a:gd name="T55" fmla="*/ 5 h 832"/>
                <a:gd name="T56" fmla="*/ 246 w 256"/>
                <a:gd name="T57" fmla="*/ 9 h 832"/>
                <a:gd name="T58" fmla="*/ 250 w 256"/>
                <a:gd name="T59" fmla="*/ 14 h 832"/>
                <a:gd name="T60" fmla="*/ 254 w 256"/>
                <a:gd name="T61" fmla="*/ 20 h 832"/>
                <a:gd name="T62" fmla="*/ 255 w 256"/>
                <a:gd name="T63" fmla="*/ 25 h 832"/>
                <a:gd name="T64" fmla="*/ 256 w 256"/>
                <a:gd name="T65" fmla="*/ 32 h 832"/>
                <a:gd name="T66" fmla="*/ 256 w 256"/>
                <a:gd name="T67" fmla="*/ 800 h 832"/>
                <a:gd name="T68" fmla="*/ 255 w 256"/>
                <a:gd name="T69" fmla="*/ 806 h 832"/>
                <a:gd name="T70" fmla="*/ 254 w 256"/>
                <a:gd name="T71" fmla="*/ 813 h 832"/>
                <a:gd name="T72" fmla="*/ 250 w 256"/>
                <a:gd name="T73" fmla="*/ 818 h 832"/>
                <a:gd name="T74" fmla="*/ 246 w 256"/>
                <a:gd name="T75" fmla="*/ 823 h 832"/>
                <a:gd name="T76" fmla="*/ 242 w 256"/>
                <a:gd name="T77" fmla="*/ 827 h 832"/>
                <a:gd name="T78" fmla="*/ 236 w 256"/>
                <a:gd name="T79" fmla="*/ 829 h 832"/>
                <a:gd name="T80" fmla="*/ 231 w 256"/>
                <a:gd name="T81" fmla="*/ 832 h 832"/>
                <a:gd name="T82" fmla="*/ 225 w 256"/>
                <a:gd name="T83"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832">
                  <a:moveTo>
                    <a:pt x="64" y="768"/>
                  </a:moveTo>
                  <a:lnTo>
                    <a:pt x="192" y="768"/>
                  </a:lnTo>
                  <a:lnTo>
                    <a:pt x="192" y="65"/>
                  </a:lnTo>
                  <a:lnTo>
                    <a:pt x="64" y="65"/>
                  </a:lnTo>
                  <a:lnTo>
                    <a:pt x="64" y="768"/>
                  </a:lnTo>
                  <a:close/>
                  <a:moveTo>
                    <a:pt x="225" y="832"/>
                  </a:moveTo>
                  <a:lnTo>
                    <a:pt x="32" y="832"/>
                  </a:lnTo>
                  <a:lnTo>
                    <a:pt x="25" y="832"/>
                  </a:lnTo>
                  <a:lnTo>
                    <a:pt x="19" y="829"/>
                  </a:lnTo>
                  <a:lnTo>
                    <a:pt x="14" y="827"/>
                  </a:lnTo>
                  <a:lnTo>
                    <a:pt x="9" y="823"/>
                  </a:lnTo>
                  <a:lnTo>
                    <a:pt x="5" y="818"/>
                  </a:lnTo>
                  <a:lnTo>
                    <a:pt x="3" y="813"/>
                  </a:lnTo>
                  <a:lnTo>
                    <a:pt x="0" y="806"/>
                  </a:lnTo>
                  <a:lnTo>
                    <a:pt x="0" y="800"/>
                  </a:lnTo>
                  <a:lnTo>
                    <a:pt x="0" y="32"/>
                  </a:lnTo>
                  <a:lnTo>
                    <a:pt x="0" y="25"/>
                  </a:lnTo>
                  <a:lnTo>
                    <a:pt x="3" y="20"/>
                  </a:lnTo>
                  <a:lnTo>
                    <a:pt x="5" y="14"/>
                  </a:lnTo>
                  <a:lnTo>
                    <a:pt x="9" y="9"/>
                  </a:lnTo>
                  <a:lnTo>
                    <a:pt x="14" y="5"/>
                  </a:lnTo>
                  <a:lnTo>
                    <a:pt x="19" y="2"/>
                  </a:lnTo>
                  <a:lnTo>
                    <a:pt x="25" y="1"/>
                  </a:lnTo>
                  <a:lnTo>
                    <a:pt x="32" y="0"/>
                  </a:lnTo>
                  <a:lnTo>
                    <a:pt x="225" y="0"/>
                  </a:lnTo>
                  <a:lnTo>
                    <a:pt x="231" y="1"/>
                  </a:lnTo>
                  <a:lnTo>
                    <a:pt x="236" y="2"/>
                  </a:lnTo>
                  <a:lnTo>
                    <a:pt x="242" y="5"/>
                  </a:lnTo>
                  <a:lnTo>
                    <a:pt x="246" y="9"/>
                  </a:lnTo>
                  <a:lnTo>
                    <a:pt x="250" y="14"/>
                  </a:lnTo>
                  <a:lnTo>
                    <a:pt x="254" y="20"/>
                  </a:lnTo>
                  <a:lnTo>
                    <a:pt x="255" y="25"/>
                  </a:lnTo>
                  <a:lnTo>
                    <a:pt x="256" y="32"/>
                  </a:lnTo>
                  <a:lnTo>
                    <a:pt x="256" y="800"/>
                  </a:lnTo>
                  <a:lnTo>
                    <a:pt x="255" y="806"/>
                  </a:lnTo>
                  <a:lnTo>
                    <a:pt x="254" y="813"/>
                  </a:lnTo>
                  <a:lnTo>
                    <a:pt x="250" y="818"/>
                  </a:lnTo>
                  <a:lnTo>
                    <a:pt x="246" y="823"/>
                  </a:lnTo>
                  <a:lnTo>
                    <a:pt x="242" y="827"/>
                  </a:lnTo>
                  <a:lnTo>
                    <a:pt x="236" y="829"/>
                  </a:lnTo>
                  <a:lnTo>
                    <a:pt x="231" y="832"/>
                  </a:lnTo>
                  <a:lnTo>
                    <a:pt x="225" y="8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1"/>
            <p:cNvSpPr>
              <a:spLocks noEditPoints="1"/>
            </p:cNvSpPr>
            <p:nvPr/>
          </p:nvSpPr>
          <p:spPr bwMode="auto">
            <a:xfrm>
              <a:off x="5145087" y="1257300"/>
              <a:ext cx="76200" cy="228600"/>
            </a:xfrm>
            <a:custGeom>
              <a:avLst/>
              <a:gdLst>
                <a:gd name="T0" fmla="*/ 63 w 192"/>
                <a:gd name="T1" fmla="*/ 512 h 576"/>
                <a:gd name="T2" fmla="*/ 128 w 192"/>
                <a:gd name="T3" fmla="*/ 512 h 576"/>
                <a:gd name="T4" fmla="*/ 128 w 192"/>
                <a:gd name="T5" fmla="*/ 65 h 576"/>
                <a:gd name="T6" fmla="*/ 63 w 192"/>
                <a:gd name="T7" fmla="*/ 65 h 576"/>
                <a:gd name="T8" fmla="*/ 63 w 192"/>
                <a:gd name="T9" fmla="*/ 512 h 576"/>
                <a:gd name="T10" fmla="*/ 160 w 192"/>
                <a:gd name="T11" fmla="*/ 576 h 576"/>
                <a:gd name="T12" fmla="*/ 32 w 192"/>
                <a:gd name="T13" fmla="*/ 576 h 576"/>
                <a:gd name="T14" fmla="*/ 25 w 192"/>
                <a:gd name="T15" fmla="*/ 576 h 576"/>
                <a:gd name="T16" fmla="*/ 19 w 192"/>
                <a:gd name="T17" fmla="*/ 573 h 576"/>
                <a:gd name="T18" fmla="*/ 14 w 192"/>
                <a:gd name="T19" fmla="*/ 571 h 576"/>
                <a:gd name="T20" fmla="*/ 9 w 192"/>
                <a:gd name="T21" fmla="*/ 567 h 576"/>
                <a:gd name="T22" fmla="*/ 5 w 192"/>
                <a:gd name="T23" fmla="*/ 562 h 576"/>
                <a:gd name="T24" fmla="*/ 3 w 192"/>
                <a:gd name="T25" fmla="*/ 557 h 576"/>
                <a:gd name="T26" fmla="*/ 0 w 192"/>
                <a:gd name="T27" fmla="*/ 550 h 576"/>
                <a:gd name="T28" fmla="*/ 0 w 192"/>
                <a:gd name="T29" fmla="*/ 544 h 576"/>
                <a:gd name="T30" fmla="*/ 0 w 192"/>
                <a:gd name="T31" fmla="*/ 32 h 576"/>
                <a:gd name="T32" fmla="*/ 0 w 192"/>
                <a:gd name="T33" fmla="*/ 25 h 576"/>
                <a:gd name="T34" fmla="*/ 3 w 192"/>
                <a:gd name="T35" fmla="*/ 19 h 576"/>
                <a:gd name="T36" fmla="*/ 5 w 192"/>
                <a:gd name="T37" fmla="*/ 14 h 576"/>
                <a:gd name="T38" fmla="*/ 9 w 192"/>
                <a:gd name="T39" fmla="*/ 9 h 576"/>
                <a:gd name="T40" fmla="*/ 14 w 192"/>
                <a:gd name="T41" fmla="*/ 5 h 576"/>
                <a:gd name="T42" fmla="*/ 19 w 192"/>
                <a:gd name="T43" fmla="*/ 2 h 576"/>
                <a:gd name="T44" fmla="*/ 25 w 192"/>
                <a:gd name="T45" fmla="*/ 1 h 576"/>
                <a:gd name="T46" fmla="*/ 32 w 192"/>
                <a:gd name="T47" fmla="*/ 0 h 576"/>
                <a:gd name="T48" fmla="*/ 160 w 192"/>
                <a:gd name="T49" fmla="*/ 0 h 576"/>
                <a:gd name="T50" fmla="*/ 166 w 192"/>
                <a:gd name="T51" fmla="*/ 1 h 576"/>
                <a:gd name="T52" fmla="*/ 173 w 192"/>
                <a:gd name="T53" fmla="*/ 2 h 576"/>
                <a:gd name="T54" fmla="*/ 178 w 192"/>
                <a:gd name="T55" fmla="*/ 5 h 576"/>
                <a:gd name="T56" fmla="*/ 183 w 192"/>
                <a:gd name="T57" fmla="*/ 9 h 576"/>
                <a:gd name="T58" fmla="*/ 186 w 192"/>
                <a:gd name="T59" fmla="*/ 14 h 576"/>
                <a:gd name="T60" fmla="*/ 189 w 192"/>
                <a:gd name="T61" fmla="*/ 19 h 576"/>
                <a:gd name="T62" fmla="*/ 192 w 192"/>
                <a:gd name="T63" fmla="*/ 25 h 576"/>
                <a:gd name="T64" fmla="*/ 192 w 192"/>
                <a:gd name="T65" fmla="*/ 32 h 576"/>
                <a:gd name="T66" fmla="*/ 192 w 192"/>
                <a:gd name="T67" fmla="*/ 544 h 576"/>
                <a:gd name="T68" fmla="*/ 192 w 192"/>
                <a:gd name="T69" fmla="*/ 550 h 576"/>
                <a:gd name="T70" fmla="*/ 189 w 192"/>
                <a:gd name="T71" fmla="*/ 557 h 576"/>
                <a:gd name="T72" fmla="*/ 186 w 192"/>
                <a:gd name="T73" fmla="*/ 562 h 576"/>
                <a:gd name="T74" fmla="*/ 183 w 192"/>
                <a:gd name="T75" fmla="*/ 567 h 576"/>
                <a:gd name="T76" fmla="*/ 178 w 192"/>
                <a:gd name="T77" fmla="*/ 571 h 576"/>
                <a:gd name="T78" fmla="*/ 173 w 192"/>
                <a:gd name="T79" fmla="*/ 573 h 576"/>
                <a:gd name="T80" fmla="*/ 166 w 192"/>
                <a:gd name="T81" fmla="*/ 576 h 576"/>
                <a:gd name="T82" fmla="*/ 160 w 192"/>
                <a:gd name="T83"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576">
                  <a:moveTo>
                    <a:pt x="63" y="512"/>
                  </a:moveTo>
                  <a:lnTo>
                    <a:pt x="128" y="512"/>
                  </a:lnTo>
                  <a:lnTo>
                    <a:pt x="128" y="65"/>
                  </a:lnTo>
                  <a:lnTo>
                    <a:pt x="63" y="65"/>
                  </a:lnTo>
                  <a:lnTo>
                    <a:pt x="63" y="512"/>
                  </a:lnTo>
                  <a:close/>
                  <a:moveTo>
                    <a:pt x="160" y="576"/>
                  </a:moveTo>
                  <a:lnTo>
                    <a:pt x="32" y="576"/>
                  </a:lnTo>
                  <a:lnTo>
                    <a:pt x="25" y="576"/>
                  </a:lnTo>
                  <a:lnTo>
                    <a:pt x="19" y="573"/>
                  </a:lnTo>
                  <a:lnTo>
                    <a:pt x="14" y="571"/>
                  </a:lnTo>
                  <a:lnTo>
                    <a:pt x="9" y="567"/>
                  </a:lnTo>
                  <a:lnTo>
                    <a:pt x="5" y="562"/>
                  </a:lnTo>
                  <a:lnTo>
                    <a:pt x="3" y="557"/>
                  </a:lnTo>
                  <a:lnTo>
                    <a:pt x="0" y="550"/>
                  </a:lnTo>
                  <a:lnTo>
                    <a:pt x="0" y="544"/>
                  </a:lnTo>
                  <a:lnTo>
                    <a:pt x="0" y="32"/>
                  </a:lnTo>
                  <a:lnTo>
                    <a:pt x="0" y="25"/>
                  </a:lnTo>
                  <a:lnTo>
                    <a:pt x="3" y="19"/>
                  </a:lnTo>
                  <a:lnTo>
                    <a:pt x="5" y="14"/>
                  </a:lnTo>
                  <a:lnTo>
                    <a:pt x="9" y="9"/>
                  </a:lnTo>
                  <a:lnTo>
                    <a:pt x="14" y="5"/>
                  </a:lnTo>
                  <a:lnTo>
                    <a:pt x="19" y="2"/>
                  </a:lnTo>
                  <a:lnTo>
                    <a:pt x="25" y="1"/>
                  </a:lnTo>
                  <a:lnTo>
                    <a:pt x="32" y="0"/>
                  </a:lnTo>
                  <a:lnTo>
                    <a:pt x="160" y="0"/>
                  </a:lnTo>
                  <a:lnTo>
                    <a:pt x="166" y="1"/>
                  </a:lnTo>
                  <a:lnTo>
                    <a:pt x="173" y="2"/>
                  </a:lnTo>
                  <a:lnTo>
                    <a:pt x="178" y="5"/>
                  </a:lnTo>
                  <a:lnTo>
                    <a:pt x="183" y="9"/>
                  </a:lnTo>
                  <a:lnTo>
                    <a:pt x="186" y="14"/>
                  </a:lnTo>
                  <a:lnTo>
                    <a:pt x="189" y="19"/>
                  </a:lnTo>
                  <a:lnTo>
                    <a:pt x="192" y="25"/>
                  </a:lnTo>
                  <a:lnTo>
                    <a:pt x="192" y="32"/>
                  </a:lnTo>
                  <a:lnTo>
                    <a:pt x="192" y="544"/>
                  </a:lnTo>
                  <a:lnTo>
                    <a:pt x="192" y="550"/>
                  </a:lnTo>
                  <a:lnTo>
                    <a:pt x="189" y="557"/>
                  </a:lnTo>
                  <a:lnTo>
                    <a:pt x="186" y="562"/>
                  </a:lnTo>
                  <a:lnTo>
                    <a:pt x="183" y="567"/>
                  </a:lnTo>
                  <a:lnTo>
                    <a:pt x="178" y="571"/>
                  </a:lnTo>
                  <a:lnTo>
                    <a:pt x="173" y="573"/>
                  </a:lnTo>
                  <a:lnTo>
                    <a:pt x="166" y="576"/>
                  </a:lnTo>
                  <a:lnTo>
                    <a:pt x="160" y="5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2"/>
            <p:cNvSpPr>
              <a:spLocks noEditPoints="1"/>
            </p:cNvSpPr>
            <p:nvPr/>
          </p:nvSpPr>
          <p:spPr bwMode="auto">
            <a:xfrm>
              <a:off x="5094287" y="1333500"/>
              <a:ext cx="76200" cy="76200"/>
            </a:xfrm>
            <a:custGeom>
              <a:avLst/>
              <a:gdLst>
                <a:gd name="T0" fmla="*/ 63 w 191"/>
                <a:gd name="T1" fmla="*/ 128 h 193"/>
                <a:gd name="T2" fmla="*/ 128 w 191"/>
                <a:gd name="T3" fmla="*/ 128 h 193"/>
                <a:gd name="T4" fmla="*/ 128 w 191"/>
                <a:gd name="T5" fmla="*/ 65 h 193"/>
                <a:gd name="T6" fmla="*/ 63 w 191"/>
                <a:gd name="T7" fmla="*/ 65 h 193"/>
                <a:gd name="T8" fmla="*/ 63 w 191"/>
                <a:gd name="T9" fmla="*/ 128 h 193"/>
                <a:gd name="T10" fmla="*/ 160 w 191"/>
                <a:gd name="T11" fmla="*/ 193 h 193"/>
                <a:gd name="T12" fmla="*/ 32 w 191"/>
                <a:gd name="T13" fmla="*/ 193 h 193"/>
                <a:gd name="T14" fmla="*/ 25 w 191"/>
                <a:gd name="T15" fmla="*/ 192 h 193"/>
                <a:gd name="T16" fmla="*/ 19 w 191"/>
                <a:gd name="T17" fmla="*/ 191 h 193"/>
                <a:gd name="T18" fmla="*/ 14 w 191"/>
                <a:gd name="T19" fmla="*/ 188 h 193"/>
                <a:gd name="T20" fmla="*/ 9 w 191"/>
                <a:gd name="T21" fmla="*/ 184 h 193"/>
                <a:gd name="T22" fmla="*/ 5 w 191"/>
                <a:gd name="T23" fmla="*/ 179 h 193"/>
                <a:gd name="T24" fmla="*/ 3 w 191"/>
                <a:gd name="T25" fmla="*/ 173 h 193"/>
                <a:gd name="T26" fmla="*/ 1 w 191"/>
                <a:gd name="T27" fmla="*/ 168 h 193"/>
                <a:gd name="T28" fmla="*/ 0 w 191"/>
                <a:gd name="T29" fmla="*/ 161 h 193"/>
                <a:gd name="T30" fmla="*/ 0 w 191"/>
                <a:gd name="T31" fmla="*/ 33 h 193"/>
                <a:gd name="T32" fmla="*/ 1 w 191"/>
                <a:gd name="T33" fmla="*/ 27 h 193"/>
                <a:gd name="T34" fmla="*/ 3 w 191"/>
                <a:gd name="T35" fmla="*/ 21 h 193"/>
                <a:gd name="T36" fmla="*/ 5 w 191"/>
                <a:gd name="T37" fmla="*/ 16 h 193"/>
                <a:gd name="T38" fmla="*/ 9 w 191"/>
                <a:gd name="T39" fmla="*/ 11 h 193"/>
                <a:gd name="T40" fmla="*/ 14 w 191"/>
                <a:gd name="T41" fmla="*/ 7 h 193"/>
                <a:gd name="T42" fmla="*/ 19 w 191"/>
                <a:gd name="T43" fmla="*/ 3 h 193"/>
                <a:gd name="T44" fmla="*/ 25 w 191"/>
                <a:gd name="T45" fmla="*/ 2 h 193"/>
                <a:gd name="T46" fmla="*/ 32 w 191"/>
                <a:gd name="T47" fmla="*/ 0 h 193"/>
                <a:gd name="T48" fmla="*/ 160 w 191"/>
                <a:gd name="T49" fmla="*/ 0 h 193"/>
                <a:gd name="T50" fmla="*/ 166 w 191"/>
                <a:gd name="T51" fmla="*/ 2 h 193"/>
                <a:gd name="T52" fmla="*/ 172 w 191"/>
                <a:gd name="T53" fmla="*/ 3 h 193"/>
                <a:gd name="T54" fmla="*/ 178 w 191"/>
                <a:gd name="T55" fmla="*/ 7 h 193"/>
                <a:gd name="T56" fmla="*/ 183 w 191"/>
                <a:gd name="T57" fmla="*/ 11 h 193"/>
                <a:gd name="T58" fmla="*/ 186 w 191"/>
                <a:gd name="T59" fmla="*/ 16 h 193"/>
                <a:gd name="T60" fmla="*/ 189 w 191"/>
                <a:gd name="T61" fmla="*/ 21 h 193"/>
                <a:gd name="T62" fmla="*/ 191 w 191"/>
                <a:gd name="T63" fmla="*/ 27 h 193"/>
                <a:gd name="T64" fmla="*/ 191 w 191"/>
                <a:gd name="T65" fmla="*/ 33 h 193"/>
                <a:gd name="T66" fmla="*/ 191 w 191"/>
                <a:gd name="T67" fmla="*/ 161 h 193"/>
                <a:gd name="T68" fmla="*/ 191 w 191"/>
                <a:gd name="T69" fmla="*/ 168 h 193"/>
                <a:gd name="T70" fmla="*/ 189 w 191"/>
                <a:gd name="T71" fmla="*/ 173 h 193"/>
                <a:gd name="T72" fmla="*/ 186 w 191"/>
                <a:gd name="T73" fmla="*/ 179 h 193"/>
                <a:gd name="T74" fmla="*/ 183 w 191"/>
                <a:gd name="T75" fmla="*/ 184 h 193"/>
                <a:gd name="T76" fmla="*/ 178 w 191"/>
                <a:gd name="T77" fmla="*/ 188 h 193"/>
                <a:gd name="T78" fmla="*/ 172 w 191"/>
                <a:gd name="T79" fmla="*/ 191 h 193"/>
                <a:gd name="T80" fmla="*/ 166 w 191"/>
                <a:gd name="T81" fmla="*/ 192 h 193"/>
                <a:gd name="T82" fmla="*/ 160 w 191"/>
                <a:gd name="T8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1" h="193">
                  <a:moveTo>
                    <a:pt x="63" y="128"/>
                  </a:moveTo>
                  <a:lnTo>
                    <a:pt x="128" y="128"/>
                  </a:lnTo>
                  <a:lnTo>
                    <a:pt x="128" y="65"/>
                  </a:lnTo>
                  <a:lnTo>
                    <a:pt x="63" y="65"/>
                  </a:lnTo>
                  <a:lnTo>
                    <a:pt x="63" y="128"/>
                  </a:lnTo>
                  <a:close/>
                  <a:moveTo>
                    <a:pt x="160" y="193"/>
                  </a:moveTo>
                  <a:lnTo>
                    <a:pt x="32" y="193"/>
                  </a:lnTo>
                  <a:lnTo>
                    <a:pt x="25" y="192"/>
                  </a:lnTo>
                  <a:lnTo>
                    <a:pt x="19" y="191"/>
                  </a:lnTo>
                  <a:lnTo>
                    <a:pt x="14" y="188"/>
                  </a:lnTo>
                  <a:lnTo>
                    <a:pt x="9" y="184"/>
                  </a:lnTo>
                  <a:lnTo>
                    <a:pt x="5" y="179"/>
                  </a:lnTo>
                  <a:lnTo>
                    <a:pt x="3" y="173"/>
                  </a:lnTo>
                  <a:lnTo>
                    <a:pt x="1" y="168"/>
                  </a:lnTo>
                  <a:lnTo>
                    <a:pt x="0" y="161"/>
                  </a:lnTo>
                  <a:lnTo>
                    <a:pt x="0" y="33"/>
                  </a:lnTo>
                  <a:lnTo>
                    <a:pt x="1" y="27"/>
                  </a:lnTo>
                  <a:lnTo>
                    <a:pt x="3" y="21"/>
                  </a:lnTo>
                  <a:lnTo>
                    <a:pt x="5" y="16"/>
                  </a:lnTo>
                  <a:lnTo>
                    <a:pt x="9" y="11"/>
                  </a:lnTo>
                  <a:lnTo>
                    <a:pt x="14" y="7"/>
                  </a:lnTo>
                  <a:lnTo>
                    <a:pt x="19" y="3"/>
                  </a:lnTo>
                  <a:lnTo>
                    <a:pt x="25" y="2"/>
                  </a:lnTo>
                  <a:lnTo>
                    <a:pt x="32" y="0"/>
                  </a:lnTo>
                  <a:lnTo>
                    <a:pt x="160" y="0"/>
                  </a:lnTo>
                  <a:lnTo>
                    <a:pt x="166" y="2"/>
                  </a:lnTo>
                  <a:lnTo>
                    <a:pt x="172" y="3"/>
                  </a:lnTo>
                  <a:lnTo>
                    <a:pt x="178" y="7"/>
                  </a:lnTo>
                  <a:lnTo>
                    <a:pt x="183" y="11"/>
                  </a:lnTo>
                  <a:lnTo>
                    <a:pt x="186" y="16"/>
                  </a:lnTo>
                  <a:lnTo>
                    <a:pt x="189" y="21"/>
                  </a:lnTo>
                  <a:lnTo>
                    <a:pt x="191" y="27"/>
                  </a:lnTo>
                  <a:lnTo>
                    <a:pt x="191" y="33"/>
                  </a:lnTo>
                  <a:lnTo>
                    <a:pt x="191" y="161"/>
                  </a:lnTo>
                  <a:lnTo>
                    <a:pt x="191" y="168"/>
                  </a:lnTo>
                  <a:lnTo>
                    <a:pt x="189" y="173"/>
                  </a:lnTo>
                  <a:lnTo>
                    <a:pt x="186" y="179"/>
                  </a:lnTo>
                  <a:lnTo>
                    <a:pt x="183" y="184"/>
                  </a:lnTo>
                  <a:lnTo>
                    <a:pt x="178" y="188"/>
                  </a:lnTo>
                  <a:lnTo>
                    <a:pt x="172" y="191"/>
                  </a:lnTo>
                  <a:lnTo>
                    <a:pt x="166" y="192"/>
                  </a:lnTo>
                  <a:lnTo>
                    <a:pt x="160"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3"/>
            <p:cNvSpPr>
              <a:spLocks noEditPoints="1"/>
            </p:cNvSpPr>
            <p:nvPr/>
          </p:nvSpPr>
          <p:spPr bwMode="auto">
            <a:xfrm>
              <a:off x="5627687" y="1206500"/>
              <a:ext cx="101600" cy="330200"/>
            </a:xfrm>
            <a:custGeom>
              <a:avLst/>
              <a:gdLst>
                <a:gd name="T0" fmla="*/ 63 w 256"/>
                <a:gd name="T1" fmla="*/ 768 h 832"/>
                <a:gd name="T2" fmla="*/ 192 w 256"/>
                <a:gd name="T3" fmla="*/ 768 h 832"/>
                <a:gd name="T4" fmla="*/ 192 w 256"/>
                <a:gd name="T5" fmla="*/ 65 h 832"/>
                <a:gd name="T6" fmla="*/ 63 w 256"/>
                <a:gd name="T7" fmla="*/ 65 h 832"/>
                <a:gd name="T8" fmla="*/ 63 w 256"/>
                <a:gd name="T9" fmla="*/ 768 h 832"/>
                <a:gd name="T10" fmla="*/ 225 w 256"/>
                <a:gd name="T11" fmla="*/ 832 h 832"/>
                <a:gd name="T12" fmla="*/ 32 w 256"/>
                <a:gd name="T13" fmla="*/ 832 h 832"/>
                <a:gd name="T14" fmla="*/ 25 w 256"/>
                <a:gd name="T15" fmla="*/ 832 h 832"/>
                <a:gd name="T16" fmla="*/ 19 w 256"/>
                <a:gd name="T17" fmla="*/ 829 h 832"/>
                <a:gd name="T18" fmla="*/ 14 w 256"/>
                <a:gd name="T19" fmla="*/ 827 h 832"/>
                <a:gd name="T20" fmla="*/ 9 w 256"/>
                <a:gd name="T21" fmla="*/ 823 h 832"/>
                <a:gd name="T22" fmla="*/ 5 w 256"/>
                <a:gd name="T23" fmla="*/ 818 h 832"/>
                <a:gd name="T24" fmla="*/ 3 w 256"/>
                <a:gd name="T25" fmla="*/ 813 h 832"/>
                <a:gd name="T26" fmla="*/ 0 w 256"/>
                <a:gd name="T27" fmla="*/ 806 h 832"/>
                <a:gd name="T28" fmla="*/ 0 w 256"/>
                <a:gd name="T29" fmla="*/ 800 h 832"/>
                <a:gd name="T30" fmla="*/ 0 w 256"/>
                <a:gd name="T31" fmla="*/ 32 h 832"/>
                <a:gd name="T32" fmla="*/ 0 w 256"/>
                <a:gd name="T33" fmla="*/ 25 h 832"/>
                <a:gd name="T34" fmla="*/ 3 w 256"/>
                <a:gd name="T35" fmla="*/ 20 h 832"/>
                <a:gd name="T36" fmla="*/ 5 w 256"/>
                <a:gd name="T37" fmla="*/ 14 h 832"/>
                <a:gd name="T38" fmla="*/ 9 w 256"/>
                <a:gd name="T39" fmla="*/ 9 h 832"/>
                <a:gd name="T40" fmla="*/ 14 w 256"/>
                <a:gd name="T41" fmla="*/ 5 h 832"/>
                <a:gd name="T42" fmla="*/ 19 w 256"/>
                <a:gd name="T43" fmla="*/ 2 h 832"/>
                <a:gd name="T44" fmla="*/ 25 w 256"/>
                <a:gd name="T45" fmla="*/ 1 h 832"/>
                <a:gd name="T46" fmla="*/ 32 w 256"/>
                <a:gd name="T47" fmla="*/ 0 h 832"/>
                <a:gd name="T48" fmla="*/ 225 w 256"/>
                <a:gd name="T49" fmla="*/ 0 h 832"/>
                <a:gd name="T50" fmla="*/ 231 w 256"/>
                <a:gd name="T51" fmla="*/ 1 h 832"/>
                <a:gd name="T52" fmla="*/ 236 w 256"/>
                <a:gd name="T53" fmla="*/ 2 h 832"/>
                <a:gd name="T54" fmla="*/ 242 w 256"/>
                <a:gd name="T55" fmla="*/ 5 h 832"/>
                <a:gd name="T56" fmla="*/ 246 w 256"/>
                <a:gd name="T57" fmla="*/ 9 h 832"/>
                <a:gd name="T58" fmla="*/ 251 w 256"/>
                <a:gd name="T59" fmla="*/ 14 h 832"/>
                <a:gd name="T60" fmla="*/ 254 w 256"/>
                <a:gd name="T61" fmla="*/ 20 h 832"/>
                <a:gd name="T62" fmla="*/ 255 w 256"/>
                <a:gd name="T63" fmla="*/ 25 h 832"/>
                <a:gd name="T64" fmla="*/ 256 w 256"/>
                <a:gd name="T65" fmla="*/ 32 h 832"/>
                <a:gd name="T66" fmla="*/ 256 w 256"/>
                <a:gd name="T67" fmla="*/ 800 h 832"/>
                <a:gd name="T68" fmla="*/ 255 w 256"/>
                <a:gd name="T69" fmla="*/ 806 h 832"/>
                <a:gd name="T70" fmla="*/ 254 w 256"/>
                <a:gd name="T71" fmla="*/ 813 h 832"/>
                <a:gd name="T72" fmla="*/ 251 w 256"/>
                <a:gd name="T73" fmla="*/ 818 h 832"/>
                <a:gd name="T74" fmla="*/ 246 w 256"/>
                <a:gd name="T75" fmla="*/ 823 h 832"/>
                <a:gd name="T76" fmla="*/ 242 w 256"/>
                <a:gd name="T77" fmla="*/ 827 h 832"/>
                <a:gd name="T78" fmla="*/ 236 w 256"/>
                <a:gd name="T79" fmla="*/ 829 h 832"/>
                <a:gd name="T80" fmla="*/ 231 w 256"/>
                <a:gd name="T81" fmla="*/ 832 h 832"/>
                <a:gd name="T82" fmla="*/ 225 w 256"/>
                <a:gd name="T83"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832">
                  <a:moveTo>
                    <a:pt x="63" y="768"/>
                  </a:moveTo>
                  <a:lnTo>
                    <a:pt x="192" y="768"/>
                  </a:lnTo>
                  <a:lnTo>
                    <a:pt x="192" y="65"/>
                  </a:lnTo>
                  <a:lnTo>
                    <a:pt x="63" y="65"/>
                  </a:lnTo>
                  <a:lnTo>
                    <a:pt x="63" y="768"/>
                  </a:lnTo>
                  <a:close/>
                  <a:moveTo>
                    <a:pt x="225" y="832"/>
                  </a:moveTo>
                  <a:lnTo>
                    <a:pt x="32" y="832"/>
                  </a:lnTo>
                  <a:lnTo>
                    <a:pt x="25" y="832"/>
                  </a:lnTo>
                  <a:lnTo>
                    <a:pt x="19" y="829"/>
                  </a:lnTo>
                  <a:lnTo>
                    <a:pt x="14" y="827"/>
                  </a:lnTo>
                  <a:lnTo>
                    <a:pt x="9" y="823"/>
                  </a:lnTo>
                  <a:lnTo>
                    <a:pt x="5" y="818"/>
                  </a:lnTo>
                  <a:lnTo>
                    <a:pt x="3" y="813"/>
                  </a:lnTo>
                  <a:lnTo>
                    <a:pt x="0" y="806"/>
                  </a:lnTo>
                  <a:lnTo>
                    <a:pt x="0" y="800"/>
                  </a:lnTo>
                  <a:lnTo>
                    <a:pt x="0" y="32"/>
                  </a:lnTo>
                  <a:lnTo>
                    <a:pt x="0" y="25"/>
                  </a:lnTo>
                  <a:lnTo>
                    <a:pt x="3" y="20"/>
                  </a:lnTo>
                  <a:lnTo>
                    <a:pt x="5" y="14"/>
                  </a:lnTo>
                  <a:lnTo>
                    <a:pt x="9" y="9"/>
                  </a:lnTo>
                  <a:lnTo>
                    <a:pt x="14" y="5"/>
                  </a:lnTo>
                  <a:lnTo>
                    <a:pt x="19" y="2"/>
                  </a:lnTo>
                  <a:lnTo>
                    <a:pt x="25" y="1"/>
                  </a:lnTo>
                  <a:lnTo>
                    <a:pt x="32" y="0"/>
                  </a:lnTo>
                  <a:lnTo>
                    <a:pt x="225" y="0"/>
                  </a:lnTo>
                  <a:lnTo>
                    <a:pt x="231" y="1"/>
                  </a:lnTo>
                  <a:lnTo>
                    <a:pt x="236" y="2"/>
                  </a:lnTo>
                  <a:lnTo>
                    <a:pt x="242" y="5"/>
                  </a:lnTo>
                  <a:lnTo>
                    <a:pt x="246" y="9"/>
                  </a:lnTo>
                  <a:lnTo>
                    <a:pt x="251" y="14"/>
                  </a:lnTo>
                  <a:lnTo>
                    <a:pt x="254" y="20"/>
                  </a:lnTo>
                  <a:lnTo>
                    <a:pt x="255" y="25"/>
                  </a:lnTo>
                  <a:lnTo>
                    <a:pt x="256" y="32"/>
                  </a:lnTo>
                  <a:lnTo>
                    <a:pt x="256" y="800"/>
                  </a:lnTo>
                  <a:lnTo>
                    <a:pt x="255" y="806"/>
                  </a:lnTo>
                  <a:lnTo>
                    <a:pt x="254" y="813"/>
                  </a:lnTo>
                  <a:lnTo>
                    <a:pt x="251" y="818"/>
                  </a:lnTo>
                  <a:lnTo>
                    <a:pt x="246" y="823"/>
                  </a:lnTo>
                  <a:lnTo>
                    <a:pt x="242" y="827"/>
                  </a:lnTo>
                  <a:lnTo>
                    <a:pt x="236" y="829"/>
                  </a:lnTo>
                  <a:lnTo>
                    <a:pt x="231" y="832"/>
                  </a:lnTo>
                  <a:lnTo>
                    <a:pt x="225" y="8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4"/>
            <p:cNvSpPr>
              <a:spLocks noEditPoints="1"/>
            </p:cNvSpPr>
            <p:nvPr/>
          </p:nvSpPr>
          <p:spPr bwMode="auto">
            <a:xfrm>
              <a:off x="5703887" y="1257300"/>
              <a:ext cx="76200" cy="228600"/>
            </a:xfrm>
            <a:custGeom>
              <a:avLst/>
              <a:gdLst>
                <a:gd name="T0" fmla="*/ 64 w 192"/>
                <a:gd name="T1" fmla="*/ 512 h 576"/>
                <a:gd name="T2" fmla="*/ 128 w 192"/>
                <a:gd name="T3" fmla="*/ 512 h 576"/>
                <a:gd name="T4" fmla="*/ 128 w 192"/>
                <a:gd name="T5" fmla="*/ 65 h 576"/>
                <a:gd name="T6" fmla="*/ 64 w 192"/>
                <a:gd name="T7" fmla="*/ 65 h 576"/>
                <a:gd name="T8" fmla="*/ 64 w 192"/>
                <a:gd name="T9" fmla="*/ 512 h 576"/>
                <a:gd name="T10" fmla="*/ 161 w 192"/>
                <a:gd name="T11" fmla="*/ 576 h 576"/>
                <a:gd name="T12" fmla="*/ 33 w 192"/>
                <a:gd name="T13" fmla="*/ 576 h 576"/>
                <a:gd name="T14" fmla="*/ 26 w 192"/>
                <a:gd name="T15" fmla="*/ 576 h 576"/>
                <a:gd name="T16" fmla="*/ 20 w 192"/>
                <a:gd name="T17" fmla="*/ 573 h 576"/>
                <a:gd name="T18" fmla="*/ 13 w 192"/>
                <a:gd name="T19" fmla="*/ 571 h 576"/>
                <a:gd name="T20" fmla="*/ 10 w 192"/>
                <a:gd name="T21" fmla="*/ 567 h 576"/>
                <a:gd name="T22" fmla="*/ 6 w 192"/>
                <a:gd name="T23" fmla="*/ 562 h 576"/>
                <a:gd name="T24" fmla="*/ 2 w 192"/>
                <a:gd name="T25" fmla="*/ 557 h 576"/>
                <a:gd name="T26" fmla="*/ 1 w 192"/>
                <a:gd name="T27" fmla="*/ 550 h 576"/>
                <a:gd name="T28" fmla="*/ 0 w 192"/>
                <a:gd name="T29" fmla="*/ 544 h 576"/>
                <a:gd name="T30" fmla="*/ 0 w 192"/>
                <a:gd name="T31" fmla="*/ 32 h 576"/>
                <a:gd name="T32" fmla="*/ 1 w 192"/>
                <a:gd name="T33" fmla="*/ 25 h 576"/>
                <a:gd name="T34" fmla="*/ 2 w 192"/>
                <a:gd name="T35" fmla="*/ 19 h 576"/>
                <a:gd name="T36" fmla="*/ 6 w 192"/>
                <a:gd name="T37" fmla="*/ 14 h 576"/>
                <a:gd name="T38" fmla="*/ 10 w 192"/>
                <a:gd name="T39" fmla="*/ 9 h 576"/>
                <a:gd name="T40" fmla="*/ 13 w 192"/>
                <a:gd name="T41" fmla="*/ 5 h 576"/>
                <a:gd name="T42" fmla="*/ 20 w 192"/>
                <a:gd name="T43" fmla="*/ 2 h 576"/>
                <a:gd name="T44" fmla="*/ 26 w 192"/>
                <a:gd name="T45" fmla="*/ 1 h 576"/>
                <a:gd name="T46" fmla="*/ 33 w 192"/>
                <a:gd name="T47" fmla="*/ 0 h 576"/>
                <a:gd name="T48" fmla="*/ 161 w 192"/>
                <a:gd name="T49" fmla="*/ 0 h 576"/>
                <a:gd name="T50" fmla="*/ 167 w 192"/>
                <a:gd name="T51" fmla="*/ 1 h 576"/>
                <a:gd name="T52" fmla="*/ 172 w 192"/>
                <a:gd name="T53" fmla="*/ 2 h 576"/>
                <a:gd name="T54" fmla="*/ 178 w 192"/>
                <a:gd name="T55" fmla="*/ 5 h 576"/>
                <a:gd name="T56" fmla="*/ 182 w 192"/>
                <a:gd name="T57" fmla="*/ 9 h 576"/>
                <a:gd name="T58" fmla="*/ 186 w 192"/>
                <a:gd name="T59" fmla="*/ 14 h 576"/>
                <a:gd name="T60" fmla="*/ 190 w 192"/>
                <a:gd name="T61" fmla="*/ 19 h 576"/>
                <a:gd name="T62" fmla="*/ 191 w 192"/>
                <a:gd name="T63" fmla="*/ 25 h 576"/>
                <a:gd name="T64" fmla="*/ 192 w 192"/>
                <a:gd name="T65" fmla="*/ 32 h 576"/>
                <a:gd name="T66" fmla="*/ 192 w 192"/>
                <a:gd name="T67" fmla="*/ 544 h 576"/>
                <a:gd name="T68" fmla="*/ 191 w 192"/>
                <a:gd name="T69" fmla="*/ 550 h 576"/>
                <a:gd name="T70" fmla="*/ 190 w 192"/>
                <a:gd name="T71" fmla="*/ 557 h 576"/>
                <a:gd name="T72" fmla="*/ 186 w 192"/>
                <a:gd name="T73" fmla="*/ 562 h 576"/>
                <a:gd name="T74" fmla="*/ 182 w 192"/>
                <a:gd name="T75" fmla="*/ 567 h 576"/>
                <a:gd name="T76" fmla="*/ 178 w 192"/>
                <a:gd name="T77" fmla="*/ 571 h 576"/>
                <a:gd name="T78" fmla="*/ 172 w 192"/>
                <a:gd name="T79" fmla="*/ 573 h 576"/>
                <a:gd name="T80" fmla="*/ 167 w 192"/>
                <a:gd name="T81" fmla="*/ 576 h 576"/>
                <a:gd name="T82" fmla="*/ 161 w 192"/>
                <a:gd name="T83"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576">
                  <a:moveTo>
                    <a:pt x="64" y="512"/>
                  </a:moveTo>
                  <a:lnTo>
                    <a:pt x="128" y="512"/>
                  </a:lnTo>
                  <a:lnTo>
                    <a:pt x="128" y="65"/>
                  </a:lnTo>
                  <a:lnTo>
                    <a:pt x="64" y="65"/>
                  </a:lnTo>
                  <a:lnTo>
                    <a:pt x="64" y="512"/>
                  </a:lnTo>
                  <a:close/>
                  <a:moveTo>
                    <a:pt x="161" y="576"/>
                  </a:moveTo>
                  <a:lnTo>
                    <a:pt x="33" y="576"/>
                  </a:lnTo>
                  <a:lnTo>
                    <a:pt x="26" y="576"/>
                  </a:lnTo>
                  <a:lnTo>
                    <a:pt x="20" y="573"/>
                  </a:lnTo>
                  <a:lnTo>
                    <a:pt x="13" y="571"/>
                  </a:lnTo>
                  <a:lnTo>
                    <a:pt x="10" y="567"/>
                  </a:lnTo>
                  <a:lnTo>
                    <a:pt x="6" y="562"/>
                  </a:lnTo>
                  <a:lnTo>
                    <a:pt x="2" y="557"/>
                  </a:lnTo>
                  <a:lnTo>
                    <a:pt x="1" y="550"/>
                  </a:lnTo>
                  <a:lnTo>
                    <a:pt x="0" y="544"/>
                  </a:lnTo>
                  <a:lnTo>
                    <a:pt x="0" y="32"/>
                  </a:lnTo>
                  <a:lnTo>
                    <a:pt x="1" y="25"/>
                  </a:lnTo>
                  <a:lnTo>
                    <a:pt x="2" y="19"/>
                  </a:lnTo>
                  <a:lnTo>
                    <a:pt x="6" y="14"/>
                  </a:lnTo>
                  <a:lnTo>
                    <a:pt x="10" y="9"/>
                  </a:lnTo>
                  <a:lnTo>
                    <a:pt x="13" y="5"/>
                  </a:lnTo>
                  <a:lnTo>
                    <a:pt x="20" y="2"/>
                  </a:lnTo>
                  <a:lnTo>
                    <a:pt x="26" y="1"/>
                  </a:lnTo>
                  <a:lnTo>
                    <a:pt x="33" y="0"/>
                  </a:lnTo>
                  <a:lnTo>
                    <a:pt x="161" y="0"/>
                  </a:lnTo>
                  <a:lnTo>
                    <a:pt x="167" y="1"/>
                  </a:lnTo>
                  <a:lnTo>
                    <a:pt x="172" y="2"/>
                  </a:lnTo>
                  <a:lnTo>
                    <a:pt x="178" y="5"/>
                  </a:lnTo>
                  <a:lnTo>
                    <a:pt x="182" y="9"/>
                  </a:lnTo>
                  <a:lnTo>
                    <a:pt x="186" y="14"/>
                  </a:lnTo>
                  <a:lnTo>
                    <a:pt x="190" y="19"/>
                  </a:lnTo>
                  <a:lnTo>
                    <a:pt x="191" y="25"/>
                  </a:lnTo>
                  <a:lnTo>
                    <a:pt x="192" y="32"/>
                  </a:lnTo>
                  <a:lnTo>
                    <a:pt x="192" y="544"/>
                  </a:lnTo>
                  <a:lnTo>
                    <a:pt x="191" y="550"/>
                  </a:lnTo>
                  <a:lnTo>
                    <a:pt x="190" y="557"/>
                  </a:lnTo>
                  <a:lnTo>
                    <a:pt x="186" y="562"/>
                  </a:lnTo>
                  <a:lnTo>
                    <a:pt x="182" y="567"/>
                  </a:lnTo>
                  <a:lnTo>
                    <a:pt x="178" y="571"/>
                  </a:lnTo>
                  <a:lnTo>
                    <a:pt x="172" y="573"/>
                  </a:lnTo>
                  <a:lnTo>
                    <a:pt x="167" y="576"/>
                  </a:lnTo>
                  <a:lnTo>
                    <a:pt x="161" y="5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5"/>
            <p:cNvSpPr>
              <a:spLocks noEditPoints="1"/>
            </p:cNvSpPr>
            <p:nvPr/>
          </p:nvSpPr>
          <p:spPr bwMode="auto">
            <a:xfrm>
              <a:off x="5754687" y="1333500"/>
              <a:ext cx="76200" cy="76200"/>
            </a:xfrm>
            <a:custGeom>
              <a:avLst/>
              <a:gdLst>
                <a:gd name="T0" fmla="*/ 64 w 192"/>
                <a:gd name="T1" fmla="*/ 128 h 193"/>
                <a:gd name="T2" fmla="*/ 128 w 192"/>
                <a:gd name="T3" fmla="*/ 128 h 193"/>
                <a:gd name="T4" fmla="*/ 128 w 192"/>
                <a:gd name="T5" fmla="*/ 65 h 193"/>
                <a:gd name="T6" fmla="*/ 64 w 192"/>
                <a:gd name="T7" fmla="*/ 65 h 193"/>
                <a:gd name="T8" fmla="*/ 64 w 192"/>
                <a:gd name="T9" fmla="*/ 128 h 193"/>
                <a:gd name="T10" fmla="*/ 159 w 192"/>
                <a:gd name="T11" fmla="*/ 193 h 193"/>
                <a:gd name="T12" fmla="*/ 33 w 192"/>
                <a:gd name="T13" fmla="*/ 193 h 193"/>
                <a:gd name="T14" fmla="*/ 25 w 192"/>
                <a:gd name="T15" fmla="*/ 192 h 193"/>
                <a:gd name="T16" fmla="*/ 20 w 192"/>
                <a:gd name="T17" fmla="*/ 191 h 193"/>
                <a:gd name="T18" fmla="*/ 14 w 192"/>
                <a:gd name="T19" fmla="*/ 188 h 193"/>
                <a:gd name="T20" fmla="*/ 10 w 192"/>
                <a:gd name="T21" fmla="*/ 184 h 193"/>
                <a:gd name="T22" fmla="*/ 6 w 192"/>
                <a:gd name="T23" fmla="*/ 179 h 193"/>
                <a:gd name="T24" fmla="*/ 2 w 192"/>
                <a:gd name="T25" fmla="*/ 173 h 193"/>
                <a:gd name="T26" fmla="*/ 1 w 192"/>
                <a:gd name="T27" fmla="*/ 168 h 193"/>
                <a:gd name="T28" fmla="*/ 0 w 192"/>
                <a:gd name="T29" fmla="*/ 161 h 193"/>
                <a:gd name="T30" fmla="*/ 0 w 192"/>
                <a:gd name="T31" fmla="*/ 33 h 193"/>
                <a:gd name="T32" fmla="*/ 1 w 192"/>
                <a:gd name="T33" fmla="*/ 27 h 193"/>
                <a:gd name="T34" fmla="*/ 2 w 192"/>
                <a:gd name="T35" fmla="*/ 21 h 193"/>
                <a:gd name="T36" fmla="*/ 6 w 192"/>
                <a:gd name="T37" fmla="*/ 16 h 193"/>
                <a:gd name="T38" fmla="*/ 10 w 192"/>
                <a:gd name="T39" fmla="*/ 11 h 193"/>
                <a:gd name="T40" fmla="*/ 14 w 192"/>
                <a:gd name="T41" fmla="*/ 7 h 193"/>
                <a:gd name="T42" fmla="*/ 20 w 192"/>
                <a:gd name="T43" fmla="*/ 3 h 193"/>
                <a:gd name="T44" fmla="*/ 25 w 192"/>
                <a:gd name="T45" fmla="*/ 2 h 193"/>
                <a:gd name="T46" fmla="*/ 33 w 192"/>
                <a:gd name="T47" fmla="*/ 0 h 193"/>
                <a:gd name="T48" fmla="*/ 159 w 192"/>
                <a:gd name="T49" fmla="*/ 0 h 193"/>
                <a:gd name="T50" fmla="*/ 167 w 192"/>
                <a:gd name="T51" fmla="*/ 2 h 193"/>
                <a:gd name="T52" fmla="*/ 172 w 192"/>
                <a:gd name="T53" fmla="*/ 3 h 193"/>
                <a:gd name="T54" fmla="*/ 178 w 192"/>
                <a:gd name="T55" fmla="*/ 7 h 193"/>
                <a:gd name="T56" fmla="*/ 182 w 192"/>
                <a:gd name="T57" fmla="*/ 11 h 193"/>
                <a:gd name="T58" fmla="*/ 186 w 192"/>
                <a:gd name="T59" fmla="*/ 16 h 193"/>
                <a:gd name="T60" fmla="*/ 190 w 192"/>
                <a:gd name="T61" fmla="*/ 21 h 193"/>
                <a:gd name="T62" fmla="*/ 191 w 192"/>
                <a:gd name="T63" fmla="*/ 27 h 193"/>
                <a:gd name="T64" fmla="*/ 192 w 192"/>
                <a:gd name="T65" fmla="*/ 33 h 193"/>
                <a:gd name="T66" fmla="*/ 192 w 192"/>
                <a:gd name="T67" fmla="*/ 161 h 193"/>
                <a:gd name="T68" fmla="*/ 191 w 192"/>
                <a:gd name="T69" fmla="*/ 168 h 193"/>
                <a:gd name="T70" fmla="*/ 190 w 192"/>
                <a:gd name="T71" fmla="*/ 173 h 193"/>
                <a:gd name="T72" fmla="*/ 186 w 192"/>
                <a:gd name="T73" fmla="*/ 179 h 193"/>
                <a:gd name="T74" fmla="*/ 182 w 192"/>
                <a:gd name="T75" fmla="*/ 184 h 193"/>
                <a:gd name="T76" fmla="*/ 178 w 192"/>
                <a:gd name="T77" fmla="*/ 188 h 193"/>
                <a:gd name="T78" fmla="*/ 172 w 192"/>
                <a:gd name="T79" fmla="*/ 191 h 193"/>
                <a:gd name="T80" fmla="*/ 167 w 192"/>
                <a:gd name="T81" fmla="*/ 192 h 193"/>
                <a:gd name="T82" fmla="*/ 159 w 192"/>
                <a:gd name="T8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93">
                  <a:moveTo>
                    <a:pt x="64" y="128"/>
                  </a:moveTo>
                  <a:lnTo>
                    <a:pt x="128" y="128"/>
                  </a:lnTo>
                  <a:lnTo>
                    <a:pt x="128" y="65"/>
                  </a:lnTo>
                  <a:lnTo>
                    <a:pt x="64" y="65"/>
                  </a:lnTo>
                  <a:lnTo>
                    <a:pt x="64" y="128"/>
                  </a:lnTo>
                  <a:close/>
                  <a:moveTo>
                    <a:pt x="159" y="193"/>
                  </a:moveTo>
                  <a:lnTo>
                    <a:pt x="33" y="193"/>
                  </a:lnTo>
                  <a:lnTo>
                    <a:pt x="25" y="192"/>
                  </a:lnTo>
                  <a:lnTo>
                    <a:pt x="20" y="191"/>
                  </a:lnTo>
                  <a:lnTo>
                    <a:pt x="14" y="188"/>
                  </a:lnTo>
                  <a:lnTo>
                    <a:pt x="10" y="184"/>
                  </a:lnTo>
                  <a:lnTo>
                    <a:pt x="6" y="179"/>
                  </a:lnTo>
                  <a:lnTo>
                    <a:pt x="2" y="173"/>
                  </a:lnTo>
                  <a:lnTo>
                    <a:pt x="1" y="168"/>
                  </a:lnTo>
                  <a:lnTo>
                    <a:pt x="0" y="161"/>
                  </a:lnTo>
                  <a:lnTo>
                    <a:pt x="0" y="33"/>
                  </a:lnTo>
                  <a:lnTo>
                    <a:pt x="1" y="27"/>
                  </a:lnTo>
                  <a:lnTo>
                    <a:pt x="2" y="21"/>
                  </a:lnTo>
                  <a:lnTo>
                    <a:pt x="6" y="16"/>
                  </a:lnTo>
                  <a:lnTo>
                    <a:pt x="10" y="11"/>
                  </a:lnTo>
                  <a:lnTo>
                    <a:pt x="14" y="7"/>
                  </a:lnTo>
                  <a:lnTo>
                    <a:pt x="20" y="3"/>
                  </a:lnTo>
                  <a:lnTo>
                    <a:pt x="25" y="2"/>
                  </a:lnTo>
                  <a:lnTo>
                    <a:pt x="33" y="0"/>
                  </a:lnTo>
                  <a:lnTo>
                    <a:pt x="159" y="0"/>
                  </a:lnTo>
                  <a:lnTo>
                    <a:pt x="167" y="2"/>
                  </a:lnTo>
                  <a:lnTo>
                    <a:pt x="172" y="3"/>
                  </a:lnTo>
                  <a:lnTo>
                    <a:pt x="178" y="7"/>
                  </a:lnTo>
                  <a:lnTo>
                    <a:pt x="182" y="11"/>
                  </a:lnTo>
                  <a:lnTo>
                    <a:pt x="186" y="16"/>
                  </a:lnTo>
                  <a:lnTo>
                    <a:pt x="190" y="21"/>
                  </a:lnTo>
                  <a:lnTo>
                    <a:pt x="191" y="27"/>
                  </a:lnTo>
                  <a:lnTo>
                    <a:pt x="192" y="33"/>
                  </a:lnTo>
                  <a:lnTo>
                    <a:pt x="192" y="161"/>
                  </a:lnTo>
                  <a:lnTo>
                    <a:pt x="191" y="168"/>
                  </a:lnTo>
                  <a:lnTo>
                    <a:pt x="190" y="173"/>
                  </a:lnTo>
                  <a:lnTo>
                    <a:pt x="186" y="179"/>
                  </a:lnTo>
                  <a:lnTo>
                    <a:pt x="182" y="184"/>
                  </a:lnTo>
                  <a:lnTo>
                    <a:pt x="178" y="188"/>
                  </a:lnTo>
                  <a:lnTo>
                    <a:pt x="172" y="191"/>
                  </a:lnTo>
                  <a:lnTo>
                    <a:pt x="167" y="192"/>
                  </a:lnTo>
                  <a:lnTo>
                    <a:pt x="159"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6"/>
            <p:cNvSpPr>
              <a:spLocks noEditPoints="1"/>
            </p:cNvSpPr>
            <p:nvPr/>
          </p:nvSpPr>
          <p:spPr bwMode="auto">
            <a:xfrm>
              <a:off x="5272087" y="1333500"/>
              <a:ext cx="381000" cy="76200"/>
            </a:xfrm>
            <a:custGeom>
              <a:avLst/>
              <a:gdLst>
                <a:gd name="T0" fmla="*/ 64 w 959"/>
                <a:gd name="T1" fmla="*/ 128 h 193"/>
                <a:gd name="T2" fmla="*/ 896 w 959"/>
                <a:gd name="T3" fmla="*/ 128 h 193"/>
                <a:gd name="T4" fmla="*/ 896 w 959"/>
                <a:gd name="T5" fmla="*/ 65 h 193"/>
                <a:gd name="T6" fmla="*/ 64 w 959"/>
                <a:gd name="T7" fmla="*/ 65 h 193"/>
                <a:gd name="T8" fmla="*/ 64 w 959"/>
                <a:gd name="T9" fmla="*/ 128 h 193"/>
                <a:gd name="T10" fmla="*/ 928 w 959"/>
                <a:gd name="T11" fmla="*/ 193 h 193"/>
                <a:gd name="T12" fmla="*/ 33 w 959"/>
                <a:gd name="T13" fmla="*/ 193 h 193"/>
                <a:gd name="T14" fmla="*/ 25 w 959"/>
                <a:gd name="T15" fmla="*/ 192 h 193"/>
                <a:gd name="T16" fmla="*/ 20 w 959"/>
                <a:gd name="T17" fmla="*/ 191 h 193"/>
                <a:gd name="T18" fmla="*/ 14 w 959"/>
                <a:gd name="T19" fmla="*/ 188 h 193"/>
                <a:gd name="T20" fmla="*/ 10 w 959"/>
                <a:gd name="T21" fmla="*/ 184 h 193"/>
                <a:gd name="T22" fmla="*/ 6 w 959"/>
                <a:gd name="T23" fmla="*/ 179 h 193"/>
                <a:gd name="T24" fmla="*/ 2 w 959"/>
                <a:gd name="T25" fmla="*/ 173 h 193"/>
                <a:gd name="T26" fmla="*/ 1 w 959"/>
                <a:gd name="T27" fmla="*/ 168 h 193"/>
                <a:gd name="T28" fmla="*/ 0 w 959"/>
                <a:gd name="T29" fmla="*/ 161 h 193"/>
                <a:gd name="T30" fmla="*/ 0 w 959"/>
                <a:gd name="T31" fmla="*/ 33 h 193"/>
                <a:gd name="T32" fmla="*/ 1 w 959"/>
                <a:gd name="T33" fmla="*/ 27 h 193"/>
                <a:gd name="T34" fmla="*/ 2 w 959"/>
                <a:gd name="T35" fmla="*/ 21 h 193"/>
                <a:gd name="T36" fmla="*/ 6 w 959"/>
                <a:gd name="T37" fmla="*/ 16 h 193"/>
                <a:gd name="T38" fmla="*/ 10 w 959"/>
                <a:gd name="T39" fmla="*/ 11 h 193"/>
                <a:gd name="T40" fmla="*/ 14 w 959"/>
                <a:gd name="T41" fmla="*/ 7 h 193"/>
                <a:gd name="T42" fmla="*/ 20 w 959"/>
                <a:gd name="T43" fmla="*/ 3 h 193"/>
                <a:gd name="T44" fmla="*/ 25 w 959"/>
                <a:gd name="T45" fmla="*/ 2 h 193"/>
                <a:gd name="T46" fmla="*/ 33 w 959"/>
                <a:gd name="T47" fmla="*/ 0 h 193"/>
                <a:gd name="T48" fmla="*/ 928 w 959"/>
                <a:gd name="T49" fmla="*/ 0 h 193"/>
                <a:gd name="T50" fmla="*/ 934 w 959"/>
                <a:gd name="T51" fmla="*/ 2 h 193"/>
                <a:gd name="T52" fmla="*/ 940 w 959"/>
                <a:gd name="T53" fmla="*/ 3 h 193"/>
                <a:gd name="T54" fmla="*/ 946 w 959"/>
                <a:gd name="T55" fmla="*/ 7 h 193"/>
                <a:gd name="T56" fmla="*/ 951 w 959"/>
                <a:gd name="T57" fmla="*/ 11 h 193"/>
                <a:gd name="T58" fmla="*/ 954 w 959"/>
                <a:gd name="T59" fmla="*/ 16 h 193"/>
                <a:gd name="T60" fmla="*/ 957 w 959"/>
                <a:gd name="T61" fmla="*/ 21 h 193"/>
                <a:gd name="T62" fmla="*/ 959 w 959"/>
                <a:gd name="T63" fmla="*/ 27 h 193"/>
                <a:gd name="T64" fmla="*/ 959 w 959"/>
                <a:gd name="T65" fmla="*/ 33 h 193"/>
                <a:gd name="T66" fmla="*/ 959 w 959"/>
                <a:gd name="T67" fmla="*/ 161 h 193"/>
                <a:gd name="T68" fmla="*/ 959 w 959"/>
                <a:gd name="T69" fmla="*/ 168 h 193"/>
                <a:gd name="T70" fmla="*/ 957 w 959"/>
                <a:gd name="T71" fmla="*/ 173 h 193"/>
                <a:gd name="T72" fmla="*/ 954 w 959"/>
                <a:gd name="T73" fmla="*/ 179 h 193"/>
                <a:gd name="T74" fmla="*/ 951 w 959"/>
                <a:gd name="T75" fmla="*/ 184 h 193"/>
                <a:gd name="T76" fmla="*/ 946 w 959"/>
                <a:gd name="T77" fmla="*/ 188 h 193"/>
                <a:gd name="T78" fmla="*/ 940 w 959"/>
                <a:gd name="T79" fmla="*/ 191 h 193"/>
                <a:gd name="T80" fmla="*/ 934 w 959"/>
                <a:gd name="T81" fmla="*/ 192 h 193"/>
                <a:gd name="T82" fmla="*/ 928 w 959"/>
                <a:gd name="T8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9" h="193">
                  <a:moveTo>
                    <a:pt x="64" y="128"/>
                  </a:moveTo>
                  <a:lnTo>
                    <a:pt x="896" y="128"/>
                  </a:lnTo>
                  <a:lnTo>
                    <a:pt x="896" y="65"/>
                  </a:lnTo>
                  <a:lnTo>
                    <a:pt x="64" y="65"/>
                  </a:lnTo>
                  <a:lnTo>
                    <a:pt x="64" y="128"/>
                  </a:lnTo>
                  <a:close/>
                  <a:moveTo>
                    <a:pt x="928" y="193"/>
                  </a:moveTo>
                  <a:lnTo>
                    <a:pt x="33" y="193"/>
                  </a:lnTo>
                  <a:lnTo>
                    <a:pt x="25" y="192"/>
                  </a:lnTo>
                  <a:lnTo>
                    <a:pt x="20" y="191"/>
                  </a:lnTo>
                  <a:lnTo>
                    <a:pt x="14" y="188"/>
                  </a:lnTo>
                  <a:lnTo>
                    <a:pt x="10" y="184"/>
                  </a:lnTo>
                  <a:lnTo>
                    <a:pt x="6" y="179"/>
                  </a:lnTo>
                  <a:lnTo>
                    <a:pt x="2" y="173"/>
                  </a:lnTo>
                  <a:lnTo>
                    <a:pt x="1" y="168"/>
                  </a:lnTo>
                  <a:lnTo>
                    <a:pt x="0" y="161"/>
                  </a:lnTo>
                  <a:lnTo>
                    <a:pt x="0" y="33"/>
                  </a:lnTo>
                  <a:lnTo>
                    <a:pt x="1" y="27"/>
                  </a:lnTo>
                  <a:lnTo>
                    <a:pt x="2" y="21"/>
                  </a:lnTo>
                  <a:lnTo>
                    <a:pt x="6" y="16"/>
                  </a:lnTo>
                  <a:lnTo>
                    <a:pt x="10" y="11"/>
                  </a:lnTo>
                  <a:lnTo>
                    <a:pt x="14" y="7"/>
                  </a:lnTo>
                  <a:lnTo>
                    <a:pt x="20" y="3"/>
                  </a:lnTo>
                  <a:lnTo>
                    <a:pt x="25" y="2"/>
                  </a:lnTo>
                  <a:lnTo>
                    <a:pt x="33" y="0"/>
                  </a:lnTo>
                  <a:lnTo>
                    <a:pt x="928" y="0"/>
                  </a:lnTo>
                  <a:lnTo>
                    <a:pt x="934" y="2"/>
                  </a:lnTo>
                  <a:lnTo>
                    <a:pt x="940" y="3"/>
                  </a:lnTo>
                  <a:lnTo>
                    <a:pt x="946" y="7"/>
                  </a:lnTo>
                  <a:lnTo>
                    <a:pt x="951" y="11"/>
                  </a:lnTo>
                  <a:lnTo>
                    <a:pt x="954" y="16"/>
                  </a:lnTo>
                  <a:lnTo>
                    <a:pt x="957" y="21"/>
                  </a:lnTo>
                  <a:lnTo>
                    <a:pt x="959" y="27"/>
                  </a:lnTo>
                  <a:lnTo>
                    <a:pt x="959" y="33"/>
                  </a:lnTo>
                  <a:lnTo>
                    <a:pt x="959" y="161"/>
                  </a:lnTo>
                  <a:lnTo>
                    <a:pt x="959" y="168"/>
                  </a:lnTo>
                  <a:lnTo>
                    <a:pt x="957" y="173"/>
                  </a:lnTo>
                  <a:lnTo>
                    <a:pt x="954" y="179"/>
                  </a:lnTo>
                  <a:lnTo>
                    <a:pt x="951" y="184"/>
                  </a:lnTo>
                  <a:lnTo>
                    <a:pt x="946" y="188"/>
                  </a:lnTo>
                  <a:lnTo>
                    <a:pt x="940" y="191"/>
                  </a:lnTo>
                  <a:lnTo>
                    <a:pt x="934" y="192"/>
                  </a:lnTo>
                  <a:lnTo>
                    <a:pt x="928"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 name="Oval 138"/>
          <p:cNvSpPr/>
          <p:nvPr/>
        </p:nvSpPr>
        <p:spPr>
          <a:xfrm>
            <a:off x="5680371" y="3474698"/>
            <a:ext cx="1101429" cy="11014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1" name="Block Arc 30"/>
          <p:cNvSpPr/>
          <p:nvPr/>
        </p:nvSpPr>
        <p:spPr>
          <a:xfrm>
            <a:off x="5749210" y="3543537"/>
            <a:ext cx="963750" cy="963750"/>
          </a:xfrm>
          <a:prstGeom prst="blockArc">
            <a:avLst>
              <a:gd name="adj1" fmla="val 4169583"/>
              <a:gd name="adj2" fmla="val 18986227"/>
              <a:gd name="adj3" fmla="val 8541"/>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tx1"/>
              </a:solidFill>
            </a:endParaRPr>
          </a:p>
        </p:txBody>
      </p:sp>
      <p:sp>
        <p:nvSpPr>
          <p:cNvPr id="33" name="Rectangle 32"/>
          <p:cNvSpPr/>
          <p:nvPr/>
        </p:nvSpPr>
        <p:spPr>
          <a:xfrm>
            <a:off x="5827686" y="4573535"/>
            <a:ext cx="893065" cy="523220"/>
          </a:xfrm>
          <a:prstGeom prst="rect">
            <a:avLst/>
          </a:prstGeom>
        </p:spPr>
        <p:txBody>
          <a:bodyPr wrap="none">
            <a:spAutoFit/>
          </a:bodyPr>
          <a:lstStyle/>
          <a:p>
            <a:pPr algn="ctr"/>
            <a:r>
              <a:rPr lang="id-ID" sz="1400" b="1" dirty="0" smtClean="0">
                <a:solidFill>
                  <a:srgbClr val="7F8C8D"/>
                </a:solidFill>
                <a:latin typeface="Calibri Light" panose="020F0302020204030204" pitchFamily="34" charset="0"/>
              </a:rPr>
              <a:t>65%</a:t>
            </a:r>
          </a:p>
          <a:p>
            <a:pPr algn="ctr"/>
            <a:r>
              <a:rPr lang="id-ID" sz="1400" b="1" dirty="0" smtClean="0">
                <a:solidFill>
                  <a:srgbClr val="7F8C8D"/>
                </a:solidFill>
                <a:latin typeface="Calibri Light" panose="020F0302020204030204" pitchFamily="34" charset="0"/>
              </a:rPr>
              <a:t>ROLL OUT</a:t>
            </a:r>
            <a:endParaRPr lang="id-ID" sz="1400" dirty="0"/>
          </a:p>
        </p:txBody>
      </p:sp>
      <p:grpSp>
        <p:nvGrpSpPr>
          <p:cNvPr id="49" name="Group 48"/>
          <p:cNvGrpSpPr/>
          <p:nvPr/>
        </p:nvGrpSpPr>
        <p:grpSpPr>
          <a:xfrm>
            <a:off x="6011847" y="3780998"/>
            <a:ext cx="438477" cy="488829"/>
            <a:chOff x="3616325" y="1790701"/>
            <a:chExt cx="663576" cy="739775"/>
          </a:xfrm>
          <a:solidFill>
            <a:srgbClr val="7F8C8D"/>
          </a:solidFill>
        </p:grpSpPr>
        <p:sp>
          <p:nvSpPr>
            <p:cNvPr id="50" name="Freeform 99"/>
            <p:cNvSpPr>
              <a:spLocks/>
            </p:cNvSpPr>
            <p:nvPr/>
          </p:nvSpPr>
          <p:spPr bwMode="auto">
            <a:xfrm>
              <a:off x="3644900" y="1790701"/>
              <a:ext cx="473075" cy="677863"/>
            </a:xfrm>
            <a:custGeom>
              <a:avLst/>
              <a:gdLst>
                <a:gd name="T0" fmla="*/ 26 w 893"/>
                <a:gd name="T1" fmla="*/ 1281 h 1281"/>
                <a:gd name="T2" fmla="*/ 16 w 893"/>
                <a:gd name="T3" fmla="*/ 1278 h 1281"/>
                <a:gd name="T4" fmla="*/ 7 w 893"/>
                <a:gd name="T5" fmla="*/ 1273 h 1281"/>
                <a:gd name="T6" fmla="*/ 1 w 893"/>
                <a:gd name="T7" fmla="*/ 1264 h 1281"/>
                <a:gd name="T8" fmla="*/ 0 w 893"/>
                <a:gd name="T9" fmla="*/ 1254 h 1281"/>
                <a:gd name="T10" fmla="*/ 0 w 893"/>
                <a:gd name="T11" fmla="*/ 21 h 1281"/>
                <a:gd name="T12" fmla="*/ 4 w 893"/>
                <a:gd name="T13" fmla="*/ 11 h 1281"/>
                <a:gd name="T14" fmla="*/ 11 w 893"/>
                <a:gd name="T15" fmla="*/ 4 h 1281"/>
                <a:gd name="T16" fmla="*/ 20 w 893"/>
                <a:gd name="T17" fmla="*/ 0 h 1281"/>
                <a:gd name="T18" fmla="*/ 867 w 893"/>
                <a:gd name="T19" fmla="*/ 0 h 1281"/>
                <a:gd name="T20" fmla="*/ 877 w 893"/>
                <a:gd name="T21" fmla="*/ 1 h 1281"/>
                <a:gd name="T22" fmla="*/ 886 w 893"/>
                <a:gd name="T23" fmla="*/ 7 h 1281"/>
                <a:gd name="T24" fmla="*/ 891 w 893"/>
                <a:gd name="T25" fmla="*/ 15 h 1281"/>
                <a:gd name="T26" fmla="*/ 893 w 893"/>
                <a:gd name="T27" fmla="*/ 26 h 1281"/>
                <a:gd name="T28" fmla="*/ 893 w 893"/>
                <a:gd name="T29" fmla="*/ 757 h 1281"/>
                <a:gd name="T30" fmla="*/ 888 w 893"/>
                <a:gd name="T31" fmla="*/ 766 h 1281"/>
                <a:gd name="T32" fmla="*/ 881 w 893"/>
                <a:gd name="T33" fmla="*/ 773 h 1281"/>
                <a:gd name="T34" fmla="*/ 873 w 893"/>
                <a:gd name="T35" fmla="*/ 777 h 1281"/>
                <a:gd name="T36" fmla="*/ 861 w 893"/>
                <a:gd name="T37" fmla="*/ 777 h 1281"/>
                <a:gd name="T38" fmla="*/ 852 w 893"/>
                <a:gd name="T39" fmla="*/ 773 h 1281"/>
                <a:gd name="T40" fmla="*/ 845 w 893"/>
                <a:gd name="T41" fmla="*/ 766 h 1281"/>
                <a:gd name="T42" fmla="*/ 841 w 893"/>
                <a:gd name="T43" fmla="*/ 757 h 1281"/>
                <a:gd name="T44" fmla="*/ 841 w 893"/>
                <a:gd name="T45" fmla="*/ 51 h 1281"/>
                <a:gd name="T46" fmla="*/ 52 w 893"/>
                <a:gd name="T47" fmla="*/ 1228 h 1281"/>
                <a:gd name="T48" fmla="*/ 611 w 893"/>
                <a:gd name="T49" fmla="*/ 1229 h 1281"/>
                <a:gd name="T50" fmla="*/ 621 w 893"/>
                <a:gd name="T51" fmla="*/ 1232 h 1281"/>
                <a:gd name="T52" fmla="*/ 628 w 893"/>
                <a:gd name="T53" fmla="*/ 1239 h 1281"/>
                <a:gd name="T54" fmla="*/ 631 w 893"/>
                <a:gd name="T55" fmla="*/ 1250 h 1281"/>
                <a:gd name="T56" fmla="*/ 631 w 893"/>
                <a:gd name="T57" fmla="*/ 1260 h 1281"/>
                <a:gd name="T58" fmla="*/ 628 w 893"/>
                <a:gd name="T59" fmla="*/ 1270 h 1281"/>
                <a:gd name="T60" fmla="*/ 621 w 893"/>
                <a:gd name="T61" fmla="*/ 1275 h 1281"/>
                <a:gd name="T62" fmla="*/ 611 w 893"/>
                <a:gd name="T63" fmla="*/ 128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3" h="1281">
                  <a:moveTo>
                    <a:pt x="606" y="1281"/>
                  </a:moveTo>
                  <a:lnTo>
                    <a:pt x="26" y="1281"/>
                  </a:lnTo>
                  <a:lnTo>
                    <a:pt x="20" y="1280"/>
                  </a:lnTo>
                  <a:lnTo>
                    <a:pt x="16" y="1278"/>
                  </a:lnTo>
                  <a:lnTo>
                    <a:pt x="11" y="1275"/>
                  </a:lnTo>
                  <a:lnTo>
                    <a:pt x="7" y="1273"/>
                  </a:lnTo>
                  <a:lnTo>
                    <a:pt x="4" y="1270"/>
                  </a:lnTo>
                  <a:lnTo>
                    <a:pt x="1" y="1264"/>
                  </a:lnTo>
                  <a:lnTo>
                    <a:pt x="0" y="1260"/>
                  </a:lnTo>
                  <a:lnTo>
                    <a:pt x="0" y="1254"/>
                  </a:lnTo>
                  <a:lnTo>
                    <a:pt x="0" y="26"/>
                  </a:lnTo>
                  <a:lnTo>
                    <a:pt x="0" y="21"/>
                  </a:lnTo>
                  <a:lnTo>
                    <a:pt x="1" y="15"/>
                  </a:lnTo>
                  <a:lnTo>
                    <a:pt x="4" y="11"/>
                  </a:lnTo>
                  <a:lnTo>
                    <a:pt x="7" y="7"/>
                  </a:lnTo>
                  <a:lnTo>
                    <a:pt x="11" y="4"/>
                  </a:lnTo>
                  <a:lnTo>
                    <a:pt x="16" y="1"/>
                  </a:lnTo>
                  <a:lnTo>
                    <a:pt x="20" y="0"/>
                  </a:lnTo>
                  <a:lnTo>
                    <a:pt x="26" y="0"/>
                  </a:lnTo>
                  <a:lnTo>
                    <a:pt x="867" y="0"/>
                  </a:lnTo>
                  <a:lnTo>
                    <a:pt x="873" y="0"/>
                  </a:lnTo>
                  <a:lnTo>
                    <a:pt x="877" y="1"/>
                  </a:lnTo>
                  <a:lnTo>
                    <a:pt x="881" y="4"/>
                  </a:lnTo>
                  <a:lnTo>
                    <a:pt x="886" y="7"/>
                  </a:lnTo>
                  <a:lnTo>
                    <a:pt x="888" y="11"/>
                  </a:lnTo>
                  <a:lnTo>
                    <a:pt x="891" y="15"/>
                  </a:lnTo>
                  <a:lnTo>
                    <a:pt x="893" y="21"/>
                  </a:lnTo>
                  <a:lnTo>
                    <a:pt x="893" y="26"/>
                  </a:lnTo>
                  <a:lnTo>
                    <a:pt x="893" y="751"/>
                  </a:lnTo>
                  <a:lnTo>
                    <a:pt x="893" y="757"/>
                  </a:lnTo>
                  <a:lnTo>
                    <a:pt x="891" y="761"/>
                  </a:lnTo>
                  <a:lnTo>
                    <a:pt x="888" y="766"/>
                  </a:lnTo>
                  <a:lnTo>
                    <a:pt x="886" y="770"/>
                  </a:lnTo>
                  <a:lnTo>
                    <a:pt x="881" y="773"/>
                  </a:lnTo>
                  <a:lnTo>
                    <a:pt x="877" y="776"/>
                  </a:lnTo>
                  <a:lnTo>
                    <a:pt x="873" y="777"/>
                  </a:lnTo>
                  <a:lnTo>
                    <a:pt x="867" y="777"/>
                  </a:lnTo>
                  <a:lnTo>
                    <a:pt x="861" y="777"/>
                  </a:lnTo>
                  <a:lnTo>
                    <a:pt x="857" y="776"/>
                  </a:lnTo>
                  <a:lnTo>
                    <a:pt x="852" y="773"/>
                  </a:lnTo>
                  <a:lnTo>
                    <a:pt x="848" y="770"/>
                  </a:lnTo>
                  <a:lnTo>
                    <a:pt x="845" y="766"/>
                  </a:lnTo>
                  <a:lnTo>
                    <a:pt x="842" y="761"/>
                  </a:lnTo>
                  <a:lnTo>
                    <a:pt x="841" y="757"/>
                  </a:lnTo>
                  <a:lnTo>
                    <a:pt x="841" y="751"/>
                  </a:lnTo>
                  <a:lnTo>
                    <a:pt x="841" y="51"/>
                  </a:lnTo>
                  <a:lnTo>
                    <a:pt x="52" y="51"/>
                  </a:lnTo>
                  <a:lnTo>
                    <a:pt x="52" y="1228"/>
                  </a:lnTo>
                  <a:lnTo>
                    <a:pt x="606" y="1228"/>
                  </a:lnTo>
                  <a:lnTo>
                    <a:pt x="611" y="1229"/>
                  </a:lnTo>
                  <a:lnTo>
                    <a:pt x="616" y="1231"/>
                  </a:lnTo>
                  <a:lnTo>
                    <a:pt x="621" y="1232"/>
                  </a:lnTo>
                  <a:lnTo>
                    <a:pt x="623" y="1237"/>
                  </a:lnTo>
                  <a:lnTo>
                    <a:pt x="628" y="1239"/>
                  </a:lnTo>
                  <a:lnTo>
                    <a:pt x="629" y="1244"/>
                  </a:lnTo>
                  <a:lnTo>
                    <a:pt x="631" y="1250"/>
                  </a:lnTo>
                  <a:lnTo>
                    <a:pt x="632" y="1254"/>
                  </a:lnTo>
                  <a:lnTo>
                    <a:pt x="631" y="1260"/>
                  </a:lnTo>
                  <a:lnTo>
                    <a:pt x="629" y="1264"/>
                  </a:lnTo>
                  <a:lnTo>
                    <a:pt x="628" y="1270"/>
                  </a:lnTo>
                  <a:lnTo>
                    <a:pt x="623" y="1273"/>
                  </a:lnTo>
                  <a:lnTo>
                    <a:pt x="621" y="1275"/>
                  </a:lnTo>
                  <a:lnTo>
                    <a:pt x="616" y="1278"/>
                  </a:lnTo>
                  <a:lnTo>
                    <a:pt x="611" y="1280"/>
                  </a:lnTo>
                  <a:lnTo>
                    <a:pt x="606" y="1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00"/>
            <p:cNvSpPr>
              <a:spLocks/>
            </p:cNvSpPr>
            <p:nvPr/>
          </p:nvSpPr>
          <p:spPr bwMode="auto">
            <a:xfrm>
              <a:off x="3616325" y="1878013"/>
              <a:ext cx="85725" cy="28575"/>
            </a:xfrm>
            <a:custGeom>
              <a:avLst/>
              <a:gdLst>
                <a:gd name="T0" fmla="*/ 138 w 164"/>
                <a:gd name="T1" fmla="*/ 53 h 53"/>
                <a:gd name="T2" fmla="*/ 26 w 164"/>
                <a:gd name="T3" fmla="*/ 53 h 53"/>
                <a:gd name="T4" fmla="*/ 20 w 164"/>
                <a:gd name="T5" fmla="*/ 52 h 53"/>
                <a:gd name="T6" fmla="*/ 16 w 164"/>
                <a:gd name="T7" fmla="*/ 50 h 53"/>
                <a:gd name="T8" fmla="*/ 11 w 164"/>
                <a:gd name="T9" fmla="*/ 49 h 53"/>
                <a:gd name="T10" fmla="*/ 7 w 164"/>
                <a:gd name="T11" fmla="*/ 44 h 53"/>
                <a:gd name="T12" fmla="*/ 4 w 164"/>
                <a:gd name="T13" fmla="*/ 41 h 53"/>
                <a:gd name="T14" fmla="*/ 1 w 164"/>
                <a:gd name="T15" fmla="*/ 37 h 53"/>
                <a:gd name="T16" fmla="*/ 0 w 164"/>
                <a:gd name="T17" fmla="*/ 31 h 53"/>
                <a:gd name="T18" fmla="*/ 0 w 164"/>
                <a:gd name="T19" fmla="*/ 27 h 53"/>
                <a:gd name="T20" fmla="*/ 0 w 164"/>
                <a:gd name="T21" fmla="*/ 21 h 53"/>
                <a:gd name="T22" fmla="*/ 1 w 164"/>
                <a:gd name="T23" fmla="*/ 16 h 53"/>
                <a:gd name="T24" fmla="*/ 4 w 164"/>
                <a:gd name="T25" fmla="*/ 11 h 53"/>
                <a:gd name="T26" fmla="*/ 7 w 164"/>
                <a:gd name="T27" fmla="*/ 8 h 53"/>
                <a:gd name="T28" fmla="*/ 11 w 164"/>
                <a:gd name="T29" fmla="*/ 4 h 53"/>
                <a:gd name="T30" fmla="*/ 16 w 164"/>
                <a:gd name="T31" fmla="*/ 3 h 53"/>
                <a:gd name="T32" fmla="*/ 20 w 164"/>
                <a:gd name="T33" fmla="*/ 1 h 53"/>
                <a:gd name="T34" fmla="*/ 26 w 164"/>
                <a:gd name="T35" fmla="*/ 0 h 53"/>
                <a:gd name="T36" fmla="*/ 138 w 164"/>
                <a:gd name="T37" fmla="*/ 0 h 53"/>
                <a:gd name="T38" fmla="*/ 142 w 164"/>
                <a:gd name="T39" fmla="*/ 1 h 53"/>
                <a:gd name="T40" fmla="*/ 148 w 164"/>
                <a:gd name="T41" fmla="*/ 3 h 53"/>
                <a:gd name="T42" fmla="*/ 152 w 164"/>
                <a:gd name="T43" fmla="*/ 4 h 53"/>
                <a:gd name="T44" fmla="*/ 155 w 164"/>
                <a:gd name="T45" fmla="*/ 8 h 53"/>
                <a:gd name="T46" fmla="*/ 160 w 164"/>
                <a:gd name="T47" fmla="*/ 11 h 53"/>
                <a:gd name="T48" fmla="*/ 161 w 164"/>
                <a:gd name="T49" fmla="*/ 16 h 53"/>
                <a:gd name="T50" fmla="*/ 163 w 164"/>
                <a:gd name="T51" fmla="*/ 21 h 53"/>
                <a:gd name="T52" fmla="*/ 164 w 164"/>
                <a:gd name="T53" fmla="*/ 27 h 53"/>
                <a:gd name="T54" fmla="*/ 163 w 164"/>
                <a:gd name="T55" fmla="*/ 31 h 53"/>
                <a:gd name="T56" fmla="*/ 161 w 164"/>
                <a:gd name="T57" fmla="*/ 37 h 53"/>
                <a:gd name="T58" fmla="*/ 160 w 164"/>
                <a:gd name="T59" fmla="*/ 41 h 53"/>
                <a:gd name="T60" fmla="*/ 155 w 164"/>
                <a:gd name="T61" fmla="*/ 44 h 53"/>
                <a:gd name="T62" fmla="*/ 152 w 164"/>
                <a:gd name="T63" fmla="*/ 49 h 53"/>
                <a:gd name="T64" fmla="*/ 148 w 164"/>
                <a:gd name="T65" fmla="*/ 50 h 53"/>
                <a:gd name="T66" fmla="*/ 142 w 164"/>
                <a:gd name="T67" fmla="*/ 52 h 53"/>
                <a:gd name="T68" fmla="*/ 138 w 164"/>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3">
                  <a:moveTo>
                    <a:pt x="138" y="53"/>
                  </a:moveTo>
                  <a:lnTo>
                    <a:pt x="26" y="53"/>
                  </a:lnTo>
                  <a:lnTo>
                    <a:pt x="20" y="52"/>
                  </a:lnTo>
                  <a:lnTo>
                    <a:pt x="16" y="50"/>
                  </a:lnTo>
                  <a:lnTo>
                    <a:pt x="11" y="49"/>
                  </a:lnTo>
                  <a:lnTo>
                    <a:pt x="7" y="44"/>
                  </a:lnTo>
                  <a:lnTo>
                    <a:pt x="4" y="41"/>
                  </a:lnTo>
                  <a:lnTo>
                    <a:pt x="1" y="37"/>
                  </a:lnTo>
                  <a:lnTo>
                    <a:pt x="0" y="31"/>
                  </a:lnTo>
                  <a:lnTo>
                    <a:pt x="0" y="27"/>
                  </a:lnTo>
                  <a:lnTo>
                    <a:pt x="0" y="21"/>
                  </a:lnTo>
                  <a:lnTo>
                    <a:pt x="1" y="16"/>
                  </a:lnTo>
                  <a:lnTo>
                    <a:pt x="4" y="11"/>
                  </a:lnTo>
                  <a:lnTo>
                    <a:pt x="7" y="8"/>
                  </a:lnTo>
                  <a:lnTo>
                    <a:pt x="11" y="4"/>
                  </a:lnTo>
                  <a:lnTo>
                    <a:pt x="16" y="3"/>
                  </a:lnTo>
                  <a:lnTo>
                    <a:pt x="20" y="1"/>
                  </a:lnTo>
                  <a:lnTo>
                    <a:pt x="26" y="0"/>
                  </a:lnTo>
                  <a:lnTo>
                    <a:pt x="138" y="0"/>
                  </a:lnTo>
                  <a:lnTo>
                    <a:pt x="142" y="1"/>
                  </a:lnTo>
                  <a:lnTo>
                    <a:pt x="148" y="3"/>
                  </a:lnTo>
                  <a:lnTo>
                    <a:pt x="152" y="4"/>
                  </a:lnTo>
                  <a:lnTo>
                    <a:pt x="155" y="8"/>
                  </a:lnTo>
                  <a:lnTo>
                    <a:pt x="160" y="11"/>
                  </a:lnTo>
                  <a:lnTo>
                    <a:pt x="161" y="16"/>
                  </a:lnTo>
                  <a:lnTo>
                    <a:pt x="163" y="21"/>
                  </a:lnTo>
                  <a:lnTo>
                    <a:pt x="164" y="27"/>
                  </a:lnTo>
                  <a:lnTo>
                    <a:pt x="163" y="31"/>
                  </a:lnTo>
                  <a:lnTo>
                    <a:pt x="161" y="37"/>
                  </a:lnTo>
                  <a:lnTo>
                    <a:pt x="160" y="41"/>
                  </a:lnTo>
                  <a:lnTo>
                    <a:pt x="155" y="44"/>
                  </a:lnTo>
                  <a:lnTo>
                    <a:pt x="152" y="49"/>
                  </a:lnTo>
                  <a:lnTo>
                    <a:pt x="148" y="50"/>
                  </a:lnTo>
                  <a:lnTo>
                    <a:pt x="142" y="52"/>
                  </a:lnTo>
                  <a:lnTo>
                    <a:pt x="138"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01"/>
            <p:cNvSpPr>
              <a:spLocks/>
            </p:cNvSpPr>
            <p:nvPr/>
          </p:nvSpPr>
          <p:spPr bwMode="auto">
            <a:xfrm>
              <a:off x="3616325" y="1997076"/>
              <a:ext cx="85725" cy="26988"/>
            </a:xfrm>
            <a:custGeom>
              <a:avLst/>
              <a:gdLst>
                <a:gd name="T0" fmla="*/ 138 w 164"/>
                <a:gd name="T1" fmla="*/ 52 h 52"/>
                <a:gd name="T2" fmla="*/ 26 w 164"/>
                <a:gd name="T3" fmla="*/ 52 h 52"/>
                <a:gd name="T4" fmla="*/ 20 w 164"/>
                <a:gd name="T5" fmla="*/ 51 h 52"/>
                <a:gd name="T6" fmla="*/ 16 w 164"/>
                <a:gd name="T7" fmla="*/ 49 h 52"/>
                <a:gd name="T8" fmla="*/ 11 w 164"/>
                <a:gd name="T9" fmla="*/ 48 h 52"/>
                <a:gd name="T10" fmla="*/ 7 w 164"/>
                <a:gd name="T11" fmla="*/ 44 h 52"/>
                <a:gd name="T12" fmla="*/ 4 w 164"/>
                <a:gd name="T13" fmla="*/ 41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2 h 52"/>
                <a:gd name="T26" fmla="*/ 7 w 164"/>
                <a:gd name="T27" fmla="*/ 8 h 52"/>
                <a:gd name="T28" fmla="*/ 11 w 164"/>
                <a:gd name="T29" fmla="*/ 5 h 52"/>
                <a:gd name="T30" fmla="*/ 16 w 164"/>
                <a:gd name="T31" fmla="*/ 2 h 52"/>
                <a:gd name="T32" fmla="*/ 20 w 164"/>
                <a:gd name="T33" fmla="*/ 0 h 52"/>
                <a:gd name="T34" fmla="*/ 26 w 164"/>
                <a:gd name="T35" fmla="*/ 0 h 52"/>
                <a:gd name="T36" fmla="*/ 138 w 164"/>
                <a:gd name="T37" fmla="*/ 0 h 52"/>
                <a:gd name="T38" fmla="*/ 142 w 164"/>
                <a:gd name="T39" fmla="*/ 0 h 52"/>
                <a:gd name="T40" fmla="*/ 148 w 164"/>
                <a:gd name="T41" fmla="*/ 2 h 52"/>
                <a:gd name="T42" fmla="*/ 152 w 164"/>
                <a:gd name="T43" fmla="*/ 5 h 52"/>
                <a:gd name="T44" fmla="*/ 155 w 164"/>
                <a:gd name="T45" fmla="*/ 8 h 52"/>
                <a:gd name="T46" fmla="*/ 160 w 164"/>
                <a:gd name="T47" fmla="*/ 12 h 52"/>
                <a:gd name="T48" fmla="*/ 161 w 164"/>
                <a:gd name="T49" fmla="*/ 16 h 52"/>
                <a:gd name="T50" fmla="*/ 163 w 164"/>
                <a:gd name="T51" fmla="*/ 20 h 52"/>
                <a:gd name="T52" fmla="*/ 164 w 164"/>
                <a:gd name="T53" fmla="*/ 26 h 52"/>
                <a:gd name="T54" fmla="*/ 163 w 164"/>
                <a:gd name="T55" fmla="*/ 31 h 52"/>
                <a:gd name="T56" fmla="*/ 161 w 164"/>
                <a:gd name="T57" fmla="*/ 36 h 52"/>
                <a:gd name="T58" fmla="*/ 160 w 164"/>
                <a:gd name="T59" fmla="*/ 41 h 52"/>
                <a:gd name="T60" fmla="*/ 155 w 164"/>
                <a:gd name="T61" fmla="*/ 44 h 52"/>
                <a:gd name="T62" fmla="*/ 152 w 164"/>
                <a:gd name="T63" fmla="*/ 48 h 52"/>
                <a:gd name="T64" fmla="*/ 148 w 164"/>
                <a:gd name="T65" fmla="*/ 49 h 52"/>
                <a:gd name="T66" fmla="*/ 142 w 164"/>
                <a:gd name="T67" fmla="*/ 51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1"/>
                  </a:lnTo>
                  <a:lnTo>
                    <a:pt x="16" y="49"/>
                  </a:lnTo>
                  <a:lnTo>
                    <a:pt x="11" y="48"/>
                  </a:lnTo>
                  <a:lnTo>
                    <a:pt x="7" y="44"/>
                  </a:lnTo>
                  <a:lnTo>
                    <a:pt x="4" y="41"/>
                  </a:lnTo>
                  <a:lnTo>
                    <a:pt x="1" y="36"/>
                  </a:lnTo>
                  <a:lnTo>
                    <a:pt x="0" y="31"/>
                  </a:lnTo>
                  <a:lnTo>
                    <a:pt x="0" y="26"/>
                  </a:lnTo>
                  <a:lnTo>
                    <a:pt x="0" y="20"/>
                  </a:lnTo>
                  <a:lnTo>
                    <a:pt x="1" y="16"/>
                  </a:lnTo>
                  <a:lnTo>
                    <a:pt x="4" y="12"/>
                  </a:lnTo>
                  <a:lnTo>
                    <a:pt x="7" y="8"/>
                  </a:lnTo>
                  <a:lnTo>
                    <a:pt x="11" y="5"/>
                  </a:lnTo>
                  <a:lnTo>
                    <a:pt x="16" y="2"/>
                  </a:lnTo>
                  <a:lnTo>
                    <a:pt x="20" y="0"/>
                  </a:lnTo>
                  <a:lnTo>
                    <a:pt x="26" y="0"/>
                  </a:lnTo>
                  <a:lnTo>
                    <a:pt x="138" y="0"/>
                  </a:lnTo>
                  <a:lnTo>
                    <a:pt x="142" y="0"/>
                  </a:lnTo>
                  <a:lnTo>
                    <a:pt x="148" y="2"/>
                  </a:lnTo>
                  <a:lnTo>
                    <a:pt x="152" y="5"/>
                  </a:lnTo>
                  <a:lnTo>
                    <a:pt x="155" y="8"/>
                  </a:lnTo>
                  <a:lnTo>
                    <a:pt x="160" y="12"/>
                  </a:lnTo>
                  <a:lnTo>
                    <a:pt x="161" y="16"/>
                  </a:lnTo>
                  <a:lnTo>
                    <a:pt x="163" y="20"/>
                  </a:lnTo>
                  <a:lnTo>
                    <a:pt x="164" y="26"/>
                  </a:lnTo>
                  <a:lnTo>
                    <a:pt x="163" y="31"/>
                  </a:lnTo>
                  <a:lnTo>
                    <a:pt x="161" y="36"/>
                  </a:lnTo>
                  <a:lnTo>
                    <a:pt x="160" y="41"/>
                  </a:lnTo>
                  <a:lnTo>
                    <a:pt x="155" y="44"/>
                  </a:lnTo>
                  <a:lnTo>
                    <a:pt x="152" y="48"/>
                  </a:lnTo>
                  <a:lnTo>
                    <a:pt x="148" y="49"/>
                  </a:lnTo>
                  <a:lnTo>
                    <a:pt x="142" y="51"/>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02"/>
            <p:cNvSpPr>
              <a:spLocks/>
            </p:cNvSpPr>
            <p:nvPr/>
          </p:nvSpPr>
          <p:spPr bwMode="auto">
            <a:xfrm>
              <a:off x="3616325" y="2116138"/>
              <a:ext cx="85725" cy="26988"/>
            </a:xfrm>
            <a:custGeom>
              <a:avLst/>
              <a:gdLst>
                <a:gd name="T0" fmla="*/ 138 w 164"/>
                <a:gd name="T1" fmla="*/ 51 h 51"/>
                <a:gd name="T2" fmla="*/ 26 w 164"/>
                <a:gd name="T3" fmla="*/ 51 h 51"/>
                <a:gd name="T4" fmla="*/ 20 w 164"/>
                <a:gd name="T5" fmla="*/ 51 h 51"/>
                <a:gd name="T6" fmla="*/ 16 w 164"/>
                <a:gd name="T7" fmla="*/ 50 h 51"/>
                <a:gd name="T8" fmla="*/ 11 w 164"/>
                <a:gd name="T9" fmla="*/ 47 h 51"/>
                <a:gd name="T10" fmla="*/ 7 w 164"/>
                <a:gd name="T11" fmla="*/ 44 h 51"/>
                <a:gd name="T12" fmla="*/ 4 w 164"/>
                <a:gd name="T13" fmla="*/ 40 h 51"/>
                <a:gd name="T14" fmla="*/ 1 w 164"/>
                <a:gd name="T15" fmla="*/ 36 h 51"/>
                <a:gd name="T16" fmla="*/ 0 w 164"/>
                <a:gd name="T17" fmla="*/ 30 h 51"/>
                <a:gd name="T18" fmla="*/ 0 w 164"/>
                <a:gd name="T19" fmla="*/ 25 h 51"/>
                <a:gd name="T20" fmla="*/ 0 w 164"/>
                <a:gd name="T21" fmla="*/ 20 h 51"/>
                <a:gd name="T22" fmla="*/ 1 w 164"/>
                <a:gd name="T23" fmla="*/ 15 h 51"/>
                <a:gd name="T24" fmla="*/ 4 w 164"/>
                <a:gd name="T25" fmla="*/ 11 h 51"/>
                <a:gd name="T26" fmla="*/ 7 w 164"/>
                <a:gd name="T27" fmla="*/ 7 h 51"/>
                <a:gd name="T28" fmla="*/ 11 w 164"/>
                <a:gd name="T29" fmla="*/ 4 h 51"/>
                <a:gd name="T30" fmla="*/ 16 w 164"/>
                <a:gd name="T31" fmla="*/ 1 h 51"/>
                <a:gd name="T32" fmla="*/ 20 w 164"/>
                <a:gd name="T33" fmla="*/ 0 h 51"/>
                <a:gd name="T34" fmla="*/ 26 w 164"/>
                <a:gd name="T35" fmla="*/ 0 h 51"/>
                <a:gd name="T36" fmla="*/ 138 w 164"/>
                <a:gd name="T37" fmla="*/ 0 h 51"/>
                <a:gd name="T38" fmla="*/ 142 w 164"/>
                <a:gd name="T39" fmla="*/ 0 h 51"/>
                <a:gd name="T40" fmla="*/ 148 w 164"/>
                <a:gd name="T41" fmla="*/ 1 h 51"/>
                <a:gd name="T42" fmla="*/ 152 w 164"/>
                <a:gd name="T43" fmla="*/ 4 h 51"/>
                <a:gd name="T44" fmla="*/ 155 w 164"/>
                <a:gd name="T45" fmla="*/ 7 h 51"/>
                <a:gd name="T46" fmla="*/ 160 w 164"/>
                <a:gd name="T47" fmla="*/ 11 h 51"/>
                <a:gd name="T48" fmla="*/ 161 w 164"/>
                <a:gd name="T49" fmla="*/ 15 h 51"/>
                <a:gd name="T50" fmla="*/ 163 w 164"/>
                <a:gd name="T51" fmla="*/ 20 h 51"/>
                <a:gd name="T52" fmla="*/ 164 w 164"/>
                <a:gd name="T53" fmla="*/ 25 h 51"/>
                <a:gd name="T54" fmla="*/ 163 w 164"/>
                <a:gd name="T55" fmla="*/ 30 h 51"/>
                <a:gd name="T56" fmla="*/ 161 w 164"/>
                <a:gd name="T57" fmla="*/ 36 h 51"/>
                <a:gd name="T58" fmla="*/ 160 w 164"/>
                <a:gd name="T59" fmla="*/ 40 h 51"/>
                <a:gd name="T60" fmla="*/ 155 w 164"/>
                <a:gd name="T61" fmla="*/ 44 h 51"/>
                <a:gd name="T62" fmla="*/ 152 w 164"/>
                <a:gd name="T63" fmla="*/ 47 h 51"/>
                <a:gd name="T64" fmla="*/ 148 w 164"/>
                <a:gd name="T65" fmla="*/ 50 h 51"/>
                <a:gd name="T66" fmla="*/ 142 w 164"/>
                <a:gd name="T67" fmla="*/ 51 h 51"/>
                <a:gd name="T68" fmla="*/ 138 w 164"/>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1">
                  <a:moveTo>
                    <a:pt x="138" y="51"/>
                  </a:moveTo>
                  <a:lnTo>
                    <a:pt x="26" y="51"/>
                  </a:lnTo>
                  <a:lnTo>
                    <a:pt x="20" y="51"/>
                  </a:lnTo>
                  <a:lnTo>
                    <a:pt x="16" y="50"/>
                  </a:lnTo>
                  <a:lnTo>
                    <a:pt x="11" y="47"/>
                  </a:lnTo>
                  <a:lnTo>
                    <a:pt x="7" y="44"/>
                  </a:lnTo>
                  <a:lnTo>
                    <a:pt x="4" y="40"/>
                  </a:lnTo>
                  <a:lnTo>
                    <a:pt x="1" y="36"/>
                  </a:lnTo>
                  <a:lnTo>
                    <a:pt x="0" y="30"/>
                  </a:lnTo>
                  <a:lnTo>
                    <a:pt x="0" y="25"/>
                  </a:lnTo>
                  <a:lnTo>
                    <a:pt x="0" y="20"/>
                  </a:lnTo>
                  <a:lnTo>
                    <a:pt x="1" y="15"/>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5"/>
                  </a:lnTo>
                  <a:lnTo>
                    <a:pt x="163" y="20"/>
                  </a:lnTo>
                  <a:lnTo>
                    <a:pt x="164" y="25"/>
                  </a:lnTo>
                  <a:lnTo>
                    <a:pt x="163" y="30"/>
                  </a:lnTo>
                  <a:lnTo>
                    <a:pt x="161" y="36"/>
                  </a:lnTo>
                  <a:lnTo>
                    <a:pt x="160" y="40"/>
                  </a:lnTo>
                  <a:lnTo>
                    <a:pt x="155" y="44"/>
                  </a:lnTo>
                  <a:lnTo>
                    <a:pt x="152" y="47"/>
                  </a:lnTo>
                  <a:lnTo>
                    <a:pt x="148" y="50"/>
                  </a:lnTo>
                  <a:lnTo>
                    <a:pt x="142" y="51"/>
                  </a:lnTo>
                  <a:lnTo>
                    <a:pt x="1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3"/>
            <p:cNvSpPr>
              <a:spLocks/>
            </p:cNvSpPr>
            <p:nvPr/>
          </p:nvSpPr>
          <p:spPr bwMode="auto">
            <a:xfrm>
              <a:off x="3616325" y="2233613"/>
              <a:ext cx="85725" cy="26988"/>
            </a:xfrm>
            <a:custGeom>
              <a:avLst/>
              <a:gdLst>
                <a:gd name="T0" fmla="*/ 138 w 164"/>
                <a:gd name="T1" fmla="*/ 52 h 52"/>
                <a:gd name="T2" fmla="*/ 26 w 164"/>
                <a:gd name="T3" fmla="*/ 52 h 52"/>
                <a:gd name="T4" fmla="*/ 20 w 164"/>
                <a:gd name="T5" fmla="*/ 52 h 52"/>
                <a:gd name="T6" fmla="*/ 16 w 164"/>
                <a:gd name="T7" fmla="*/ 50 h 52"/>
                <a:gd name="T8" fmla="*/ 11 w 164"/>
                <a:gd name="T9" fmla="*/ 47 h 52"/>
                <a:gd name="T10" fmla="*/ 7 w 164"/>
                <a:gd name="T11" fmla="*/ 44 h 52"/>
                <a:gd name="T12" fmla="*/ 4 w 164"/>
                <a:gd name="T13" fmla="*/ 40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6 w 164"/>
                <a:gd name="T31" fmla="*/ 1 h 52"/>
                <a:gd name="T32" fmla="*/ 20 w 164"/>
                <a:gd name="T33" fmla="*/ 0 h 52"/>
                <a:gd name="T34" fmla="*/ 26 w 164"/>
                <a:gd name="T35" fmla="*/ 0 h 52"/>
                <a:gd name="T36" fmla="*/ 138 w 164"/>
                <a:gd name="T37" fmla="*/ 0 h 52"/>
                <a:gd name="T38" fmla="*/ 142 w 164"/>
                <a:gd name="T39" fmla="*/ 0 h 52"/>
                <a:gd name="T40" fmla="*/ 148 w 164"/>
                <a:gd name="T41" fmla="*/ 1 h 52"/>
                <a:gd name="T42" fmla="*/ 152 w 164"/>
                <a:gd name="T43" fmla="*/ 4 h 52"/>
                <a:gd name="T44" fmla="*/ 155 w 164"/>
                <a:gd name="T45" fmla="*/ 7 h 52"/>
                <a:gd name="T46" fmla="*/ 160 w 164"/>
                <a:gd name="T47" fmla="*/ 11 h 52"/>
                <a:gd name="T48" fmla="*/ 161 w 164"/>
                <a:gd name="T49" fmla="*/ 16 h 52"/>
                <a:gd name="T50" fmla="*/ 163 w 164"/>
                <a:gd name="T51" fmla="*/ 20 h 52"/>
                <a:gd name="T52" fmla="*/ 164 w 164"/>
                <a:gd name="T53" fmla="*/ 26 h 52"/>
                <a:gd name="T54" fmla="*/ 163 w 164"/>
                <a:gd name="T55" fmla="*/ 31 h 52"/>
                <a:gd name="T56" fmla="*/ 161 w 164"/>
                <a:gd name="T57" fmla="*/ 36 h 52"/>
                <a:gd name="T58" fmla="*/ 160 w 164"/>
                <a:gd name="T59" fmla="*/ 40 h 52"/>
                <a:gd name="T60" fmla="*/ 155 w 164"/>
                <a:gd name="T61" fmla="*/ 44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2"/>
                  </a:lnTo>
                  <a:lnTo>
                    <a:pt x="16" y="50"/>
                  </a:lnTo>
                  <a:lnTo>
                    <a:pt x="11" y="47"/>
                  </a:lnTo>
                  <a:lnTo>
                    <a:pt x="7" y="44"/>
                  </a:lnTo>
                  <a:lnTo>
                    <a:pt x="4" y="40"/>
                  </a:lnTo>
                  <a:lnTo>
                    <a:pt x="1" y="36"/>
                  </a:lnTo>
                  <a:lnTo>
                    <a:pt x="0" y="31"/>
                  </a:lnTo>
                  <a:lnTo>
                    <a:pt x="0" y="26"/>
                  </a:lnTo>
                  <a:lnTo>
                    <a:pt x="0" y="20"/>
                  </a:lnTo>
                  <a:lnTo>
                    <a:pt x="1" y="16"/>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6"/>
                  </a:lnTo>
                  <a:lnTo>
                    <a:pt x="163" y="20"/>
                  </a:lnTo>
                  <a:lnTo>
                    <a:pt x="164" y="26"/>
                  </a:lnTo>
                  <a:lnTo>
                    <a:pt x="163" y="31"/>
                  </a:lnTo>
                  <a:lnTo>
                    <a:pt x="161" y="36"/>
                  </a:lnTo>
                  <a:lnTo>
                    <a:pt x="160" y="40"/>
                  </a:lnTo>
                  <a:lnTo>
                    <a:pt x="155" y="44"/>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4"/>
            <p:cNvSpPr>
              <a:spLocks/>
            </p:cNvSpPr>
            <p:nvPr/>
          </p:nvSpPr>
          <p:spPr bwMode="auto">
            <a:xfrm>
              <a:off x="3616325" y="2351088"/>
              <a:ext cx="85725" cy="28575"/>
            </a:xfrm>
            <a:custGeom>
              <a:avLst/>
              <a:gdLst>
                <a:gd name="T0" fmla="*/ 138 w 164"/>
                <a:gd name="T1" fmla="*/ 52 h 52"/>
                <a:gd name="T2" fmla="*/ 26 w 164"/>
                <a:gd name="T3" fmla="*/ 52 h 52"/>
                <a:gd name="T4" fmla="*/ 20 w 164"/>
                <a:gd name="T5" fmla="*/ 52 h 52"/>
                <a:gd name="T6" fmla="*/ 16 w 164"/>
                <a:gd name="T7" fmla="*/ 50 h 52"/>
                <a:gd name="T8" fmla="*/ 11 w 164"/>
                <a:gd name="T9" fmla="*/ 47 h 52"/>
                <a:gd name="T10" fmla="*/ 7 w 164"/>
                <a:gd name="T11" fmla="*/ 45 h 52"/>
                <a:gd name="T12" fmla="*/ 4 w 164"/>
                <a:gd name="T13" fmla="*/ 40 h 52"/>
                <a:gd name="T14" fmla="*/ 1 w 164"/>
                <a:gd name="T15" fmla="*/ 36 h 52"/>
                <a:gd name="T16" fmla="*/ 0 w 164"/>
                <a:gd name="T17" fmla="*/ 32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6 w 164"/>
                <a:gd name="T31" fmla="*/ 1 h 52"/>
                <a:gd name="T32" fmla="*/ 20 w 164"/>
                <a:gd name="T33" fmla="*/ 0 h 52"/>
                <a:gd name="T34" fmla="*/ 26 w 164"/>
                <a:gd name="T35" fmla="*/ 0 h 52"/>
                <a:gd name="T36" fmla="*/ 138 w 164"/>
                <a:gd name="T37" fmla="*/ 0 h 52"/>
                <a:gd name="T38" fmla="*/ 142 w 164"/>
                <a:gd name="T39" fmla="*/ 0 h 52"/>
                <a:gd name="T40" fmla="*/ 148 w 164"/>
                <a:gd name="T41" fmla="*/ 1 h 52"/>
                <a:gd name="T42" fmla="*/ 152 w 164"/>
                <a:gd name="T43" fmla="*/ 4 h 52"/>
                <a:gd name="T44" fmla="*/ 155 w 164"/>
                <a:gd name="T45" fmla="*/ 7 h 52"/>
                <a:gd name="T46" fmla="*/ 160 w 164"/>
                <a:gd name="T47" fmla="*/ 11 h 52"/>
                <a:gd name="T48" fmla="*/ 161 w 164"/>
                <a:gd name="T49" fmla="*/ 16 h 52"/>
                <a:gd name="T50" fmla="*/ 163 w 164"/>
                <a:gd name="T51" fmla="*/ 20 h 52"/>
                <a:gd name="T52" fmla="*/ 164 w 164"/>
                <a:gd name="T53" fmla="*/ 26 h 52"/>
                <a:gd name="T54" fmla="*/ 163 w 164"/>
                <a:gd name="T55" fmla="*/ 32 h 52"/>
                <a:gd name="T56" fmla="*/ 161 w 164"/>
                <a:gd name="T57" fmla="*/ 36 h 52"/>
                <a:gd name="T58" fmla="*/ 160 w 164"/>
                <a:gd name="T59" fmla="*/ 40 h 52"/>
                <a:gd name="T60" fmla="*/ 155 w 164"/>
                <a:gd name="T61" fmla="*/ 45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2"/>
                  </a:lnTo>
                  <a:lnTo>
                    <a:pt x="16" y="50"/>
                  </a:lnTo>
                  <a:lnTo>
                    <a:pt x="11" y="47"/>
                  </a:lnTo>
                  <a:lnTo>
                    <a:pt x="7" y="45"/>
                  </a:lnTo>
                  <a:lnTo>
                    <a:pt x="4" y="40"/>
                  </a:lnTo>
                  <a:lnTo>
                    <a:pt x="1" y="36"/>
                  </a:lnTo>
                  <a:lnTo>
                    <a:pt x="0" y="32"/>
                  </a:lnTo>
                  <a:lnTo>
                    <a:pt x="0" y="26"/>
                  </a:lnTo>
                  <a:lnTo>
                    <a:pt x="0" y="20"/>
                  </a:lnTo>
                  <a:lnTo>
                    <a:pt x="1" y="16"/>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6"/>
                  </a:lnTo>
                  <a:lnTo>
                    <a:pt x="163" y="20"/>
                  </a:lnTo>
                  <a:lnTo>
                    <a:pt x="164" y="26"/>
                  </a:lnTo>
                  <a:lnTo>
                    <a:pt x="163" y="32"/>
                  </a:lnTo>
                  <a:lnTo>
                    <a:pt x="161" y="36"/>
                  </a:lnTo>
                  <a:lnTo>
                    <a:pt x="160" y="40"/>
                  </a:lnTo>
                  <a:lnTo>
                    <a:pt x="155" y="45"/>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5"/>
            <p:cNvSpPr>
              <a:spLocks/>
            </p:cNvSpPr>
            <p:nvPr/>
          </p:nvSpPr>
          <p:spPr bwMode="auto">
            <a:xfrm>
              <a:off x="3779838" y="1909763"/>
              <a:ext cx="236538" cy="168275"/>
            </a:xfrm>
            <a:custGeom>
              <a:avLst/>
              <a:gdLst>
                <a:gd name="T0" fmla="*/ 153 w 447"/>
                <a:gd name="T1" fmla="*/ 319 h 319"/>
                <a:gd name="T2" fmla="*/ 147 w 447"/>
                <a:gd name="T3" fmla="*/ 319 h 319"/>
                <a:gd name="T4" fmla="*/ 143 w 447"/>
                <a:gd name="T5" fmla="*/ 318 h 319"/>
                <a:gd name="T6" fmla="*/ 139 w 447"/>
                <a:gd name="T7" fmla="*/ 315 h 319"/>
                <a:gd name="T8" fmla="*/ 134 w 447"/>
                <a:gd name="T9" fmla="*/ 312 h 319"/>
                <a:gd name="T10" fmla="*/ 8 w 447"/>
                <a:gd name="T11" fmla="*/ 185 h 319"/>
                <a:gd name="T12" fmla="*/ 5 w 447"/>
                <a:gd name="T13" fmla="*/ 181 h 319"/>
                <a:gd name="T14" fmla="*/ 2 w 447"/>
                <a:gd name="T15" fmla="*/ 177 h 319"/>
                <a:gd name="T16" fmla="*/ 0 w 447"/>
                <a:gd name="T17" fmla="*/ 173 h 319"/>
                <a:gd name="T18" fmla="*/ 0 w 447"/>
                <a:gd name="T19" fmla="*/ 167 h 319"/>
                <a:gd name="T20" fmla="*/ 0 w 447"/>
                <a:gd name="T21" fmla="*/ 162 h 319"/>
                <a:gd name="T22" fmla="*/ 2 w 447"/>
                <a:gd name="T23" fmla="*/ 157 h 319"/>
                <a:gd name="T24" fmla="*/ 5 w 447"/>
                <a:gd name="T25" fmla="*/ 152 h 319"/>
                <a:gd name="T26" fmla="*/ 8 w 447"/>
                <a:gd name="T27" fmla="*/ 148 h 319"/>
                <a:gd name="T28" fmla="*/ 12 w 447"/>
                <a:gd name="T29" fmla="*/ 145 h 319"/>
                <a:gd name="T30" fmla="*/ 16 w 447"/>
                <a:gd name="T31" fmla="*/ 142 h 319"/>
                <a:gd name="T32" fmla="*/ 21 w 447"/>
                <a:gd name="T33" fmla="*/ 141 h 319"/>
                <a:gd name="T34" fmla="*/ 26 w 447"/>
                <a:gd name="T35" fmla="*/ 141 h 319"/>
                <a:gd name="T36" fmla="*/ 31 w 447"/>
                <a:gd name="T37" fmla="*/ 141 h 319"/>
                <a:gd name="T38" fmla="*/ 36 w 447"/>
                <a:gd name="T39" fmla="*/ 142 h 319"/>
                <a:gd name="T40" fmla="*/ 41 w 447"/>
                <a:gd name="T41" fmla="*/ 145 h 319"/>
                <a:gd name="T42" fmla="*/ 45 w 447"/>
                <a:gd name="T43" fmla="*/ 148 h 319"/>
                <a:gd name="T44" fmla="*/ 153 w 447"/>
                <a:gd name="T45" fmla="*/ 256 h 319"/>
                <a:gd name="T46" fmla="*/ 402 w 447"/>
                <a:gd name="T47" fmla="*/ 8 h 319"/>
                <a:gd name="T48" fmla="*/ 406 w 447"/>
                <a:gd name="T49" fmla="*/ 4 h 319"/>
                <a:gd name="T50" fmla="*/ 411 w 447"/>
                <a:gd name="T51" fmla="*/ 3 h 319"/>
                <a:gd name="T52" fmla="*/ 415 w 447"/>
                <a:gd name="T53" fmla="*/ 1 h 319"/>
                <a:gd name="T54" fmla="*/ 421 w 447"/>
                <a:gd name="T55" fmla="*/ 0 h 319"/>
                <a:gd name="T56" fmla="*/ 425 w 447"/>
                <a:gd name="T57" fmla="*/ 1 h 319"/>
                <a:gd name="T58" fmla="*/ 430 w 447"/>
                <a:gd name="T59" fmla="*/ 3 h 319"/>
                <a:gd name="T60" fmla="*/ 435 w 447"/>
                <a:gd name="T61" fmla="*/ 4 h 319"/>
                <a:gd name="T62" fmla="*/ 438 w 447"/>
                <a:gd name="T63" fmla="*/ 8 h 319"/>
                <a:gd name="T64" fmla="*/ 442 w 447"/>
                <a:gd name="T65" fmla="*/ 11 h 319"/>
                <a:gd name="T66" fmla="*/ 444 w 447"/>
                <a:gd name="T67" fmla="*/ 17 h 319"/>
                <a:gd name="T68" fmla="*/ 445 w 447"/>
                <a:gd name="T69" fmla="*/ 21 h 319"/>
                <a:gd name="T70" fmla="*/ 447 w 447"/>
                <a:gd name="T71" fmla="*/ 26 h 319"/>
                <a:gd name="T72" fmla="*/ 445 w 447"/>
                <a:gd name="T73" fmla="*/ 31 h 319"/>
                <a:gd name="T74" fmla="*/ 444 w 447"/>
                <a:gd name="T75" fmla="*/ 36 h 319"/>
                <a:gd name="T76" fmla="*/ 442 w 447"/>
                <a:gd name="T77" fmla="*/ 40 h 319"/>
                <a:gd name="T78" fmla="*/ 438 w 447"/>
                <a:gd name="T79" fmla="*/ 44 h 319"/>
                <a:gd name="T80" fmla="*/ 172 w 447"/>
                <a:gd name="T81" fmla="*/ 312 h 319"/>
                <a:gd name="T82" fmla="*/ 167 w 447"/>
                <a:gd name="T83" fmla="*/ 315 h 319"/>
                <a:gd name="T84" fmla="*/ 163 w 447"/>
                <a:gd name="T85" fmla="*/ 318 h 319"/>
                <a:gd name="T86" fmla="*/ 157 w 447"/>
                <a:gd name="T87" fmla="*/ 319 h 319"/>
                <a:gd name="T88" fmla="*/ 153 w 447"/>
                <a:gd name="T8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7" h="319">
                  <a:moveTo>
                    <a:pt x="153" y="319"/>
                  </a:moveTo>
                  <a:lnTo>
                    <a:pt x="147" y="319"/>
                  </a:lnTo>
                  <a:lnTo>
                    <a:pt x="143" y="318"/>
                  </a:lnTo>
                  <a:lnTo>
                    <a:pt x="139" y="315"/>
                  </a:lnTo>
                  <a:lnTo>
                    <a:pt x="134" y="312"/>
                  </a:lnTo>
                  <a:lnTo>
                    <a:pt x="8" y="185"/>
                  </a:lnTo>
                  <a:lnTo>
                    <a:pt x="5" y="181"/>
                  </a:lnTo>
                  <a:lnTo>
                    <a:pt x="2" y="177"/>
                  </a:lnTo>
                  <a:lnTo>
                    <a:pt x="0" y="173"/>
                  </a:lnTo>
                  <a:lnTo>
                    <a:pt x="0" y="167"/>
                  </a:lnTo>
                  <a:lnTo>
                    <a:pt x="0" y="162"/>
                  </a:lnTo>
                  <a:lnTo>
                    <a:pt x="2" y="157"/>
                  </a:lnTo>
                  <a:lnTo>
                    <a:pt x="5" y="152"/>
                  </a:lnTo>
                  <a:lnTo>
                    <a:pt x="8" y="148"/>
                  </a:lnTo>
                  <a:lnTo>
                    <a:pt x="12" y="145"/>
                  </a:lnTo>
                  <a:lnTo>
                    <a:pt x="16" y="142"/>
                  </a:lnTo>
                  <a:lnTo>
                    <a:pt x="21" y="141"/>
                  </a:lnTo>
                  <a:lnTo>
                    <a:pt x="26" y="141"/>
                  </a:lnTo>
                  <a:lnTo>
                    <a:pt x="31" y="141"/>
                  </a:lnTo>
                  <a:lnTo>
                    <a:pt x="36" y="142"/>
                  </a:lnTo>
                  <a:lnTo>
                    <a:pt x="41" y="145"/>
                  </a:lnTo>
                  <a:lnTo>
                    <a:pt x="45" y="148"/>
                  </a:lnTo>
                  <a:lnTo>
                    <a:pt x="153" y="256"/>
                  </a:lnTo>
                  <a:lnTo>
                    <a:pt x="402" y="8"/>
                  </a:lnTo>
                  <a:lnTo>
                    <a:pt x="406" y="4"/>
                  </a:lnTo>
                  <a:lnTo>
                    <a:pt x="411" y="3"/>
                  </a:lnTo>
                  <a:lnTo>
                    <a:pt x="415" y="1"/>
                  </a:lnTo>
                  <a:lnTo>
                    <a:pt x="421" y="0"/>
                  </a:lnTo>
                  <a:lnTo>
                    <a:pt x="425" y="1"/>
                  </a:lnTo>
                  <a:lnTo>
                    <a:pt x="430" y="3"/>
                  </a:lnTo>
                  <a:lnTo>
                    <a:pt x="435" y="4"/>
                  </a:lnTo>
                  <a:lnTo>
                    <a:pt x="438" y="8"/>
                  </a:lnTo>
                  <a:lnTo>
                    <a:pt x="442" y="11"/>
                  </a:lnTo>
                  <a:lnTo>
                    <a:pt x="444" y="17"/>
                  </a:lnTo>
                  <a:lnTo>
                    <a:pt x="445" y="21"/>
                  </a:lnTo>
                  <a:lnTo>
                    <a:pt x="447" y="26"/>
                  </a:lnTo>
                  <a:lnTo>
                    <a:pt x="445" y="31"/>
                  </a:lnTo>
                  <a:lnTo>
                    <a:pt x="444" y="36"/>
                  </a:lnTo>
                  <a:lnTo>
                    <a:pt x="442" y="40"/>
                  </a:lnTo>
                  <a:lnTo>
                    <a:pt x="438" y="44"/>
                  </a:lnTo>
                  <a:lnTo>
                    <a:pt x="172" y="312"/>
                  </a:lnTo>
                  <a:lnTo>
                    <a:pt x="167" y="315"/>
                  </a:lnTo>
                  <a:lnTo>
                    <a:pt x="163" y="318"/>
                  </a:lnTo>
                  <a:lnTo>
                    <a:pt x="157" y="319"/>
                  </a:lnTo>
                  <a:lnTo>
                    <a:pt x="15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11"/>
            <p:cNvSpPr>
              <a:spLocks noEditPoints="1"/>
            </p:cNvSpPr>
            <p:nvPr/>
          </p:nvSpPr>
          <p:spPr bwMode="auto">
            <a:xfrm>
              <a:off x="3925888" y="2178051"/>
              <a:ext cx="354013" cy="352425"/>
            </a:xfrm>
            <a:custGeom>
              <a:avLst/>
              <a:gdLst>
                <a:gd name="T0" fmla="*/ 287 w 667"/>
                <a:gd name="T1" fmla="*/ 262 h 666"/>
                <a:gd name="T2" fmla="*/ 252 w 667"/>
                <a:gd name="T3" fmla="*/ 306 h 666"/>
                <a:gd name="T4" fmla="*/ 255 w 667"/>
                <a:gd name="T5" fmla="*/ 365 h 666"/>
                <a:gd name="T6" fmla="*/ 293 w 667"/>
                <a:gd name="T7" fmla="*/ 407 h 666"/>
                <a:gd name="T8" fmla="*/ 352 w 667"/>
                <a:gd name="T9" fmla="*/ 416 h 666"/>
                <a:gd name="T10" fmla="*/ 401 w 667"/>
                <a:gd name="T11" fmla="*/ 387 h 666"/>
                <a:gd name="T12" fmla="*/ 419 w 667"/>
                <a:gd name="T13" fmla="*/ 332 h 666"/>
                <a:gd name="T14" fmla="*/ 401 w 667"/>
                <a:gd name="T15" fmla="*/ 277 h 666"/>
                <a:gd name="T16" fmla="*/ 352 w 667"/>
                <a:gd name="T17" fmla="*/ 249 h 666"/>
                <a:gd name="T18" fmla="*/ 281 w 667"/>
                <a:gd name="T19" fmla="*/ 459 h 666"/>
                <a:gd name="T20" fmla="*/ 213 w 667"/>
                <a:gd name="T21" fmla="*/ 398 h 666"/>
                <a:gd name="T22" fmla="*/ 199 w 667"/>
                <a:gd name="T23" fmla="*/ 305 h 666"/>
                <a:gd name="T24" fmla="*/ 247 w 667"/>
                <a:gd name="T25" fmla="*/ 226 h 666"/>
                <a:gd name="T26" fmla="*/ 334 w 667"/>
                <a:gd name="T27" fmla="*/ 194 h 666"/>
                <a:gd name="T28" fmla="*/ 422 w 667"/>
                <a:gd name="T29" fmla="*/ 226 h 666"/>
                <a:gd name="T30" fmla="*/ 470 w 667"/>
                <a:gd name="T31" fmla="*/ 305 h 666"/>
                <a:gd name="T32" fmla="*/ 455 w 667"/>
                <a:gd name="T33" fmla="*/ 398 h 666"/>
                <a:gd name="T34" fmla="*/ 388 w 667"/>
                <a:gd name="T35" fmla="*/ 459 h 666"/>
                <a:gd name="T36" fmla="*/ 363 w 667"/>
                <a:gd name="T37" fmla="*/ 548 h 666"/>
                <a:gd name="T38" fmla="*/ 422 w 667"/>
                <a:gd name="T39" fmla="*/ 509 h 666"/>
                <a:gd name="T40" fmla="*/ 555 w 667"/>
                <a:gd name="T41" fmla="*/ 511 h 666"/>
                <a:gd name="T42" fmla="*/ 516 w 667"/>
                <a:gd name="T43" fmla="*/ 409 h 666"/>
                <a:gd name="T44" fmla="*/ 615 w 667"/>
                <a:gd name="T45" fmla="*/ 362 h 666"/>
                <a:gd name="T46" fmla="*/ 522 w 667"/>
                <a:gd name="T47" fmla="*/ 270 h 666"/>
                <a:gd name="T48" fmla="*/ 509 w 667"/>
                <a:gd name="T49" fmla="*/ 200 h 666"/>
                <a:gd name="T50" fmla="*/ 434 w 667"/>
                <a:gd name="T51" fmla="*/ 162 h 666"/>
                <a:gd name="T52" fmla="*/ 365 w 667"/>
                <a:gd name="T53" fmla="*/ 125 h 666"/>
                <a:gd name="T54" fmla="*/ 293 w 667"/>
                <a:gd name="T55" fmla="*/ 138 h 666"/>
                <a:gd name="T56" fmla="*/ 218 w 667"/>
                <a:gd name="T57" fmla="*/ 165 h 666"/>
                <a:gd name="T58" fmla="*/ 167 w 667"/>
                <a:gd name="T59" fmla="*/ 216 h 666"/>
                <a:gd name="T60" fmla="*/ 140 w 667"/>
                <a:gd name="T61" fmla="*/ 290 h 666"/>
                <a:gd name="T62" fmla="*/ 126 w 667"/>
                <a:gd name="T63" fmla="*/ 364 h 666"/>
                <a:gd name="T64" fmla="*/ 164 w 667"/>
                <a:gd name="T65" fmla="*/ 433 h 666"/>
                <a:gd name="T66" fmla="*/ 202 w 667"/>
                <a:gd name="T67" fmla="*/ 506 h 666"/>
                <a:gd name="T68" fmla="*/ 271 w 667"/>
                <a:gd name="T69" fmla="*/ 519 h 666"/>
                <a:gd name="T70" fmla="*/ 375 w 667"/>
                <a:gd name="T71" fmla="*/ 666 h 666"/>
                <a:gd name="T72" fmla="*/ 255 w 667"/>
                <a:gd name="T73" fmla="*/ 640 h 666"/>
                <a:gd name="T74" fmla="*/ 179 w 667"/>
                <a:gd name="T75" fmla="*/ 603 h 666"/>
                <a:gd name="T76" fmla="*/ 127 w 667"/>
                <a:gd name="T77" fmla="*/ 597 h 666"/>
                <a:gd name="T78" fmla="*/ 61 w 667"/>
                <a:gd name="T79" fmla="*/ 495 h 666"/>
                <a:gd name="T80" fmla="*/ 33 w 667"/>
                <a:gd name="T81" fmla="*/ 413 h 666"/>
                <a:gd name="T82" fmla="*/ 0 w 667"/>
                <a:gd name="T83" fmla="*/ 374 h 666"/>
                <a:gd name="T84" fmla="*/ 26 w 667"/>
                <a:gd name="T85" fmla="*/ 253 h 666"/>
                <a:gd name="T86" fmla="*/ 64 w 667"/>
                <a:gd name="T87" fmla="*/ 177 h 666"/>
                <a:gd name="T88" fmla="*/ 69 w 667"/>
                <a:gd name="T89" fmla="*/ 126 h 666"/>
                <a:gd name="T90" fmla="*/ 172 w 667"/>
                <a:gd name="T91" fmla="*/ 59 h 666"/>
                <a:gd name="T92" fmla="*/ 252 w 667"/>
                <a:gd name="T93" fmla="*/ 31 h 666"/>
                <a:gd name="T94" fmla="*/ 293 w 667"/>
                <a:gd name="T95" fmla="*/ 0 h 666"/>
                <a:gd name="T96" fmla="*/ 412 w 667"/>
                <a:gd name="T97" fmla="*/ 24 h 666"/>
                <a:gd name="T98" fmla="*/ 490 w 667"/>
                <a:gd name="T99" fmla="*/ 63 h 666"/>
                <a:gd name="T100" fmla="*/ 540 w 667"/>
                <a:gd name="T101" fmla="*/ 67 h 666"/>
                <a:gd name="T102" fmla="*/ 608 w 667"/>
                <a:gd name="T103" fmla="*/ 169 h 666"/>
                <a:gd name="T104" fmla="*/ 635 w 667"/>
                <a:gd name="T105" fmla="*/ 252 h 666"/>
                <a:gd name="T106" fmla="*/ 667 w 667"/>
                <a:gd name="T107" fmla="*/ 292 h 666"/>
                <a:gd name="T108" fmla="*/ 643 w 667"/>
                <a:gd name="T109" fmla="*/ 411 h 666"/>
                <a:gd name="T110" fmla="*/ 604 w 667"/>
                <a:gd name="T111" fmla="*/ 488 h 666"/>
                <a:gd name="T112" fmla="*/ 599 w 667"/>
                <a:gd name="T113" fmla="*/ 540 h 666"/>
                <a:gd name="T114" fmla="*/ 496 w 667"/>
                <a:gd name="T115" fmla="*/ 606 h 666"/>
                <a:gd name="T116" fmla="*/ 415 w 667"/>
                <a:gd name="T117" fmla="*/ 633 h 666"/>
                <a:gd name="T118" fmla="*/ 375 w 667"/>
                <a:gd name="T119" fmla="*/ 66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7" h="666">
                  <a:moveTo>
                    <a:pt x="334" y="247"/>
                  </a:moveTo>
                  <a:lnTo>
                    <a:pt x="326" y="247"/>
                  </a:lnTo>
                  <a:lnTo>
                    <a:pt x="317" y="249"/>
                  </a:lnTo>
                  <a:lnTo>
                    <a:pt x="308" y="250"/>
                  </a:lnTo>
                  <a:lnTo>
                    <a:pt x="301" y="253"/>
                  </a:lnTo>
                  <a:lnTo>
                    <a:pt x="293" y="257"/>
                  </a:lnTo>
                  <a:lnTo>
                    <a:pt x="287" y="262"/>
                  </a:lnTo>
                  <a:lnTo>
                    <a:pt x="280" y="266"/>
                  </a:lnTo>
                  <a:lnTo>
                    <a:pt x="274" y="272"/>
                  </a:lnTo>
                  <a:lnTo>
                    <a:pt x="268" y="277"/>
                  </a:lnTo>
                  <a:lnTo>
                    <a:pt x="262" y="285"/>
                  </a:lnTo>
                  <a:lnTo>
                    <a:pt x="258" y="292"/>
                  </a:lnTo>
                  <a:lnTo>
                    <a:pt x="255" y="299"/>
                  </a:lnTo>
                  <a:lnTo>
                    <a:pt x="252" y="306"/>
                  </a:lnTo>
                  <a:lnTo>
                    <a:pt x="251" y="315"/>
                  </a:lnTo>
                  <a:lnTo>
                    <a:pt x="249" y="324"/>
                  </a:lnTo>
                  <a:lnTo>
                    <a:pt x="248" y="332"/>
                  </a:lnTo>
                  <a:lnTo>
                    <a:pt x="249" y="341"/>
                  </a:lnTo>
                  <a:lnTo>
                    <a:pt x="251" y="349"/>
                  </a:lnTo>
                  <a:lnTo>
                    <a:pt x="252" y="358"/>
                  </a:lnTo>
                  <a:lnTo>
                    <a:pt x="255" y="365"/>
                  </a:lnTo>
                  <a:lnTo>
                    <a:pt x="258" y="373"/>
                  </a:lnTo>
                  <a:lnTo>
                    <a:pt x="262" y="380"/>
                  </a:lnTo>
                  <a:lnTo>
                    <a:pt x="268" y="387"/>
                  </a:lnTo>
                  <a:lnTo>
                    <a:pt x="274" y="393"/>
                  </a:lnTo>
                  <a:lnTo>
                    <a:pt x="280" y="398"/>
                  </a:lnTo>
                  <a:lnTo>
                    <a:pt x="287" y="403"/>
                  </a:lnTo>
                  <a:lnTo>
                    <a:pt x="293" y="407"/>
                  </a:lnTo>
                  <a:lnTo>
                    <a:pt x="301" y="411"/>
                  </a:lnTo>
                  <a:lnTo>
                    <a:pt x="308" y="414"/>
                  </a:lnTo>
                  <a:lnTo>
                    <a:pt x="317" y="416"/>
                  </a:lnTo>
                  <a:lnTo>
                    <a:pt x="326" y="417"/>
                  </a:lnTo>
                  <a:lnTo>
                    <a:pt x="334" y="419"/>
                  </a:lnTo>
                  <a:lnTo>
                    <a:pt x="343" y="417"/>
                  </a:lnTo>
                  <a:lnTo>
                    <a:pt x="352" y="416"/>
                  </a:lnTo>
                  <a:lnTo>
                    <a:pt x="359" y="414"/>
                  </a:lnTo>
                  <a:lnTo>
                    <a:pt x="368" y="411"/>
                  </a:lnTo>
                  <a:lnTo>
                    <a:pt x="375" y="407"/>
                  </a:lnTo>
                  <a:lnTo>
                    <a:pt x="382" y="403"/>
                  </a:lnTo>
                  <a:lnTo>
                    <a:pt x="389" y="398"/>
                  </a:lnTo>
                  <a:lnTo>
                    <a:pt x="395" y="393"/>
                  </a:lnTo>
                  <a:lnTo>
                    <a:pt x="401" y="387"/>
                  </a:lnTo>
                  <a:lnTo>
                    <a:pt x="405" y="380"/>
                  </a:lnTo>
                  <a:lnTo>
                    <a:pt x="409" y="373"/>
                  </a:lnTo>
                  <a:lnTo>
                    <a:pt x="414" y="365"/>
                  </a:lnTo>
                  <a:lnTo>
                    <a:pt x="416" y="358"/>
                  </a:lnTo>
                  <a:lnTo>
                    <a:pt x="418" y="349"/>
                  </a:lnTo>
                  <a:lnTo>
                    <a:pt x="419" y="341"/>
                  </a:lnTo>
                  <a:lnTo>
                    <a:pt x="419" y="332"/>
                  </a:lnTo>
                  <a:lnTo>
                    <a:pt x="419" y="324"/>
                  </a:lnTo>
                  <a:lnTo>
                    <a:pt x="418" y="315"/>
                  </a:lnTo>
                  <a:lnTo>
                    <a:pt x="416" y="306"/>
                  </a:lnTo>
                  <a:lnTo>
                    <a:pt x="414" y="299"/>
                  </a:lnTo>
                  <a:lnTo>
                    <a:pt x="409" y="292"/>
                  </a:lnTo>
                  <a:lnTo>
                    <a:pt x="405" y="285"/>
                  </a:lnTo>
                  <a:lnTo>
                    <a:pt x="401" y="277"/>
                  </a:lnTo>
                  <a:lnTo>
                    <a:pt x="395" y="272"/>
                  </a:lnTo>
                  <a:lnTo>
                    <a:pt x="389" y="266"/>
                  </a:lnTo>
                  <a:lnTo>
                    <a:pt x="382" y="262"/>
                  </a:lnTo>
                  <a:lnTo>
                    <a:pt x="375" y="257"/>
                  </a:lnTo>
                  <a:lnTo>
                    <a:pt x="368" y="253"/>
                  </a:lnTo>
                  <a:lnTo>
                    <a:pt x="359" y="250"/>
                  </a:lnTo>
                  <a:lnTo>
                    <a:pt x="352" y="249"/>
                  </a:lnTo>
                  <a:lnTo>
                    <a:pt x="343" y="247"/>
                  </a:lnTo>
                  <a:lnTo>
                    <a:pt x="334" y="247"/>
                  </a:lnTo>
                  <a:close/>
                  <a:moveTo>
                    <a:pt x="334" y="470"/>
                  </a:moveTo>
                  <a:lnTo>
                    <a:pt x="320" y="469"/>
                  </a:lnTo>
                  <a:lnTo>
                    <a:pt x="307" y="468"/>
                  </a:lnTo>
                  <a:lnTo>
                    <a:pt x="293" y="465"/>
                  </a:lnTo>
                  <a:lnTo>
                    <a:pt x="281" y="459"/>
                  </a:lnTo>
                  <a:lnTo>
                    <a:pt x="268" y="453"/>
                  </a:lnTo>
                  <a:lnTo>
                    <a:pt x="257" y="447"/>
                  </a:lnTo>
                  <a:lnTo>
                    <a:pt x="247" y="439"/>
                  </a:lnTo>
                  <a:lnTo>
                    <a:pt x="236" y="430"/>
                  </a:lnTo>
                  <a:lnTo>
                    <a:pt x="228" y="420"/>
                  </a:lnTo>
                  <a:lnTo>
                    <a:pt x="219" y="410"/>
                  </a:lnTo>
                  <a:lnTo>
                    <a:pt x="213" y="398"/>
                  </a:lnTo>
                  <a:lnTo>
                    <a:pt x="208" y="385"/>
                  </a:lnTo>
                  <a:lnTo>
                    <a:pt x="202" y="374"/>
                  </a:lnTo>
                  <a:lnTo>
                    <a:pt x="199" y="360"/>
                  </a:lnTo>
                  <a:lnTo>
                    <a:pt x="198" y="347"/>
                  </a:lnTo>
                  <a:lnTo>
                    <a:pt x="196" y="332"/>
                  </a:lnTo>
                  <a:lnTo>
                    <a:pt x="198" y="318"/>
                  </a:lnTo>
                  <a:lnTo>
                    <a:pt x="199" y="305"/>
                  </a:lnTo>
                  <a:lnTo>
                    <a:pt x="202" y="292"/>
                  </a:lnTo>
                  <a:lnTo>
                    <a:pt x="208" y="279"/>
                  </a:lnTo>
                  <a:lnTo>
                    <a:pt x="213" y="267"/>
                  </a:lnTo>
                  <a:lnTo>
                    <a:pt x="219" y="256"/>
                  </a:lnTo>
                  <a:lnTo>
                    <a:pt x="228" y="244"/>
                  </a:lnTo>
                  <a:lnTo>
                    <a:pt x="236" y="234"/>
                  </a:lnTo>
                  <a:lnTo>
                    <a:pt x="247" y="226"/>
                  </a:lnTo>
                  <a:lnTo>
                    <a:pt x="257" y="218"/>
                  </a:lnTo>
                  <a:lnTo>
                    <a:pt x="268" y="211"/>
                  </a:lnTo>
                  <a:lnTo>
                    <a:pt x="281" y="205"/>
                  </a:lnTo>
                  <a:lnTo>
                    <a:pt x="293" y="201"/>
                  </a:lnTo>
                  <a:lnTo>
                    <a:pt x="307" y="197"/>
                  </a:lnTo>
                  <a:lnTo>
                    <a:pt x="320" y="195"/>
                  </a:lnTo>
                  <a:lnTo>
                    <a:pt x="334" y="194"/>
                  </a:lnTo>
                  <a:lnTo>
                    <a:pt x="349" y="195"/>
                  </a:lnTo>
                  <a:lnTo>
                    <a:pt x="362" y="197"/>
                  </a:lnTo>
                  <a:lnTo>
                    <a:pt x="375" y="201"/>
                  </a:lnTo>
                  <a:lnTo>
                    <a:pt x="388" y="205"/>
                  </a:lnTo>
                  <a:lnTo>
                    <a:pt x="399" y="211"/>
                  </a:lnTo>
                  <a:lnTo>
                    <a:pt x="411" y="218"/>
                  </a:lnTo>
                  <a:lnTo>
                    <a:pt x="422" y="226"/>
                  </a:lnTo>
                  <a:lnTo>
                    <a:pt x="431" y="234"/>
                  </a:lnTo>
                  <a:lnTo>
                    <a:pt x="441" y="244"/>
                  </a:lnTo>
                  <a:lnTo>
                    <a:pt x="448" y="256"/>
                  </a:lnTo>
                  <a:lnTo>
                    <a:pt x="455" y="267"/>
                  </a:lnTo>
                  <a:lnTo>
                    <a:pt x="461" y="279"/>
                  </a:lnTo>
                  <a:lnTo>
                    <a:pt x="465" y="292"/>
                  </a:lnTo>
                  <a:lnTo>
                    <a:pt x="470" y="305"/>
                  </a:lnTo>
                  <a:lnTo>
                    <a:pt x="471" y="318"/>
                  </a:lnTo>
                  <a:lnTo>
                    <a:pt x="473" y="332"/>
                  </a:lnTo>
                  <a:lnTo>
                    <a:pt x="471" y="347"/>
                  </a:lnTo>
                  <a:lnTo>
                    <a:pt x="470" y="360"/>
                  </a:lnTo>
                  <a:lnTo>
                    <a:pt x="465" y="374"/>
                  </a:lnTo>
                  <a:lnTo>
                    <a:pt x="461" y="385"/>
                  </a:lnTo>
                  <a:lnTo>
                    <a:pt x="455" y="398"/>
                  </a:lnTo>
                  <a:lnTo>
                    <a:pt x="448" y="410"/>
                  </a:lnTo>
                  <a:lnTo>
                    <a:pt x="441" y="420"/>
                  </a:lnTo>
                  <a:lnTo>
                    <a:pt x="431" y="430"/>
                  </a:lnTo>
                  <a:lnTo>
                    <a:pt x="422" y="439"/>
                  </a:lnTo>
                  <a:lnTo>
                    <a:pt x="411" y="447"/>
                  </a:lnTo>
                  <a:lnTo>
                    <a:pt x="399" y="453"/>
                  </a:lnTo>
                  <a:lnTo>
                    <a:pt x="388" y="459"/>
                  </a:lnTo>
                  <a:lnTo>
                    <a:pt x="375" y="465"/>
                  </a:lnTo>
                  <a:lnTo>
                    <a:pt x="362" y="468"/>
                  </a:lnTo>
                  <a:lnTo>
                    <a:pt x="349" y="469"/>
                  </a:lnTo>
                  <a:lnTo>
                    <a:pt x="334" y="470"/>
                  </a:lnTo>
                  <a:close/>
                  <a:moveTo>
                    <a:pt x="304" y="613"/>
                  </a:moveTo>
                  <a:lnTo>
                    <a:pt x="363" y="613"/>
                  </a:lnTo>
                  <a:lnTo>
                    <a:pt x="363" y="548"/>
                  </a:lnTo>
                  <a:lnTo>
                    <a:pt x="365" y="541"/>
                  </a:lnTo>
                  <a:lnTo>
                    <a:pt x="369" y="532"/>
                  </a:lnTo>
                  <a:lnTo>
                    <a:pt x="376" y="527"/>
                  </a:lnTo>
                  <a:lnTo>
                    <a:pt x="383" y="524"/>
                  </a:lnTo>
                  <a:lnTo>
                    <a:pt x="396" y="519"/>
                  </a:lnTo>
                  <a:lnTo>
                    <a:pt x="409" y="515"/>
                  </a:lnTo>
                  <a:lnTo>
                    <a:pt x="422" y="509"/>
                  </a:lnTo>
                  <a:lnTo>
                    <a:pt x="434" y="502"/>
                  </a:lnTo>
                  <a:lnTo>
                    <a:pt x="442" y="499"/>
                  </a:lnTo>
                  <a:lnTo>
                    <a:pt x="451" y="499"/>
                  </a:lnTo>
                  <a:lnTo>
                    <a:pt x="460" y="502"/>
                  </a:lnTo>
                  <a:lnTo>
                    <a:pt x="465" y="506"/>
                  </a:lnTo>
                  <a:lnTo>
                    <a:pt x="512" y="553"/>
                  </a:lnTo>
                  <a:lnTo>
                    <a:pt x="555" y="511"/>
                  </a:lnTo>
                  <a:lnTo>
                    <a:pt x="509" y="465"/>
                  </a:lnTo>
                  <a:lnTo>
                    <a:pt x="503" y="457"/>
                  </a:lnTo>
                  <a:lnTo>
                    <a:pt x="500" y="449"/>
                  </a:lnTo>
                  <a:lnTo>
                    <a:pt x="501" y="440"/>
                  </a:lnTo>
                  <a:lnTo>
                    <a:pt x="504" y="433"/>
                  </a:lnTo>
                  <a:lnTo>
                    <a:pt x="510" y="420"/>
                  </a:lnTo>
                  <a:lnTo>
                    <a:pt x="516" y="409"/>
                  </a:lnTo>
                  <a:lnTo>
                    <a:pt x="522" y="396"/>
                  </a:lnTo>
                  <a:lnTo>
                    <a:pt x="526" y="381"/>
                  </a:lnTo>
                  <a:lnTo>
                    <a:pt x="529" y="374"/>
                  </a:lnTo>
                  <a:lnTo>
                    <a:pt x="535" y="368"/>
                  </a:lnTo>
                  <a:lnTo>
                    <a:pt x="542" y="364"/>
                  </a:lnTo>
                  <a:lnTo>
                    <a:pt x="550" y="362"/>
                  </a:lnTo>
                  <a:lnTo>
                    <a:pt x="615" y="362"/>
                  </a:lnTo>
                  <a:lnTo>
                    <a:pt x="615" y="302"/>
                  </a:lnTo>
                  <a:lnTo>
                    <a:pt x="550" y="302"/>
                  </a:lnTo>
                  <a:lnTo>
                    <a:pt x="542" y="301"/>
                  </a:lnTo>
                  <a:lnTo>
                    <a:pt x="535" y="298"/>
                  </a:lnTo>
                  <a:lnTo>
                    <a:pt x="529" y="290"/>
                  </a:lnTo>
                  <a:lnTo>
                    <a:pt x="526" y="283"/>
                  </a:lnTo>
                  <a:lnTo>
                    <a:pt x="522" y="270"/>
                  </a:lnTo>
                  <a:lnTo>
                    <a:pt x="516" y="257"/>
                  </a:lnTo>
                  <a:lnTo>
                    <a:pt x="510" y="244"/>
                  </a:lnTo>
                  <a:lnTo>
                    <a:pt x="504" y="233"/>
                  </a:lnTo>
                  <a:lnTo>
                    <a:pt x="501" y="224"/>
                  </a:lnTo>
                  <a:lnTo>
                    <a:pt x="501" y="216"/>
                  </a:lnTo>
                  <a:lnTo>
                    <a:pt x="503" y="207"/>
                  </a:lnTo>
                  <a:lnTo>
                    <a:pt x="509" y="200"/>
                  </a:lnTo>
                  <a:lnTo>
                    <a:pt x="555" y="155"/>
                  </a:lnTo>
                  <a:lnTo>
                    <a:pt x="512" y="112"/>
                  </a:lnTo>
                  <a:lnTo>
                    <a:pt x="465" y="158"/>
                  </a:lnTo>
                  <a:lnTo>
                    <a:pt x="460" y="164"/>
                  </a:lnTo>
                  <a:lnTo>
                    <a:pt x="451" y="165"/>
                  </a:lnTo>
                  <a:lnTo>
                    <a:pt x="442" y="165"/>
                  </a:lnTo>
                  <a:lnTo>
                    <a:pt x="434" y="162"/>
                  </a:lnTo>
                  <a:lnTo>
                    <a:pt x="422" y="155"/>
                  </a:lnTo>
                  <a:lnTo>
                    <a:pt x="409" y="149"/>
                  </a:lnTo>
                  <a:lnTo>
                    <a:pt x="396" y="145"/>
                  </a:lnTo>
                  <a:lnTo>
                    <a:pt x="383" y="141"/>
                  </a:lnTo>
                  <a:lnTo>
                    <a:pt x="376" y="138"/>
                  </a:lnTo>
                  <a:lnTo>
                    <a:pt x="369" y="132"/>
                  </a:lnTo>
                  <a:lnTo>
                    <a:pt x="365" y="125"/>
                  </a:lnTo>
                  <a:lnTo>
                    <a:pt x="363" y="116"/>
                  </a:lnTo>
                  <a:lnTo>
                    <a:pt x="363" y="51"/>
                  </a:lnTo>
                  <a:lnTo>
                    <a:pt x="304" y="51"/>
                  </a:lnTo>
                  <a:lnTo>
                    <a:pt x="304" y="116"/>
                  </a:lnTo>
                  <a:lnTo>
                    <a:pt x="303" y="125"/>
                  </a:lnTo>
                  <a:lnTo>
                    <a:pt x="298" y="132"/>
                  </a:lnTo>
                  <a:lnTo>
                    <a:pt x="293" y="138"/>
                  </a:lnTo>
                  <a:lnTo>
                    <a:pt x="284" y="141"/>
                  </a:lnTo>
                  <a:lnTo>
                    <a:pt x="271" y="145"/>
                  </a:lnTo>
                  <a:lnTo>
                    <a:pt x="258" y="149"/>
                  </a:lnTo>
                  <a:lnTo>
                    <a:pt x="247" y="155"/>
                  </a:lnTo>
                  <a:lnTo>
                    <a:pt x="234" y="162"/>
                  </a:lnTo>
                  <a:lnTo>
                    <a:pt x="226" y="165"/>
                  </a:lnTo>
                  <a:lnTo>
                    <a:pt x="218" y="165"/>
                  </a:lnTo>
                  <a:lnTo>
                    <a:pt x="209" y="164"/>
                  </a:lnTo>
                  <a:lnTo>
                    <a:pt x="202" y="158"/>
                  </a:lnTo>
                  <a:lnTo>
                    <a:pt x="156" y="112"/>
                  </a:lnTo>
                  <a:lnTo>
                    <a:pt x="114" y="155"/>
                  </a:lnTo>
                  <a:lnTo>
                    <a:pt x="160" y="200"/>
                  </a:lnTo>
                  <a:lnTo>
                    <a:pt x="164" y="207"/>
                  </a:lnTo>
                  <a:lnTo>
                    <a:pt x="167" y="216"/>
                  </a:lnTo>
                  <a:lnTo>
                    <a:pt x="167" y="224"/>
                  </a:lnTo>
                  <a:lnTo>
                    <a:pt x="164" y="233"/>
                  </a:lnTo>
                  <a:lnTo>
                    <a:pt x="157" y="244"/>
                  </a:lnTo>
                  <a:lnTo>
                    <a:pt x="152" y="257"/>
                  </a:lnTo>
                  <a:lnTo>
                    <a:pt x="147" y="270"/>
                  </a:lnTo>
                  <a:lnTo>
                    <a:pt x="143" y="283"/>
                  </a:lnTo>
                  <a:lnTo>
                    <a:pt x="140" y="290"/>
                  </a:lnTo>
                  <a:lnTo>
                    <a:pt x="134" y="298"/>
                  </a:lnTo>
                  <a:lnTo>
                    <a:pt x="126" y="301"/>
                  </a:lnTo>
                  <a:lnTo>
                    <a:pt x="117" y="302"/>
                  </a:lnTo>
                  <a:lnTo>
                    <a:pt x="52" y="302"/>
                  </a:lnTo>
                  <a:lnTo>
                    <a:pt x="52" y="362"/>
                  </a:lnTo>
                  <a:lnTo>
                    <a:pt x="117" y="362"/>
                  </a:lnTo>
                  <a:lnTo>
                    <a:pt x="126" y="364"/>
                  </a:lnTo>
                  <a:lnTo>
                    <a:pt x="134" y="368"/>
                  </a:lnTo>
                  <a:lnTo>
                    <a:pt x="140" y="374"/>
                  </a:lnTo>
                  <a:lnTo>
                    <a:pt x="143" y="381"/>
                  </a:lnTo>
                  <a:lnTo>
                    <a:pt x="147" y="396"/>
                  </a:lnTo>
                  <a:lnTo>
                    <a:pt x="152" y="409"/>
                  </a:lnTo>
                  <a:lnTo>
                    <a:pt x="157" y="420"/>
                  </a:lnTo>
                  <a:lnTo>
                    <a:pt x="164" y="433"/>
                  </a:lnTo>
                  <a:lnTo>
                    <a:pt x="167" y="440"/>
                  </a:lnTo>
                  <a:lnTo>
                    <a:pt x="167" y="449"/>
                  </a:lnTo>
                  <a:lnTo>
                    <a:pt x="164" y="457"/>
                  </a:lnTo>
                  <a:lnTo>
                    <a:pt x="160" y="465"/>
                  </a:lnTo>
                  <a:lnTo>
                    <a:pt x="114" y="511"/>
                  </a:lnTo>
                  <a:lnTo>
                    <a:pt x="156" y="553"/>
                  </a:lnTo>
                  <a:lnTo>
                    <a:pt x="202" y="506"/>
                  </a:lnTo>
                  <a:lnTo>
                    <a:pt x="209" y="502"/>
                  </a:lnTo>
                  <a:lnTo>
                    <a:pt x="218" y="499"/>
                  </a:lnTo>
                  <a:lnTo>
                    <a:pt x="226" y="499"/>
                  </a:lnTo>
                  <a:lnTo>
                    <a:pt x="234" y="502"/>
                  </a:lnTo>
                  <a:lnTo>
                    <a:pt x="247" y="509"/>
                  </a:lnTo>
                  <a:lnTo>
                    <a:pt x="258" y="515"/>
                  </a:lnTo>
                  <a:lnTo>
                    <a:pt x="271" y="519"/>
                  </a:lnTo>
                  <a:lnTo>
                    <a:pt x="284" y="524"/>
                  </a:lnTo>
                  <a:lnTo>
                    <a:pt x="293" y="527"/>
                  </a:lnTo>
                  <a:lnTo>
                    <a:pt x="298" y="532"/>
                  </a:lnTo>
                  <a:lnTo>
                    <a:pt x="303" y="541"/>
                  </a:lnTo>
                  <a:lnTo>
                    <a:pt x="304" y="548"/>
                  </a:lnTo>
                  <a:lnTo>
                    <a:pt x="304" y="613"/>
                  </a:lnTo>
                  <a:close/>
                  <a:moveTo>
                    <a:pt x="375" y="666"/>
                  </a:moveTo>
                  <a:lnTo>
                    <a:pt x="293" y="666"/>
                  </a:lnTo>
                  <a:lnTo>
                    <a:pt x="285" y="665"/>
                  </a:lnTo>
                  <a:lnTo>
                    <a:pt x="277" y="662"/>
                  </a:lnTo>
                  <a:lnTo>
                    <a:pt x="270" y="659"/>
                  </a:lnTo>
                  <a:lnTo>
                    <a:pt x="264" y="653"/>
                  </a:lnTo>
                  <a:lnTo>
                    <a:pt x="260" y="648"/>
                  </a:lnTo>
                  <a:lnTo>
                    <a:pt x="255" y="640"/>
                  </a:lnTo>
                  <a:lnTo>
                    <a:pt x="252" y="633"/>
                  </a:lnTo>
                  <a:lnTo>
                    <a:pt x="252" y="625"/>
                  </a:lnTo>
                  <a:lnTo>
                    <a:pt x="252" y="568"/>
                  </a:lnTo>
                  <a:lnTo>
                    <a:pt x="238" y="563"/>
                  </a:lnTo>
                  <a:lnTo>
                    <a:pt x="225" y="557"/>
                  </a:lnTo>
                  <a:lnTo>
                    <a:pt x="185" y="597"/>
                  </a:lnTo>
                  <a:lnTo>
                    <a:pt x="179" y="603"/>
                  </a:lnTo>
                  <a:lnTo>
                    <a:pt x="172" y="606"/>
                  </a:lnTo>
                  <a:lnTo>
                    <a:pt x="164" y="609"/>
                  </a:lnTo>
                  <a:lnTo>
                    <a:pt x="156" y="609"/>
                  </a:lnTo>
                  <a:lnTo>
                    <a:pt x="149" y="609"/>
                  </a:lnTo>
                  <a:lnTo>
                    <a:pt x="140" y="606"/>
                  </a:lnTo>
                  <a:lnTo>
                    <a:pt x="134" y="603"/>
                  </a:lnTo>
                  <a:lnTo>
                    <a:pt x="127" y="597"/>
                  </a:lnTo>
                  <a:lnTo>
                    <a:pt x="69" y="540"/>
                  </a:lnTo>
                  <a:lnTo>
                    <a:pt x="64" y="532"/>
                  </a:lnTo>
                  <a:lnTo>
                    <a:pt x="61" y="525"/>
                  </a:lnTo>
                  <a:lnTo>
                    <a:pt x="58" y="518"/>
                  </a:lnTo>
                  <a:lnTo>
                    <a:pt x="58" y="511"/>
                  </a:lnTo>
                  <a:lnTo>
                    <a:pt x="58" y="502"/>
                  </a:lnTo>
                  <a:lnTo>
                    <a:pt x="61" y="495"/>
                  </a:lnTo>
                  <a:lnTo>
                    <a:pt x="64" y="488"/>
                  </a:lnTo>
                  <a:lnTo>
                    <a:pt x="69" y="482"/>
                  </a:lnTo>
                  <a:lnTo>
                    <a:pt x="110" y="442"/>
                  </a:lnTo>
                  <a:lnTo>
                    <a:pt x="104" y="427"/>
                  </a:lnTo>
                  <a:lnTo>
                    <a:pt x="98" y="414"/>
                  </a:lnTo>
                  <a:lnTo>
                    <a:pt x="42" y="414"/>
                  </a:lnTo>
                  <a:lnTo>
                    <a:pt x="33" y="413"/>
                  </a:lnTo>
                  <a:lnTo>
                    <a:pt x="26" y="411"/>
                  </a:lnTo>
                  <a:lnTo>
                    <a:pt x="19" y="407"/>
                  </a:lnTo>
                  <a:lnTo>
                    <a:pt x="13" y="403"/>
                  </a:lnTo>
                  <a:lnTo>
                    <a:pt x="8" y="397"/>
                  </a:lnTo>
                  <a:lnTo>
                    <a:pt x="3" y="390"/>
                  </a:lnTo>
                  <a:lnTo>
                    <a:pt x="2" y="381"/>
                  </a:lnTo>
                  <a:lnTo>
                    <a:pt x="0" y="374"/>
                  </a:lnTo>
                  <a:lnTo>
                    <a:pt x="0" y="292"/>
                  </a:lnTo>
                  <a:lnTo>
                    <a:pt x="2" y="283"/>
                  </a:lnTo>
                  <a:lnTo>
                    <a:pt x="3" y="276"/>
                  </a:lnTo>
                  <a:lnTo>
                    <a:pt x="8" y="269"/>
                  </a:lnTo>
                  <a:lnTo>
                    <a:pt x="13" y="263"/>
                  </a:lnTo>
                  <a:lnTo>
                    <a:pt x="19" y="257"/>
                  </a:lnTo>
                  <a:lnTo>
                    <a:pt x="26" y="253"/>
                  </a:lnTo>
                  <a:lnTo>
                    <a:pt x="33" y="252"/>
                  </a:lnTo>
                  <a:lnTo>
                    <a:pt x="42" y="250"/>
                  </a:lnTo>
                  <a:lnTo>
                    <a:pt x="98" y="250"/>
                  </a:lnTo>
                  <a:lnTo>
                    <a:pt x="104" y="237"/>
                  </a:lnTo>
                  <a:lnTo>
                    <a:pt x="110" y="224"/>
                  </a:lnTo>
                  <a:lnTo>
                    <a:pt x="69" y="184"/>
                  </a:lnTo>
                  <a:lnTo>
                    <a:pt x="64" y="177"/>
                  </a:lnTo>
                  <a:lnTo>
                    <a:pt x="61" y="169"/>
                  </a:lnTo>
                  <a:lnTo>
                    <a:pt x="58" y="162"/>
                  </a:lnTo>
                  <a:lnTo>
                    <a:pt x="58" y="155"/>
                  </a:lnTo>
                  <a:lnTo>
                    <a:pt x="58" y="146"/>
                  </a:lnTo>
                  <a:lnTo>
                    <a:pt x="61" y="139"/>
                  </a:lnTo>
                  <a:lnTo>
                    <a:pt x="64" y="132"/>
                  </a:lnTo>
                  <a:lnTo>
                    <a:pt x="69" y="126"/>
                  </a:lnTo>
                  <a:lnTo>
                    <a:pt x="127" y="67"/>
                  </a:lnTo>
                  <a:lnTo>
                    <a:pt x="134" y="63"/>
                  </a:lnTo>
                  <a:lnTo>
                    <a:pt x="140" y="59"/>
                  </a:lnTo>
                  <a:lnTo>
                    <a:pt x="149" y="57"/>
                  </a:lnTo>
                  <a:lnTo>
                    <a:pt x="156" y="56"/>
                  </a:lnTo>
                  <a:lnTo>
                    <a:pt x="164" y="57"/>
                  </a:lnTo>
                  <a:lnTo>
                    <a:pt x="172" y="59"/>
                  </a:lnTo>
                  <a:lnTo>
                    <a:pt x="179" y="63"/>
                  </a:lnTo>
                  <a:lnTo>
                    <a:pt x="185" y="67"/>
                  </a:lnTo>
                  <a:lnTo>
                    <a:pt x="225" y="108"/>
                  </a:lnTo>
                  <a:lnTo>
                    <a:pt x="238" y="102"/>
                  </a:lnTo>
                  <a:lnTo>
                    <a:pt x="252" y="96"/>
                  </a:lnTo>
                  <a:lnTo>
                    <a:pt x="252" y="40"/>
                  </a:lnTo>
                  <a:lnTo>
                    <a:pt x="252" y="31"/>
                  </a:lnTo>
                  <a:lnTo>
                    <a:pt x="255" y="24"/>
                  </a:lnTo>
                  <a:lnTo>
                    <a:pt x="260" y="17"/>
                  </a:lnTo>
                  <a:lnTo>
                    <a:pt x="264" y="11"/>
                  </a:lnTo>
                  <a:lnTo>
                    <a:pt x="270" y="5"/>
                  </a:lnTo>
                  <a:lnTo>
                    <a:pt x="277" y="2"/>
                  </a:lnTo>
                  <a:lnTo>
                    <a:pt x="285" y="0"/>
                  </a:lnTo>
                  <a:lnTo>
                    <a:pt x="293" y="0"/>
                  </a:lnTo>
                  <a:lnTo>
                    <a:pt x="375" y="0"/>
                  </a:lnTo>
                  <a:lnTo>
                    <a:pt x="383" y="0"/>
                  </a:lnTo>
                  <a:lnTo>
                    <a:pt x="391" y="2"/>
                  </a:lnTo>
                  <a:lnTo>
                    <a:pt x="398" y="5"/>
                  </a:lnTo>
                  <a:lnTo>
                    <a:pt x="404" y="11"/>
                  </a:lnTo>
                  <a:lnTo>
                    <a:pt x="409" y="17"/>
                  </a:lnTo>
                  <a:lnTo>
                    <a:pt x="412" y="24"/>
                  </a:lnTo>
                  <a:lnTo>
                    <a:pt x="415" y="31"/>
                  </a:lnTo>
                  <a:lnTo>
                    <a:pt x="416" y="40"/>
                  </a:lnTo>
                  <a:lnTo>
                    <a:pt x="416" y="96"/>
                  </a:lnTo>
                  <a:lnTo>
                    <a:pt x="429" y="102"/>
                  </a:lnTo>
                  <a:lnTo>
                    <a:pt x="442" y="108"/>
                  </a:lnTo>
                  <a:lnTo>
                    <a:pt x="483" y="67"/>
                  </a:lnTo>
                  <a:lnTo>
                    <a:pt x="490" y="63"/>
                  </a:lnTo>
                  <a:lnTo>
                    <a:pt x="496" y="59"/>
                  </a:lnTo>
                  <a:lnTo>
                    <a:pt x="504" y="57"/>
                  </a:lnTo>
                  <a:lnTo>
                    <a:pt x="512" y="56"/>
                  </a:lnTo>
                  <a:lnTo>
                    <a:pt x="520" y="57"/>
                  </a:lnTo>
                  <a:lnTo>
                    <a:pt x="527" y="59"/>
                  </a:lnTo>
                  <a:lnTo>
                    <a:pt x="535" y="63"/>
                  </a:lnTo>
                  <a:lnTo>
                    <a:pt x="540" y="67"/>
                  </a:lnTo>
                  <a:lnTo>
                    <a:pt x="599" y="125"/>
                  </a:lnTo>
                  <a:lnTo>
                    <a:pt x="604" y="132"/>
                  </a:lnTo>
                  <a:lnTo>
                    <a:pt x="608" y="139"/>
                  </a:lnTo>
                  <a:lnTo>
                    <a:pt x="609" y="146"/>
                  </a:lnTo>
                  <a:lnTo>
                    <a:pt x="611" y="155"/>
                  </a:lnTo>
                  <a:lnTo>
                    <a:pt x="609" y="162"/>
                  </a:lnTo>
                  <a:lnTo>
                    <a:pt x="608" y="169"/>
                  </a:lnTo>
                  <a:lnTo>
                    <a:pt x="604" y="177"/>
                  </a:lnTo>
                  <a:lnTo>
                    <a:pt x="599" y="184"/>
                  </a:lnTo>
                  <a:lnTo>
                    <a:pt x="559" y="224"/>
                  </a:lnTo>
                  <a:lnTo>
                    <a:pt x="565" y="237"/>
                  </a:lnTo>
                  <a:lnTo>
                    <a:pt x="571" y="250"/>
                  </a:lnTo>
                  <a:lnTo>
                    <a:pt x="627" y="250"/>
                  </a:lnTo>
                  <a:lnTo>
                    <a:pt x="635" y="252"/>
                  </a:lnTo>
                  <a:lnTo>
                    <a:pt x="643" y="253"/>
                  </a:lnTo>
                  <a:lnTo>
                    <a:pt x="650" y="257"/>
                  </a:lnTo>
                  <a:lnTo>
                    <a:pt x="656" y="263"/>
                  </a:lnTo>
                  <a:lnTo>
                    <a:pt x="661" y="269"/>
                  </a:lnTo>
                  <a:lnTo>
                    <a:pt x="664" y="276"/>
                  </a:lnTo>
                  <a:lnTo>
                    <a:pt x="667" y="283"/>
                  </a:lnTo>
                  <a:lnTo>
                    <a:pt x="667" y="292"/>
                  </a:lnTo>
                  <a:lnTo>
                    <a:pt x="667" y="374"/>
                  </a:lnTo>
                  <a:lnTo>
                    <a:pt x="667" y="381"/>
                  </a:lnTo>
                  <a:lnTo>
                    <a:pt x="664" y="390"/>
                  </a:lnTo>
                  <a:lnTo>
                    <a:pt x="661" y="397"/>
                  </a:lnTo>
                  <a:lnTo>
                    <a:pt x="656" y="403"/>
                  </a:lnTo>
                  <a:lnTo>
                    <a:pt x="650" y="407"/>
                  </a:lnTo>
                  <a:lnTo>
                    <a:pt x="643" y="411"/>
                  </a:lnTo>
                  <a:lnTo>
                    <a:pt x="635" y="413"/>
                  </a:lnTo>
                  <a:lnTo>
                    <a:pt x="627" y="414"/>
                  </a:lnTo>
                  <a:lnTo>
                    <a:pt x="571" y="414"/>
                  </a:lnTo>
                  <a:lnTo>
                    <a:pt x="565" y="427"/>
                  </a:lnTo>
                  <a:lnTo>
                    <a:pt x="559" y="442"/>
                  </a:lnTo>
                  <a:lnTo>
                    <a:pt x="599" y="482"/>
                  </a:lnTo>
                  <a:lnTo>
                    <a:pt x="604" y="488"/>
                  </a:lnTo>
                  <a:lnTo>
                    <a:pt x="608" y="495"/>
                  </a:lnTo>
                  <a:lnTo>
                    <a:pt x="609" y="502"/>
                  </a:lnTo>
                  <a:lnTo>
                    <a:pt x="611" y="511"/>
                  </a:lnTo>
                  <a:lnTo>
                    <a:pt x="609" y="518"/>
                  </a:lnTo>
                  <a:lnTo>
                    <a:pt x="608" y="525"/>
                  </a:lnTo>
                  <a:lnTo>
                    <a:pt x="604" y="532"/>
                  </a:lnTo>
                  <a:lnTo>
                    <a:pt x="599" y="540"/>
                  </a:lnTo>
                  <a:lnTo>
                    <a:pt x="540" y="597"/>
                  </a:lnTo>
                  <a:lnTo>
                    <a:pt x="535" y="603"/>
                  </a:lnTo>
                  <a:lnTo>
                    <a:pt x="527" y="606"/>
                  </a:lnTo>
                  <a:lnTo>
                    <a:pt x="520" y="609"/>
                  </a:lnTo>
                  <a:lnTo>
                    <a:pt x="512" y="609"/>
                  </a:lnTo>
                  <a:lnTo>
                    <a:pt x="504" y="609"/>
                  </a:lnTo>
                  <a:lnTo>
                    <a:pt x="496" y="606"/>
                  </a:lnTo>
                  <a:lnTo>
                    <a:pt x="490" y="603"/>
                  </a:lnTo>
                  <a:lnTo>
                    <a:pt x="483" y="597"/>
                  </a:lnTo>
                  <a:lnTo>
                    <a:pt x="442" y="557"/>
                  </a:lnTo>
                  <a:lnTo>
                    <a:pt x="429" y="563"/>
                  </a:lnTo>
                  <a:lnTo>
                    <a:pt x="416" y="568"/>
                  </a:lnTo>
                  <a:lnTo>
                    <a:pt x="416" y="625"/>
                  </a:lnTo>
                  <a:lnTo>
                    <a:pt x="415" y="633"/>
                  </a:lnTo>
                  <a:lnTo>
                    <a:pt x="412" y="640"/>
                  </a:lnTo>
                  <a:lnTo>
                    <a:pt x="409" y="648"/>
                  </a:lnTo>
                  <a:lnTo>
                    <a:pt x="404" y="653"/>
                  </a:lnTo>
                  <a:lnTo>
                    <a:pt x="398" y="659"/>
                  </a:lnTo>
                  <a:lnTo>
                    <a:pt x="391" y="662"/>
                  </a:lnTo>
                  <a:lnTo>
                    <a:pt x="383" y="665"/>
                  </a:lnTo>
                  <a:lnTo>
                    <a:pt x="375" y="6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 name="Group 58"/>
          <p:cNvGrpSpPr/>
          <p:nvPr/>
        </p:nvGrpSpPr>
        <p:grpSpPr>
          <a:xfrm>
            <a:off x="4398093" y="2117780"/>
            <a:ext cx="347814" cy="446645"/>
            <a:chOff x="6248400" y="1760538"/>
            <a:chExt cx="581025" cy="746125"/>
          </a:xfrm>
          <a:solidFill>
            <a:srgbClr val="7F8C8D"/>
          </a:solidFill>
        </p:grpSpPr>
        <p:sp>
          <p:nvSpPr>
            <p:cNvPr id="60"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949791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p:cNvCxnSpPr>
            <a:stCxn id="80" idx="6"/>
            <a:endCxn id="124" idx="2"/>
          </p:cNvCxnSpPr>
          <p:nvPr/>
        </p:nvCxnSpPr>
        <p:spPr>
          <a:xfrm>
            <a:off x="1816569" y="4552484"/>
            <a:ext cx="557746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sp>
        <p:nvSpPr>
          <p:cNvPr id="4" name="Subtitle 3"/>
          <p:cNvSpPr>
            <a:spLocks noGrp="1"/>
          </p:cNvSpPr>
          <p:nvPr>
            <p:ph type="subTitle" idx="1"/>
          </p:nvPr>
        </p:nvSpPr>
        <p:spPr>
          <a:xfrm>
            <a:off x="628650" y="866381"/>
            <a:ext cx="7891272" cy="243785"/>
          </a:xfrm>
        </p:spPr>
        <p:txBody>
          <a:bodyPr/>
          <a:lstStyle/>
          <a:p>
            <a:pPr>
              <a:lnSpc>
                <a:spcPct val="80000"/>
              </a:lnSpc>
            </a:pPr>
            <a:r>
              <a:rPr lang="en-US" dirty="0" err="1" smtClean="0"/>
              <a:t>Comprendre</a:t>
            </a:r>
            <a:r>
              <a:rPr lang="en-US" dirty="0" smtClean="0"/>
              <a:t> qui </a:t>
            </a:r>
            <a:r>
              <a:rPr lang="en-US" dirty="0" err="1" smtClean="0"/>
              <a:t>sont</a:t>
            </a:r>
            <a:r>
              <a:rPr lang="en-US" dirty="0" smtClean="0"/>
              <a:t> les clients de </a:t>
            </a:r>
            <a:r>
              <a:rPr lang="en-US" dirty="0" err="1" smtClean="0"/>
              <a:t>nos</a:t>
            </a:r>
            <a:r>
              <a:rPr lang="en-US" dirty="0" smtClean="0"/>
              <a:t> clients.</a:t>
            </a:r>
            <a:endParaRPr lang="en-US" dirty="0"/>
          </a:p>
        </p:txBody>
      </p:sp>
      <p:sp>
        <p:nvSpPr>
          <p:cNvPr id="10" name="Slide Number Placeholder 9"/>
          <p:cNvSpPr>
            <a:spLocks noGrp="1"/>
          </p:cNvSpPr>
          <p:nvPr>
            <p:ph type="sldNum" sz="quarter" idx="12"/>
          </p:nvPr>
        </p:nvSpPr>
        <p:spPr/>
        <p:txBody>
          <a:bodyPr/>
          <a:lstStyle/>
          <a:p>
            <a:fld id="{125C11E9-EA40-D54F-953A-82A4C72DAAAD}" type="slidenum">
              <a:rPr lang="en-US" smtClean="0"/>
              <a:pPr/>
              <a:t>2</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smtClean="0"/>
              <a:t>GOAL</a:t>
            </a:r>
            <a:endParaRPr lang="en-US" dirty="0"/>
          </a:p>
        </p:txBody>
      </p:sp>
      <p:sp>
        <p:nvSpPr>
          <p:cNvPr id="5" name="Date Placeholder 4"/>
          <p:cNvSpPr>
            <a:spLocks noGrp="1"/>
          </p:cNvSpPr>
          <p:nvPr>
            <p:ph type="dt" sz="half" idx="10"/>
          </p:nvPr>
        </p:nvSpPr>
        <p:spPr/>
        <p:txBody>
          <a:bodyPr/>
          <a:lstStyle/>
          <a:p>
            <a:r>
              <a:rPr lang="fr-FR" dirty="0" smtClean="0"/>
              <a:t>02 Février 2015</a:t>
            </a:r>
            <a:endParaRPr lang="en-US" dirty="0"/>
          </a:p>
        </p:txBody>
      </p:sp>
      <p:sp>
        <p:nvSpPr>
          <p:cNvPr id="6" name="Footer Placeholder 5"/>
          <p:cNvSpPr>
            <a:spLocks noGrp="1"/>
          </p:cNvSpPr>
          <p:nvPr>
            <p:ph type="ftr" sz="quarter" idx="11"/>
          </p:nvPr>
        </p:nvSpPr>
        <p:spPr/>
        <p:txBody>
          <a:bodyPr/>
          <a:lstStyle/>
          <a:p>
            <a:r>
              <a:rPr lang="en-US" sz="1200" dirty="0" err="1" smtClean="0"/>
              <a:t>DataNest</a:t>
            </a:r>
            <a:endParaRPr lang="en-US" sz="1200" dirty="0"/>
          </a:p>
        </p:txBody>
      </p:sp>
      <p:sp>
        <p:nvSpPr>
          <p:cNvPr id="97" name="Rectangle 33"/>
          <p:cNvSpPr>
            <a:spLocks/>
          </p:cNvSpPr>
          <p:nvPr/>
        </p:nvSpPr>
        <p:spPr bwMode="auto">
          <a:xfrm>
            <a:off x="695851" y="4829064"/>
            <a:ext cx="1775137"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pPr algn="ctr"/>
            <a:r>
              <a:rPr lang="fr-FR" sz="1100" b="1" dirty="0" smtClean="0"/>
              <a:t>Ecoute massive des flux internet à disponibilité.</a:t>
            </a:r>
            <a:endParaRPr lang="en-US" sz="1100" dirty="0"/>
          </a:p>
        </p:txBody>
      </p:sp>
      <p:sp>
        <p:nvSpPr>
          <p:cNvPr id="12" name="Freeform 5"/>
          <p:cNvSpPr>
            <a:spLocks noEditPoints="1"/>
          </p:cNvSpPr>
          <p:nvPr/>
        </p:nvSpPr>
        <p:spPr bwMode="auto">
          <a:xfrm>
            <a:off x="4839857" y="2340504"/>
            <a:ext cx="1408509" cy="1402491"/>
          </a:xfrm>
          <a:custGeom>
            <a:avLst/>
            <a:gdLst>
              <a:gd name="T0" fmla="*/ 2806 w 2806"/>
              <a:gd name="T1" fmla="*/ 2797 h 2797"/>
              <a:gd name="T2" fmla="*/ 2192 w 2806"/>
              <a:gd name="T3" fmla="*/ 2797 h 2797"/>
              <a:gd name="T4" fmla="*/ 1948 w 2806"/>
              <a:gd name="T5" fmla="*/ 2162 h 2797"/>
              <a:gd name="T6" fmla="*/ 829 w 2806"/>
              <a:gd name="T7" fmla="*/ 2162 h 2797"/>
              <a:gd name="T8" fmla="*/ 599 w 2806"/>
              <a:gd name="T9" fmla="*/ 2797 h 2797"/>
              <a:gd name="T10" fmla="*/ 0 w 2806"/>
              <a:gd name="T11" fmla="*/ 2797 h 2797"/>
              <a:gd name="T12" fmla="*/ 1089 w 2806"/>
              <a:gd name="T13" fmla="*/ 0 h 2797"/>
              <a:gd name="T14" fmla="*/ 1686 w 2806"/>
              <a:gd name="T15" fmla="*/ 0 h 2797"/>
              <a:gd name="T16" fmla="*/ 2806 w 2806"/>
              <a:gd name="T17" fmla="*/ 2797 h 2797"/>
              <a:gd name="T18" fmla="*/ 1766 w 2806"/>
              <a:gd name="T19" fmla="*/ 1691 h 2797"/>
              <a:gd name="T20" fmla="*/ 1381 w 2806"/>
              <a:gd name="T21" fmla="*/ 652 h 2797"/>
              <a:gd name="T22" fmla="*/ 1003 w 2806"/>
              <a:gd name="T23" fmla="*/ 1691 h 2797"/>
              <a:gd name="T24" fmla="*/ 1766 w 2806"/>
              <a:gd name="T25" fmla="*/ 1691 h 2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6" h="2797">
                <a:moveTo>
                  <a:pt x="2806" y="2797"/>
                </a:moveTo>
                <a:lnTo>
                  <a:pt x="2192" y="2797"/>
                </a:lnTo>
                <a:lnTo>
                  <a:pt x="1948" y="2162"/>
                </a:lnTo>
                <a:lnTo>
                  <a:pt x="829" y="2162"/>
                </a:lnTo>
                <a:lnTo>
                  <a:pt x="599" y="2797"/>
                </a:lnTo>
                <a:lnTo>
                  <a:pt x="0" y="2797"/>
                </a:lnTo>
                <a:lnTo>
                  <a:pt x="1089" y="0"/>
                </a:lnTo>
                <a:lnTo>
                  <a:pt x="1686" y="0"/>
                </a:lnTo>
                <a:lnTo>
                  <a:pt x="2806" y="2797"/>
                </a:lnTo>
                <a:close/>
                <a:moveTo>
                  <a:pt x="1766" y="1691"/>
                </a:moveTo>
                <a:lnTo>
                  <a:pt x="1381" y="652"/>
                </a:lnTo>
                <a:lnTo>
                  <a:pt x="1003" y="1691"/>
                </a:lnTo>
                <a:lnTo>
                  <a:pt x="1766" y="1691"/>
                </a:lnTo>
                <a:close/>
              </a:path>
            </a:pathLst>
          </a:cu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solidFill>
                <a:schemeClr val="lt1"/>
              </a:solidFill>
              <a:latin typeface="+mj-lt"/>
            </a:endParaRPr>
          </a:p>
        </p:txBody>
      </p:sp>
      <p:sp>
        <p:nvSpPr>
          <p:cNvPr id="13" name="Freeform 6"/>
          <p:cNvSpPr>
            <a:spLocks/>
          </p:cNvSpPr>
          <p:nvPr/>
        </p:nvSpPr>
        <p:spPr bwMode="auto">
          <a:xfrm>
            <a:off x="6404868" y="2352542"/>
            <a:ext cx="989167" cy="1390452"/>
          </a:xfrm>
          <a:custGeom>
            <a:avLst/>
            <a:gdLst>
              <a:gd name="T0" fmla="*/ 0 w 1968"/>
              <a:gd name="T1" fmla="*/ 2775 h 2775"/>
              <a:gd name="T2" fmla="*/ 0 w 1968"/>
              <a:gd name="T3" fmla="*/ 0 h 2775"/>
              <a:gd name="T4" fmla="*/ 563 w 1968"/>
              <a:gd name="T5" fmla="*/ 0 h 2775"/>
              <a:gd name="T6" fmla="*/ 563 w 1968"/>
              <a:gd name="T7" fmla="*/ 2304 h 2775"/>
              <a:gd name="T8" fmla="*/ 1968 w 1968"/>
              <a:gd name="T9" fmla="*/ 2304 h 2775"/>
              <a:gd name="T10" fmla="*/ 1968 w 1968"/>
              <a:gd name="T11" fmla="*/ 2775 h 2775"/>
              <a:gd name="T12" fmla="*/ 0 w 1968"/>
              <a:gd name="T13" fmla="*/ 2775 h 2775"/>
            </a:gdLst>
            <a:ahLst/>
            <a:cxnLst>
              <a:cxn ang="0">
                <a:pos x="T0" y="T1"/>
              </a:cxn>
              <a:cxn ang="0">
                <a:pos x="T2" y="T3"/>
              </a:cxn>
              <a:cxn ang="0">
                <a:pos x="T4" y="T5"/>
              </a:cxn>
              <a:cxn ang="0">
                <a:pos x="T6" y="T7"/>
              </a:cxn>
              <a:cxn ang="0">
                <a:pos x="T8" y="T9"/>
              </a:cxn>
              <a:cxn ang="0">
                <a:pos x="T10" y="T11"/>
              </a:cxn>
              <a:cxn ang="0">
                <a:pos x="T12" y="T13"/>
              </a:cxn>
            </a:cxnLst>
            <a:rect l="0" t="0" r="r" b="b"/>
            <a:pathLst>
              <a:path w="1968" h="2775">
                <a:moveTo>
                  <a:pt x="0" y="2775"/>
                </a:moveTo>
                <a:lnTo>
                  <a:pt x="0" y="0"/>
                </a:lnTo>
                <a:lnTo>
                  <a:pt x="563" y="0"/>
                </a:lnTo>
                <a:lnTo>
                  <a:pt x="563" y="2304"/>
                </a:lnTo>
                <a:lnTo>
                  <a:pt x="1968" y="2304"/>
                </a:lnTo>
                <a:lnTo>
                  <a:pt x="1968" y="2775"/>
                </a:lnTo>
                <a:lnTo>
                  <a:pt x="0" y="2775"/>
                </a:lnTo>
                <a:close/>
              </a:path>
            </a:pathLst>
          </a:cu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solidFill>
                <a:schemeClr val="lt1"/>
              </a:solidFill>
              <a:latin typeface="+mj-lt"/>
            </a:endParaRPr>
          </a:p>
        </p:txBody>
      </p:sp>
      <p:sp>
        <p:nvSpPr>
          <p:cNvPr id="15" name="Freeform 7"/>
          <p:cNvSpPr>
            <a:spLocks/>
          </p:cNvSpPr>
          <p:nvPr/>
        </p:nvSpPr>
        <p:spPr bwMode="auto">
          <a:xfrm>
            <a:off x="1749965" y="2316427"/>
            <a:ext cx="1314208" cy="1450645"/>
          </a:xfrm>
          <a:custGeom>
            <a:avLst/>
            <a:gdLst>
              <a:gd name="T0" fmla="*/ 2593 w 2617"/>
              <a:gd name="T1" fmla="*/ 2481 h 2892"/>
              <a:gd name="T2" fmla="*/ 2460 w 2617"/>
              <a:gd name="T3" fmla="*/ 2582 h 2892"/>
              <a:gd name="T4" fmla="*/ 2297 w 2617"/>
              <a:gd name="T5" fmla="*/ 2676 h 2892"/>
              <a:gd name="T6" fmla="*/ 2101 w 2617"/>
              <a:gd name="T7" fmla="*/ 2763 h 2892"/>
              <a:gd name="T8" fmla="*/ 1890 w 2617"/>
              <a:gd name="T9" fmla="*/ 2831 h 2892"/>
              <a:gd name="T10" fmla="*/ 1677 w 2617"/>
              <a:gd name="T11" fmla="*/ 2874 h 2892"/>
              <a:gd name="T12" fmla="*/ 1463 w 2617"/>
              <a:gd name="T13" fmla="*/ 2892 h 2892"/>
              <a:gd name="T14" fmla="*/ 1207 w 2617"/>
              <a:gd name="T15" fmla="*/ 2881 h 2892"/>
              <a:gd name="T16" fmla="*/ 962 w 2617"/>
              <a:gd name="T17" fmla="*/ 2835 h 2892"/>
              <a:gd name="T18" fmla="*/ 738 w 2617"/>
              <a:gd name="T19" fmla="*/ 2752 h 2892"/>
              <a:gd name="T20" fmla="*/ 538 w 2617"/>
              <a:gd name="T21" fmla="*/ 2634 h 2892"/>
              <a:gd name="T22" fmla="*/ 369 w 2617"/>
              <a:gd name="T23" fmla="*/ 2485 h 2892"/>
              <a:gd name="T24" fmla="*/ 231 w 2617"/>
              <a:gd name="T25" fmla="*/ 2305 h 2892"/>
              <a:gd name="T26" fmla="*/ 125 w 2617"/>
              <a:gd name="T27" fmla="*/ 2095 h 2892"/>
              <a:gd name="T28" fmla="*/ 52 w 2617"/>
              <a:gd name="T29" fmla="*/ 1871 h 2892"/>
              <a:gd name="T30" fmla="*/ 11 w 2617"/>
              <a:gd name="T31" fmla="*/ 1634 h 2892"/>
              <a:gd name="T32" fmla="*/ 1 w 2617"/>
              <a:gd name="T33" fmla="*/ 1382 h 2892"/>
              <a:gd name="T34" fmla="*/ 26 w 2617"/>
              <a:gd name="T35" fmla="*/ 1123 h 2892"/>
              <a:gd name="T36" fmla="*/ 86 w 2617"/>
              <a:gd name="T37" fmla="*/ 882 h 2892"/>
              <a:gd name="T38" fmla="*/ 184 w 2617"/>
              <a:gd name="T39" fmla="*/ 660 h 2892"/>
              <a:gd name="T40" fmla="*/ 314 w 2617"/>
              <a:gd name="T41" fmla="*/ 463 h 2892"/>
              <a:gd name="T42" fmla="*/ 478 w 2617"/>
              <a:gd name="T43" fmla="*/ 297 h 2892"/>
              <a:gd name="T44" fmla="*/ 676 w 2617"/>
              <a:gd name="T45" fmla="*/ 163 h 2892"/>
              <a:gd name="T46" fmla="*/ 863 w 2617"/>
              <a:gd name="T47" fmla="*/ 79 h 2892"/>
              <a:gd name="T48" fmla="*/ 1064 w 2617"/>
              <a:gd name="T49" fmla="*/ 27 h 2892"/>
              <a:gd name="T50" fmla="*/ 1292 w 2617"/>
              <a:gd name="T51" fmla="*/ 2 h 2892"/>
              <a:gd name="T52" fmla="*/ 1577 w 2617"/>
              <a:gd name="T53" fmla="*/ 8 h 2892"/>
              <a:gd name="T54" fmla="*/ 1853 w 2617"/>
              <a:gd name="T55" fmla="*/ 55 h 2892"/>
              <a:gd name="T56" fmla="*/ 2020 w 2617"/>
              <a:gd name="T57" fmla="*/ 113 h 2892"/>
              <a:gd name="T58" fmla="*/ 2126 w 2617"/>
              <a:gd name="T59" fmla="*/ 167 h 2892"/>
              <a:gd name="T60" fmla="*/ 2239 w 2617"/>
              <a:gd name="T61" fmla="*/ 246 h 2892"/>
              <a:gd name="T62" fmla="*/ 2393 w 2617"/>
              <a:gd name="T63" fmla="*/ 406 h 2892"/>
              <a:gd name="T64" fmla="*/ 2506 w 2617"/>
              <a:gd name="T65" fmla="*/ 598 h 2892"/>
              <a:gd name="T66" fmla="*/ 2580 w 2617"/>
              <a:gd name="T67" fmla="*/ 823 h 2892"/>
              <a:gd name="T68" fmla="*/ 1983 w 2617"/>
              <a:gd name="T69" fmla="*/ 829 h 2892"/>
              <a:gd name="T70" fmla="*/ 1919 w 2617"/>
              <a:gd name="T71" fmla="*/ 723 h 2892"/>
              <a:gd name="T72" fmla="*/ 1836 w 2617"/>
              <a:gd name="T73" fmla="*/ 633 h 2892"/>
              <a:gd name="T74" fmla="*/ 1732 w 2617"/>
              <a:gd name="T75" fmla="*/ 562 h 2892"/>
              <a:gd name="T76" fmla="*/ 1613 w 2617"/>
              <a:gd name="T77" fmla="*/ 513 h 2892"/>
              <a:gd name="T78" fmla="*/ 1478 w 2617"/>
              <a:gd name="T79" fmla="*/ 487 h 2892"/>
              <a:gd name="T80" fmla="*/ 1299 w 2617"/>
              <a:gd name="T81" fmla="*/ 486 h 2892"/>
              <a:gd name="T82" fmla="*/ 1094 w 2617"/>
              <a:gd name="T83" fmla="*/ 527 h 2892"/>
              <a:gd name="T84" fmla="*/ 952 w 2617"/>
              <a:gd name="T85" fmla="*/ 594 h 2892"/>
              <a:gd name="T86" fmla="*/ 873 w 2617"/>
              <a:gd name="T87" fmla="*/ 649 h 2892"/>
              <a:gd name="T88" fmla="*/ 774 w 2617"/>
              <a:gd name="T89" fmla="*/ 747 h 2892"/>
              <a:gd name="T90" fmla="*/ 715 w 2617"/>
              <a:gd name="T91" fmla="*/ 831 h 2892"/>
              <a:gd name="T92" fmla="*/ 667 w 2617"/>
              <a:gd name="T93" fmla="*/ 926 h 2892"/>
              <a:gd name="T94" fmla="*/ 624 w 2617"/>
              <a:gd name="T95" fmla="*/ 1053 h 2892"/>
              <a:gd name="T96" fmla="*/ 585 w 2617"/>
              <a:gd name="T97" fmla="*/ 1303 h 2892"/>
              <a:gd name="T98" fmla="*/ 590 w 2617"/>
              <a:gd name="T99" fmla="*/ 1592 h 2892"/>
              <a:gd name="T100" fmla="*/ 637 w 2617"/>
              <a:gd name="T101" fmla="*/ 1850 h 2892"/>
              <a:gd name="T102" fmla="*/ 677 w 2617"/>
              <a:gd name="T103" fmla="*/ 1960 h 2892"/>
              <a:gd name="T104" fmla="*/ 729 w 2617"/>
              <a:gd name="T105" fmla="*/ 2059 h 2892"/>
              <a:gd name="T106" fmla="*/ 790 w 2617"/>
              <a:gd name="T107" fmla="*/ 2145 h 2892"/>
              <a:gd name="T108" fmla="*/ 891 w 2617"/>
              <a:gd name="T109" fmla="*/ 2245 h 2892"/>
              <a:gd name="T110" fmla="*/ 972 w 2617"/>
              <a:gd name="T111" fmla="*/ 2303 h 2892"/>
              <a:gd name="T112" fmla="*/ 1059 w 2617"/>
              <a:gd name="T113" fmla="*/ 2348 h 2892"/>
              <a:gd name="T114" fmla="*/ 1173 w 2617"/>
              <a:gd name="T115" fmla="*/ 2386 h 2892"/>
              <a:gd name="T116" fmla="*/ 1383 w 2617"/>
              <a:gd name="T117" fmla="*/ 2410 h 2892"/>
              <a:gd name="T118" fmla="*/ 1516 w 2617"/>
              <a:gd name="T119" fmla="*/ 2400 h 2892"/>
              <a:gd name="T120" fmla="*/ 1740 w 2617"/>
              <a:gd name="T121" fmla="*/ 2340 h 2892"/>
              <a:gd name="T122" fmla="*/ 1943 w 2617"/>
              <a:gd name="T123" fmla="*/ 2242 h 2892"/>
              <a:gd name="T124" fmla="*/ 1398 w 2617"/>
              <a:gd name="T125" fmla="*/ 1817 h 2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7" h="2892">
                <a:moveTo>
                  <a:pt x="1398" y="1817"/>
                </a:moveTo>
                <a:lnTo>
                  <a:pt x="1398" y="1345"/>
                </a:lnTo>
                <a:lnTo>
                  <a:pt x="2617" y="1345"/>
                </a:lnTo>
                <a:lnTo>
                  <a:pt x="2617" y="2459"/>
                </a:lnTo>
                <a:lnTo>
                  <a:pt x="2593" y="2481"/>
                </a:lnTo>
                <a:lnTo>
                  <a:pt x="2569" y="2501"/>
                </a:lnTo>
                <a:lnTo>
                  <a:pt x="2544" y="2523"/>
                </a:lnTo>
                <a:lnTo>
                  <a:pt x="2517" y="2543"/>
                </a:lnTo>
                <a:lnTo>
                  <a:pt x="2489" y="2563"/>
                </a:lnTo>
                <a:lnTo>
                  <a:pt x="2460" y="2582"/>
                </a:lnTo>
                <a:lnTo>
                  <a:pt x="2430" y="2602"/>
                </a:lnTo>
                <a:lnTo>
                  <a:pt x="2398" y="2621"/>
                </a:lnTo>
                <a:lnTo>
                  <a:pt x="2366" y="2640"/>
                </a:lnTo>
                <a:lnTo>
                  <a:pt x="2331" y="2658"/>
                </a:lnTo>
                <a:lnTo>
                  <a:pt x="2297" y="2676"/>
                </a:lnTo>
                <a:lnTo>
                  <a:pt x="2260" y="2695"/>
                </a:lnTo>
                <a:lnTo>
                  <a:pt x="2222" y="2712"/>
                </a:lnTo>
                <a:lnTo>
                  <a:pt x="2184" y="2729"/>
                </a:lnTo>
                <a:lnTo>
                  <a:pt x="2144" y="2745"/>
                </a:lnTo>
                <a:lnTo>
                  <a:pt x="2101" y="2763"/>
                </a:lnTo>
                <a:lnTo>
                  <a:pt x="2059" y="2778"/>
                </a:lnTo>
                <a:lnTo>
                  <a:pt x="2017" y="2793"/>
                </a:lnTo>
                <a:lnTo>
                  <a:pt x="1975" y="2807"/>
                </a:lnTo>
                <a:lnTo>
                  <a:pt x="1933" y="2819"/>
                </a:lnTo>
                <a:lnTo>
                  <a:pt x="1890" y="2831"/>
                </a:lnTo>
                <a:lnTo>
                  <a:pt x="1848" y="2842"/>
                </a:lnTo>
                <a:lnTo>
                  <a:pt x="1806" y="2851"/>
                </a:lnTo>
                <a:lnTo>
                  <a:pt x="1762" y="2860"/>
                </a:lnTo>
                <a:lnTo>
                  <a:pt x="1720" y="2867"/>
                </a:lnTo>
                <a:lnTo>
                  <a:pt x="1677" y="2874"/>
                </a:lnTo>
                <a:lnTo>
                  <a:pt x="1635" y="2879"/>
                </a:lnTo>
                <a:lnTo>
                  <a:pt x="1592" y="2885"/>
                </a:lnTo>
                <a:lnTo>
                  <a:pt x="1549" y="2888"/>
                </a:lnTo>
                <a:lnTo>
                  <a:pt x="1505" y="2890"/>
                </a:lnTo>
                <a:lnTo>
                  <a:pt x="1463" y="2892"/>
                </a:lnTo>
                <a:lnTo>
                  <a:pt x="1420" y="2892"/>
                </a:lnTo>
                <a:lnTo>
                  <a:pt x="1365" y="2892"/>
                </a:lnTo>
                <a:lnTo>
                  <a:pt x="1312" y="2890"/>
                </a:lnTo>
                <a:lnTo>
                  <a:pt x="1259" y="2886"/>
                </a:lnTo>
                <a:lnTo>
                  <a:pt x="1207" y="2881"/>
                </a:lnTo>
                <a:lnTo>
                  <a:pt x="1157" y="2875"/>
                </a:lnTo>
                <a:lnTo>
                  <a:pt x="1107" y="2866"/>
                </a:lnTo>
                <a:lnTo>
                  <a:pt x="1057" y="2858"/>
                </a:lnTo>
                <a:lnTo>
                  <a:pt x="1009" y="2847"/>
                </a:lnTo>
                <a:lnTo>
                  <a:pt x="962" y="2835"/>
                </a:lnTo>
                <a:lnTo>
                  <a:pt x="915" y="2821"/>
                </a:lnTo>
                <a:lnTo>
                  <a:pt x="869" y="2806"/>
                </a:lnTo>
                <a:lnTo>
                  <a:pt x="825" y="2790"/>
                </a:lnTo>
                <a:lnTo>
                  <a:pt x="781" y="2771"/>
                </a:lnTo>
                <a:lnTo>
                  <a:pt x="738" y="2752"/>
                </a:lnTo>
                <a:lnTo>
                  <a:pt x="695" y="2731"/>
                </a:lnTo>
                <a:lnTo>
                  <a:pt x="654" y="2709"/>
                </a:lnTo>
                <a:lnTo>
                  <a:pt x="614" y="2685"/>
                </a:lnTo>
                <a:lnTo>
                  <a:pt x="576" y="2660"/>
                </a:lnTo>
                <a:lnTo>
                  <a:pt x="538" y="2634"/>
                </a:lnTo>
                <a:lnTo>
                  <a:pt x="501" y="2607"/>
                </a:lnTo>
                <a:lnTo>
                  <a:pt x="466" y="2578"/>
                </a:lnTo>
                <a:lnTo>
                  <a:pt x="433" y="2549"/>
                </a:lnTo>
                <a:lnTo>
                  <a:pt x="401" y="2518"/>
                </a:lnTo>
                <a:lnTo>
                  <a:pt x="369" y="2485"/>
                </a:lnTo>
                <a:lnTo>
                  <a:pt x="339" y="2452"/>
                </a:lnTo>
                <a:lnTo>
                  <a:pt x="310" y="2417"/>
                </a:lnTo>
                <a:lnTo>
                  <a:pt x="283" y="2380"/>
                </a:lnTo>
                <a:lnTo>
                  <a:pt x="256" y="2344"/>
                </a:lnTo>
                <a:lnTo>
                  <a:pt x="231" y="2305"/>
                </a:lnTo>
                <a:lnTo>
                  <a:pt x="207" y="2265"/>
                </a:lnTo>
                <a:lnTo>
                  <a:pt x="186" y="2224"/>
                </a:lnTo>
                <a:lnTo>
                  <a:pt x="164" y="2182"/>
                </a:lnTo>
                <a:lnTo>
                  <a:pt x="145" y="2138"/>
                </a:lnTo>
                <a:lnTo>
                  <a:pt x="125" y="2095"/>
                </a:lnTo>
                <a:lnTo>
                  <a:pt x="108" y="2051"/>
                </a:lnTo>
                <a:lnTo>
                  <a:pt x="93" y="2007"/>
                </a:lnTo>
                <a:lnTo>
                  <a:pt x="78" y="1962"/>
                </a:lnTo>
                <a:lnTo>
                  <a:pt x="64" y="1917"/>
                </a:lnTo>
                <a:lnTo>
                  <a:pt x="52" y="1871"/>
                </a:lnTo>
                <a:lnTo>
                  <a:pt x="41" y="1824"/>
                </a:lnTo>
                <a:lnTo>
                  <a:pt x="31" y="1778"/>
                </a:lnTo>
                <a:lnTo>
                  <a:pt x="23" y="1730"/>
                </a:lnTo>
                <a:lnTo>
                  <a:pt x="16" y="1683"/>
                </a:lnTo>
                <a:lnTo>
                  <a:pt x="11" y="1634"/>
                </a:lnTo>
                <a:lnTo>
                  <a:pt x="5" y="1585"/>
                </a:lnTo>
                <a:lnTo>
                  <a:pt x="2" y="1537"/>
                </a:lnTo>
                <a:lnTo>
                  <a:pt x="1" y="1487"/>
                </a:lnTo>
                <a:lnTo>
                  <a:pt x="0" y="1436"/>
                </a:lnTo>
                <a:lnTo>
                  <a:pt x="1" y="1382"/>
                </a:lnTo>
                <a:lnTo>
                  <a:pt x="3" y="1330"/>
                </a:lnTo>
                <a:lnTo>
                  <a:pt x="6" y="1277"/>
                </a:lnTo>
                <a:lnTo>
                  <a:pt x="12" y="1225"/>
                </a:lnTo>
                <a:lnTo>
                  <a:pt x="18" y="1173"/>
                </a:lnTo>
                <a:lnTo>
                  <a:pt x="26" y="1123"/>
                </a:lnTo>
                <a:lnTo>
                  <a:pt x="36" y="1074"/>
                </a:lnTo>
                <a:lnTo>
                  <a:pt x="46" y="1024"/>
                </a:lnTo>
                <a:lnTo>
                  <a:pt x="58" y="976"/>
                </a:lnTo>
                <a:lnTo>
                  <a:pt x="71" y="929"/>
                </a:lnTo>
                <a:lnTo>
                  <a:pt x="86" y="882"/>
                </a:lnTo>
                <a:lnTo>
                  <a:pt x="103" y="836"/>
                </a:lnTo>
                <a:lnTo>
                  <a:pt x="121" y="791"/>
                </a:lnTo>
                <a:lnTo>
                  <a:pt x="140" y="746"/>
                </a:lnTo>
                <a:lnTo>
                  <a:pt x="161" y="703"/>
                </a:lnTo>
                <a:lnTo>
                  <a:pt x="184" y="660"/>
                </a:lnTo>
                <a:lnTo>
                  <a:pt x="206" y="618"/>
                </a:lnTo>
                <a:lnTo>
                  <a:pt x="231" y="578"/>
                </a:lnTo>
                <a:lnTo>
                  <a:pt x="258" y="538"/>
                </a:lnTo>
                <a:lnTo>
                  <a:pt x="285" y="500"/>
                </a:lnTo>
                <a:lnTo>
                  <a:pt x="314" y="463"/>
                </a:lnTo>
                <a:lnTo>
                  <a:pt x="344" y="428"/>
                </a:lnTo>
                <a:lnTo>
                  <a:pt x="376" y="393"/>
                </a:lnTo>
                <a:lnTo>
                  <a:pt x="409" y="360"/>
                </a:lnTo>
                <a:lnTo>
                  <a:pt x="443" y="328"/>
                </a:lnTo>
                <a:lnTo>
                  <a:pt x="478" y="297"/>
                </a:lnTo>
                <a:lnTo>
                  <a:pt x="515" y="268"/>
                </a:lnTo>
                <a:lnTo>
                  <a:pt x="554" y="240"/>
                </a:lnTo>
                <a:lnTo>
                  <a:pt x="593" y="213"/>
                </a:lnTo>
                <a:lnTo>
                  <a:pt x="634" y="187"/>
                </a:lnTo>
                <a:lnTo>
                  <a:pt x="676" y="163"/>
                </a:lnTo>
                <a:lnTo>
                  <a:pt x="719" y="139"/>
                </a:lnTo>
                <a:lnTo>
                  <a:pt x="754" y="122"/>
                </a:lnTo>
                <a:lnTo>
                  <a:pt x="789" y="107"/>
                </a:lnTo>
                <a:lnTo>
                  <a:pt x="825" y="92"/>
                </a:lnTo>
                <a:lnTo>
                  <a:pt x="863" y="79"/>
                </a:lnTo>
                <a:lnTo>
                  <a:pt x="901" y="66"/>
                </a:lnTo>
                <a:lnTo>
                  <a:pt x="939" y="54"/>
                </a:lnTo>
                <a:lnTo>
                  <a:pt x="981" y="44"/>
                </a:lnTo>
                <a:lnTo>
                  <a:pt x="1022" y="35"/>
                </a:lnTo>
                <a:lnTo>
                  <a:pt x="1064" y="27"/>
                </a:lnTo>
                <a:lnTo>
                  <a:pt x="1107" y="19"/>
                </a:lnTo>
                <a:lnTo>
                  <a:pt x="1151" y="14"/>
                </a:lnTo>
                <a:lnTo>
                  <a:pt x="1198" y="9"/>
                </a:lnTo>
                <a:lnTo>
                  <a:pt x="1244" y="5"/>
                </a:lnTo>
                <a:lnTo>
                  <a:pt x="1292" y="2"/>
                </a:lnTo>
                <a:lnTo>
                  <a:pt x="1340" y="1"/>
                </a:lnTo>
                <a:lnTo>
                  <a:pt x="1389" y="0"/>
                </a:lnTo>
                <a:lnTo>
                  <a:pt x="1454" y="1"/>
                </a:lnTo>
                <a:lnTo>
                  <a:pt x="1516" y="3"/>
                </a:lnTo>
                <a:lnTo>
                  <a:pt x="1577" y="8"/>
                </a:lnTo>
                <a:lnTo>
                  <a:pt x="1635" y="14"/>
                </a:lnTo>
                <a:lnTo>
                  <a:pt x="1692" y="22"/>
                </a:lnTo>
                <a:lnTo>
                  <a:pt x="1747" y="31"/>
                </a:lnTo>
                <a:lnTo>
                  <a:pt x="1801" y="42"/>
                </a:lnTo>
                <a:lnTo>
                  <a:pt x="1853" y="55"/>
                </a:lnTo>
                <a:lnTo>
                  <a:pt x="1903" y="69"/>
                </a:lnTo>
                <a:lnTo>
                  <a:pt x="1951" y="85"/>
                </a:lnTo>
                <a:lnTo>
                  <a:pt x="1975" y="94"/>
                </a:lnTo>
                <a:lnTo>
                  <a:pt x="1998" y="104"/>
                </a:lnTo>
                <a:lnTo>
                  <a:pt x="2020" y="113"/>
                </a:lnTo>
                <a:lnTo>
                  <a:pt x="2042" y="123"/>
                </a:lnTo>
                <a:lnTo>
                  <a:pt x="2064" y="133"/>
                </a:lnTo>
                <a:lnTo>
                  <a:pt x="2085" y="144"/>
                </a:lnTo>
                <a:lnTo>
                  <a:pt x="2106" y="156"/>
                </a:lnTo>
                <a:lnTo>
                  <a:pt x="2126" y="167"/>
                </a:lnTo>
                <a:lnTo>
                  <a:pt x="2146" y="179"/>
                </a:lnTo>
                <a:lnTo>
                  <a:pt x="2165" y="192"/>
                </a:lnTo>
                <a:lnTo>
                  <a:pt x="2185" y="205"/>
                </a:lnTo>
                <a:lnTo>
                  <a:pt x="2203" y="218"/>
                </a:lnTo>
                <a:lnTo>
                  <a:pt x="2239" y="246"/>
                </a:lnTo>
                <a:lnTo>
                  <a:pt x="2272" y="275"/>
                </a:lnTo>
                <a:lnTo>
                  <a:pt x="2306" y="306"/>
                </a:lnTo>
                <a:lnTo>
                  <a:pt x="2336" y="338"/>
                </a:lnTo>
                <a:lnTo>
                  <a:pt x="2365" y="372"/>
                </a:lnTo>
                <a:lnTo>
                  <a:pt x="2393" y="406"/>
                </a:lnTo>
                <a:lnTo>
                  <a:pt x="2419" y="442"/>
                </a:lnTo>
                <a:lnTo>
                  <a:pt x="2444" y="478"/>
                </a:lnTo>
                <a:lnTo>
                  <a:pt x="2466" y="517"/>
                </a:lnTo>
                <a:lnTo>
                  <a:pt x="2487" y="557"/>
                </a:lnTo>
                <a:lnTo>
                  <a:pt x="2506" y="598"/>
                </a:lnTo>
                <a:lnTo>
                  <a:pt x="2525" y="640"/>
                </a:lnTo>
                <a:lnTo>
                  <a:pt x="2541" y="684"/>
                </a:lnTo>
                <a:lnTo>
                  <a:pt x="2555" y="729"/>
                </a:lnTo>
                <a:lnTo>
                  <a:pt x="2568" y="775"/>
                </a:lnTo>
                <a:lnTo>
                  <a:pt x="2580" y="823"/>
                </a:lnTo>
                <a:lnTo>
                  <a:pt x="2019" y="928"/>
                </a:lnTo>
                <a:lnTo>
                  <a:pt x="2011" y="902"/>
                </a:lnTo>
                <a:lnTo>
                  <a:pt x="2002" y="877"/>
                </a:lnTo>
                <a:lnTo>
                  <a:pt x="1993" y="853"/>
                </a:lnTo>
                <a:lnTo>
                  <a:pt x="1983" y="829"/>
                </a:lnTo>
                <a:lnTo>
                  <a:pt x="1972" y="807"/>
                </a:lnTo>
                <a:lnTo>
                  <a:pt x="1960" y="785"/>
                </a:lnTo>
                <a:lnTo>
                  <a:pt x="1947" y="764"/>
                </a:lnTo>
                <a:lnTo>
                  <a:pt x="1933" y="743"/>
                </a:lnTo>
                <a:lnTo>
                  <a:pt x="1919" y="723"/>
                </a:lnTo>
                <a:lnTo>
                  <a:pt x="1904" y="703"/>
                </a:lnTo>
                <a:lnTo>
                  <a:pt x="1888" y="685"/>
                </a:lnTo>
                <a:lnTo>
                  <a:pt x="1871" y="667"/>
                </a:lnTo>
                <a:lnTo>
                  <a:pt x="1854" y="650"/>
                </a:lnTo>
                <a:lnTo>
                  <a:pt x="1836" y="633"/>
                </a:lnTo>
                <a:lnTo>
                  <a:pt x="1816" y="617"/>
                </a:lnTo>
                <a:lnTo>
                  <a:pt x="1796" y="602"/>
                </a:lnTo>
                <a:lnTo>
                  <a:pt x="1775" y="588"/>
                </a:lnTo>
                <a:lnTo>
                  <a:pt x="1754" y="574"/>
                </a:lnTo>
                <a:lnTo>
                  <a:pt x="1732" y="562"/>
                </a:lnTo>
                <a:lnTo>
                  <a:pt x="1709" y="550"/>
                </a:lnTo>
                <a:lnTo>
                  <a:pt x="1687" y="539"/>
                </a:lnTo>
                <a:lnTo>
                  <a:pt x="1663" y="529"/>
                </a:lnTo>
                <a:lnTo>
                  <a:pt x="1638" y="521"/>
                </a:lnTo>
                <a:lnTo>
                  <a:pt x="1613" y="513"/>
                </a:lnTo>
                <a:lnTo>
                  <a:pt x="1587" y="505"/>
                </a:lnTo>
                <a:lnTo>
                  <a:pt x="1560" y="499"/>
                </a:lnTo>
                <a:lnTo>
                  <a:pt x="1533" y="495"/>
                </a:lnTo>
                <a:lnTo>
                  <a:pt x="1506" y="490"/>
                </a:lnTo>
                <a:lnTo>
                  <a:pt x="1478" y="487"/>
                </a:lnTo>
                <a:lnTo>
                  <a:pt x="1449" y="485"/>
                </a:lnTo>
                <a:lnTo>
                  <a:pt x="1419" y="483"/>
                </a:lnTo>
                <a:lnTo>
                  <a:pt x="1389" y="483"/>
                </a:lnTo>
                <a:lnTo>
                  <a:pt x="1343" y="484"/>
                </a:lnTo>
                <a:lnTo>
                  <a:pt x="1299" y="486"/>
                </a:lnTo>
                <a:lnTo>
                  <a:pt x="1256" y="491"/>
                </a:lnTo>
                <a:lnTo>
                  <a:pt x="1214" y="497"/>
                </a:lnTo>
                <a:lnTo>
                  <a:pt x="1173" y="505"/>
                </a:lnTo>
                <a:lnTo>
                  <a:pt x="1133" y="515"/>
                </a:lnTo>
                <a:lnTo>
                  <a:pt x="1094" y="527"/>
                </a:lnTo>
                <a:lnTo>
                  <a:pt x="1057" y="541"/>
                </a:lnTo>
                <a:lnTo>
                  <a:pt x="1020" y="557"/>
                </a:lnTo>
                <a:lnTo>
                  <a:pt x="986" y="575"/>
                </a:lnTo>
                <a:lnTo>
                  <a:pt x="969" y="583"/>
                </a:lnTo>
                <a:lnTo>
                  <a:pt x="952" y="594"/>
                </a:lnTo>
                <a:lnTo>
                  <a:pt x="935" y="604"/>
                </a:lnTo>
                <a:lnTo>
                  <a:pt x="919" y="615"/>
                </a:lnTo>
                <a:lnTo>
                  <a:pt x="904" y="625"/>
                </a:lnTo>
                <a:lnTo>
                  <a:pt x="888" y="637"/>
                </a:lnTo>
                <a:lnTo>
                  <a:pt x="873" y="649"/>
                </a:lnTo>
                <a:lnTo>
                  <a:pt x="857" y="662"/>
                </a:lnTo>
                <a:lnTo>
                  <a:pt x="828" y="689"/>
                </a:lnTo>
                <a:lnTo>
                  <a:pt x="800" y="717"/>
                </a:lnTo>
                <a:lnTo>
                  <a:pt x="787" y="732"/>
                </a:lnTo>
                <a:lnTo>
                  <a:pt x="774" y="747"/>
                </a:lnTo>
                <a:lnTo>
                  <a:pt x="761" y="764"/>
                </a:lnTo>
                <a:lnTo>
                  <a:pt x="749" y="780"/>
                </a:lnTo>
                <a:lnTo>
                  <a:pt x="738" y="796"/>
                </a:lnTo>
                <a:lnTo>
                  <a:pt x="726" y="813"/>
                </a:lnTo>
                <a:lnTo>
                  <a:pt x="715" y="831"/>
                </a:lnTo>
                <a:lnTo>
                  <a:pt x="705" y="849"/>
                </a:lnTo>
                <a:lnTo>
                  <a:pt x="694" y="867"/>
                </a:lnTo>
                <a:lnTo>
                  <a:pt x="686" y="887"/>
                </a:lnTo>
                <a:lnTo>
                  <a:pt x="676" y="906"/>
                </a:lnTo>
                <a:lnTo>
                  <a:pt x="667" y="926"/>
                </a:lnTo>
                <a:lnTo>
                  <a:pt x="659" y="946"/>
                </a:lnTo>
                <a:lnTo>
                  <a:pt x="651" y="967"/>
                </a:lnTo>
                <a:lnTo>
                  <a:pt x="644" y="987"/>
                </a:lnTo>
                <a:lnTo>
                  <a:pt x="637" y="1009"/>
                </a:lnTo>
                <a:lnTo>
                  <a:pt x="624" y="1053"/>
                </a:lnTo>
                <a:lnTo>
                  <a:pt x="613" y="1099"/>
                </a:lnTo>
                <a:lnTo>
                  <a:pt x="604" y="1148"/>
                </a:lnTo>
                <a:lnTo>
                  <a:pt x="596" y="1198"/>
                </a:lnTo>
                <a:lnTo>
                  <a:pt x="590" y="1249"/>
                </a:lnTo>
                <a:lnTo>
                  <a:pt x="585" y="1303"/>
                </a:lnTo>
                <a:lnTo>
                  <a:pt x="583" y="1358"/>
                </a:lnTo>
                <a:lnTo>
                  <a:pt x="582" y="1414"/>
                </a:lnTo>
                <a:lnTo>
                  <a:pt x="583" y="1475"/>
                </a:lnTo>
                <a:lnTo>
                  <a:pt x="585" y="1535"/>
                </a:lnTo>
                <a:lnTo>
                  <a:pt x="590" y="1592"/>
                </a:lnTo>
                <a:lnTo>
                  <a:pt x="596" y="1647"/>
                </a:lnTo>
                <a:lnTo>
                  <a:pt x="604" y="1701"/>
                </a:lnTo>
                <a:lnTo>
                  <a:pt x="613" y="1753"/>
                </a:lnTo>
                <a:lnTo>
                  <a:pt x="624" y="1801"/>
                </a:lnTo>
                <a:lnTo>
                  <a:pt x="637" y="1850"/>
                </a:lnTo>
                <a:lnTo>
                  <a:pt x="645" y="1873"/>
                </a:lnTo>
                <a:lnTo>
                  <a:pt x="652" y="1895"/>
                </a:lnTo>
                <a:lnTo>
                  <a:pt x="660" y="1917"/>
                </a:lnTo>
                <a:lnTo>
                  <a:pt x="668" y="1940"/>
                </a:lnTo>
                <a:lnTo>
                  <a:pt x="677" y="1960"/>
                </a:lnTo>
                <a:lnTo>
                  <a:pt x="687" y="1981"/>
                </a:lnTo>
                <a:lnTo>
                  <a:pt x="697" y="2001"/>
                </a:lnTo>
                <a:lnTo>
                  <a:pt x="706" y="2021"/>
                </a:lnTo>
                <a:lnTo>
                  <a:pt x="717" y="2040"/>
                </a:lnTo>
                <a:lnTo>
                  <a:pt x="729" y="2059"/>
                </a:lnTo>
                <a:lnTo>
                  <a:pt x="740" y="2077"/>
                </a:lnTo>
                <a:lnTo>
                  <a:pt x="752" y="2095"/>
                </a:lnTo>
                <a:lnTo>
                  <a:pt x="765" y="2113"/>
                </a:lnTo>
                <a:lnTo>
                  <a:pt x="776" y="2129"/>
                </a:lnTo>
                <a:lnTo>
                  <a:pt x="790" y="2145"/>
                </a:lnTo>
                <a:lnTo>
                  <a:pt x="803" y="2161"/>
                </a:lnTo>
                <a:lnTo>
                  <a:pt x="831" y="2191"/>
                </a:lnTo>
                <a:lnTo>
                  <a:pt x="861" y="2219"/>
                </a:lnTo>
                <a:lnTo>
                  <a:pt x="876" y="2232"/>
                </a:lnTo>
                <a:lnTo>
                  <a:pt x="891" y="2245"/>
                </a:lnTo>
                <a:lnTo>
                  <a:pt x="907" y="2258"/>
                </a:lnTo>
                <a:lnTo>
                  <a:pt x="923" y="2270"/>
                </a:lnTo>
                <a:lnTo>
                  <a:pt x="938" y="2282"/>
                </a:lnTo>
                <a:lnTo>
                  <a:pt x="956" y="2293"/>
                </a:lnTo>
                <a:lnTo>
                  <a:pt x="972" y="2303"/>
                </a:lnTo>
                <a:lnTo>
                  <a:pt x="989" y="2313"/>
                </a:lnTo>
                <a:lnTo>
                  <a:pt x="1006" y="2322"/>
                </a:lnTo>
                <a:lnTo>
                  <a:pt x="1024" y="2332"/>
                </a:lnTo>
                <a:lnTo>
                  <a:pt x="1041" y="2339"/>
                </a:lnTo>
                <a:lnTo>
                  <a:pt x="1059" y="2348"/>
                </a:lnTo>
                <a:lnTo>
                  <a:pt x="1078" y="2356"/>
                </a:lnTo>
                <a:lnTo>
                  <a:pt x="1096" y="2362"/>
                </a:lnTo>
                <a:lnTo>
                  <a:pt x="1114" y="2368"/>
                </a:lnTo>
                <a:lnTo>
                  <a:pt x="1134" y="2375"/>
                </a:lnTo>
                <a:lnTo>
                  <a:pt x="1173" y="2386"/>
                </a:lnTo>
                <a:lnTo>
                  <a:pt x="1213" y="2394"/>
                </a:lnTo>
                <a:lnTo>
                  <a:pt x="1254" y="2401"/>
                </a:lnTo>
                <a:lnTo>
                  <a:pt x="1296" y="2406"/>
                </a:lnTo>
                <a:lnTo>
                  <a:pt x="1339" y="2410"/>
                </a:lnTo>
                <a:lnTo>
                  <a:pt x="1383" y="2410"/>
                </a:lnTo>
                <a:lnTo>
                  <a:pt x="1406" y="2410"/>
                </a:lnTo>
                <a:lnTo>
                  <a:pt x="1428" y="2408"/>
                </a:lnTo>
                <a:lnTo>
                  <a:pt x="1450" y="2407"/>
                </a:lnTo>
                <a:lnTo>
                  <a:pt x="1472" y="2405"/>
                </a:lnTo>
                <a:lnTo>
                  <a:pt x="1516" y="2400"/>
                </a:lnTo>
                <a:lnTo>
                  <a:pt x="1562" y="2392"/>
                </a:lnTo>
                <a:lnTo>
                  <a:pt x="1606" y="2383"/>
                </a:lnTo>
                <a:lnTo>
                  <a:pt x="1650" y="2371"/>
                </a:lnTo>
                <a:lnTo>
                  <a:pt x="1695" y="2357"/>
                </a:lnTo>
                <a:lnTo>
                  <a:pt x="1740" y="2340"/>
                </a:lnTo>
                <a:lnTo>
                  <a:pt x="1783" y="2322"/>
                </a:lnTo>
                <a:lnTo>
                  <a:pt x="1825" y="2304"/>
                </a:lnTo>
                <a:lnTo>
                  <a:pt x="1866" y="2284"/>
                </a:lnTo>
                <a:lnTo>
                  <a:pt x="1905" y="2264"/>
                </a:lnTo>
                <a:lnTo>
                  <a:pt x="1943" y="2242"/>
                </a:lnTo>
                <a:lnTo>
                  <a:pt x="1978" y="2219"/>
                </a:lnTo>
                <a:lnTo>
                  <a:pt x="2013" y="2196"/>
                </a:lnTo>
                <a:lnTo>
                  <a:pt x="2045" y="2172"/>
                </a:lnTo>
                <a:lnTo>
                  <a:pt x="2045" y="1817"/>
                </a:lnTo>
                <a:lnTo>
                  <a:pt x="1398" y="1817"/>
                </a:lnTo>
                <a:close/>
              </a:path>
            </a:pathLst>
          </a:cu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latin typeface="+mj-lt"/>
            </a:endParaRPr>
          </a:p>
        </p:txBody>
      </p:sp>
      <p:sp>
        <p:nvSpPr>
          <p:cNvPr id="16" name="Freeform 8"/>
          <p:cNvSpPr>
            <a:spLocks noEditPoints="1"/>
          </p:cNvSpPr>
          <p:nvPr/>
        </p:nvSpPr>
        <p:spPr bwMode="auto">
          <a:xfrm>
            <a:off x="3174526" y="2173970"/>
            <a:ext cx="1733550" cy="1733550"/>
          </a:xfrm>
          <a:custGeom>
            <a:avLst/>
            <a:gdLst>
              <a:gd name="T0" fmla="*/ 2043 w 3456"/>
              <a:gd name="T1" fmla="*/ 373 h 3456"/>
              <a:gd name="T2" fmla="*/ 2320 w 3456"/>
              <a:gd name="T3" fmla="*/ 469 h 3456"/>
              <a:gd name="T4" fmla="*/ 2567 w 3456"/>
              <a:gd name="T5" fmla="*/ 619 h 3456"/>
              <a:gd name="T6" fmla="*/ 2777 w 3456"/>
              <a:gd name="T7" fmla="*/ 814 h 3456"/>
              <a:gd name="T8" fmla="*/ 2942 w 3456"/>
              <a:gd name="T9" fmla="*/ 1050 h 3456"/>
              <a:gd name="T10" fmla="*/ 3057 w 3456"/>
              <a:gd name="T11" fmla="*/ 1318 h 3456"/>
              <a:gd name="T12" fmla="*/ 3113 w 3456"/>
              <a:gd name="T13" fmla="*/ 1611 h 3456"/>
              <a:gd name="T14" fmla="*/ 3106 w 3456"/>
              <a:gd name="T15" fmla="*/ 1913 h 3456"/>
              <a:gd name="T16" fmla="*/ 3037 w 3456"/>
              <a:gd name="T17" fmla="*/ 2201 h 3456"/>
              <a:gd name="T18" fmla="*/ 2909 w 3456"/>
              <a:gd name="T19" fmla="*/ 2461 h 3456"/>
              <a:gd name="T20" fmla="*/ 2733 w 3456"/>
              <a:gd name="T21" fmla="*/ 2689 h 3456"/>
              <a:gd name="T22" fmla="*/ 2515 w 3456"/>
              <a:gd name="T23" fmla="*/ 2875 h 3456"/>
              <a:gd name="T24" fmla="*/ 2260 w 3456"/>
              <a:gd name="T25" fmla="*/ 3013 h 3456"/>
              <a:gd name="T26" fmla="*/ 1977 w 3456"/>
              <a:gd name="T27" fmla="*/ 3096 h 3456"/>
              <a:gd name="T28" fmla="*/ 1678 w 3456"/>
              <a:gd name="T29" fmla="*/ 3118 h 3456"/>
              <a:gd name="T30" fmla="*/ 1380 w 3456"/>
              <a:gd name="T31" fmla="*/ 3076 h 3456"/>
              <a:gd name="T32" fmla="*/ 1107 w 3456"/>
              <a:gd name="T33" fmla="*/ 2973 h 3456"/>
              <a:gd name="T34" fmla="*/ 863 w 3456"/>
              <a:gd name="T35" fmla="*/ 2818 h 3456"/>
              <a:gd name="T36" fmla="*/ 658 w 3456"/>
              <a:gd name="T37" fmla="*/ 2617 h 3456"/>
              <a:gd name="T38" fmla="*/ 498 w 3456"/>
              <a:gd name="T39" fmla="*/ 2378 h 3456"/>
              <a:gd name="T40" fmla="*/ 389 w 3456"/>
              <a:gd name="T41" fmla="*/ 2107 h 3456"/>
              <a:gd name="T42" fmla="*/ 339 w 3456"/>
              <a:gd name="T43" fmla="*/ 1811 h 3456"/>
              <a:gd name="T44" fmla="*/ 354 w 3456"/>
              <a:gd name="T45" fmla="*/ 1511 h 3456"/>
              <a:gd name="T46" fmla="*/ 431 w 3456"/>
              <a:gd name="T47" fmla="*/ 1226 h 3456"/>
              <a:gd name="T48" fmla="*/ 563 w 3456"/>
              <a:gd name="T49" fmla="*/ 968 h 3456"/>
              <a:gd name="T50" fmla="*/ 744 w 3456"/>
              <a:gd name="T51" fmla="*/ 744 h 3456"/>
              <a:gd name="T52" fmla="*/ 968 w 3456"/>
              <a:gd name="T53" fmla="*/ 564 h 3456"/>
              <a:gd name="T54" fmla="*/ 1225 w 3456"/>
              <a:gd name="T55" fmla="*/ 431 h 3456"/>
              <a:gd name="T56" fmla="*/ 1511 w 3456"/>
              <a:gd name="T57" fmla="*/ 354 h 3456"/>
              <a:gd name="T58" fmla="*/ 2572 w 3456"/>
              <a:gd name="T59" fmla="*/ 883 h 3456"/>
              <a:gd name="T60" fmla="*/ 2372 w 3456"/>
              <a:gd name="T61" fmla="*/ 723 h 3456"/>
              <a:gd name="T62" fmla="*/ 2138 w 3456"/>
              <a:gd name="T63" fmla="*/ 607 h 3456"/>
              <a:gd name="T64" fmla="*/ 1880 w 3456"/>
              <a:gd name="T65" fmla="*/ 544 h 3456"/>
              <a:gd name="T66" fmla="*/ 1606 w 3456"/>
              <a:gd name="T67" fmla="*/ 540 h 3456"/>
              <a:gd name="T68" fmla="*/ 1345 w 3456"/>
              <a:gd name="T69" fmla="*/ 597 h 3456"/>
              <a:gd name="T70" fmla="*/ 1109 w 3456"/>
              <a:gd name="T71" fmla="*/ 707 h 3456"/>
              <a:gd name="T72" fmla="*/ 904 w 3456"/>
              <a:gd name="T73" fmla="*/ 864 h 3456"/>
              <a:gd name="T74" fmla="*/ 738 w 3456"/>
              <a:gd name="T75" fmla="*/ 1061 h 3456"/>
              <a:gd name="T76" fmla="*/ 617 w 3456"/>
              <a:gd name="T77" fmla="*/ 1291 h 3456"/>
              <a:gd name="T78" fmla="*/ 548 w 3456"/>
              <a:gd name="T79" fmla="*/ 1547 h 3456"/>
              <a:gd name="T80" fmla="*/ 537 w 3456"/>
              <a:gd name="T81" fmla="*/ 1820 h 3456"/>
              <a:gd name="T82" fmla="*/ 588 w 3456"/>
              <a:gd name="T83" fmla="*/ 2083 h 3456"/>
              <a:gd name="T84" fmla="*/ 692 w 3456"/>
              <a:gd name="T85" fmla="*/ 2322 h 3456"/>
              <a:gd name="T86" fmla="*/ 843 w 3456"/>
              <a:gd name="T87" fmla="*/ 2532 h 3456"/>
              <a:gd name="T88" fmla="*/ 1037 w 3456"/>
              <a:gd name="T89" fmla="*/ 2702 h 3456"/>
              <a:gd name="T90" fmla="*/ 1262 w 3456"/>
              <a:gd name="T91" fmla="*/ 2829 h 3456"/>
              <a:gd name="T92" fmla="*/ 1516 w 3456"/>
              <a:gd name="T93" fmla="*/ 2903 h 3456"/>
              <a:gd name="T94" fmla="*/ 1789 w 3456"/>
              <a:gd name="T95" fmla="*/ 2920 h 3456"/>
              <a:gd name="T96" fmla="*/ 2054 w 3456"/>
              <a:gd name="T97" fmla="*/ 2877 h 3456"/>
              <a:gd name="T98" fmla="*/ 2297 w 3456"/>
              <a:gd name="T99" fmla="*/ 2778 h 3456"/>
              <a:gd name="T100" fmla="*/ 2509 w 3456"/>
              <a:gd name="T101" fmla="*/ 2631 h 3456"/>
              <a:gd name="T102" fmla="*/ 2685 w 3456"/>
              <a:gd name="T103" fmla="*/ 2443 h 3456"/>
              <a:gd name="T104" fmla="*/ 2816 w 3456"/>
              <a:gd name="T105" fmla="*/ 2219 h 3456"/>
              <a:gd name="T106" fmla="*/ 2897 w 3456"/>
              <a:gd name="T107" fmla="*/ 1969 h 3456"/>
              <a:gd name="T108" fmla="*/ 2921 w 3456"/>
              <a:gd name="T109" fmla="*/ 1698 h 3456"/>
              <a:gd name="T110" fmla="*/ 2885 w 3456"/>
              <a:gd name="T111" fmla="*/ 1430 h 3456"/>
              <a:gd name="T112" fmla="*/ 2791 w 3456"/>
              <a:gd name="T113" fmla="*/ 1185 h 3456"/>
              <a:gd name="T114" fmla="*/ 2649 w 3456"/>
              <a:gd name="T115" fmla="*/ 969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3456">
                <a:moveTo>
                  <a:pt x="1777" y="338"/>
                </a:moveTo>
                <a:lnTo>
                  <a:pt x="1811" y="340"/>
                </a:lnTo>
                <a:lnTo>
                  <a:pt x="1845" y="342"/>
                </a:lnTo>
                <a:lnTo>
                  <a:pt x="1878" y="346"/>
                </a:lnTo>
                <a:lnTo>
                  <a:pt x="1912" y="349"/>
                </a:lnTo>
                <a:lnTo>
                  <a:pt x="1945" y="354"/>
                </a:lnTo>
                <a:lnTo>
                  <a:pt x="1977" y="360"/>
                </a:lnTo>
                <a:lnTo>
                  <a:pt x="2011" y="366"/>
                </a:lnTo>
                <a:lnTo>
                  <a:pt x="2043" y="373"/>
                </a:lnTo>
                <a:lnTo>
                  <a:pt x="2075" y="381"/>
                </a:lnTo>
                <a:lnTo>
                  <a:pt x="2107" y="390"/>
                </a:lnTo>
                <a:lnTo>
                  <a:pt x="2138" y="399"/>
                </a:lnTo>
                <a:lnTo>
                  <a:pt x="2170" y="409"/>
                </a:lnTo>
                <a:lnTo>
                  <a:pt x="2200" y="419"/>
                </a:lnTo>
                <a:lnTo>
                  <a:pt x="2230" y="431"/>
                </a:lnTo>
                <a:lnTo>
                  <a:pt x="2260" y="443"/>
                </a:lnTo>
                <a:lnTo>
                  <a:pt x="2291" y="456"/>
                </a:lnTo>
                <a:lnTo>
                  <a:pt x="2320" y="469"/>
                </a:lnTo>
                <a:lnTo>
                  <a:pt x="2349" y="484"/>
                </a:lnTo>
                <a:lnTo>
                  <a:pt x="2378" y="498"/>
                </a:lnTo>
                <a:lnTo>
                  <a:pt x="2406" y="513"/>
                </a:lnTo>
                <a:lnTo>
                  <a:pt x="2434" y="529"/>
                </a:lnTo>
                <a:lnTo>
                  <a:pt x="2461" y="546"/>
                </a:lnTo>
                <a:lnTo>
                  <a:pt x="2488" y="564"/>
                </a:lnTo>
                <a:lnTo>
                  <a:pt x="2515" y="581"/>
                </a:lnTo>
                <a:lnTo>
                  <a:pt x="2541" y="599"/>
                </a:lnTo>
                <a:lnTo>
                  <a:pt x="2567" y="619"/>
                </a:lnTo>
                <a:lnTo>
                  <a:pt x="2592" y="638"/>
                </a:lnTo>
                <a:lnTo>
                  <a:pt x="2617" y="659"/>
                </a:lnTo>
                <a:lnTo>
                  <a:pt x="2642" y="679"/>
                </a:lnTo>
                <a:lnTo>
                  <a:pt x="2665" y="701"/>
                </a:lnTo>
                <a:lnTo>
                  <a:pt x="2688" y="723"/>
                </a:lnTo>
                <a:lnTo>
                  <a:pt x="2711" y="744"/>
                </a:lnTo>
                <a:lnTo>
                  <a:pt x="2733" y="768"/>
                </a:lnTo>
                <a:lnTo>
                  <a:pt x="2755" y="791"/>
                </a:lnTo>
                <a:lnTo>
                  <a:pt x="2777" y="814"/>
                </a:lnTo>
                <a:lnTo>
                  <a:pt x="2797" y="839"/>
                </a:lnTo>
                <a:lnTo>
                  <a:pt x="2818" y="864"/>
                </a:lnTo>
                <a:lnTo>
                  <a:pt x="2837" y="889"/>
                </a:lnTo>
                <a:lnTo>
                  <a:pt x="2856" y="915"/>
                </a:lnTo>
                <a:lnTo>
                  <a:pt x="2875" y="941"/>
                </a:lnTo>
                <a:lnTo>
                  <a:pt x="2892" y="968"/>
                </a:lnTo>
                <a:lnTo>
                  <a:pt x="2909" y="995"/>
                </a:lnTo>
                <a:lnTo>
                  <a:pt x="2927" y="1022"/>
                </a:lnTo>
                <a:lnTo>
                  <a:pt x="2942" y="1050"/>
                </a:lnTo>
                <a:lnTo>
                  <a:pt x="2958" y="1078"/>
                </a:lnTo>
                <a:lnTo>
                  <a:pt x="2972" y="1107"/>
                </a:lnTo>
                <a:lnTo>
                  <a:pt x="2986" y="1136"/>
                </a:lnTo>
                <a:lnTo>
                  <a:pt x="3000" y="1165"/>
                </a:lnTo>
                <a:lnTo>
                  <a:pt x="3013" y="1196"/>
                </a:lnTo>
                <a:lnTo>
                  <a:pt x="3025" y="1226"/>
                </a:lnTo>
                <a:lnTo>
                  <a:pt x="3037" y="1256"/>
                </a:lnTo>
                <a:lnTo>
                  <a:pt x="3047" y="1286"/>
                </a:lnTo>
                <a:lnTo>
                  <a:pt x="3057" y="1318"/>
                </a:lnTo>
                <a:lnTo>
                  <a:pt x="3066" y="1349"/>
                </a:lnTo>
                <a:lnTo>
                  <a:pt x="3075" y="1381"/>
                </a:lnTo>
                <a:lnTo>
                  <a:pt x="3082" y="1413"/>
                </a:lnTo>
                <a:lnTo>
                  <a:pt x="3090" y="1445"/>
                </a:lnTo>
                <a:lnTo>
                  <a:pt x="3096" y="1479"/>
                </a:lnTo>
                <a:lnTo>
                  <a:pt x="3102" y="1511"/>
                </a:lnTo>
                <a:lnTo>
                  <a:pt x="3106" y="1544"/>
                </a:lnTo>
                <a:lnTo>
                  <a:pt x="3110" y="1578"/>
                </a:lnTo>
                <a:lnTo>
                  <a:pt x="3113" y="1611"/>
                </a:lnTo>
                <a:lnTo>
                  <a:pt x="3116" y="1645"/>
                </a:lnTo>
                <a:lnTo>
                  <a:pt x="3118" y="1679"/>
                </a:lnTo>
                <a:lnTo>
                  <a:pt x="3456" y="1679"/>
                </a:lnTo>
                <a:lnTo>
                  <a:pt x="3456" y="1778"/>
                </a:lnTo>
                <a:lnTo>
                  <a:pt x="3118" y="1778"/>
                </a:lnTo>
                <a:lnTo>
                  <a:pt x="3116" y="1811"/>
                </a:lnTo>
                <a:lnTo>
                  <a:pt x="3113" y="1846"/>
                </a:lnTo>
                <a:lnTo>
                  <a:pt x="3110" y="1879"/>
                </a:lnTo>
                <a:lnTo>
                  <a:pt x="3106" y="1913"/>
                </a:lnTo>
                <a:lnTo>
                  <a:pt x="3102" y="1945"/>
                </a:lnTo>
                <a:lnTo>
                  <a:pt x="3096" y="1979"/>
                </a:lnTo>
                <a:lnTo>
                  <a:pt x="3090" y="2011"/>
                </a:lnTo>
                <a:lnTo>
                  <a:pt x="3082" y="2043"/>
                </a:lnTo>
                <a:lnTo>
                  <a:pt x="3075" y="2076"/>
                </a:lnTo>
                <a:lnTo>
                  <a:pt x="3066" y="2107"/>
                </a:lnTo>
                <a:lnTo>
                  <a:pt x="3057" y="2138"/>
                </a:lnTo>
                <a:lnTo>
                  <a:pt x="3047" y="2170"/>
                </a:lnTo>
                <a:lnTo>
                  <a:pt x="3037" y="2201"/>
                </a:lnTo>
                <a:lnTo>
                  <a:pt x="3025" y="2231"/>
                </a:lnTo>
                <a:lnTo>
                  <a:pt x="3013" y="2262"/>
                </a:lnTo>
                <a:lnTo>
                  <a:pt x="3000" y="2291"/>
                </a:lnTo>
                <a:lnTo>
                  <a:pt x="2986" y="2320"/>
                </a:lnTo>
                <a:lnTo>
                  <a:pt x="2972" y="2349"/>
                </a:lnTo>
                <a:lnTo>
                  <a:pt x="2958" y="2378"/>
                </a:lnTo>
                <a:lnTo>
                  <a:pt x="2942" y="2406"/>
                </a:lnTo>
                <a:lnTo>
                  <a:pt x="2927" y="2434"/>
                </a:lnTo>
                <a:lnTo>
                  <a:pt x="2909" y="2461"/>
                </a:lnTo>
                <a:lnTo>
                  <a:pt x="2892" y="2488"/>
                </a:lnTo>
                <a:lnTo>
                  <a:pt x="2875" y="2515"/>
                </a:lnTo>
                <a:lnTo>
                  <a:pt x="2856" y="2541"/>
                </a:lnTo>
                <a:lnTo>
                  <a:pt x="2837" y="2567"/>
                </a:lnTo>
                <a:lnTo>
                  <a:pt x="2818" y="2593"/>
                </a:lnTo>
                <a:lnTo>
                  <a:pt x="2797" y="2617"/>
                </a:lnTo>
                <a:lnTo>
                  <a:pt x="2777" y="2642"/>
                </a:lnTo>
                <a:lnTo>
                  <a:pt x="2755" y="2665"/>
                </a:lnTo>
                <a:lnTo>
                  <a:pt x="2733" y="2689"/>
                </a:lnTo>
                <a:lnTo>
                  <a:pt x="2711" y="2712"/>
                </a:lnTo>
                <a:lnTo>
                  <a:pt x="2688" y="2735"/>
                </a:lnTo>
                <a:lnTo>
                  <a:pt x="2665" y="2756"/>
                </a:lnTo>
                <a:lnTo>
                  <a:pt x="2642" y="2777"/>
                </a:lnTo>
                <a:lnTo>
                  <a:pt x="2617" y="2798"/>
                </a:lnTo>
                <a:lnTo>
                  <a:pt x="2592" y="2818"/>
                </a:lnTo>
                <a:lnTo>
                  <a:pt x="2567" y="2837"/>
                </a:lnTo>
                <a:lnTo>
                  <a:pt x="2541" y="2857"/>
                </a:lnTo>
                <a:lnTo>
                  <a:pt x="2515" y="2875"/>
                </a:lnTo>
                <a:lnTo>
                  <a:pt x="2488" y="2893"/>
                </a:lnTo>
                <a:lnTo>
                  <a:pt x="2461" y="2911"/>
                </a:lnTo>
                <a:lnTo>
                  <a:pt x="2434" y="2927"/>
                </a:lnTo>
                <a:lnTo>
                  <a:pt x="2406" y="2943"/>
                </a:lnTo>
                <a:lnTo>
                  <a:pt x="2378" y="2958"/>
                </a:lnTo>
                <a:lnTo>
                  <a:pt x="2349" y="2973"/>
                </a:lnTo>
                <a:lnTo>
                  <a:pt x="2320" y="2987"/>
                </a:lnTo>
                <a:lnTo>
                  <a:pt x="2291" y="3000"/>
                </a:lnTo>
                <a:lnTo>
                  <a:pt x="2260" y="3013"/>
                </a:lnTo>
                <a:lnTo>
                  <a:pt x="2230" y="3025"/>
                </a:lnTo>
                <a:lnTo>
                  <a:pt x="2200" y="3037"/>
                </a:lnTo>
                <a:lnTo>
                  <a:pt x="2170" y="3048"/>
                </a:lnTo>
                <a:lnTo>
                  <a:pt x="2138" y="3057"/>
                </a:lnTo>
                <a:lnTo>
                  <a:pt x="2107" y="3067"/>
                </a:lnTo>
                <a:lnTo>
                  <a:pt x="2075" y="3076"/>
                </a:lnTo>
                <a:lnTo>
                  <a:pt x="2043" y="3083"/>
                </a:lnTo>
                <a:lnTo>
                  <a:pt x="2011" y="3090"/>
                </a:lnTo>
                <a:lnTo>
                  <a:pt x="1977" y="3096"/>
                </a:lnTo>
                <a:lnTo>
                  <a:pt x="1945" y="3102"/>
                </a:lnTo>
                <a:lnTo>
                  <a:pt x="1912" y="3107"/>
                </a:lnTo>
                <a:lnTo>
                  <a:pt x="1878" y="3111"/>
                </a:lnTo>
                <a:lnTo>
                  <a:pt x="1845" y="3115"/>
                </a:lnTo>
                <a:lnTo>
                  <a:pt x="1811" y="3117"/>
                </a:lnTo>
                <a:lnTo>
                  <a:pt x="1777" y="3118"/>
                </a:lnTo>
                <a:lnTo>
                  <a:pt x="1777" y="3456"/>
                </a:lnTo>
                <a:lnTo>
                  <a:pt x="1678" y="3456"/>
                </a:lnTo>
                <a:lnTo>
                  <a:pt x="1678" y="3118"/>
                </a:lnTo>
                <a:lnTo>
                  <a:pt x="1645" y="3117"/>
                </a:lnTo>
                <a:lnTo>
                  <a:pt x="1610" y="3115"/>
                </a:lnTo>
                <a:lnTo>
                  <a:pt x="1577" y="3111"/>
                </a:lnTo>
                <a:lnTo>
                  <a:pt x="1543" y="3107"/>
                </a:lnTo>
                <a:lnTo>
                  <a:pt x="1511" y="3102"/>
                </a:lnTo>
                <a:lnTo>
                  <a:pt x="1477" y="3096"/>
                </a:lnTo>
                <a:lnTo>
                  <a:pt x="1445" y="3090"/>
                </a:lnTo>
                <a:lnTo>
                  <a:pt x="1413" y="3083"/>
                </a:lnTo>
                <a:lnTo>
                  <a:pt x="1380" y="3076"/>
                </a:lnTo>
                <a:lnTo>
                  <a:pt x="1349" y="3067"/>
                </a:lnTo>
                <a:lnTo>
                  <a:pt x="1318" y="3057"/>
                </a:lnTo>
                <a:lnTo>
                  <a:pt x="1286" y="3048"/>
                </a:lnTo>
                <a:lnTo>
                  <a:pt x="1255" y="3037"/>
                </a:lnTo>
                <a:lnTo>
                  <a:pt x="1225" y="3025"/>
                </a:lnTo>
                <a:lnTo>
                  <a:pt x="1194" y="3013"/>
                </a:lnTo>
                <a:lnTo>
                  <a:pt x="1165" y="3000"/>
                </a:lnTo>
                <a:lnTo>
                  <a:pt x="1136" y="2987"/>
                </a:lnTo>
                <a:lnTo>
                  <a:pt x="1107" y="2973"/>
                </a:lnTo>
                <a:lnTo>
                  <a:pt x="1078" y="2958"/>
                </a:lnTo>
                <a:lnTo>
                  <a:pt x="1050" y="2943"/>
                </a:lnTo>
                <a:lnTo>
                  <a:pt x="1022" y="2927"/>
                </a:lnTo>
                <a:lnTo>
                  <a:pt x="995" y="2911"/>
                </a:lnTo>
                <a:lnTo>
                  <a:pt x="968" y="2893"/>
                </a:lnTo>
                <a:lnTo>
                  <a:pt x="941" y="2875"/>
                </a:lnTo>
                <a:lnTo>
                  <a:pt x="915" y="2857"/>
                </a:lnTo>
                <a:lnTo>
                  <a:pt x="889" y="2837"/>
                </a:lnTo>
                <a:lnTo>
                  <a:pt x="863" y="2818"/>
                </a:lnTo>
                <a:lnTo>
                  <a:pt x="839" y="2798"/>
                </a:lnTo>
                <a:lnTo>
                  <a:pt x="814" y="2777"/>
                </a:lnTo>
                <a:lnTo>
                  <a:pt x="791" y="2756"/>
                </a:lnTo>
                <a:lnTo>
                  <a:pt x="767" y="2735"/>
                </a:lnTo>
                <a:lnTo>
                  <a:pt x="744" y="2712"/>
                </a:lnTo>
                <a:lnTo>
                  <a:pt x="721" y="2689"/>
                </a:lnTo>
                <a:lnTo>
                  <a:pt x="700" y="2665"/>
                </a:lnTo>
                <a:lnTo>
                  <a:pt x="679" y="2642"/>
                </a:lnTo>
                <a:lnTo>
                  <a:pt x="658" y="2617"/>
                </a:lnTo>
                <a:lnTo>
                  <a:pt x="638" y="2593"/>
                </a:lnTo>
                <a:lnTo>
                  <a:pt x="619" y="2567"/>
                </a:lnTo>
                <a:lnTo>
                  <a:pt x="599" y="2541"/>
                </a:lnTo>
                <a:lnTo>
                  <a:pt x="581" y="2515"/>
                </a:lnTo>
                <a:lnTo>
                  <a:pt x="563" y="2488"/>
                </a:lnTo>
                <a:lnTo>
                  <a:pt x="545" y="2461"/>
                </a:lnTo>
                <a:lnTo>
                  <a:pt x="529" y="2434"/>
                </a:lnTo>
                <a:lnTo>
                  <a:pt x="513" y="2406"/>
                </a:lnTo>
                <a:lnTo>
                  <a:pt x="498" y="2378"/>
                </a:lnTo>
                <a:lnTo>
                  <a:pt x="483" y="2349"/>
                </a:lnTo>
                <a:lnTo>
                  <a:pt x="469" y="2320"/>
                </a:lnTo>
                <a:lnTo>
                  <a:pt x="456" y="2291"/>
                </a:lnTo>
                <a:lnTo>
                  <a:pt x="443" y="2262"/>
                </a:lnTo>
                <a:lnTo>
                  <a:pt x="431" y="2231"/>
                </a:lnTo>
                <a:lnTo>
                  <a:pt x="419" y="2201"/>
                </a:lnTo>
                <a:lnTo>
                  <a:pt x="408" y="2170"/>
                </a:lnTo>
                <a:lnTo>
                  <a:pt x="399" y="2138"/>
                </a:lnTo>
                <a:lnTo>
                  <a:pt x="389" y="2107"/>
                </a:lnTo>
                <a:lnTo>
                  <a:pt x="380" y="2076"/>
                </a:lnTo>
                <a:lnTo>
                  <a:pt x="373" y="2043"/>
                </a:lnTo>
                <a:lnTo>
                  <a:pt x="366" y="2011"/>
                </a:lnTo>
                <a:lnTo>
                  <a:pt x="360" y="1979"/>
                </a:lnTo>
                <a:lnTo>
                  <a:pt x="354" y="1945"/>
                </a:lnTo>
                <a:lnTo>
                  <a:pt x="349" y="1913"/>
                </a:lnTo>
                <a:lnTo>
                  <a:pt x="345" y="1879"/>
                </a:lnTo>
                <a:lnTo>
                  <a:pt x="341" y="1846"/>
                </a:lnTo>
                <a:lnTo>
                  <a:pt x="339" y="1811"/>
                </a:lnTo>
                <a:lnTo>
                  <a:pt x="338" y="1778"/>
                </a:lnTo>
                <a:lnTo>
                  <a:pt x="0" y="1778"/>
                </a:lnTo>
                <a:lnTo>
                  <a:pt x="0" y="1679"/>
                </a:lnTo>
                <a:lnTo>
                  <a:pt x="338" y="1679"/>
                </a:lnTo>
                <a:lnTo>
                  <a:pt x="339" y="1645"/>
                </a:lnTo>
                <a:lnTo>
                  <a:pt x="341" y="1611"/>
                </a:lnTo>
                <a:lnTo>
                  <a:pt x="345" y="1578"/>
                </a:lnTo>
                <a:lnTo>
                  <a:pt x="349" y="1544"/>
                </a:lnTo>
                <a:lnTo>
                  <a:pt x="354" y="1511"/>
                </a:lnTo>
                <a:lnTo>
                  <a:pt x="360" y="1479"/>
                </a:lnTo>
                <a:lnTo>
                  <a:pt x="366" y="1445"/>
                </a:lnTo>
                <a:lnTo>
                  <a:pt x="373" y="1413"/>
                </a:lnTo>
                <a:lnTo>
                  <a:pt x="380" y="1381"/>
                </a:lnTo>
                <a:lnTo>
                  <a:pt x="389" y="1349"/>
                </a:lnTo>
                <a:lnTo>
                  <a:pt x="399" y="1318"/>
                </a:lnTo>
                <a:lnTo>
                  <a:pt x="408" y="1286"/>
                </a:lnTo>
                <a:lnTo>
                  <a:pt x="419" y="1256"/>
                </a:lnTo>
                <a:lnTo>
                  <a:pt x="431" y="1226"/>
                </a:lnTo>
                <a:lnTo>
                  <a:pt x="443" y="1196"/>
                </a:lnTo>
                <a:lnTo>
                  <a:pt x="456" y="1165"/>
                </a:lnTo>
                <a:lnTo>
                  <a:pt x="469" y="1136"/>
                </a:lnTo>
                <a:lnTo>
                  <a:pt x="483" y="1107"/>
                </a:lnTo>
                <a:lnTo>
                  <a:pt x="498" y="1078"/>
                </a:lnTo>
                <a:lnTo>
                  <a:pt x="513" y="1050"/>
                </a:lnTo>
                <a:lnTo>
                  <a:pt x="529" y="1022"/>
                </a:lnTo>
                <a:lnTo>
                  <a:pt x="545" y="995"/>
                </a:lnTo>
                <a:lnTo>
                  <a:pt x="563" y="968"/>
                </a:lnTo>
                <a:lnTo>
                  <a:pt x="581" y="941"/>
                </a:lnTo>
                <a:lnTo>
                  <a:pt x="599" y="915"/>
                </a:lnTo>
                <a:lnTo>
                  <a:pt x="619" y="889"/>
                </a:lnTo>
                <a:lnTo>
                  <a:pt x="638" y="864"/>
                </a:lnTo>
                <a:lnTo>
                  <a:pt x="658" y="839"/>
                </a:lnTo>
                <a:lnTo>
                  <a:pt x="679" y="814"/>
                </a:lnTo>
                <a:lnTo>
                  <a:pt x="700" y="791"/>
                </a:lnTo>
                <a:lnTo>
                  <a:pt x="721" y="768"/>
                </a:lnTo>
                <a:lnTo>
                  <a:pt x="744" y="744"/>
                </a:lnTo>
                <a:lnTo>
                  <a:pt x="767" y="723"/>
                </a:lnTo>
                <a:lnTo>
                  <a:pt x="791" y="701"/>
                </a:lnTo>
                <a:lnTo>
                  <a:pt x="814" y="679"/>
                </a:lnTo>
                <a:lnTo>
                  <a:pt x="839" y="659"/>
                </a:lnTo>
                <a:lnTo>
                  <a:pt x="863" y="638"/>
                </a:lnTo>
                <a:lnTo>
                  <a:pt x="889" y="619"/>
                </a:lnTo>
                <a:lnTo>
                  <a:pt x="915" y="599"/>
                </a:lnTo>
                <a:lnTo>
                  <a:pt x="941" y="581"/>
                </a:lnTo>
                <a:lnTo>
                  <a:pt x="968" y="564"/>
                </a:lnTo>
                <a:lnTo>
                  <a:pt x="995" y="546"/>
                </a:lnTo>
                <a:lnTo>
                  <a:pt x="1022" y="529"/>
                </a:lnTo>
                <a:lnTo>
                  <a:pt x="1050" y="513"/>
                </a:lnTo>
                <a:lnTo>
                  <a:pt x="1078" y="498"/>
                </a:lnTo>
                <a:lnTo>
                  <a:pt x="1107" y="484"/>
                </a:lnTo>
                <a:lnTo>
                  <a:pt x="1136" y="469"/>
                </a:lnTo>
                <a:lnTo>
                  <a:pt x="1165" y="456"/>
                </a:lnTo>
                <a:lnTo>
                  <a:pt x="1194" y="443"/>
                </a:lnTo>
                <a:lnTo>
                  <a:pt x="1225" y="431"/>
                </a:lnTo>
                <a:lnTo>
                  <a:pt x="1255" y="419"/>
                </a:lnTo>
                <a:lnTo>
                  <a:pt x="1286" y="409"/>
                </a:lnTo>
                <a:lnTo>
                  <a:pt x="1318" y="399"/>
                </a:lnTo>
                <a:lnTo>
                  <a:pt x="1349" y="390"/>
                </a:lnTo>
                <a:lnTo>
                  <a:pt x="1380" y="381"/>
                </a:lnTo>
                <a:lnTo>
                  <a:pt x="1413" y="373"/>
                </a:lnTo>
                <a:lnTo>
                  <a:pt x="1445" y="366"/>
                </a:lnTo>
                <a:lnTo>
                  <a:pt x="1477" y="360"/>
                </a:lnTo>
                <a:lnTo>
                  <a:pt x="1511" y="354"/>
                </a:lnTo>
                <a:lnTo>
                  <a:pt x="1543" y="349"/>
                </a:lnTo>
                <a:lnTo>
                  <a:pt x="1577" y="346"/>
                </a:lnTo>
                <a:lnTo>
                  <a:pt x="1610" y="342"/>
                </a:lnTo>
                <a:lnTo>
                  <a:pt x="1645" y="340"/>
                </a:lnTo>
                <a:lnTo>
                  <a:pt x="1678" y="338"/>
                </a:lnTo>
                <a:lnTo>
                  <a:pt x="1678" y="0"/>
                </a:lnTo>
                <a:lnTo>
                  <a:pt x="1777" y="0"/>
                </a:lnTo>
                <a:lnTo>
                  <a:pt x="1777" y="338"/>
                </a:lnTo>
                <a:close/>
                <a:moveTo>
                  <a:pt x="2572" y="883"/>
                </a:moveTo>
                <a:lnTo>
                  <a:pt x="2552" y="864"/>
                </a:lnTo>
                <a:lnTo>
                  <a:pt x="2530" y="845"/>
                </a:lnTo>
                <a:lnTo>
                  <a:pt x="2509" y="825"/>
                </a:lnTo>
                <a:lnTo>
                  <a:pt x="2487" y="807"/>
                </a:lnTo>
                <a:lnTo>
                  <a:pt x="2464" y="788"/>
                </a:lnTo>
                <a:lnTo>
                  <a:pt x="2442" y="771"/>
                </a:lnTo>
                <a:lnTo>
                  <a:pt x="2419" y="755"/>
                </a:lnTo>
                <a:lnTo>
                  <a:pt x="2395" y="738"/>
                </a:lnTo>
                <a:lnTo>
                  <a:pt x="2372" y="723"/>
                </a:lnTo>
                <a:lnTo>
                  <a:pt x="2347" y="707"/>
                </a:lnTo>
                <a:lnTo>
                  <a:pt x="2322" y="692"/>
                </a:lnTo>
                <a:lnTo>
                  <a:pt x="2297" y="678"/>
                </a:lnTo>
                <a:lnTo>
                  <a:pt x="2271" y="665"/>
                </a:lnTo>
                <a:lnTo>
                  <a:pt x="2245" y="652"/>
                </a:lnTo>
                <a:lnTo>
                  <a:pt x="2219" y="639"/>
                </a:lnTo>
                <a:lnTo>
                  <a:pt x="2192" y="627"/>
                </a:lnTo>
                <a:lnTo>
                  <a:pt x="2165" y="617"/>
                </a:lnTo>
                <a:lnTo>
                  <a:pt x="2138" y="607"/>
                </a:lnTo>
                <a:lnTo>
                  <a:pt x="2110" y="597"/>
                </a:lnTo>
                <a:lnTo>
                  <a:pt x="2083" y="588"/>
                </a:lnTo>
                <a:lnTo>
                  <a:pt x="2054" y="580"/>
                </a:lnTo>
                <a:lnTo>
                  <a:pt x="2026" y="571"/>
                </a:lnTo>
                <a:lnTo>
                  <a:pt x="1997" y="565"/>
                </a:lnTo>
                <a:lnTo>
                  <a:pt x="1969" y="558"/>
                </a:lnTo>
                <a:lnTo>
                  <a:pt x="1940" y="553"/>
                </a:lnTo>
                <a:lnTo>
                  <a:pt x="1909" y="548"/>
                </a:lnTo>
                <a:lnTo>
                  <a:pt x="1880" y="544"/>
                </a:lnTo>
                <a:lnTo>
                  <a:pt x="1850" y="540"/>
                </a:lnTo>
                <a:lnTo>
                  <a:pt x="1820" y="538"/>
                </a:lnTo>
                <a:lnTo>
                  <a:pt x="1789" y="536"/>
                </a:lnTo>
                <a:lnTo>
                  <a:pt x="1758" y="535"/>
                </a:lnTo>
                <a:lnTo>
                  <a:pt x="1728" y="535"/>
                </a:lnTo>
                <a:lnTo>
                  <a:pt x="1697" y="535"/>
                </a:lnTo>
                <a:lnTo>
                  <a:pt x="1666" y="536"/>
                </a:lnTo>
                <a:lnTo>
                  <a:pt x="1636" y="538"/>
                </a:lnTo>
                <a:lnTo>
                  <a:pt x="1606" y="540"/>
                </a:lnTo>
                <a:lnTo>
                  <a:pt x="1576" y="544"/>
                </a:lnTo>
                <a:lnTo>
                  <a:pt x="1545" y="548"/>
                </a:lnTo>
                <a:lnTo>
                  <a:pt x="1516" y="553"/>
                </a:lnTo>
                <a:lnTo>
                  <a:pt x="1487" y="558"/>
                </a:lnTo>
                <a:lnTo>
                  <a:pt x="1458" y="565"/>
                </a:lnTo>
                <a:lnTo>
                  <a:pt x="1430" y="571"/>
                </a:lnTo>
                <a:lnTo>
                  <a:pt x="1401" y="580"/>
                </a:lnTo>
                <a:lnTo>
                  <a:pt x="1373" y="588"/>
                </a:lnTo>
                <a:lnTo>
                  <a:pt x="1345" y="597"/>
                </a:lnTo>
                <a:lnTo>
                  <a:pt x="1318" y="607"/>
                </a:lnTo>
                <a:lnTo>
                  <a:pt x="1289" y="617"/>
                </a:lnTo>
                <a:lnTo>
                  <a:pt x="1262" y="627"/>
                </a:lnTo>
                <a:lnTo>
                  <a:pt x="1237" y="639"/>
                </a:lnTo>
                <a:lnTo>
                  <a:pt x="1210" y="652"/>
                </a:lnTo>
                <a:lnTo>
                  <a:pt x="1184" y="665"/>
                </a:lnTo>
                <a:lnTo>
                  <a:pt x="1159" y="678"/>
                </a:lnTo>
                <a:lnTo>
                  <a:pt x="1134" y="692"/>
                </a:lnTo>
                <a:lnTo>
                  <a:pt x="1109" y="707"/>
                </a:lnTo>
                <a:lnTo>
                  <a:pt x="1084" y="723"/>
                </a:lnTo>
                <a:lnTo>
                  <a:pt x="1061" y="738"/>
                </a:lnTo>
                <a:lnTo>
                  <a:pt x="1037" y="755"/>
                </a:lnTo>
                <a:lnTo>
                  <a:pt x="1013" y="771"/>
                </a:lnTo>
                <a:lnTo>
                  <a:pt x="990" y="788"/>
                </a:lnTo>
                <a:lnTo>
                  <a:pt x="969" y="807"/>
                </a:lnTo>
                <a:lnTo>
                  <a:pt x="946" y="825"/>
                </a:lnTo>
                <a:lnTo>
                  <a:pt x="924" y="845"/>
                </a:lnTo>
                <a:lnTo>
                  <a:pt x="904" y="864"/>
                </a:lnTo>
                <a:lnTo>
                  <a:pt x="883" y="883"/>
                </a:lnTo>
                <a:lnTo>
                  <a:pt x="864" y="904"/>
                </a:lnTo>
                <a:lnTo>
                  <a:pt x="843" y="926"/>
                </a:lnTo>
                <a:lnTo>
                  <a:pt x="825" y="947"/>
                </a:lnTo>
                <a:lnTo>
                  <a:pt x="807" y="969"/>
                </a:lnTo>
                <a:lnTo>
                  <a:pt x="788" y="991"/>
                </a:lnTo>
                <a:lnTo>
                  <a:pt x="771" y="1014"/>
                </a:lnTo>
                <a:lnTo>
                  <a:pt x="754" y="1037"/>
                </a:lnTo>
                <a:lnTo>
                  <a:pt x="738" y="1061"/>
                </a:lnTo>
                <a:lnTo>
                  <a:pt x="721" y="1084"/>
                </a:lnTo>
                <a:lnTo>
                  <a:pt x="706" y="1109"/>
                </a:lnTo>
                <a:lnTo>
                  <a:pt x="692" y="1134"/>
                </a:lnTo>
                <a:lnTo>
                  <a:pt x="678" y="1159"/>
                </a:lnTo>
                <a:lnTo>
                  <a:pt x="664" y="1185"/>
                </a:lnTo>
                <a:lnTo>
                  <a:pt x="651" y="1211"/>
                </a:lnTo>
                <a:lnTo>
                  <a:pt x="639" y="1237"/>
                </a:lnTo>
                <a:lnTo>
                  <a:pt x="627" y="1264"/>
                </a:lnTo>
                <a:lnTo>
                  <a:pt x="617" y="1291"/>
                </a:lnTo>
                <a:lnTo>
                  <a:pt x="606" y="1318"/>
                </a:lnTo>
                <a:lnTo>
                  <a:pt x="596" y="1346"/>
                </a:lnTo>
                <a:lnTo>
                  <a:pt x="588" y="1373"/>
                </a:lnTo>
                <a:lnTo>
                  <a:pt x="579" y="1402"/>
                </a:lnTo>
                <a:lnTo>
                  <a:pt x="571" y="1430"/>
                </a:lnTo>
                <a:lnTo>
                  <a:pt x="565" y="1458"/>
                </a:lnTo>
                <a:lnTo>
                  <a:pt x="558" y="1487"/>
                </a:lnTo>
                <a:lnTo>
                  <a:pt x="553" y="1516"/>
                </a:lnTo>
                <a:lnTo>
                  <a:pt x="548" y="1547"/>
                </a:lnTo>
                <a:lnTo>
                  <a:pt x="543" y="1576"/>
                </a:lnTo>
                <a:lnTo>
                  <a:pt x="540" y="1606"/>
                </a:lnTo>
                <a:lnTo>
                  <a:pt x="537" y="1636"/>
                </a:lnTo>
                <a:lnTo>
                  <a:pt x="536" y="1666"/>
                </a:lnTo>
                <a:lnTo>
                  <a:pt x="535" y="1698"/>
                </a:lnTo>
                <a:lnTo>
                  <a:pt x="534" y="1728"/>
                </a:lnTo>
                <a:lnTo>
                  <a:pt x="535" y="1759"/>
                </a:lnTo>
                <a:lnTo>
                  <a:pt x="536" y="1790"/>
                </a:lnTo>
                <a:lnTo>
                  <a:pt x="537" y="1820"/>
                </a:lnTo>
                <a:lnTo>
                  <a:pt x="540" y="1850"/>
                </a:lnTo>
                <a:lnTo>
                  <a:pt x="543" y="1880"/>
                </a:lnTo>
                <a:lnTo>
                  <a:pt x="548" y="1911"/>
                </a:lnTo>
                <a:lnTo>
                  <a:pt x="553" y="1940"/>
                </a:lnTo>
                <a:lnTo>
                  <a:pt x="558" y="1969"/>
                </a:lnTo>
                <a:lnTo>
                  <a:pt x="565" y="1998"/>
                </a:lnTo>
                <a:lnTo>
                  <a:pt x="571" y="2026"/>
                </a:lnTo>
                <a:lnTo>
                  <a:pt x="579" y="2055"/>
                </a:lnTo>
                <a:lnTo>
                  <a:pt x="588" y="2083"/>
                </a:lnTo>
                <a:lnTo>
                  <a:pt x="596" y="2111"/>
                </a:lnTo>
                <a:lnTo>
                  <a:pt x="606" y="2138"/>
                </a:lnTo>
                <a:lnTo>
                  <a:pt x="617" y="2166"/>
                </a:lnTo>
                <a:lnTo>
                  <a:pt x="627" y="2193"/>
                </a:lnTo>
                <a:lnTo>
                  <a:pt x="639" y="2219"/>
                </a:lnTo>
                <a:lnTo>
                  <a:pt x="651" y="2245"/>
                </a:lnTo>
                <a:lnTo>
                  <a:pt x="664" y="2271"/>
                </a:lnTo>
                <a:lnTo>
                  <a:pt x="678" y="2297"/>
                </a:lnTo>
                <a:lnTo>
                  <a:pt x="692" y="2322"/>
                </a:lnTo>
                <a:lnTo>
                  <a:pt x="706" y="2347"/>
                </a:lnTo>
                <a:lnTo>
                  <a:pt x="721" y="2372"/>
                </a:lnTo>
                <a:lnTo>
                  <a:pt x="738" y="2395"/>
                </a:lnTo>
                <a:lnTo>
                  <a:pt x="754" y="2419"/>
                </a:lnTo>
                <a:lnTo>
                  <a:pt x="771" y="2443"/>
                </a:lnTo>
                <a:lnTo>
                  <a:pt x="788" y="2466"/>
                </a:lnTo>
                <a:lnTo>
                  <a:pt x="807" y="2487"/>
                </a:lnTo>
                <a:lnTo>
                  <a:pt x="825" y="2510"/>
                </a:lnTo>
                <a:lnTo>
                  <a:pt x="843" y="2532"/>
                </a:lnTo>
                <a:lnTo>
                  <a:pt x="864" y="2552"/>
                </a:lnTo>
                <a:lnTo>
                  <a:pt x="883" y="2573"/>
                </a:lnTo>
                <a:lnTo>
                  <a:pt x="904" y="2592"/>
                </a:lnTo>
                <a:lnTo>
                  <a:pt x="924" y="2613"/>
                </a:lnTo>
                <a:lnTo>
                  <a:pt x="946" y="2631"/>
                </a:lnTo>
                <a:lnTo>
                  <a:pt x="969" y="2649"/>
                </a:lnTo>
                <a:lnTo>
                  <a:pt x="990" y="2668"/>
                </a:lnTo>
                <a:lnTo>
                  <a:pt x="1013" y="2685"/>
                </a:lnTo>
                <a:lnTo>
                  <a:pt x="1037" y="2702"/>
                </a:lnTo>
                <a:lnTo>
                  <a:pt x="1061" y="2718"/>
                </a:lnTo>
                <a:lnTo>
                  <a:pt x="1084" y="2735"/>
                </a:lnTo>
                <a:lnTo>
                  <a:pt x="1109" y="2750"/>
                </a:lnTo>
                <a:lnTo>
                  <a:pt x="1134" y="2764"/>
                </a:lnTo>
                <a:lnTo>
                  <a:pt x="1159" y="2778"/>
                </a:lnTo>
                <a:lnTo>
                  <a:pt x="1184" y="2792"/>
                </a:lnTo>
                <a:lnTo>
                  <a:pt x="1210" y="2805"/>
                </a:lnTo>
                <a:lnTo>
                  <a:pt x="1237" y="2817"/>
                </a:lnTo>
                <a:lnTo>
                  <a:pt x="1262" y="2829"/>
                </a:lnTo>
                <a:lnTo>
                  <a:pt x="1289" y="2839"/>
                </a:lnTo>
                <a:lnTo>
                  <a:pt x="1318" y="2850"/>
                </a:lnTo>
                <a:lnTo>
                  <a:pt x="1345" y="2860"/>
                </a:lnTo>
                <a:lnTo>
                  <a:pt x="1373" y="2868"/>
                </a:lnTo>
                <a:lnTo>
                  <a:pt x="1401" y="2877"/>
                </a:lnTo>
                <a:lnTo>
                  <a:pt x="1430" y="2885"/>
                </a:lnTo>
                <a:lnTo>
                  <a:pt x="1458" y="2891"/>
                </a:lnTo>
                <a:lnTo>
                  <a:pt x="1487" y="2898"/>
                </a:lnTo>
                <a:lnTo>
                  <a:pt x="1516" y="2903"/>
                </a:lnTo>
                <a:lnTo>
                  <a:pt x="1545" y="2908"/>
                </a:lnTo>
                <a:lnTo>
                  <a:pt x="1576" y="2913"/>
                </a:lnTo>
                <a:lnTo>
                  <a:pt x="1606" y="2916"/>
                </a:lnTo>
                <a:lnTo>
                  <a:pt x="1636" y="2919"/>
                </a:lnTo>
                <a:lnTo>
                  <a:pt x="1666" y="2920"/>
                </a:lnTo>
                <a:lnTo>
                  <a:pt x="1697" y="2921"/>
                </a:lnTo>
                <a:lnTo>
                  <a:pt x="1728" y="2922"/>
                </a:lnTo>
                <a:lnTo>
                  <a:pt x="1758" y="2921"/>
                </a:lnTo>
                <a:lnTo>
                  <a:pt x="1789" y="2920"/>
                </a:lnTo>
                <a:lnTo>
                  <a:pt x="1820" y="2919"/>
                </a:lnTo>
                <a:lnTo>
                  <a:pt x="1850" y="2916"/>
                </a:lnTo>
                <a:lnTo>
                  <a:pt x="1880" y="2913"/>
                </a:lnTo>
                <a:lnTo>
                  <a:pt x="1909" y="2908"/>
                </a:lnTo>
                <a:lnTo>
                  <a:pt x="1940" y="2903"/>
                </a:lnTo>
                <a:lnTo>
                  <a:pt x="1969" y="2898"/>
                </a:lnTo>
                <a:lnTo>
                  <a:pt x="1997" y="2891"/>
                </a:lnTo>
                <a:lnTo>
                  <a:pt x="2026" y="2885"/>
                </a:lnTo>
                <a:lnTo>
                  <a:pt x="2054" y="2877"/>
                </a:lnTo>
                <a:lnTo>
                  <a:pt x="2083" y="2868"/>
                </a:lnTo>
                <a:lnTo>
                  <a:pt x="2110" y="2860"/>
                </a:lnTo>
                <a:lnTo>
                  <a:pt x="2138" y="2850"/>
                </a:lnTo>
                <a:lnTo>
                  <a:pt x="2165" y="2839"/>
                </a:lnTo>
                <a:lnTo>
                  <a:pt x="2192" y="2829"/>
                </a:lnTo>
                <a:lnTo>
                  <a:pt x="2219" y="2817"/>
                </a:lnTo>
                <a:lnTo>
                  <a:pt x="2245" y="2805"/>
                </a:lnTo>
                <a:lnTo>
                  <a:pt x="2271" y="2792"/>
                </a:lnTo>
                <a:lnTo>
                  <a:pt x="2297" y="2778"/>
                </a:lnTo>
                <a:lnTo>
                  <a:pt x="2322" y="2764"/>
                </a:lnTo>
                <a:lnTo>
                  <a:pt x="2347" y="2750"/>
                </a:lnTo>
                <a:lnTo>
                  <a:pt x="2372" y="2735"/>
                </a:lnTo>
                <a:lnTo>
                  <a:pt x="2395" y="2718"/>
                </a:lnTo>
                <a:lnTo>
                  <a:pt x="2419" y="2702"/>
                </a:lnTo>
                <a:lnTo>
                  <a:pt x="2442" y="2685"/>
                </a:lnTo>
                <a:lnTo>
                  <a:pt x="2464" y="2668"/>
                </a:lnTo>
                <a:lnTo>
                  <a:pt x="2487" y="2649"/>
                </a:lnTo>
                <a:lnTo>
                  <a:pt x="2509" y="2631"/>
                </a:lnTo>
                <a:lnTo>
                  <a:pt x="2530" y="2613"/>
                </a:lnTo>
                <a:lnTo>
                  <a:pt x="2552" y="2592"/>
                </a:lnTo>
                <a:lnTo>
                  <a:pt x="2572" y="2573"/>
                </a:lnTo>
                <a:lnTo>
                  <a:pt x="2592" y="2552"/>
                </a:lnTo>
                <a:lnTo>
                  <a:pt x="2611" y="2532"/>
                </a:lnTo>
                <a:lnTo>
                  <a:pt x="2631" y="2510"/>
                </a:lnTo>
                <a:lnTo>
                  <a:pt x="2649" y="2487"/>
                </a:lnTo>
                <a:lnTo>
                  <a:pt x="2667" y="2466"/>
                </a:lnTo>
                <a:lnTo>
                  <a:pt x="2685" y="2443"/>
                </a:lnTo>
                <a:lnTo>
                  <a:pt x="2701" y="2419"/>
                </a:lnTo>
                <a:lnTo>
                  <a:pt x="2718" y="2395"/>
                </a:lnTo>
                <a:lnTo>
                  <a:pt x="2733" y="2372"/>
                </a:lnTo>
                <a:lnTo>
                  <a:pt x="2748" y="2347"/>
                </a:lnTo>
                <a:lnTo>
                  <a:pt x="2764" y="2322"/>
                </a:lnTo>
                <a:lnTo>
                  <a:pt x="2778" y="2297"/>
                </a:lnTo>
                <a:lnTo>
                  <a:pt x="2791" y="2271"/>
                </a:lnTo>
                <a:lnTo>
                  <a:pt x="2804" y="2245"/>
                </a:lnTo>
                <a:lnTo>
                  <a:pt x="2816" y="2219"/>
                </a:lnTo>
                <a:lnTo>
                  <a:pt x="2827" y="2193"/>
                </a:lnTo>
                <a:lnTo>
                  <a:pt x="2839" y="2166"/>
                </a:lnTo>
                <a:lnTo>
                  <a:pt x="2849" y="2138"/>
                </a:lnTo>
                <a:lnTo>
                  <a:pt x="2859" y="2111"/>
                </a:lnTo>
                <a:lnTo>
                  <a:pt x="2868" y="2083"/>
                </a:lnTo>
                <a:lnTo>
                  <a:pt x="2876" y="2055"/>
                </a:lnTo>
                <a:lnTo>
                  <a:pt x="2885" y="2026"/>
                </a:lnTo>
                <a:lnTo>
                  <a:pt x="2891" y="1998"/>
                </a:lnTo>
                <a:lnTo>
                  <a:pt x="2897" y="1969"/>
                </a:lnTo>
                <a:lnTo>
                  <a:pt x="2903" y="1940"/>
                </a:lnTo>
                <a:lnTo>
                  <a:pt x="2908" y="1911"/>
                </a:lnTo>
                <a:lnTo>
                  <a:pt x="2912" y="1880"/>
                </a:lnTo>
                <a:lnTo>
                  <a:pt x="2916" y="1850"/>
                </a:lnTo>
                <a:lnTo>
                  <a:pt x="2918" y="1820"/>
                </a:lnTo>
                <a:lnTo>
                  <a:pt x="2920" y="1790"/>
                </a:lnTo>
                <a:lnTo>
                  <a:pt x="2921" y="1759"/>
                </a:lnTo>
                <a:lnTo>
                  <a:pt x="2921" y="1728"/>
                </a:lnTo>
                <a:lnTo>
                  <a:pt x="2921" y="1698"/>
                </a:lnTo>
                <a:lnTo>
                  <a:pt x="2920" y="1666"/>
                </a:lnTo>
                <a:lnTo>
                  <a:pt x="2918" y="1636"/>
                </a:lnTo>
                <a:lnTo>
                  <a:pt x="2916" y="1606"/>
                </a:lnTo>
                <a:lnTo>
                  <a:pt x="2912" y="1576"/>
                </a:lnTo>
                <a:lnTo>
                  <a:pt x="2908" y="1547"/>
                </a:lnTo>
                <a:lnTo>
                  <a:pt x="2903" y="1516"/>
                </a:lnTo>
                <a:lnTo>
                  <a:pt x="2897" y="1487"/>
                </a:lnTo>
                <a:lnTo>
                  <a:pt x="2891" y="1458"/>
                </a:lnTo>
                <a:lnTo>
                  <a:pt x="2885" y="1430"/>
                </a:lnTo>
                <a:lnTo>
                  <a:pt x="2876" y="1402"/>
                </a:lnTo>
                <a:lnTo>
                  <a:pt x="2868" y="1373"/>
                </a:lnTo>
                <a:lnTo>
                  <a:pt x="2859" y="1346"/>
                </a:lnTo>
                <a:lnTo>
                  <a:pt x="2849" y="1318"/>
                </a:lnTo>
                <a:lnTo>
                  <a:pt x="2839" y="1291"/>
                </a:lnTo>
                <a:lnTo>
                  <a:pt x="2827" y="1264"/>
                </a:lnTo>
                <a:lnTo>
                  <a:pt x="2816" y="1237"/>
                </a:lnTo>
                <a:lnTo>
                  <a:pt x="2804" y="1211"/>
                </a:lnTo>
                <a:lnTo>
                  <a:pt x="2791" y="1185"/>
                </a:lnTo>
                <a:lnTo>
                  <a:pt x="2778" y="1159"/>
                </a:lnTo>
                <a:lnTo>
                  <a:pt x="2764" y="1134"/>
                </a:lnTo>
                <a:lnTo>
                  <a:pt x="2748" y="1109"/>
                </a:lnTo>
                <a:lnTo>
                  <a:pt x="2733" y="1084"/>
                </a:lnTo>
                <a:lnTo>
                  <a:pt x="2718" y="1061"/>
                </a:lnTo>
                <a:lnTo>
                  <a:pt x="2701" y="1037"/>
                </a:lnTo>
                <a:lnTo>
                  <a:pt x="2685" y="1014"/>
                </a:lnTo>
                <a:lnTo>
                  <a:pt x="2667" y="991"/>
                </a:lnTo>
                <a:lnTo>
                  <a:pt x="2649" y="969"/>
                </a:lnTo>
                <a:lnTo>
                  <a:pt x="2631" y="947"/>
                </a:lnTo>
                <a:lnTo>
                  <a:pt x="2611" y="926"/>
                </a:lnTo>
                <a:lnTo>
                  <a:pt x="2592" y="904"/>
                </a:lnTo>
                <a:lnTo>
                  <a:pt x="2572" y="883"/>
                </a:lnTo>
                <a:close/>
              </a:path>
            </a:pathLst>
          </a:custGeom>
          <a:solidFill>
            <a:srgbClr val="CE202A"/>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noEditPoints="1"/>
          </p:cNvSpPr>
          <p:nvPr/>
        </p:nvSpPr>
        <p:spPr bwMode="auto">
          <a:xfrm>
            <a:off x="3607913" y="2607358"/>
            <a:ext cx="866775" cy="866775"/>
          </a:xfrm>
          <a:custGeom>
            <a:avLst/>
            <a:gdLst>
              <a:gd name="T0" fmla="*/ 952 w 1727"/>
              <a:gd name="T1" fmla="*/ 4 h 1727"/>
              <a:gd name="T2" fmla="*/ 1080 w 1727"/>
              <a:gd name="T3" fmla="*/ 27 h 1727"/>
              <a:gd name="T4" fmla="*/ 1275 w 1727"/>
              <a:gd name="T5" fmla="*/ 104 h 1727"/>
              <a:gd name="T6" fmla="*/ 1444 w 1727"/>
              <a:gd name="T7" fmla="*/ 224 h 1727"/>
              <a:gd name="T8" fmla="*/ 1580 w 1727"/>
              <a:gd name="T9" fmla="*/ 380 h 1727"/>
              <a:gd name="T10" fmla="*/ 1675 w 1727"/>
              <a:gd name="T11" fmla="*/ 566 h 1727"/>
              <a:gd name="T12" fmla="*/ 1717 w 1727"/>
              <a:gd name="T13" fmla="*/ 731 h 1727"/>
              <a:gd name="T14" fmla="*/ 1727 w 1727"/>
              <a:gd name="T15" fmla="*/ 841 h 1727"/>
              <a:gd name="T16" fmla="*/ 1722 w 1727"/>
              <a:gd name="T17" fmla="*/ 952 h 1727"/>
              <a:gd name="T18" fmla="*/ 1700 w 1727"/>
              <a:gd name="T19" fmla="*/ 1079 h 1727"/>
              <a:gd name="T20" fmla="*/ 1623 w 1727"/>
              <a:gd name="T21" fmla="*/ 1274 h 1727"/>
              <a:gd name="T22" fmla="*/ 1503 w 1727"/>
              <a:gd name="T23" fmla="*/ 1444 h 1727"/>
              <a:gd name="T24" fmla="*/ 1347 w 1727"/>
              <a:gd name="T25" fmla="*/ 1579 h 1727"/>
              <a:gd name="T26" fmla="*/ 1161 w 1727"/>
              <a:gd name="T27" fmla="*/ 1674 h 1727"/>
              <a:gd name="T28" fmla="*/ 996 w 1727"/>
              <a:gd name="T29" fmla="*/ 1716 h 1727"/>
              <a:gd name="T30" fmla="*/ 886 w 1727"/>
              <a:gd name="T31" fmla="*/ 1726 h 1727"/>
              <a:gd name="T32" fmla="*/ 775 w 1727"/>
              <a:gd name="T33" fmla="*/ 1722 h 1727"/>
              <a:gd name="T34" fmla="*/ 648 w 1727"/>
              <a:gd name="T35" fmla="*/ 1699 h 1727"/>
              <a:gd name="T36" fmla="*/ 452 w 1727"/>
              <a:gd name="T37" fmla="*/ 1622 h 1727"/>
              <a:gd name="T38" fmla="*/ 283 w 1727"/>
              <a:gd name="T39" fmla="*/ 1502 h 1727"/>
              <a:gd name="T40" fmla="*/ 148 w 1727"/>
              <a:gd name="T41" fmla="*/ 1346 h 1727"/>
              <a:gd name="T42" fmla="*/ 53 w 1727"/>
              <a:gd name="T43" fmla="*/ 1160 h 1727"/>
              <a:gd name="T44" fmla="*/ 11 w 1727"/>
              <a:gd name="T45" fmla="*/ 995 h 1727"/>
              <a:gd name="T46" fmla="*/ 1 w 1727"/>
              <a:gd name="T47" fmla="*/ 886 h 1727"/>
              <a:gd name="T48" fmla="*/ 5 w 1727"/>
              <a:gd name="T49" fmla="*/ 774 h 1727"/>
              <a:gd name="T50" fmla="*/ 28 w 1727"/>
              <a:gd name="T51" fmla="*/ 647 h 1727"/>
              <a:gd name="T52" fmla="*/ 105 w 1727"/>
              <a:gd name="T53" fmla="*/ 452 h 1727"/>
              <a:gd name="T54" fmla="*/ 225 w 1727"/>
              <a:gd name="T55" fmla="*/ 283 h 1727"/>
              <a:gd name="T56" fmla="*/ 381 w 1727"/>
              <a:gd name="T57" fmla="*/ 147 h 1727"/>
              <a:gd name="T58" fmla="*/ 567 w 1727"/>
              <a:gd name="T59" fmla="*/ 52 h 1727"/>
              <a:gd name="T60" fmla="*/ 732 w 1727"/>
              <a:gd name="T61" fmla="*/ 10 h 1727"/>
              <a:gd name="T62" fmla="*/ 841 w 1727"/>
              <a:gd name="T63" fmla="*/ 0 h 1727"/>
              <a:gd name="T64" fmla="*/ 1262 w 1727"/>
              <a:gd name="T65" fmla="*/ 329 h 1727"/>
              <a:gd name="T66" fmla="*/ 1123 w 1727"/>
              <a:gd name="T67" fmla="*/ 250 h 1727"/>
              <a:gd name="T68" fmla="*/ 965 w 1727"/>
              <a:gd name="T69" fmla="*/ 204 h 1727"/>
              <a:gd name="T70" fmla="*/ 796 w 1727"/>
              <a:gd name="T71" fmla="*/ 200 h 1727"/>
              <a:gd name="T72" fmla="*/ 635 w 1727"/>
              <a:gd name="T73" fmla="*/ 238 h 1727"/>
              <a:gd name="T74" fmla="*/ 491 w 1727"/>
              <a:gd name="T75" fmla="*/ 310 h 1727"/>
              <a:gd name="T76" fmla="*/ 370 w 1727"/>
              <a:gd name="T77" fmla="*/ 415 h 1727"/>
              <a:gd name="T78" fmla="*/ 278 w 1727"/>
              <a:gd name="T79" fmla="*/ 545 h 1727"/>
              <a:gd name="T80" fmla="*/ 218 w 1727"/>
              <a:gd name="T81" fmla="*/ 697 h 1727"/>
              <a:gd name="T82" fmla="*/ 198 w 1727"/>
              <a:gd name="T83" fmla="*/ 863 h 1727"/>
              <a:gd name="T84" fmla="*/ 218 w 1727"/>
              <a:gd name="T85" fmla="*/ 1029 h 1727"/>
              <a:gd name="T86" fmla="*/ 278 w 1727"/>
              <a:gd name="T87" fmla="*/ 1181 h 1727"/>
              <a:gd name="T88" fmla="*/ 370 w 1727"/>
              <a:gd name="T89" fmla="*/ 1311 h 1727"/>
              <a:gd name="T90" fmla="*/ 491 w 1727"/>
              <a:gd name="T91" fmla="*/ 1416 h 1727"/>
              <a:gd name="T92" fmla="*/ 635 w 1727"/>
              <a:gd name="T93" fmla="*/ 1489 h 1727"/>
              <a:gd name="T94" fmla="*/ 796 w 1727"/>
              <a:gd name="T95" fmla="*/ 1526 h 1727"/>
              <a:gd name="T96" fmla="*/ 965 w 1727"/>
              <a:gd name="T97" fmla="*/ 1522 h 1727"/>
              <a:gd name="T98" fmla="*/ 1123 w 1727"/>
              <a:gd name="T99" fmla="*/ 1478 h 1727"/>
              <a:gd name="T100" fmla="*/ 1262 w 1727"/>
              <a:gd name="T101" fmla="*/ 1398 h 1727"/>
              <a:gd name="T102" fmla="*/ 1378 w 1727"/>
              <a:gd name="T103" fmla="*/ 1287 h 1727"/>
              <a:gd name="T104" fmla="*/ 1464 w 1727"/>
              <a:gd name="T105" fmla="*/ 1152 h 1727"/>
              <a:gd name="T106" fmla="*/ 1516 w 1727"/>
              <a:gd name="T107" fmla="*/ 998 h 1727"/>
              <a:gd name="T108" fmla="*/ 1529 w 1727"/>
              <a:gd name="T109" fmla="*/ 828 h 1727"/>
              <a:gd name="T110" fmla="*/ 1500 w 1727"/>
              <a:gd name="T111" fmla="*/ 665 h 1727"/>
              <a:gd name="T112" fmla="*/ 1434 w 1727"/>
              <a:gd name="T113" fmla="*/ 517 h 1727"/>
              <a:gd name="T114" fmla="*/ 1335 w 1727"/>
              <a:gd name="T115" fmla="*/ 392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7" h="1727">
                <a:moveTo>
                  <a:pt x="864" y="0"/>
                </a:moveTo>
                <a:lnTo>
                  <a:pt x="886" y="0"/>
                </a:lnTo>
                <a:lnTo>
                  <a:pt x="908" y="1"/>
                </a:lnTo>
                <a:lnTo>
                  <a:pt x="930" y="2"/>
                </a:lnTo>
                <a:lnTo>
                  <a:pt x="952" y="4"/>
                </a:lnTo>
                <a:lnTo>
                  <a:pt x="974" y="7"/>
                </a:lnTo>
                <a:lnTo>
                  <a:pt x="996" y="10"/>
                </a:lnTo>
                <a:lnTo>
                  <a:pt x="1016" y="13"/>
                </a:lnTo>
                <a:lnTo>
                  <a:pt x="1038" y="17"/>
                </a:lnTo>
                <a:lnTo>
                  <a:pt x="1080" y="27"/>
                </a:lnTo>
                <a:lnTo>
                  <a:pt x="1121" y="39"/>
                </a:lnTo>
                <a:lnTo>
                  <a:pt x="1161" y="52"/>
                </a:lnTo>
                <a:lnTo>
                  <a:pt x="1200" y="68"/>
                </a:lnTo>
                <a:lnTo>
                  <a:pt x="1238" y="85"/>
                </a:lnTo>
                <a:lnTo>
                  <a:pt x="1275" y="104"/>
                </a:lnTo>
                <a:lnTo>
                  <a:pt x="1311" y="124"/>
                </a:lnTo>
                <a:lnTo>
                  <a:pt x="1347" y="147"/>
                </a:lnTo>
                <a:lnTo>
                  <a:pt x="1380" y="172"/>
                </a:lnTo>
                <a:lnTo>
                  <a:pt x="1413" y="197"/>
                </a:lnTo>
                <a:lnTo>
                  <a:pt x="1444" y="224"/>
                </a:lnTo>
                <a:lnTo>
                  <a:pt x="1474" y="253"/>
                </a:lnTo>
                <a:lnTo>
                  <a:pt x="1503" y="283"/>
                </a:lnTo>
                <a:lnTo>
                  <a:pt x="1530" y="314"/>
                </a:lnTo>
                <a:lnTo>
                  <a:pt x="1555" y="347"/>
                </a:lnTo>
                <a:lnTo>
                  <a:pt x="1580" y="380"/>
                </a:lnTo>
                <a:lnTo>
                  <a:pt x="1602" y="416"/>
                </a:lnTo>
                <a:lnTo>
                  <a:pt x="1623" y="452"/>
                </a:lnTo>
                <a:lnTo>
                  <a:pt x="1641" y="489"/>
                </a:lnTo>
                <a:lnTo>
                  <a:pt x="1659" y="527"/>
                </a:lnTo>
                <a:lnTo>
                  <a:pt x="1675" y="566"/>
                </a:lnTo>
                <a:lnTo>
                  <a:pt x="1688" y="606"/>
                </a:lnTo>
                <a:lnTo>
                  <a:pt x="1700" y="647"/>
                </a:lnTo>
                <a:lnTo>
                  <a:pt x="1710" y="689"/>
                </a:lnTo>
                <a:lnTo>
                  <a:pt x="1714" y="711"/>
                </a:lnTo>
                <a:lnTo>
                  <a:pt x="1717" y="731"/>
                </a:lnTo>
                <a:lnTo>
                  <a:pt x="1720" y="753"/>
                </a:lnTo>
                <a:lnTo>
                  <a:pt x="1722" y="774"/>
                </a:lnTo>
                <a:lnTo>
                  <a:pt x="1725" y="797"/>
                </a:lnTo>
                <a:lnTo>
                  <a:pt x="1726" y="819"/>
                </a:lnTo>
                <a:lnTo>
                  <a:pt x="1727" y="841"/>
                </a:lnTo>
                <a:lnTo>
                  <a:pt x="1727" y="863"/>
                </a:lnTo>
                <a:lnTo>
                  <a:pt x="1727" y="886"/>
                </a:lnTo>
                <a:lnTo>
                  <a:pt x="1726" y="907"/>
                </a:lnTo>
                <a:lnTo>
                  <a:pt x="1725" y="930"/>
                </a:lnTo>
                <a:lnTo>
                  <a:pt x="1722" y="952"/>
                </a:lnTo>
                <a:lnTo>
                  <a:pt x="1720" y="973"/>
                </a:lnTo>
                <a:lnTo>
                  <a:pt x="1717" y="995"/>
                </a:lnTo>
                <a:lnTo>
                  <a:pt x="1714" y="1016"/>
                </a:lnTo>
                <a:lnTo>
                  <a:pt x="1710" y="1037"/>
                </a:lnTo>
                <a:lnTo>
                  <a:pt x="1700" y="1079"/>
                </a:lnTo>
                <a:lnTo>
                  <a:pt x="1688" y="1120"/>
                </a:lnTo>
                <a:lnTo>
                  <a:pt x="1675" y="1160"/>
                </a:lnTo>
                <a:lnTo>
                  <a:pt x="1659" y="1199"/>
                </a:lnTo>
                <a:lnTo>
                  <a:pt x="1641" y="1238"/>
                </a:lnTo>
                <a:lnTo>
                  <a:pt x="1623" y="1274"/>
                </a:lnTo>
                <a:lnTo>
                  <a:pt x="1602" y="1311"/>
                </a:lnTo>
                <a:lnTo>
                  <a:pt x="1580" y="1346"/>
                </a:lnTo>
                <a:lnTo>
                  <a:pt x="1555" y="1379"/>
                </a:lnTo>
                <a:lnTo>
                  <a:pt x="1530" y="1413"/>
                </a:lnTo>
                <a:lnTo>
                  <a:pt x="1503" y="1444"/>
                </a:lnTo>
                <a:lnTo>
                  <a:pt x="1474" y="1473"/>
                </a:lnTo>
                <a:lnTo>
                  <a:pt x="1444" y="1502"/>
                </a:lnTo>
                <a:lnTo>
                  <a:pt x="1413" y="1529"/>
                </a:lnTo>
                <a:lnTo>
                  <a:pt x="1380" y="1555"/>
                </a:lnTo>
                <a:lnTo>
                  <a:pt x="1347" y="1579"/>
                </a:lnTo>
                <a:lnTo>
                  <a:pt x="1311" y="1602"/>
                </a:lnTo>
                <a:lnTo>
                  <a:pt x="1275" y="1622"/>
                </a:lnTo>
                <a:lnTo>
                  <a:pt x="1238" y="1642"/>
                </a:lnTo>
                <a:lnTo>
                  <a:pt x="1200" y="1659"/>
                </a:lnTo>
                <a:lnTo>
                  <a:pt x="1161" y="1674"/>
                </a:lnTo>
                <a:lnTo>
                  <a:pt x="1121" y="1688"/>
                </a:lnTo>
                <a:lnTo>
                  <a:pt x="1080" y="1699"/>
                </a:lnTo>
                <a:lnTo>
                  <a:pt x="1038" y="1709"/>
                </a:lnTo>
                <a:lnTo>
                  <a:pt x="1016" y="1713"/>
                </a:lnTo>
                <a:lnTo>
                  <a:pt x="996" y="1716"/>
                </a:lnTo>
                <a:lnTo>
                  <a:pt x="974" y="1719"/>
                </a:lnTo>
                <a:lnTo>
                  <a:pt x="952" y="1722"/>
                </a:lnTo>
                <a:lnTo>
                  <a:pt x="930" y="1724"/>
                </a:lnTo>
                <a:lnTo>
                  <a:pt x="908" y="1726"/>
                </a:lnTo>
                <a:lnTo>
                  <a:pt x="886" y="1726"/>
                </a:lnTo>
                <a:lnTo>
                  <a:pt x="864" y="1727"/>
                </a:lnTo>
                <a:lnTo>
                  <a:pt x="841" y="1726"/>
                </a:lnTo>
                <a:lnTo>
                  <a:pt x="820" y="1726"/>
                </a:lnTo>
                <a:lnTo>
                  <a:pt x="797" y="1724"/>
                </a:lnTo>
                <a:lnTo>
                  <a:pt x="775" y="1722"/>
                </a:lnTo>
                <a:lnTo>
                  <a:pt x="754" y="1719"/>
                </a:lnTo>
                <a:lnTo>
                  <a:pt x="732" y="1716"/>
                </a:lnTo>
                <a:lnTo>
                  <a:pt x="711" y="1713"/>
                </a:lnTo>
                <a:lnTo>
                  <a:pt x="690" y="1709"/>
                </a:lnTo>
                <a:lnTo>
                  <a:pt x="648" y="1699"/>
                </a:lnTo>
                <a:lnTo>
                  <a:pt x="607" y="1688"/>
                </a:lnTo>
                <a:lnTo>
                  <a:pt x="567" y="1674"/>
                </a:lnTo>
                <a:lnTo>
                  <a:pt x="528" y="1659"/>
                </a:lnTo>
                <a:lnTo>
                  <a:pt x="489" y="1642"/>
                </a:lnTo>
                <a:lnTo>
                  <a:pt x="452" y="1622"/>
                </a:lnTo>
                <a:lnTo>
                  <a:pt x="416" y="1602"/>
                </a:lnTo>
                <a:lnTo>
                  <a:pt x="381" y="1579"/>
                </a:lnTo>
                <a:lnTo>
                  <a:pt x="348" y="1555"/>
                </a:lnTo>
                <a:lnTo>
                  <a:pt x="314" y="1529"/>
                </a:lnTo>
                <a:lnTo>
                  <a:pt x="283" y="1502"/>
                </a:lnTo>
                <a:lnTo>
                  <a:pt x="254" y="1473"/>
                </a:lnTo>
                <a:lnTo>
                  <a:pt x="225" y="1444"/>
                </a:lnTo>
                <a:lnTo>
                  <a:pt x="198" y="1413"/>
                </a:lnTo>
                <a:lnTo>
                  <a:pt x="172" y="1379"/>
                </a:lnTo>
                <a:lnTo>
                  <a:pt x="148" y="1346"/>
                </a:lnTo>
                <a:lnTo>
                  <a:pt x="125" y="1311"/>
                </a:lnTo>
                <a:lnTo>
                  <a:pt x="105" y="1274"/>
                </a:lnTo>
                <a:lnTo>
                  <a:pt x="85" y="1238"/>
                </a:lnTo>
                <a:lnTo>
                  <a:pt x="68" y="1199"/>
                </a:lnTo>
                <a:lnTo>
                  <a:pt x="53" y="1160"/>
                </a:lnTo>
                <a:lnTo>
                  <a:pt x="39" y="1120"/>
                </a:lnTo>
                <a:lnTo>
                  <a:pt x="28" y="1079"/>
                </a:lnTo>
                <a:lnTo>
                  <a:pt x="18" y="1037"/>
                </a:lnTo>
                <a:lnTo>
                  <a:pt x="14" y="1016"/>
                </a:lnTo>
                <a:lnTo>
                  <a:pt x="11" y="995"/>
                </a:lnTo>
                <a:lnTo>
                  <a:pt x="8" y="973"/>
                </a:lnTo>
                <a:lnTo>
                  <a:pt x="5" y="952"/>
                </a:lnTo>
                <a:lnTo>
                  <a:pt x="3" y="930"/>
                </a:lnTo>
                <a:lnTo>
                  <a:pt x="1" y="907"/>
                </a:lnTo>
                <a:lnTo>
                  <a:pt x="1" y="886"/>
                </a:lnTo>
                <a:lnTo>
                  <a:pt x="0" y="863"/>
                </a:lnTo>
                <a:lnTo>
                  <a:pt x="1" y="841"/>
                </a:lnTo>
                <a:lnTo>
                  <a:pt x="1" y="819"/>
                </a:lnTo>
                <a:lnTo>
                  <a:pt x="3" y="797"/>
                </a:lnTo>
                <a:lnTo>
                  <a:pt x="5" y="774"/>
                </a:lnTo>
                <a:lnTo>
                  <a:pt x="8" y="753"/>
                </a:lnTo>
                <a:lnTo>
                  <a:pt x="11" y="731"/>
                </a:lnTo>
                <a:lnTo>
                  <a:pt x="14" y="711"/>
                </a:lnTo>
                <a:lnTo>
                  <a:pt x="18" y="689"/>
                </a:lnTo>
                <a:lnTo>
                  <a:pt x="28" y="647"/>
                </a:lnTo>
                <a:lnTo>
                  <a:pt x="39" y="606"/>
                </a:lnTo>
                <a:lnTo>
                  <a:pt x="53" y="566"/>
                </a:lnTo>
                <a:lnTo>
                  <a:pt x="68" y="527"/>
                </a:lnTo>
                <a:lnTo>
                  <a:pt x="85" y="489"/>
                </a:lnTo>
                <a:lnTo>
                  <a:pt x="105" y="452"/>
                </a:lnTo>
                <a:lnTo>
                  <a:pt x="125" y="416"/>
                </a:lnTo>
                <a:lnTo>
                  <a:pt x="148" y="380"/>
                </a:lnTo>
                <a:lnTo>
                  <a:pt x="172" y="347"/>
                </a:lnTo>
                <a:lnTo>
                  <a:pt x="198" y="314"/>
                </a:lnTo>
                <a:lnTo>
                  <a:pt x="225" y="283"/>
                </a:lnTo>
                <a:lnTo>
                  <a:pt x="254" y="253"/>
                </a:lnTo>
                <a:lnTo>
                  <a:pt x="283" y="224"/>
                </a:lnTo>
                <a:lnTo>
                  <a:pt x="314" y="197"/>
                </a:lnTo>
                <a:lnTo>
                  <a:pt x="348" y="172"/>
                </a:lnTo>
                <a:lnTo>
                  <a:pt x="381" y="147"/>
                </a:lnTo>
                <a:lnTo>
                  <a:pt x="416" y="124"/>
                </a:lnTo>
                <a:lnTo>
                  <a:pt x="452" y="104"/>
                </a:lnTo>
                <a:lnTo>
                  <a:pt x="489" y="85"/>
                </a:lnTo>
                <a:lnTo>
                  <a:pt x="528" y="68"/>
                </a:lnTo>
                <a:lnTo>
                  <a:pt x="567" y="52"/>
                </a:lnTo>
                <a:lnTo>
                  <a:pt x="607" y="39"/>
                </a:lnTo>
                <a:lnTo>
                  <a:pt x="648" y="27"/>
                </a:lnTo>
                <a:lnTo>
                  <a:pt x="690" y="17"/>
                </a:lnTo>
                <a:lnTo>
                  <a:pt x="711" y="13"/>
                </a:lnTo>
                <a:lnTo>
                  <a:pt x="732" y="10"/>
                </a:lnTo>
                <a:lnTo>
                  <a:pt x="754" y="7"/>
                </a:lnTo>
                <a:lnTo>
                  <a:pt x="775" y="4"/>
                </a:lnTo>
                <a:lnTo>
                  <a:pt x="797" y="2"/>
                </a:lnTo>
                <a:lnTo>
                  <a:pt x="820" y="1"/>
                </a:lnTo>
                <a:lnTo>
                  <a:pt x="841" y="0"/>
                </a:lnTo>
                <a:lnTo>
                  <a:pt x="864" y="0"/>
                </a:lnTo>
                <a:close/>
                <a:moveTo>
                  <a:pt x="1335" y="392"/>
                </a:moveTo>
                <a:lnTo>
                  <a:pt x="1312" y="369"/>
                </a:lnTo>
                <a:lnTo>
                  <a:pt x="1287" y="349"/>
                </a:lnTo>
                <a:lnTo>
                  <a:pt x="1262" y="329"/>
                </a:lnTo>
                <a:lnTo>
                  <a:pt x="1237" y="310"/>
                </a:lnTo>
                <a:lnTo>
                  <a:pt x="1210" y="293"/>
                </a:lnTo>
                <a:lnTo>
                  <a:pt x="1181" y="278"/>
                </a:lnTo>
                <a:lnTo>
                  <a:pt x="1152" y="263"/>
                </a:lnTo>
                <a:lnTo>
                  <a:pt x="1123" y="250"/>
                </a:lnTo>
                <a:lnTo>
                  <a:pt x="1093" y="238"/>
                </a:lnTo>
                <a:lnTo>
                  <a:pt x="1062" y="227"/>
                </a:lnTo>
                <a:lnTo>
                  <a:pt x="1030" y="218"/>
                </a:lnTo>
                <a:lnTo>
                  <a:pt x="998" y="211"/>
                </a:lnTo>
                <a:lnTo>
                  <a:pt x="965" y="204"/>
                </a:lnTo>
                <a:lnTo>
                  <a:pt x="932" y="200"/>
                </a:lnTo>
                <a:lnTo>
                  <a:pt x="898" y="198"/>
                </a:lnTo>
                <a:lnTo>
                  <a:pt x="864" y="197"/>
                </a:lnTo>
                <a:lnTo>
                  <a:pt x="829" y="198"/>
                </a:lnTo>
                <a:lnTo>
                  <a:pt x="796" y="200"/>
                </a:lnTo>
                <a:lnTo>
                  <a:pt x="762" y="204"/>
                </a:lnTo>
                <a:lnTo>
                  <a:pt x="729" y="211"/>
                </a:lnTo>
                <a:lnTo>
                  <a:pt x="698" y="218"/>
                </a:lnTo>
                <a:lnTo>
                  <a:pt x="665" y="227"/>
                </a:lnTo>
                <a:lnTo>
                  <a:pt x="635" y="238"/>
                </a:lnTo>
                <a:lnTo>
                  <a:pt x="605" y="250"/>
                </a:lnTo>
                <a:lnTo>
                  <a:pt x="575" y="263"/>
                </a:lnTo>
                <a:lnTo>
                  <a:pt x="546" y="278"/>
                </a:lnTo>
                <a:lnTo>
                  <a:pt x="518" y="293"/>
                </a:lnTo>
                <a:lnTo>
                  <a:pt x="491" y="310"/>
                </a:lnTo>
                <a:lnTo>
                  <a:pt x="465" y="329"/>
                </a:lnTo>
                <a:lnTo>
                  <a:pt x="440" y="349"/>
                </a:lnTo>
                <a:lnTo>
                  <a:pt x="416" y="369"/>
                </a:lnTo>
                <a:lnTo>
                  <a:pt x="392" y="392"/>
                </a:lnTo>
                <a:lnTo>
                  <a:pt x="370" y="415"/>
                </a:lnTo>
                <a:lnTo>
                  <a:pt x="350" y="440"/>
                </a:lnTo>
                <a:lnTo>
                  <a:pt x="329" y="464"/>
                </a:lnTo>
                <a:lnTo>
                  <a:pt x="311" y="490"/>
                </a:lnTo>
                <a:lnTo>
                  <a:pt x="294" y="517"/>
                </a:lnTo>
                <a:lnTo>
                  <a:pt x="278" y="545"/>
                </a:lnTo>
                <a:lnTo>
                  <a:pt x="263" y="575"/>
                </a:lnTo>
                <a:lnTo>
                  <a:pt x="249" y="604"/>
                </a:lnTo>
                <a:lnTo>
                  <a:pt x="238" y="634"/>
                </a:lnTo>
                <a:lnTo>
                  <a:pt x="227" y="665"/>
                </a:lnTo>
                <a:lnTo>
                  <a:pt x="218" y="697"/>
                </a:lnTo>
                <a:lnTo>
                  <a:pt x="211" y="729"/>
                </a:lnTo>
                <a:lnTo>
                  <a:pt x="205" y="761"/>
                </a:lnTo>
                <a:lnTo>
                  <a:pt x="201" y="795"/>
                </a:lnTo>
                <a:lnTo>
                  <a:pt x="199" y="828"/>
                </a:lnTo>
                <a:lnTo>
                  <a:pt x="198" y="863"/>
                </a:lnTo>
                <a:lnTo>
                  <a:pt x="199" y="898"/>
                </a:lnTo>
                <a:lnTo>
                  <a:pt x="201" y="931"/>
                </a:lnTo>
                <a:lnTo>
                  <a:pt x="205" y="965"/>
                </a:lnTo>
                <a:lnTo>
                  <a:pt x="211" y="998"/>
                </a:lnTo>
                <a:lnTo>
                  <a:pt x="218" y="1029"/>
                </a:lnTo>
                <a:lnTo>
                  <a:pt x="227" y="1062"/>
                </a:lnTo>
                <a:lnTo>
                  <a:pt x="238" y="1092"/>
                </a:lnTo>
                <a:lnTo>
                  <a:pt x="249" y="1122"/>
                </a:lnTo>
                <a:lnTo>
                  <a:pt x="263" y="1152"/>
                </a:lnTo>
                <a:lnTo>
                  <a:pt x="278" y="1181"/>
                </a:lnTo>
                <a:lnTo>
                  <a:pt x="294" y="1209"/>
                </a:lnTo>
                <a:lnTo>
                  <a:pt x="311" y="1236"/>
                </a:lnTo>
                <a:lnTo>
                  <a:pt x="329" y="1262"/>
                </a:lnTo>
                <a:lnTo>
                  <a:pt x="350" y="1287"/>
                </a:lnTo>
                <a:lnTo>
                  <a:pt x="370" y="1311"/>
                </a:lnTo>
                <a:lnTo>
                  <a:pt x="392" y="1335"/>
                </a:lnTo>
                <a:lnTo>
                  <a:pt x="416" y="1357"/>
                </a:lnTo>
                <a:lnTo>
                  <a:pt x="440" y="1377"/>
                </a:lnTo>
                <a:lnTo>
                  <a:pt x="465" y="1398"/>
                </a:lnTo>
                <a:lnTo>
                  <a:pt x="491" y="1416"/>
                </a:lnTo>
                <a:lnTo>
                  <a:pt x="518" y="1433"/>
                </a:lnTo>
                <a:lnTo>
                  <a:pt x="546" y="1449"/>
                </a:lnTo>
                <a:lnTo>
                  <a:pt x="575" y="1463"/>
                </a:lnTo>
                <a:lnTo>
                  <a:pt x="605" y="1478"/>
                </a:lnTo>
                <a:lnTo>
                  <a:pt x="635" y="1489"/>
                </a:lnTo>
                <a:lnTo>
                  <a:pt x="665" y="1500"/>
                </a:lnTo>
                <a:lnTo>
                  <a:pt x="698" y="1509"/>
                </a:lnTo>
                <a:lnTo>
                  <a:pt x="729" y="1516"/>
                </a:lnTo>
                <a:lnTo>
                  <a:pt x="762" y="1522"/>
                </a:lnTo>
                <a:lnTo>
                  <a:pt x="796" y="1526"/>
                </a:lnTo>
                <a:lnTo>
                  <a:pt x="829" y="1528"/>
                </a:lnTo>
                <a:lnTo>
                  <a:pt x="864" y="1529"/>
                </a:lnTo>
                <a:lnTo>
                  <a:pt x="898" y="1528"/>
                </a:lnTo>
                <a:lnTo>
                  <a:pt x="932" y="1526"/>
                </a:lnTo>
                <a:lnTo>
                  <a:pt x="965" y="1522"/>
                </a:lnTo>
                <a:lnTo>
                  <a:pt x="998" y="1516"/>
                </a:lnTo>
                <a:lnTo>
                  <a:pt x="1030" y="1509"/>
                </a:lnTo>
                <a:lnTo>
                  <a:pt x="1062" y="1500"/>
                </a:lnTo>
                <a:lnTo>
                  <a:pt x="1093" y="1489"/>
                </a:lnTo>
                <a:lnTo>
                  <a:pt x="1123" y="1478"/>
                </a:lnTo>
                <a:lnTo>
                  <a:pt x="1152" y="1463"/>
                </a:lnTo>
                <a:lnTo>
                  <a:pt x="1181" y="1449"/>
                </a:lnTo>
                <a:lnTo>
                  <a:pt x="1210" y="1433"/>
                </a:lnTo>
                <a:lnTo>
                  <a:pt x="1237" y="1416"/>
                </a:lnTo>
                <a:lnTo>
                  <a:pt x="1262" y="1398"/>
                </a:lnTo>
                <a:lnTo>
                  <a:pt x="1287" y="1377"/>
                </a:lnTo>
                <a:lnTo>
                  <a:pt x="1312" y="1357"/>
                </a:lnTo>
                <a:lnTo>
                  <a:pt x="1335" y="1335"/>
                </a:lnTo>
                <a:lnTo>
                  <a:pt x="1357" y="1311"/>
                </a:lnTo>
                <a:lnTo>
                  <a:pt x="1378" y="1287"/>
                </a:lnTo>
                <a:lnTo>
                  <a:pt x="1397" y="1262"/>
                </a:lnTo>
                <a:lnTo>
                  <a:pt x="1416" y="1236"/>
                </a:lnTo>
                <a:lnTo>
                  <a:pt x="1434" y="1209"/>
                </a:lnTo>
                <a:lnTo>
                  <a:pt x="1449" y="1181"/>
                </a:lnTo>
                <a:lnTo>
                  <a:pt x="1464" y="1152"/>
                </a:lnTo>
                <a:lnTo>
                  <a:pt x="1477" y="1122"/>
                </a:lnTo>
                <a:lnTo>
                  <a:pt x="1489" y="1092"/>
                </a:lnTo>
                <a:lnTo>
                  <a:pt x="1500" y="1062"/>
                </a:lnTo>
                <a:lnTo>
                  <a:pt x="1509" y="1029"/>
                </a:lnTo>
                <a:lnTo>
                  <a:pt x="1516" y="998"/>
                </a:lnTo>
                <a:lnTo>
                  <a:pt x="1523" y="965"/>
                </a:lnTo>
                <a:lnTo>
                  <a:pt x="1527" y="931"/>
                </a:lnTo>
                <a:lnTo>
                  <a:pt x="1529" y="898"/>
                </a:lnTo>
                <a:lnTo>
                  <a:pt x="1530" y="863"/>
                </a:lnTo>
                <a:lnTo>
                  <a:pt x="1529" y="828"/>
                </a:lnTo>
                <a:lnTo>
                  <a:pt x="1527" y="795"/>
                </a:lnTo>
                <a:lnTo>
                  <a:pt x="1523" y="761"/>
                </a:lnTo>
                <a:lnTo>
                  <a:pt x="1516" y="729"/>
                </a:lnTo>
                <a:lnTo>
                  <a:pt x="1509" y="697"/>
                </a:lnTo>
                <a:lnTo>
                  <a:pt x="1500" y="665"/>
                </a:lnTo>
                <a:lnTo>
                  <a:pt x="1489" y="634"/>
                </a:lnTo>
                <a:lnTo>
                  <a:pt x="1477" y="604"/>
                </a:lnTo>
                <a:lnTo>
                  <a:pt x="1464" y="575"/>
                </a:lnTo>
                <a:lnTo>
                  <a:pt x="1449" y="545"/>
                </a:lnTo>
                <a:lnTo>
                  <a:pt x="1434" y="517"/>
                </a:lnTo>
                <a:lnTo>
                  <a:pt x="1416" y="490"/>
                </a:lnTo>
                <a:lnTo>
                  <a:pt x="1397" y="464"/>
                </a:lnTo>
                <a:lnTo>
                  <a:pt x="1378" y="440"/>
                </a:lnTo>
                <a:lnTo>
                  <a:pt x="1357" y="415"/>
                </a:lnTo>
                <a:lnTo>
                  <a:pt x="1335" y="392"/>
                </a:lnTo>
                <a:close/>
              </a:path>
            </a:pathLst>
          </a:custGeom>
          <a:solidFill>
            <a:srgbClr val="CE202A"/>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p:cNvSpPr>
          <p:nvPr/>
        </p:nvSpPr>
        <p:spPr bwMode="auto">
          <a:xfrm>
            <a:off x="3910883" y="2910328"/>
            <a:ext cx="260835" cy="260835"/>
          </a:xfrm>
          <a:custGeom>
            <a:avLst/>
            <a:gdLst>
              <a:gd name="T0" fmla="*/ 285 w 517"/>
              <a:gd name="T1" fmla="*/ 1 h 517"/>
              <a:gd name="T2" fmla="*/ 324 w 517"/>
              <a:gd name="T3" fmla="*/ 7 h 517"/>
              <a:gd name="T4" fmla="*/ 359 w 517"/>
              <a:gd name="T5" fmla="*/ 20 h 517"/>
              <a:gd name="T6" fmla="*/ 393 w 517"/>
              <a:gd name="T7" fmla="*/ 37 h 517"/>
              <a:gd name="T8" fmla="*/ 423 w 517"/>
              <a:gd name="T9" fmla="*/ 58 h 517"/>
              <a:gd name="T10" fmla="*/ 450 w 517"/>
              <a:gd name="T11" fmla="*/ 84 h 517"/>
              <a:gd name="T12" fmla="*/ 473 w 517"/>
              <a:gd name="T13" fmla="*/ 113 h 517"/>
              <a:gd name="T14" fmla="*/ 492 w 517"/>
              <a:gd name="T15" fmla="*/ 146 h 517"/>
              <a:gd name="T16" fmla="*/ 505 w 517"/>
              <a:gd name="T17" fmla="*/ 181 h 517"/>
              <a:gd name="T18" fmla="*/ 514 w 517"/>
              <a:gd name="T19" fmla="*/ 219 h 517"/>
              <a:gd name="T20" fmla="*/ 517 w 517"/>
              <a:gd name="T21" fmla="*/ 258 h 517"/>
              <a:gd name="T22" fmla="*/ 514 w 517"/>
              <a:gd name="T23" fmla="*/ 298 h 517"/>
              <a:gd name="T24" fmla="*/ 505 w 517"/>
              <a:gd name="T25" fmla="*/ 335 h 517"/>
              <a:gd name="T26" fmla="*/ 492 w 517"/>
              <a:gd name="T27" fmla="*/ 370 h 517"/>
              <a:gd name="T28" fmla="*/ 473 w 517"/>
              <a:gd name="T29" fmla="*/ 403 h 517"/>
              <a:gd name="T30" fmla="*/ 450 w 517"/>
              <a:gd name="T31" fmla="*/ 432 h 517"/>
              <a:gd name="T32" fmla="*/ 423 w 517"/>
              <a:gd name="T33" fmla="*/ 458 h 517"/>
              <a:gd name="T34" fmla="*/ 393 w 517"/>
              <a:gd name="T35" fmla="*/ 479 h 517"/>
              <a:gd name="T36" fmla="*/ 359 w 517"/>
              <a:gd name="T37" fmla="*/ 497 h 517"/>
              <a:gd name="T38" fmla="*/ 324 w 517"/>
              <a:gd name="T39" fmla="*/ 509 h 517"/>
              <a:gd name="T40" fmla="*/ 285 w 517"/>
              <a:gd name="T41" fmla="*/ 515 h 517"/>
              <a:gd name="T42" fmla="*/ 245 w 517"/>
              <a:gd name="T43" fmla="*/ 516 h 517"/>
              <a:gd name="T44" fmla="*/ 207 w 517"/>
              <a:gd name="T45" fmla="*/ 512 h 517"/>
              <a:gd name="T46" fmla="*/ 170 w 517"/>
              <a:gd name="T47" fmla="*/ 501 h 517"/>
              <a:gd name="T48" fmla="*/ 136 w 517"/>
              <a:gd name="T49" fmla="*/ 486 h 517"/>
              <a:gd name="T50" fmla="*/ 105 w 517"/>
              <a:gd name="T51" fmla="*/ 465 h 517"/>
              <a:gd name="T52" fmla="*/ 76 w 517"/>
              <a:gd name="T53" fmla="*/ 441 h 517"/>
              <a:gd name="T54" fmla="*/ 52 w 517"/>
              <a:gd name="T55" fmla="*/ 412 h 517"/>
              <a:gd name="T56" fmla="*/ 31 w 517"/>
              <a:gd name="T57" fmla="*/ 381 h 517"/>
              <a:gd name="T58" fmla="*/ 16 w 517"/>
              <a:gd name="T59" fmla="*/ 347 h 517"/>
              <a:gd name="T60" fmla="*/ 5 w 517"/>
              <a:gd name="T61" fmla="*/ 310 h 517"/>
              <a:gd name="T62" fmla="*/ 1 w 517"/>
              <a:gd name="T63" fmla="*/ 271 h 517"/>
              <a:gd name="T64" fmla="*/ 2 w 517"/>
              <a:gd name="T65" fmla="*/ 232 h 517"/>
              <a:gd name="T66" fmla="*/ 8 w 517"/>
              <a:gd name="T67" fmla="*/ 193 h 517"/>
              <a:gd name="T68" fmla="*/ 20 w 517"/>
              <a:gd name="T69" fmla="*/ 158 h 517"/>
              <a:gd name="T70" fmla="*/ 38 w 517"/>
              <a:gd name="T71" fmla="*/ 124 h 517"/>
              <a:gd name="T72" fmla="*/ 59 w 517"/>
              <a:gd name="T73" fmla="*/ 94 h 517"/>
              <a:gd name="T74" fmla="*/ 85 w 517"/>
              <a:gd name="T75" fmla="*/ 67 h 517"/>
              <a:gd name="T76" fmla="*/ 114 w 517"/>
              <a:gd name="T77" fmla="*/ 44 h 517"/>
              <a:gd name="T78" fmla="*/ 147 w 517"/>
              <a:gd name="T79" fmla="*/ 25 h 517"/>
              <a:gd name="T80" fmla="*/ 182 w 517"/>
              <a:gd name="T81" fmla="*/ 12 h 517"/>
              <a:gd name="T82" fmla="*/ 219 w 517"/>
              <a:gd name="T83" fmla="*/ 3 h 517"/>
              <a:gd name="T84" fmla="*/ 259 w 517"/>
              <a:gd name="T85" fmla="*/ 0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7" h="517">
                <a:moveTo>
                  <a:pt x="259" y="0"/>
                </a:moveTo>
                <a:lnTo>
                  <a:pt x="272" y="0"/>
                </a:lnTo>
                <a:lnTo>
                  <a:pt x="285" y="1"/>
                </a:lnTo>
                <a:lnTo>
                  <a:pt x="298" y="3"/>
                </a:lnTo>
                <a:lnTo>
                  <a:pt x="311" y="5"/>
                </a:lnTo>
                <a:lnTo>
                  <a:pt x="324" y="7"/>
                </a:lnTo>
                <a:lnTo>
                  <a:pt x="336" y="12"/>
                </a:lnTo>
                <a:lnTo>
                  <a:pt x="347" y="15"/>
                </a:lnTo>
                <a:lnTo>
                  <a:pt x="359" y="20"/>
                </a:lnTo>
                <a:lnTo>
                  <a:pt x="371" y="25"/>
                </a:lnTo>
                <a:lnTo>
                  <a:pt x="382" y="31"/>
                </a:lnTo>
                <a:lnTo>
                  <a:pt x="393" y="37"/>
                </a:lnTo>
                <a:lnTo>
                  <a:pt x="404" y="44"/>
                </a:lnTo>
                <a:lnTo>
                  <a:pt x="413" y="51"/>
                </a:lnTo>
                <a:lnTo>
                  <a:pt x="423" y="58"/>
                </a:lnTo>
                <a:lnTo>
                  <a:pt x="433" y="67"/>
                </a:lnTo>
                <a:lnTo>
                  <a:pt x="441" y="75"/>
                </a:lnTo>
                <a:lnTo>
                  <a:pt x="450" y="84"/>
                </a:lnTo>
                <a:lnTo>
                  <a:pt x="458" y="94"/>
                </a:lnTo>
                <a:lnTo>
                  <a:pt x="466" y="104"/>
                </a:lnTo>
                <a:lnTo>
                  <a:pt x="473" y="113"/>
                </a:lnTo>
                <a:lnTo>
                  <a:pt x="479" y="124"/>
                </a:lnTo>
                <a:lnTo>
                  <a:pt x="486" y="135"/>
                </a:lnTo>
                <a:lnTo>
                  <a:pt x="492" y="146"/>
                </a:lnTo>
                <a:lnTo>
                  <a:pt x="497" y="158"/>
                </a:lnTo>
                <a:lnTo>
                  <a:pt x="502" y="169"/>
                </a:lnTo>
                <a:lnTo>
                  <a:pt x="505" y="181"/>
                </a:lnTo>
                <a:lnTo>
                  <a:pt x="509" y="193"/>
                </a:lnTo>
                <a:lnTo>
                  <a:pt x="512" y="206"/>
                </a:lnTo>
                <a:lnTo>
                  <a:pt x="514" y="219"/>
                </a:lnTo>
                <a:lnTo>
                  <a:pt x="516" y="232"/>
                </a:lnTo>
                <a:lnTo>
                  <a:pt x="517" y="245"/>
                </a:lnTo>
                <a:lnTo>
                  <a:pt x="517" y="258"/>
                </a:lnTo>
                <a:lnTo>
                  <a:pt x="517" y="271"/>
                </a:lnTo>
                <a:lnTo>
                  <a:pt x="516" y="285"/>
                </a:lnTo>
                <a:lnTo>
                  <a:pt x="514" y="298"/>
                </a:lnTo>
                <a:lnTo>
                  <a:pt x="512" y="310"/>
                </a:lnTo>
                <a:lnTo>
                  <a:pt x="509" y="323"/>
                </a:lnTo>
                <a:lnTo>
                  <a:pt x="505" y="335"/>
                </a:lnTo>
                <a:lnTo>
                  <a:pt x="502" y="347"/>
                </a:lnTo>
                <a:lnTo>
                  <a:pt x="497" y="358"/>
                </a:lnTo>
                <a:lnTo>
                  <a:pt x="492" y="370"/>
                </a:lnTo>
                <a:lnTo>
                  <a:pt x="486" y="381"/>
                </a:lnTo>
                <a:lnTo>
                  <a:pt x="479" y="392"/>
                </a:lnTo>
                <a:lnTo>
                  <a:pt x="473" y="403"/>
                </a:lnTo>
                <a:lnTo>
                  <a:pt x="466" y="412"/>
                </a:lnTo>
                <a:lnTo>
                  <a:pt x="458" y="422"/>
                </a:lnTo>
                <a:lnTo>
                  <a:pt x="450" y="432"/>
                </a:lnTo>
                <a:lnTo>
                  <a:pt x="441" y="441"/>
                </a:lnTo>
                <a:lnTo>
                  <a:pt x="433" y="449"/>
                </a:lnTo>
                <a:lnTo>
                  <a:pt x="423" y="458"/>
                </a:lnTo>
                <a:lnTo>
                  <a:pt x="413" y="465"/>
                </a:lnTo>
                <a:lnTo>
                  <a:pt x="404" y="473"/>
                </a:lnTo>
                <a:lnTo>
                  <a:pt x="393" y="479"/>
                </a:lnTo>
                <a:lnTo>
                  <a:pt x="382" y="486"/>
                </a:lnTo>
                <a:lnTo>
                  <a:pt x="371" y="491"/>
                </a:lnTo>
                <a:lnTo>
                  <a:pt x="359" y="497"/>
                </a:lnTo>
                <a:lnTo>
                  <a:pt x="347" y="501"/>
                </a:lnTo>
                <a:lnTo>
                  <a:pt x="336" y="505"/>
                </a:lnTo>
                <a:lnTo>
                  <a:pt x="324" y="509"/>
                </a:lnTo>
                <a:lnTo>
                  <a:pt x="311" y="512"/>
                </a:lnTo>
                <a:lnTo>
                  <a:pt x="298" y="514"/>
                </a:lnTo>
                <a:lnTo>
                  <a:pt x="285" y="515"/>
                </a:lnTo>
                <a:lnTo>
                  <a:pt x="272" y="516"/>
                </a:lnTo>
                <a:lnTo>
                  <a:pt x="259" y="517"/>
                </a:lnTo>
                <a:lnTo>
                  <a:pt x="245" y="516"/>
                </a:lnTo>
                <a:lnTo>
                  <a:pt x="232" y="515"/>
                </a:lnTo>
                <a:lnTo>
                  <a:pt x="219" y="514"/>
                </a:lnTo>
                <a:lnTo>
                  <a:pt x="207" y="512"/>
                </a:lnTo>
                <a:lnTo>
                  <a:pt x="194" y="509"/>
                </a:lnTo>
                <a:lnTo>
                  <a:pt x="182" y="505"/>
                </a:lnTo>
                <a:lnTo>
                  <a:pt x="170" y="501"/>
                </a:lnTo>
                <a:lnTo>
                  <a:pt x="158" y="497"/>
                </a:lnTo>
                <a:lnTo>
                  <a:pt x="147" y="491"/>
                </a:lnTo>
                <a:lnTo>
                  <a:pt x="136" y="486"/>
                </a:lnTo>
                <a:lnTo>
                  <a:pt x="125" y="479"/>
                </a:lnTo>
                <a:lnTo>
                  <a:pt x="114" y="473"/>
                </a:lnTo>
                <a:lnTo>
                  <a:pt x="105" y="465"/>
                </a:lnTo>
                <a:lnTo>
                  <a:pt x="95" y="458"/>
                </a:lnTo>
                <a:lnTo>
                  <a:pt x="85" y="449"/>
                </a:lnTo>
                <a:lnTo>
                  <a:pt x="76" y="441"/>
                </a:lnTo>
                <a:lnTo>
                  <a:pt x="68" y="432"/>
                </a:lnTo>
                <a:lnTo>
                  <a:pt x="59" y="422"/>
                </a:lnTo>
                <a:lnTo>
                  <a:pt x="52" y="412"/>
                </a:lnTo>
                <a:lnTo>
                  <a:pt x="44" y="403"/>
                </a:lnTo>
                <a:lnTo>
                  <a:pt x="38" y="392"/>
                </a:lnTo>
                <a:lnTo>
                  <a:pt x="31" y="381"/>
                </a:lnTo>
                <a:lnTo>
                  <a:pt x="26" y="370"/>
                </a:lnTo>
                <a:lnTo>
                  <a:pt x="20" y="358"/>
                </a:lnTo>
                <a:lnTo>
                  <a:pt x="16" y="347"/>
                </a:lnTo>
                <a:lnTo>
                  <a:pt x="12" y="335"/>
                </a:lnTo>
                <a:lnTo>
                  <a:pt x="8" y="323"/>
                </a:lnTo>
                <a:lnTo>
                  <a:pt x="5" y="310"/>
                </a:lnTo>
                <a:lnTo>
                  <a:pt x="3" y="298"/>
                </a:lnTo>
                <a:lnTo>
                  <a:pt x="2" y="285"/>
                </a:lnTo>
                <a:lnTo>
                  <a:pt x="1" y="271"/>
                </a:lnTo>
                <a:lnTo>
                  <a:pt x="0" y="258"/>
                </a:lnTo>
                <a:lnTo>
                  <a:pt x="1" y="245"/>
                </a:lnTo>
                <a:lnTo>
                  <a:pt x="2" y="232"/>
                </a:lnTo>
                <a:lnTo>
                  <a:pt x="3" y="219"/>
                </a:lnTo>
                <a:lnTo>
                  <a:pt x="5" y="206"/>
                </a:lnTo>
                <a:lnTo>
                  <a:pt x="8" y="193"/>
                </a:lnTo>
                <a:lnTo>
                  <a:pt x="12" y="181"/>
                </a:lnTo>
                <a:lnTo>
                  <a:pt x="16" y="169"/>
                </a:lnTo>
                <a:lnTo>
                  <a:pt x="20" y="158"/>
                </a:lnTo>
                <a:lnTo>
                  <a:pt x="26" y="146"/>
                </a:lnTo>
                <a:lnTo>
                  <a:pt x="31" y="135"/>
                </a:lnTo>
                <a:lnTo>
                  <a:pt x="38" y="124"/>
                </a:lnTo>
                <a:lnTo>
                  <a:pt x="44" y="113"/>
                </a:lnTo>
                <a:lnTo>
                  <a:pt x="52" y="104"/>
                </a:lnTo>
                <a:lnTo>
                  <a:pt x="59" y="94"/>
                </a:lnTo>
                <a:lnTo>
                  <a:pt x="68" y="84"/>
                </a:lnTo>
                <a:lnTo>
                  <a:pt x="76" y="75"/>
                </a:lnTo>
                <a:lnTo>
                  <a:pt x="85" y="67"/>
                </a:lnTo>
                <a:lnTo>
                  <a:pt x="95" y="58"/>
                </a:lnTo>
                <a:lnTo>
                  <a:pt x="105" y="51"/>
                </a:lnTo>
                <a:lnTo>
                  <a:pt x="114" y="44"/>
                </a:lnTo>
                <a:lnTo>
                  <a:pt x="125" y="37"/>
                </a:lnTo>
                <a:lnTo>
                  <a:pt x="136" y="31"/>
                </a:lnTo>
                <a:lnTo>
                  <a:pt x="147" y="25"/>
                </a:lnTo>
                <a:lnTo>
                  <a:pt x="158" y="20"/>
                </a:lnTo>
                <a:lnTo>
                  <a:pt x="170" y="15"/>
                </a:lnTo>
                <a:lnTo>
                  <a:pt x="182" y="12"/>
                </a:lnTo>
                <a:lnTo>
                  <a:pt x="194" y="7"/>
                </a:lnTo>
                <a:lnTo>
                  <a:pt x="207" y="5"/>
                </a:lnTo>
                <a:lnTo>
                  <a:pt x="219" y="3"/>
                </a:lnTo>
                <a:lnTo>
                  <a:pt x="232" y="1"/>
                </a:lnTo>
                <a:lnTo>
                  <a:pt x="245" y="0"/>
                </a:lnTo>
                <a:lnTo>
                  <a:pt x="259" y="0"/>
                </a:lnTo>
                <a:close/>
              </a:path>
            </a:pathLst>
          </a:custGeom>
          <a:solidFill>
            <a:srgbClr val="CE202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9" name="Group 78"/>
          <p:cNvGrpSpPr/>
          <p:nvPr/>
        </p:nvGrpSpPr>
        <p:grpSpPr>
          <a:xfrm>
            <a:off x="1355323" y="4321861"/>
            <a:ext cx="461246" cy="461246"/>
            <a:chOff x="2866981" y="4629046"/>
            <a:chExt cx="461246" cy="461246"/>
          </a:xfrm>
        </p:grpSpPr>
        <p:sp>
          <p:nvSpPr>
            <p:cNvPr id="80" name="Oval 79"/>
            <p:cNvSpPr/>
            <p:nvPr/>
          </p:nvSpPr>
          <p:spPr>
            <a:xfrm>
              <a:off x="2866981" y="4629046"/>
              <a:ext cx="461246" cy="461246"/>
            </a:xfrm>
            <a:prstGeom prst="ellipse">
              <a:avLst/>
            </a:prstGeom>
            <a:solidFill>
              <a:srgbClr val="CE202A"/>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latin typeface="+mj-lt"/>
              </a:endParaRPr>
            </a:p>
          </p:txBody>
        </p:sp>
        <p:sp>
          <p:nvSpPr>
            <p:cNvPr id="94" name="TextBox 93"/>
            <p:cNvSpPr txBox="1"/>
            <p:nvPr/>
          </p:nvSpPr>
          <p:spPr>
            <a:xfrm>
              <a:off x="2936164" y="4675003"/>
              <a:ext cx="301686" cy="369332"/>
            </a:xfrm>
            <a:prstGeom prst="rect">
              <a:avLst/>
            </a:prstGeom>
            <a:noFill/>
          </p:spPr>
          <p:txBody>
            <a:bodyPr wrap="none" rtlCol="0">
              <a:spAutoFit/>
            </a:bodyPr>
            <a:lstStyle/>
            <a:p>
              <a:r>
                <a:rPr lang="en-US" dirty="0" smtClean="0">
                  <a:solidFill>
                    <a:schemeClr val="bg1"/>
                  </a:solidFill>
                </a:rPr>
                <a:t>1</a:t>
              </a:r>
              <a:endParaRPr lang="en-US" dirty="0">
                <a:solidFill>
                  <a:schemeClr val="bg1"/>
                </a:solidFill>
              </a:endParaRPr>
            </a:p>
          </p:txBody>
        </p:sp>
      </p:grpSp>
      <p:grpSp>
        <p:nvGrpSpPr>
          <p:cNvPr id="116" name="Group 115"/>
          <p:cNvGrpSpPr/>
          <p:nvPr/>
        </p:nvGrpSpPr>
        <p:grpSpPr>
          <a:xfrm>
            <a:off x="3368227" y="4321861"/>
            <a:ext cx="461246" cy="461246"/>
            <a:chOff x="4988138" y="4172999"/>
            <a:chExt cx="461246" cy="461246"/>
          </a:xfrm>
        </p:grpSpPr>
        <p:sp>
          <p:nvSpPr>
            <p:cNvPr id="118" name="Oval 117"/>
            <p:cNvSpPr/>
            <p:nvPr/>
          </p:nvSpPr>
          <p:spPr>
            <a:xfrm>
              <a:off x="4988138" y="4172999"/>
              <a:ext cx="461246" cy="461246"/>
            </a:xfrm>
            <a:prstGeom prst="ellipse">
              <a:avLst/>
            </a:prstGeom>
            <a:solidFill>
              <a:srgbClr val="7F7F7F"/>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latin typeface="+mj-lt"/>
              </a:endParaRPr>
            </a:p>
          </p:txBody>
        </p:sp>
        <p:sp>
          <p:nvSpPr>
            <p:cNvPr id="119" name="TextBox 118"/>
            <p:cNvSpPr txBox="1"/>
            <p:nvPr/>
          </p:nvSpPr>
          <p:spPr>
            <a:xfrm>
              <a:off x="5067918" y="4227162"/>
              <a:ext cx="301686" cy="369332"/>
            </a:xfrm>
            <a:prstGeom prst="rect">
              <a:avLst/>
            </a:prstGeom>
            <a:noFill/>
          </p:spPr>
          <p:txBody>
            <a:bodyPr wrap="none" rtlCol="0">
              <a:spAutoFit/>
            </a:bodyPr>
            <a:lstStyle/>
            <a:p>
              <a:r>
                <a:rPr lang="en-US" dirty="0" smtClean="0">
                  <a:solidFill>
                    <a:schemeClr val="bg1"/>
                  </a:solidFill>
                </a:rPr>
                <a:t>2</a:t>
              </a:r>
              <a:endParaRPr lang="en-US" dirty="0">
                <a:solidFill>
                  <a:schemeClr val="bg1"/>
                </a:solidFill>
              </a:endParaRPr>
            </a:p>
          </p:txBody>
        </p:sp>
      </p:grpSp>
      <p:grpSp>
        <p:nvGrpSpPr>
          <p:cNvPr id="120" name="Group 119"/>
          <p:cNvGrpSpPr/>
          <p:nvPr/>
        </p:nvGrpSpPr>
        <p:grpSpPr>
          <a:xfrm>
            <a:off x="5381131" y="4321861"/>
            <a:ext cx="461246" cy="461246"/>
            <a:chOff x="3656026" y="2789667"/>
            <a:chExt cx="461246" cy="461246"/>
          </a:xfrm>
        </p:grpSpPr>
        <p:sp>
          <p:nvSpPr>
            <p:cNvPr id="121" name="Oval 120"/>
            <p:cNvSpPr/>
            <p:nvPr/>
          </p:nvSpPr>
          <p:spPr>
            <a:xfrm>
              <a:off x="3656026" y="2789667"/>
              <a:ext cx="461246" cy="461246"/>
            </a:xfrm>
            <a:prstGeom prst="ellipse">
              <a:avLst/>
            </a:prstGeom>
            <a:solidFill>
              <a:srgbClr val="E99E09"/>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latin typeface="+mj-lt"/>
              </a:endParaRPr>
            </a:p>
          </p:txBody>
        </p:sp>
        <p:sp>
          <p:nvSpPr>
            <p:cNvPr id="122" name="TextBox 121"/>
            <p:cNvSpPr txBox="1"/>
            <p:nvPr/>
          </p:nvSpPr>
          <p:spPr>
            <a:xfrm>
              <a:off x="3735055" y="2830517"/>
              <a:ext cx="301686" cy="369332"/>
            </a:xfrm>
            <a:prstGeom prst="rect">
              <a:avLst/>
            </a:prstGeom>
            <a:noFill/>
          </p:spPr>
          <p:txBody>
            <a:bodyPr wrap="none" rtlCol="0">
              <a:spAutoFit/>
            </a:bodyPr>
            <a:lstStyle/>
            <a:p>
              <a:r>
                <a:rPr lang="en-US" dirty="0" smtClean="0">
                  <a:solidFill>
                    <a:schemeClr val="bg1"/>
                  </a:solidFill>
                </a:rPr>
                <a:t>3</a:t>
              </a:r>
              <a:endParaRPr lang="en-US" dirty="0">
                <a:solidFill>
                  <a:schemeClr val="bg1"/>
                </a:solidFill>
              </a:endParaRPr>
            </a:p>
          </p:txBody>
        </p:sp>
      </p:grpSp>
      <p:grpSp>
        <p:nvGrpSpPr>
          <p:cNvPr id="123" name="Group 122"/>
          <p:cNvGrpSpPr/>
          <p:nvPr/>
        </p:nvGrpSpPr>
        <p:grpSpPr>
          <a:xfrm>
            <a:off x="7394035" y="4321861"/>
            <a:ext cx="461246" cy="461246"/>
            <a:chOff x="5814237" y="2417365"/>
            <a:chExt cx="461246" cy="461246"/>
          </a:xfrm>
        </p:grpSpPr>
        <p:sp>
          <p:nvSpPr>
            <p:cNvPr id="124" name="Oval 123"/>
            <p:cNvSpPr/>
            <p:nvPr/>
          </p:nvSpPr>
          <p:spPr>
            <a:xfrm>
              <a:off x="5814237" y="2417365"/>
              <a:ext cx="461246" cy="461246"/>
            </a:xfrm>
            <a:prstGeom prst="ellipse">
              <a:avLst/>
            </a:prstGeom>
            <a:solidFill>
              <a:srgbClr val="227C13"/>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latin typeface="+mj-lt"/>
              </a:endParaRPr>
            </a:p>
          </p:txBody>
        </p:sp>
        <p:sp>
          <p:nvSpPr>
            <p:cNvPr id="125" name="TextBox 124"/>
            <p:cNvSpPr txBox="1"/>
            <p:nvPr/>
          </p:nvSpPr>
          <p:spPr>
            <a:xfrm>
              <a:off x="5874836" y="2445900"/>
              <a:ext cx="301686" cy="369332"/>
            </a:xfrm>
            <a:prstGeom prst="rect">
              <a:avLst/>
            </a:prstGeom>
            <a:noFill/>
          </p:spPr>
          <p:txBody>
            <a:bodyPr wrap="none" rtlCol="0">
              <a:spAutoFit/>
            </a:bodyPr>
            <a:lstStyle/>
            <a:p>
              <a:r>
                <a:rPr lang="en-US" dirty="0" smtClean="0">
                  <a:solidFill>
                    <a:schemeClr val="bg1"/>
                  </a:solidFill>
                </a:rPr>
                <a:t>4</a:t>
              </a:r>
              <a:endParaRPr lang="en-US" dirty="0">
                <a:solidFill>
                  <a:schemeClr val="bg1"/>
                </a:solidFill>
              </a:endParaRPr>
            </a:p>
          </p:txBody>
        </p:sp>
      </p:grpSp>
      <p:sp>
        <p:nvSpPr>
          <p:cNvPr id="126" name="Rectangle 33"/>
          <p:cNvSpPr>
            <a:spLocks/>
          </p:cNvSpPr>
          <p:nvPr/>
        </p:nvSpPr>
        <p:spPr bwMode="auto">
          <a:xfrm>
            <a:off x="2829451" y="4829064"/>
            <a:ext cx="1775137"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pPr algn="ctr"/>
            <a:r>
              <a:rPr lang="fr-FR" sz="1100" b="1" dirty="0" smtClean="0"/>
              <a:t>Réglage adaptatif des paramètres de sélectivité de l’écoute.</a:t>
            </a:r>
            <a:endParaRPr lang="en-US" sz="1100" dirty="0"/>
          </a:p>
        </p:txBody>
      </p:sp>
      <p:sp>
        <p:nvSpPr>
          <p:cNvPr id="127" name="Rectangle 33"/>
          <p:cNvSpPr>
            <a:spLocks/>
          </p:cNvSpPr>
          <p:nvPr/>
        </p:nvSpPr>
        <p:spPr bwMode="auto">
          <a:xfrm>
            <a:off x="4788880" y="4829064"/>
            <a:ext cx="1775137"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pPr algn="ctr"/>
            <a:r>
              <a:rPr lang="en-US" sz="1100" b="1" dirty="0" smtClean="0"/>
              <a:t>Extrapolation </a:t>
            </a:r>
            <a:r>
              <a:rPr lang="en-US" sz="1100" b="1" dirty="0" err="1" smtClean="0"/>
              <a:t>d’indices</a:t>
            </a:r>
            <a:r>
              <a:rPr lang="en-US" sz="1100" b="1" dirty="0" smtClean="0"/>
              <a:t> </a:t>
            </a:r>
            <a:r>
              <a:rPr lang="en-US" sz="1100" b="1" dirty="0" err="1" smtClean="0"/>
              <a:t>strategiques</a:t>
            </a:r>
            <a:r>
              <a:rPr lang="en-US" sz="1100" b="1" dirty="0" smtClean="0"/>
              <a:t> pour la construction de </a:t>
            </a:r>
            <a:r>
              <a:rPr lang="en-US" sz="1100" b="1" dirty="0" err="1" smtClean="0"/>
              <a:t>l’émotion</a:t>
            </a:r>
            <a:r>
              <a:rPr lang="en-US" sz="1100" b="1" dirty="0" smtClean="0"/>
              <a:t> d’un client </a:t>
            </a:r>
            <a:r>
              <a:rPr lang="en-US" sz="1100" b="1" dirty="0" err="1" smtClean="0"/>
              <a:t>cible</a:t>
            </a:r>
            <a:r>
              <a:rPr lang="en-US" sz="1100" b="1" dirty="0" smtClean="0"/>
              <a:t> Lambda.</a:t>
            </a:r>
            <a:endParaRPr lang="en-US" sz="1100" dirty="0"/>
          </a:p>
        </p:txBody>
      </p:sp>
      <p:sp>
        <p:nvSpPr>
          <p:cNvPr id="128" name="Rectangle 33"/>
          <p:cNvSpPr>
            <a:spLocks/>
          </p:cNvSpPr>
          <p:nvPr/>
        </p:nvSpPr>
        <p:spPr bwMode="auto">
          <a:xfrm>
            <a:off x="6922480" y="4829064"/>
            <a:ext cx="1775137"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pPr algn="ctr"/>
            <a:r>
              <a:rPr lang="fr-FR" sz="1100" b="1" dirty="0" err="1" smtClean="0"/>
              <a:t>Profiling</a:t>
            </a:r>
            <a:r>
              <a:rPr lang="fr-FR" sz="1100" b="1" dirty="0" smtClean="0"/>
              <a:t> : Construction du profil social de l’entreprise cliente.</a:t>
            </a:r>
            <a:endParaRPr lang="en-US" sz="1100" dirty="0"/>
          </a:p>
        </p:txBody>
      </p:sp>
    </p:spTree>
    <p:custDataLst>
      <p:tags r:id="rId1"/>
    </p:custDataLst>
    <p:extLst>
      <p:ext uri="{BB962C8B-B14F-4D97-AF65-F5344CB8AC3E}">
        <p14:creationId xmlns:p14="http://schemas.microsoft.com/office/powerpoint/2010/main" val="31959487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p:cNvSpPr txBox="1"/>
          <p:nvPr>
            <p:custDataLst>
              <p:tags r:id="rId1"/>
            </p:custDataLst>
          </p:nvPr>
        </p:nvSpPr>
        <p:spPr>
          <a:xfrm>
            <a:off x="304800" y="4953000"/>
            <a:ext cx="1448473" cy="523220"/>
          </a:xfrm>
          <a:prstGeom prst="rect">
            <a:avLst/>
          </a:prstGeom>
          <a:noFill/>
        </p:spPr>
        <p:txBody>
          <a:bodyPr wrap="none" rtlCol="0">
            <a:spAutoFit/>
          </a:bodyPr>
          <a:lstStyle/>
          <a:p>
            <a:r>
              <a:rPr lang="id-ID" sz="2800" dirty="0" smtClean="0">
                <a:solidFill>
                  <a:schemeClr val="tx1">
                    <a:lumMod val="75000"/>
                    <a:lumOff val="25000"/>
                  </a:schemeClr>
                </a:solidFill>
                <a:latin typeface="Calibri Light" pitchFamily="34" charset="0"/>
              </a:rPr>
              <a:t>ANALYZE</a:t>
            </a:r>
            <a:endParaRPr lang="en-US" sz="2800" dirty="0">
              <a:solidFill>
                <a:schemeClr val="tx1">
                  <a:lumMod val="75000"/>
                  <a:lumOff val="25000"/>
                </a:schemeClr>
              </a:solidFill>
              <a:latin typeface="Calibri Light" pitchFamily="34" charset="0"/>
            </a:endParaRPr>
          </a:p>
        </p:txBody>
      </p:sp>
      <p:sp>
        <p:nvSpPr>
          <p:cNvPr id="45" name="Rectangle 44"/>
          <p:cNvSpPr/>
          <p:nvPr>
            <p:custDataLst>
              <p:tags r:id="rId2"/>
            </p:custDataLst>
          </p:nvPr>
        </p:nvSpPr>
        <p:spPr>
          <a:xfrm>
            <a:off x="0" y="5496580"/>
            <a:ext cx="9144000" cy="1361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flipH="1">
            <a:off x="0" y="5486400"/>
            <a:ext cx="9144000" cy="0"/>
          </a:xfrm>
          <a:prstGeom prst="line">
            <a:avLst/>
          </a:prstGeom>
          <a:ln w="12700">
            <a:solidFill>
              <a:srgbClr val="E74C3C"/>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20</a:t>
            </a:fld>
            <a:endParaRPr lang="en-US"/>
          </a:p>
        </p:txBody>
      </p:sp>
      <p:sp>
        <p:nvSpPr>
          <p:cNvPr id="47" name="Rectangle 46"/>
          <p:cNvSpPr/>
          <p:nvPr>
            <p:custDataLst>
              <p:tags r:id="rId3"/>
            </p:custDataLst>
          </p:nvPr>
        </p:nvSpPr>
        <p:spPr>
          <a:xfrm>
            <a:off x="304800" y="5648236"/>
            <a:ext cx="8305800" cy="600164"/>
          </a:xfrm>
          <a:prstGeom prst="rect">
            <a:avLst/>
          </a:prstGeom>
        </p:spPr>
        <p:txBody>
          <a:bodyPr wrap="square">
            <a:spAutoFit/>
          </a:bodyPr>
          <a:lstStyle/>
          <a:p>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a:t>
            </a:r>
            <a:r>
              <a:rPr lang="en-US" sz="1100" dirty="0" smtClean="0">
                <a:solidFill>
                  <a:schemeClr val="tx1">
                    <a:lumMod val="75000"/>
                    <a:lumOff val="25000"/>
                  </a:schemeClr>
                </a:solidFill>
                <a:latin typeface="Calibri Light" pitchFamily="34" charset="0"/>
              </a:rPr>
              <a:t>simply dummy text of the printing and </a:t>
            </a:r>
            <a:r>
              <a:rPr lang="en-US" sz="1100" dirty="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p>
        </p:txBody>
      </p:sp>
      <p:grpSp>
        <p:nvGrpSpPr>
          <p:cNvPr id="21" name="Group 20"/>
          <p:cNvGrpSpPr/>
          <p:nvPr/>
        </p:nvGrpSpPr>
        <p:grpSpPr>
          <a:xfrm>
            <a:off x="5088531" y="1758834"/>
            <a:ext cx="2743200" cy="2757962"/>
            <a:chOff x="5053733" y="1758834"/>
            <a:chExt cx="2743200" cy="2757962"/>
          </a:xfrm>
        </p:grpSpPr>
        <p:grpSp>
          <p:nvGrpSpPr>
            <p:cNvPr id="27" name="Group 26"/>
            <p:cNvGrpSpPr/>
            <p:nvPr/>
          </p:nvGrpSpPr>
          <p:grpSpPr>
            <a:xfrm flipH="1">
              <a:off x="5053733" y="2540079"/>
              <a:ext cx="2743200" cy="609600"/>
              <a:chOff x="1295400" y="2362200"/>
              <a:chExt cx="2743200" cy="609600"/>
            </a:xfrm>
          </p:grpSpPr>
          <p:cxnSp>
            <p:nvCxnSpPr>
              <p:cNvPr id="28" name="Straight Connector 27"/>
              <p:cNvCxnSpPr/>
              <p:nvPr/>
            </p:nvCxnSpPr>
            <p:spPr>
              <a:xfrm>
                <a:off x="1295400" y="2362200"/>
                <a:ext cx="2133600" cy="0"/>
              </a:xfrm>
              <a:prstGeom prst="line">
                <a:avLst/>
              </a:prstGeom>
              <a:ln w="12700">
                <a:solidFill>
                  <a:srgbClr val="E74C3C"/>
                </a:solidFill>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429000" y="2362200"/>
                <a:ext cx="609600" cy="609600"/>
              </a:xfrm>
              <a:prstGeom prst="line">
                <a:avLst/>
              </a:prstGeom>
              <a:ln w="12700">
                <a:solidFill>
                  <a:srgbClr val="E74C3C"/>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flipH="1" flipV="1">
              <a:off x="5053733" y="3099483"/>
              <a:ext cx="2743200" cy="609600"/>
              <a:chOff x="1295400" y="2362200"/>
              <a:chExt cx="2743200" cy="609600"/>
            </a:xfrm>
          </p:grpSpPr>
          <p:cxnSp>
            <p:nvCxnSpPr>
              <p:cNvPr id="34" name="Straight Connector 33"/>
              <p:cNvCxnSpPr/>
              <p:nvPr/>
            </p:nvCxnSpPr>
            <p:spPr>
              <a:xfrm>
                <a:off x="1295400" y="2362200"/>
                <a:ext cx="2133600" cy="0"/>
              </a:xfrm>
              <a:prstGeom prst="line">
                <a:avLst/>
              </a:prstGeom>
              <a:ln w="12700">
                <a:solidFill>
                  <a:srgbClr val="E74C3C"/>
                </a:solidFill>
                <a:head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429000" y="2362200"/>
                <a:ext cx="609600" cy="609600"/>
              </a:xfrm>
              <a:prstGeom prst="line">
                <a:avLst/>
              </a:prstGeom>
              <a:ln w="12700">
                <a:solidFill>
                  <a:srgbClr val="E74C3C"/>
                </a:solidFill>
              </a:ln>
            </p:spPr>
            <p:style>
              <a:lnRef idx="1">
                <a:schemeClr val="accent1"/>
              </a:lnRef>
              <a:fillRef idx="0">
                <a:schemeClr val="accent1"/>
              </a:fillRef>
              <a:effectRef idx="0">
                <a:schemeClr val="accent1"/>
              </a:effectRef>
              <a:fontRef idx="minor">
                <a:schemeClr val="tx1"/>
              </a:fontRef>
            </p:style>
          </p:cxnSp>
        </p:grpSp>
        <p:sp>
          <p:nvSpPr>
            <p:cNvPr id="39" name="Rectangle 38"/>
            <p:cNvSpPr/>
            <p:nvPr/>
          </p:nvSpPr>
          <p:spPr>
            <a:xfrm>
              <a:off x="6190130" y="1758834"/>
              <a:ext cx="1605463" cy="784830"/>
            </a:xfrm>
            <a:prstGeom prst="rect">
              <a:avLst/>
            </a:prstGeom>
          </p:spPr>
          <p:txBody>
            <a:bodyPr wrap="square">
              <a:spAutoFit/>
            </a:bodyPr>
            <a:lstStyle/>
            <a:p>
              <a:r>
                <a:rPr lang="id-ID" sz="1200" b="1" dirty="0" smtClean="0">
                  <a:solidFill>
                    <a:srgbClr val="7F8C8D"/>
                  </a:solidFill>
                  <a:latin typeface="Calibri Light" panose="020F0302020204030204" pitchFamily="34" charset="0"/>
                </a:rPr>
                <a:t>IDEA</a:t>
              </a:r>
              <a:endParaRPr lang="id-ID" sz="1200" dirty="0" smtClean="0">
                <a:solidFill>
                  <a:srgbClr val="7F8C8D"/>
                </a:solidFill>
                <a:latin typeface="Calibri Light" pitchFamily="34" charset="0"/>
              </a:endParaRPr>
            </a:p>
            <a:p>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40" name="Rectangle 39"/>
            <p:cNvSpPr/>
            <p:nvPr/>
          </p:nvSpPr>
          <p:spPr>
            <a:xfrm>
              <a:off x="6190130" y="3731966"/>
              <a:ext cx="1605463" cy="784830"/>
            </a:xfrm>
            <a:prstGeom prst="rect">
              <a:avLst/>
            </a:prstGeom>
          </p:spPr>
          <p:txBody>
            <a:bodyPr wrap="square">
              <a:spAutoFit/>
            </a:bodyPr>
            <a:lstStyle/>
            <a:p>
              <a:r>
                <a:rPr lang="id-ID" sz="1200" b="1" dirty="0" smtClean="0">
                  <a:solidFill>
                    <a:srgbClr val="7F8C8D"/>
                  </a:solidFill>
                  <a:latin typeface="Calibri Light" panose="020F0302020204030204" pitchFamily="34" charset="0"/>
                </a:rPr>
                <a:t>INNOVATION</a:t>
              </a:r>
              <a:endParaRPr lang="id-ID" sz="1200" dirty="0" smtClean="0">
                <a:solidFill>
                  <a:srgbClr val="7F8C8D"/>
                </a:solidFill>
                <a:latin typeface="Calibri Light" pitchFamily="34" charset="0"/>
              </a:endParaRPr>
            </a:p>
            <a:p>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grpSp>
          <p:nvGrpSpPr>
            <p:cNvPr id="41" name="Group 40"/>
            <p:cNvGrpSpPr/>
            <p:nvPr/>
          </p:nvGrpSpPr>
          <p:grpSpPr>
            <a:xfrm>
              <a:off x="5596496" y="3839662"/>
              <a:ext cx="539750" cy="559242"/>
              <a:chOff x="3009369" y="2439528"/>
              <a:chExt cx="664188" cy="688174"/>
            </a:xfrm>
            <a:solidFill>
              <a:srgbClr val="E74C3C"/>
            </a:solidFill>
          </p:grpSpPr>
          <p:sp>
            <p:nvSpPr>
              <p:cNvPr id="42" name="Freeform 77"/>
              <p:cNvSpPr>
                <a:spLocks noEditPoints="1"/>
              </p:cNvSpPr>
              <p:nvPr/>
            </p:nvSpPr>
            <p:spPr bwMode="auto">
              <a:xfrm>
                <a:off x="3132981" y="2563141"/>
                <a:ext cx="418808" cy="416963"/>
              </a:xfrm>
              <a:custGeom>
                <a:avLst/>
                <a:gdLst>
                  <a:gd name="T0" fmla="*/ 280 w 680"/>
                  <a:gd name="T1" fmla="*/ 46 h 680"/>
                  <a:gd name="T2" fmla="*/ 210 w 680"/>
                  <a:gd name="T3" fmla="*/ 70 h 680"/>
                  <a:gd name="T4" fmla="*/ 149 w 680"/>
                  <a:gd name="T5" fmla="*/ 108 h 680"/>
                  <a:gd name="T6" fmla="*/ 100 w 680"/>
                  <a:gd name="T7" fmla="*/ 160 h 680"/>
                  <a:gd name="T8" fmla="*/ 64 w 680"/>
                  <a:gd name="T9" fmla="*/ 223 h 680"/>
                  <a:gd name="T10" fmla="*/ 44 w 680"/>
                  <a:gd name="T11" fmla="*/ 295 h 680"/>
                  <a:gd name="T12" fmla="*/ 41 w 680"/>
                  <a:gd name="T13" fmla="*/ 370 h 680"/>
                  <a:gd name="T14" fmla="*/ 59 w 680"/>
                  <a:gd name="T15" fmla="*/ 442 h 680"/>
                  <a:gd name="T16" fmla="*/ 91 w 680"/>
                  <a:gd name="T17" fmla="*/ 507 h 680"/>
                  <a:gd name="T18" fmla="*/ 138 w 680"/>
                  <a:gd name="T19" fmla="*/ 562 h 680"/>
                  <a:gd name="T20" fmla="*/ 197 w 680"/>
                  <a:gd name="T21" fmla="*/ 604 h 680"/>
                  <a:gd name="T22" fmla="*/ 265 w 680"/>
                  <a:gd name="T23" fmla="*/ 630 h 680"/>
                  <a:gd name="T24" fmla="*/ 339 w 680"/>
                  <a:gd name="T25" fmla="*/ 640 h 680"/>
                  <a:gd name="T26" fmla="*/ 415 w 680"/>
                  <a:gd name="T27" fmla="*/ 630 h 680"/>
                  <a:gd name="T28" fmla="*/ 482 w 680"/>
                  <a:gd name="T29" fmla="*/ 604 h 680"/>
                  <a:gd name="T30" fmla="*/ 542 w 680"/>
                  <a:gd name="T31" fmla="*/ 562 h 680"/>
                  <a:gd name="T32" fmla="*/ 589 w 680"/>
                  <a:gd name="T33" fmla="*/ 507 h 680"/>
                  <a:gd name="T34" fmla="*/ 621 w 680"/>
                  <a:gd name="T35" fmla="*/ 442 h 680"/>
                  <a:gd name="T36" fmla="*/ 639 w 680"/>
                  <a:gd name="T37" fmla="*/ 370 h 680"/>
                  <a:gd name="T38" fmla="*/ 636 w 680"/>
                  <a:gd name="T39" fmla="*/ 295 h 680"/>
                  <a:gd name="T40" fmla="*/ 616 w 680"/>
                  <a:gd name="T41" fmla="*/ 223 h 680"/>
                  <a:gd name="T42" fmla="*/ 580 w 680"/>
                  <a:gd name="T43" fmla="*/ 160 h 680"/>
                  <a:gd name="T44" fmla="*/ 531 w 680"/>
                  <a:gd name="T45" fmla="*/ 108 h 680"/>
                  <a:gd name="T46" fmla="*/ 470 w 680"/>
                  <a:gd name="T47" fmla="*/ 70 h 680"/>
                  <a:gd name="T48" fmla="*/ 400 w 680"/>
                  <a:gd name="T49" fmla="*/ 46 h 680"/>
                  <a:gd name="T50" fmla="*/ 339 w 680"/>
                  <a:gd name="T51" fmla="*/ 680 h 680"/>
                  <a:gd name="T52" fmla="*/ 255 w 680"/>
                  <a:gd name="T53" fmla="*/ 669 h 680"/>
                  <a:gd name="T54" fmla="*/ 178 w 680"/>
                  <a:gd name="T55" fmla="*/ 639 h 680"/>
                  <a:gd name="T56" fmla="*/ 111 w 680"/>
                  <a:gd name="T57" fmla="*/ 592 h 680"/>
                  <a:gd name="T58" fmla="*/ 59 w 680"/>
                  <a:gd name="T59" fmla="*/ 529 h 680"/>
                  <a:gd name="T60" fmla="*/ 20 w 680"/>
                  <a:gd name="T61" fmla="*/ 456 h 680"/>
                  <a:gd name="T62" fmla="*/ 2 w 680"/>
                  <a:gd name="T63" fmla="*/ 374 h 680"/>
                  <a:gd name="T64" fmla="*/ 4 w 680"/>
                  <a:gd name="T65" fmla="*/ 288 h 680"/>
                  <a:gd name="T66" fmla="*/ 26 w 680"/>
                  <a:gd name="T67" fmla="*/ 208 h 680"/>
                  <a:gd name="T68" fmla="*/ 67 w 680"/>
                  <a:gd name="T69" fmla="*/ 137 h 680"/>
                  <a:gd name="T70" fmla="*/ 123 w 680"/>
                  <a:gd name="T71" fmla="*/ 77 h 680"/>
                  <a:gd name="T72" fmla="*/ 193 w 680"/>
                  <a:gd name="T73" fmla="*/ 34 h 680"/>
                  <a:gd name="T74" fmla="*/ 271 w 680"/>
                  <a:gd name="T75" fmla="*/ 6 h 680"/>
                  <a:gd name="T76" fmla="*/ 357 w 680"/>
                  <a:gd name="T77" fmla="*/ 0 h 680"/>
                  <a:gd name="T78" fmla="*/ 441 w 680"/>
                  <a:gd name="T79" fmla="*/ 15 h 680"/>
                  <a:gd name="T80" fmla="*/ 516 w 680"/>
                  <a:gd name="T81" fmla="*/ 49 h 680"/>
                  <a:gd name="T82" fmla="*/ 580 w 680"/>
                  <a:gd name="T83" fmla="*/ 100 h 680"/>
                  <a:gd name="T84" fmla="*/ 630 w 680"/>
                  <a:gd name="T85" fmla="*/ 164 h 680"/>
                  <a:gd name="T86" fmla="*/ 665 w 680"/>
                  <a:gd name="T87" fmla="*/ 239 h 680"/>
                  <a:gd name="T88" fmla="*/ 680 w 680"/>
                  <a:gd name="T89" fmla="*/ 322 h 680"/>
                  <a:gd name="T90" fmla="*/ 672 w 680"/>
                  <a:gd name="T91" fmla="*/ 408 h 680"/>
                  <a:gd name="T92" fmla="*/ 646 w 680"/>
                  <a:gd name="T93" fmla="*/ 487 h 680"/>
                  <a:gd name="T94" fmla="*/ 601 w 680"/>
                  <a:gd name="T95" fmla="*/ 555 h 680"/>
                  <a:gd name="T96" fmla="*/ 543 w 680"/>
                  <a:gd name="T97" fmla="*/ 613 h 680"/>
                  <a:gd name="T98" fmla="*/ 472 w 680"/>
                  <a:gd name="T99" fmla="*/ 652 h 680"/>
                  <a:gd name="T100" fmla="*/ 392 w 680"/>
                  <a:gd name="T101" fmla="*/ 67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680">
                    <a:moveTo>
                      <a:pt x="339" y="40"/>
                    </a:moveTo>
                    <a:lnTo>
                      <a:pt x="324" y="40"/>
                    </a:lnTo>
                    <a:lnTo>
                      <a:pt x="310" y="41"/>
                    </a:lnTo>
                    <a:lnTo>
                      <a:pt x="295" y="44"/>
                    </a:lnTo>
                    <a:lnTo>
                      <a:pt x="280" y="46"/>
                    </a:lnTo>
                    <a:lnTo>
                      <a:pt x="265" y="50"/>
                    </a:lnTo>
                    <a:lnTo>
                      <a:pt x="251" y="54"/>
                    </a:lnTo>
                    <a:lnTo>
                      <a:pt x="236" y="59"/>
                    </a:lnTo>
                    <a:lnTo>
                      <a:pt x="223" y="63"/>
                    </a:lnTo>
                    <a:lnTo>
                      <a:pt x="210" y="70"/>
                    </a:lnTo>
                    <a:lnTo>
                      <a:pt x="197" y="76"/>
                    </a:lnTo>
                    <a:lnTo>
                      <a:pt x="184" y="83"/>
                    </a:lnTo>
                    <a:lnTo>
                      <a:pt x="172" y="91"/>
                    </a:lnTo>
                    <a:lnTo>
                      <a:pt x="161" y="100"/>
                    </a:lnTo>
                    <a:lnTo>
                      <a:pt x="149" y="108"/>
                    </a:lnTo>
                    <a:lnTo>
                      <a:pt x="138" y="118"/>
                    </a:lnTo>
                    <a:lnTo>
                      <a:pt x="128" y="128"/>
                    </a:lnTo>
                    <a:lnTo>
                      <a:pt x="118" y="138"/>
                    </a:lnTo>
                    <a:lnTo>
                      <a:pt x="108" y="149"/>
                    </a:lnTo>
                    <a:lnTo>
                      <a:pt x="100" y="160"/>
                    </a:lnTo>
                    <a:lnTo>
                      <a:pt x="91" y="172"/>
                    </a:lnTo>
                    <a:lnTo>
                      <a:pt x="83" y="184"/>
                    </a:lnTo>
                    <a:lnTo>
                      <a:pt x="76" y="196"/>
                    </a:lnTo>
                    <a:lnTo>
                      <a:pt x="70" y="210"/>
                    </a:lnTo>
                    <a:lnTo>
                      <a:pt x="64" y="223"/>
                    </a:lnTo>
                    <a:lnTo>
                      <a:pt x="59" y="236"/>
                    </a:lnTo>
                    <a:lnTo>
                      <a:pt x="54" y="251"/>
                    </a:lnTo>
                    <a:lnTo>
                      <a:pt x="50" y="265"/>
                    </a:lnTo>
                    <a:lnTo>
                      <a:pt x="46" y="280"/>
                    </a:lnTo>
                    <a:lnTo>
                      <a:pt x="44" y="295"/>
                    </a:lnTo>
                    <a:lnTo>
                      <a:pt x="41" y="309"/>
                    </a:lnTo>
                    <a:lnTo>
                      <a:pt x="40" y="324"/>
                    </a:lnTo>
                    <a:lnTo>
                      <a:pt x="40" y="339"/>
                    </a:lnTo>
                    <a:lnTo>
                      <a:pt x="40" y="355"/>
                    </a:lnTo>
                    <a:lnTo>
                      <a:pt x="41" y="370"/>
                    </a:lnTo>
                    <a:lnTo>
                      <a:pt x="44" y="385"/>
                    </a:lnTo>
                    <a:lnTo>
                      <a:pt x="46" y="400"/>
                    </a:lnTo>
                    <a:lnTo>
                      <a:pt x="50" y="415"/>
                    </a:lnTo>
                    <a:lnTo>
                      <a:pt x="54" y="429"/>
                    </a:lnTo>
                    <a:lnTo>
                      <a:pt x="59" y="442"/>
                    </a:lnTo>
                    <a:lnTo>
                      <a:pt x="64" y="456"/>
                    </a:lnTo>
                    <a:lnTo>
                      <a:pt x="70" y="470"/>
                    </a:lnTo>
                    <a:lnTo>
                      <a:pt x="76" y="482"/>
                    </a:lnTo>
                    <a:lnTo>
                      <a:pt x="83" y="495"/>
                    </a:lnTo>
                    <a:lnTo>
                      <a:pt x="91" y="507"/>
                    </a:lnTo>
                    <a:lnTo>
                      <a:pt x="100" y="519"/>
                    </a:lnTo>
                    <a:lnTo>
                      <a:pt x="108" y="531"/>
                    </a:lnTo>
                    <a:lnTo>
                      <a:pt x="118" y="542"/>
                    </a:lnTo>
                    <a:lnTo>
                      <a:pt x="128" y="552"/>
                    </a:lnTo>
                    <a:lnTo>
                      <a:pt x="138" y="562"/>
                    </a:lnTo>
                    <a:lnTo>
                      <a:pt x="149" y="572"/>
                    </a:lnTo>
                    <a:lnTo>
                      <a:pt x="161" y="580"/>
                    </a:lnTo>
                    <a:lnTo>
                      <a:pt x="172" y="589"/>
                    </a:lnTo>
                    <a:lnTo>
                      <a:pt x="184" y="596"/>
                    </a:lnTo>
                    <a:lnTo>
                      <a:pt x="197" y="604"/>
                    </a:lnTo>
                    <a:lnTo>
                      <a:pt x="210" y="610"/>
                    </a:lnTo>
                    <a:lnTo>
                      <a:pt x="223" y="616"/>
                    </a:lnTo>
                    <a:lnTo>
                      <a:pt x="236" y="621"/>
                    </a:lnTo>
                    <a:lnTo>
                      <a:pt x="251" y="626"/>
                    </a:lnTo>
                    <a:lnTo>
                      <a:pt x="265" y="630"/>
                    </a:lnTo>
                    <a:lnTo>
                      <a:pt x="280" y="634"/>
                    </a:lnTo>
                    <a:lnTo>
                      <a:pt x="295" y="636"/>
                    </a:lnTo>
                    <a:lnTo>
                      <a:pt x="310" y="639"/>
                    </a:lnTo>
                    <a:lnTo>
                      <a:pt x="324" y="640"/>
                    </a:lnTo>
                    <a:lnTo>
                      <a:pt x="339" y="640"/>
                    </a:lnTo>
                    <a:lnTo>
                      <a:pt x="355" y="640"/>
                    </a:lnTo>
                    <a:lnTo>
                      <a:pt x="370" y="639"/>
                    </a:lnTo>
                    <a:lnTo>
                      <a:pt x="385" y="636"/>
                    </a:lnTo>
                    <a:lnTo>
                      <a:pt x="400" y="634"/>
                    </a:lnTo>
                    <a:lnTo>
                      <a:pt x="415" y="630"/>
                    </a:lnTo>
                    <a:lnTo>
                      <a:pt x="429" y="626"/>
                    </a:lnTo>
                    <a:lnTo>
                      <a:pt x="442" y="621"/>
                    </a:lnTo>
                    <a:lnTo>
                      <a:pt x="456" y="616"/>
                    </a:lnTo>
                    <a:lnTo>
                      <a:pt x="470" y="610"/>
                    </a:lnTo>
                    <a:lnTo>
                      <a:pt x="482" y="604"/>
                    </a:lnTo>
                    <a:lnTo>
                      <a:pt x="495" y="596"/>
                    </a:lnTo>
                    <a:lnTo>
                      <a:pt x="507" y="589"/>
                    </a:lnTo>
                    <a:lnTo>
                      <a:pt x="519" y="580"/>
                    </a:lnTo>
                    <a:lnTo>
                      <a:pt x="531" y="572"/>
                    </a:lnTo>
                    <a:lnTo>
                      <a:pt x="542" y="562"/>
                    </a:lnTo>
                    <a:lnTo>
                      <a:pt x="552" y="552"/>
                    </a:lnTo>
                    <a:lnTo>
                      <a:pt x="562" y="542"/>
                    </a:lnTo>
                    <a:lnTo>
                      <a:pt x="572" y="531"/>
                    </a:lnTo>
                    <a:lnTo>
                      <a:pt x="580" y="519"/>
                    </a:lnTo>
                    <a:lnTo>
                      <a:pt x="589" y="507"/>
                    </a:lnTo>
                    <a:lnTo>
                      <a:pt x="596" y="495"/>
                    </a:lnTo>
                    <a:lnTo>
                      <a:pt x="604" y="482"/>
                    </a:lnTo>
                    <a:lnTo>
                      <a:pt x="610" y="470"/>
                    </a:lnTo>
                    <a:lnTo>
                      <a:pt x="616" y="456"/>
                    </a:lnTo>
                    <a:lnTo>
                      <a:pt x="621" y="442"/>
                    </a:lnTo>
                    <a:lnTo>
                      <a:pt x="626" y="429"/>
                    </a:lnTo>
                    <a:lnTo>
                      <a:pt x="630" y="415"/>
                    </a:lnTo>
                    <a:lnTo>
                      <a:pt x="634" y="400"/>
                    </a:lnTo>
                    <a:lnTo>
                      <a:pt x="636" y="385"/>
                    </a:lnTo>
                    <a:lnTo>
                      <a:pt x="639" y="370"/>
                    </a:lnTo>
                    <a:lnTo>
                      <a:pt x="640" y="355"/>
                    </a:lnTo>
                    <a:lnTo>
                      <a:pt x="640" y="339"/>
                    </a:lnTo>
                    <a:lnTo>
                      <a:pt x="640" y="324"/>
                    </a:lnTo>
                    <a:lnTo>
                      <a:pt x="639" y="309"/>
                    </a:lnTo>
                    <a:lnTo>
                      <a:pt x="636" y="295"/>
                    </a:lnTo>
                    <a:lnTo>
                      <a:pt x="634" y="280"/>
                    </a:lnTo>
                    <a:lnTo>
                      <a:pt x="630" y="265"/>
                    </a:lnTo>
                    <a:lnTo>
                      <a:pt x="626" y="251"/>
                    </a:lnTo>
                    <a:lnTo>
                      <a:pt x="621" y="236"/>
                    </a:lnTo>
                    <a:lnTo>
                      <a:pt x="616" y="223"/>
                    </a:lnTo>
                    <a:lnTo>
                      <a:pt x="610" y="210"/>
                    </a:lnTo>
                    <a:lnTo>
                      <a:pt x="604" y="196"/>
                    </a:lnTo>
                    <a:lnTo>
                      <a:pt x="596" y="184"/>
                    </a:lnTo>
                    <a:lnTo>
                      <a:pt x="589" y="172"/>
                    </a:lnTo>
                    <a:lnTo>
                      <a:pt x="580" y="160"/>
                    </a:lnTo>
                    <a:lnTo>
                      <a:pt x="572" y="149"/>
                    </a:lnTo>
                    <a:lnTo>
                      <a:pt x="562" y="138"/>
                    </a:lnTo>
                    <a:lnTo>
                      <a:pt x="552" y="128"/>
                    </a:lnTo>
                    <a:lnTo>
                      <a:pt x="542" y="118"/>
                    </a:lnTo>
                    <a:lnTo>
                      <a:pt x="531" y="108"/>
                    </a:lnTo>
                    <a:lnTo>
                      <a:pt x="519" y="100"/>
                    </a:lnTo>
                    <a:lnTo>
                      <a:pt x="507" y="91"/>
                    </a:lnTo>
                    <a:lnTo>
                      <a:pt x="495" y="83"/>
                    </a:lnTo>
                    <a:lnTo>
                      <a:pt x="482" y="76"/>
                    </a:lnTo>
                    <a:lnTo>
                      <a:pt x="470" y="70"/>
                    </a:lnTo>
                    <a:lnTo>
                      <a:pt x="456" y="63"/>
                    </a:lnTo>
                    <a:lnTo>
                      <a:pt x="442" y="59"/>
                    </a:lnTo>
                    <a:lnTo>
                      <a:pt x="429" y="54"/>
                    </a:lnTo>
                    <a:lnTo>
                      <a:pt x="415" y="50"/>
                    </a:lnTo>
                    <a:lnTo>
                      <a:pt x="400" y="46"/>
                    </a:lnTo>
                    <a:lnTo>
                      <a:pt x="385" y="44"/>
                    </a:lnTo>
                    <a:lnTo>
                      <a:pt x="370" y="41"/>
                    </a:lnTo>
                    <a:lnTo>
                      <a:pt x="355" y="40"/>
                    </a:lnTo>
                    <a:lnTo>
                      <a:pt x="339" y="40"/>
                    </a:lnTo>
                    <a:close/>
                    <a:moveTo>
                      <a:pt x="339" y="680"/>
                    </a:moveTo>
                    <a:lnTo>
                      <a:pt x="322" y="680"/>
                    </a:lnTo>
                    <a:lnTo>
                      <a:pt x="305" y="678"/>
                    </a:lnTo>
                    <a:lnTo>
                      <a:pt x="288" y="676"/>
                    </a:lnTo>
                    <a:lnTo>
                      <a:pt x="271" y="672"/>
                    </a:lnTo>
                    <a:lnTo>
                      <a:pt x="255" y="669"/>
                    </a:lnTo>
                    <a:lnTo>
                      <a:pt x="239" y="665"/>
                    </a:lnTo>
                    <a:lnTo>
                      <a:pt x="223" y="659"/>
                    </a:lnTo>
                    <a:lnTo>
                      <a:pt x="208" y="652"/>
                    </a:lnTo>
                    <a:lnTo>
                      <a:pt x="193" y="646"/>
                    </a:lnTo>
                    <a:lnTo>
                      <a:pt x="178" y="639"/>
                    </a:lnTo>
                    <a:lnTo>
                      <a:pt x="164" y="630"/>
                    </a:lnTo>
                    <a:lnTo>
                      <a:pt x="149" y="621"/>
                    </a:lnTo>
                    <a:lnTo>
                      <a:pt x="137" y="613"/>
                    </a:lnTo>
                    <a:lnTo>
                      <a:pt x="123" y="601"/>
                    </a:lnTo>
                    <a:lnTo>
                      <a:pt x="111" y="592"/>
                    </a:lnTo>
                    <a:lnTo>
                      <a:pt x="100" y="580"/>
                    </a:lnTo>
                    <a:lnTo>
                      <a:pt x="88" y="568"/>
                    </a:lnTo>
                    <a:lnTo>
                      <a:pt x="77" y="555"/>
                    </a:lnTo>
                    <a:lnTo>
                      <a:pt x="67" y="543"/>
                    </a:lnTo>
                    <a:lnTo>
                      <a:pt x="59" y="529"/>
                    </a:lnTo>
                    <a:lnTo>
                      <a:pt x="49" y="516"/>
                    </a:lnTo>
                    <a:lnTo>
                      <a:pt x="41" y="502"/>
                    </a:lnTo>
                    <a:lnTo>
                      <a:pt x="34" y="487"/>
                    </a:lnTo>
                    <a:lnTo>
                      <a:pt x="26" y="472"/>
                    </a:lnTo>
                    <a:lnTo>
                      <a:pt x="20" y="456"/>
                    </a:lnTo>
                    <a:lnTo>
                      <a:pt x="15" y="441"/>
                    </a:lnTo>
                    <a:lnTo>
                      <a:pt x="10" y="425"/>
                    </a:lnTo>
                    <a:lnTo>
                      <a:pt x="6" y="408"/>
                    </a:lnTo>
                    <a:lnTo>
                      <a:pt x="4" y="391"/>
                    </a:lnTo>
                    <a:lnTo>
                      <a:pt x="2" y="374"/>
                    </a:lnTo>
                    <a:lnTo>
                      <a:pt x="0" y="357"/>
                    </a:lnTo>
                    <a:lnTo>
                      <a:pt x="0" y="339"/>
                    </a:lnTo>
                    <a:lnTo>
                      <a:pt x="0" y="322"/>
                    </a:lnTo>
                    <a:lnTo>
                      <a:pt x="2" y="305"/>
                    </a:lnTo>
                    <a:lnTo>
                      <a:pt x="4" y="288"/>
                    </a:lnTo>
                    <a:lnTo>
                      <a:pt x="6" y="271"/>
                    </a:lnTo>
                    <a:lnTo>
                      <a:pt x="10" y="255"/>
                    </a:lnTo>
                    <a:lnTo>
                      <a:pt x="15" y="239"/>
                    </a:lnTo>
                    <a:lnTo>
                      <a:pt x="20" y="223"/>
                    </a:lnTo>
                    <a:lnTo>
                      <a:pt x="26" y="208"/>
                    </a:lnTo>
                    <a:lnTo>
                      <a:pt x="34" y="193"/>
                    </a:lnTo>
                    <a:lnTo>
                      <a:pt x="41" y="178"/>
                    </a:lnTo>
                    <a:lnTo>
                      <a:pt x="49" y="164"/>
                    </a:lnTo>
                    <a:lnTo>
                      <a:pt x="59" y="149"/>
                    </a:lnTo>
                    <a:lnTo>
                      <a:pt x="67" y="137"/>
                    </a:lnTo>
                    <a:lnTo>
                      <a:pt x="77" y="123"/>
                    </a:lnTo>
                    <a:lnTo>
                      <a:pt x="88" y="111"/>
                    </a:lnTo>
                    <a:lnTo>
                      <a:pt x="100" y="100"/>
                    </a:lnTo>
                    <a:lnTo>
                      <a:pt x="111" y="88"/>
                    </a:lnTo>
                    <a:lnTo>
                      <a:pt x="123" y="77"/>
                    </a:lnTo>
                    <a:lnTo>
                      <a:pt x="137" y="67"/>
                    </a:lnTo>
                    <a:lnTo>
                      <a:pt x="149" y="59"/>
                    </a:lnTo>
                    <a:lnTo>
                      <a:pt x="164" y="49"/>
                    </a:lnTo>
                    <a:lnTo>
                      <a:pt x="178" y="41"/>
                    </a:lnTo>
                    <a:lnTo>
                      <a:pt x="193" y="34"/>
                    </a:lnTo>
                    <a:lnTo>
                      <a:pt x="208" y="26"/>
                    </a:lnTo>
                    <a:lnTo>
                      <a:pt x="223" y="20"/>
                    </a:lnTo>
                    <a:lnTo>
                      <a:pt x="239" y="15"/>
                    </a:lnTo>
                    <a:lnTo>
                      <a:pt x="255" y="10"/>
                    </a:lnTo>
                    <a:lnTo>
                      <a:pt x="271" y="6"/>
                    </a:lnTo>
                    <a:lnTo>
                      <a:pt x="288" y="4"/>
                    </a:lnTo>
                    <a:lnTo>
                      <a:pt x="305" y="1"/>
                    </a:lnTo>
                    <a:lnTo>
                      <a:pt x="322" y="0"/>
                    </a:lnTo>
                    <a:lnTo>
                      <a:pt x="339" y="0"/>
                    </a:lnTo>
                    <a:lnTo>
                      <a:pt x="357" y="0"/>
                    </a:lnTo>
                    <a:lnTo>
                      <a:pt x="374" y="1"/>
                    </a:lnTo>
                    <a:lnTo>
                      <a:pt x="392" y="4"/>
                    </a:lnTo>
                    <a:lnTo>
                      <a:pt x="408" y="6"/>
                    </a:lnTo>
                    <a:lnTo>
                      <a:pt x="425" y="10"/>
                    </a:lnTo>
                    <a:lnTo>
                      <a:pt x="441" y="15"/>
                    </a:lnTo>
                    <a:lnTo>
                      <a:pt x="456" y="20"/>
                    </a:lnTo>
                    <a:lnTo>
                      <a:pt x="472" y="26"/>
                    </a:lnTo>
                    <a:lnTo>
                      <a:pt x="487" y="34"/>
                    </a:lnTo>
                    <a:lnTo>
                      <a:pt x="502" y="41"/>
                    </a:lnTo>
                    <a:lnTo>
                      <a:pt x="516" y="49"/>
                    </a:lnTo>
                    <a:lnTo>
                      <a:pt x="529" y="59"/>
                    </a:lnTo>
                    <a:lnTo>
                      <a:pt x="543" y="67"/>
                    </a:lnTo>
                    <a:lnTo>
                      <a:pt x="555" y="77"/>
                    </a:lnTo>
                    <a:lnTo>
                      <a:pt x="568" y="88"/>
                    </a:lnTo>
                    <a:lnTo>
                      <a:pt x="580" y="100"/>
                    </a:lnTo>
                    <a:lnTo>
                      <a:pt x="591" y="111"/>
                    </a:lnTo>
                    <a:lnTo>
                      <a:pt x="601" y="123"/>
                    </a:lnTo>
                    <a:lnTo>
                      <a:pt x="613" y="137"/>
                    </a:lnTo>
                    <a:lnTo>
                      <a:pt x="621" y="149"/>
                    </a:lnTo>
                    <a:lnTo>
                      <a:pt x="630" y="164"/>
                    </a:lnTo>
                    <a:lnTo>
                      <a:pt x="639" y="178"/>
                    </a:lnTo>
                    <a:lnTo>
                      <a:pt x="646" y="193"/>
                    </a:lnTo>
                    <a:lnTo>
                      <a:pt x="652" y="208"/>
                    </a:lnTo>
                    <a:lnTo>
                      <a:pt x="659" y="223"/>
                    </a:lnTo>
                    <a:lnTo>
                      <a:pt x="665" y="239"/>
                    </a:lnTo>
                    <a:lnTo>
                      <a:pt x="668" y="255"/>
                    </a:lnTo>
                    <a:lnTo>
                      <a:pt x="672" y="271"/>
                    </a:lnTo>
                    <a:lnTo>
                      <a:pt x="676" y="288"/>
                    </a:lnTo>
                    <a:lnTo>
                      <a:pt x="678" y="305"/>
                    </a:lnTo>
                    <a:lnTo>
                      <a:pt x="680" y="322"/>
                    </a:lnTo>
                    <a:lnTo>
                      <a:pt x="680" y="339"/>
                    </a:lnTo>
                    <a:lnTo>
                      <a:pt x="680" y="357"/>
                    </a:lnTo>
                    <a:lnTo>
                      <a:pt x="678" y="374"/>
                    </a:lnTo>
                    <a:lnTo>
                      <a:pt x="676" y="391"/>
                    </a:lnTo>
                    <a:lnTo>
                      <a:pt x="672" y="408"/>
                    </a:lnTo>
                    <a:lnTo>
                      <a:pt x="668" y="425"/>
                    </a:lnTo>
                    <a:lnTo>
                      <a:pt x="665" y="441"/>
                    </a:lnTo>
                    <a:lnTo>
                      <a:pt x="659" y="456"/>
                    </a:lnTo>
                    <a:lnTo>
                      <a:pt x="652" y="472"/>
                    </a:lnTo>
                    <a:lnTo>
                      <a:pt x="646" y="487"/>
                    </a:lnTo>
                    <a:lnTo>
                      <a:pt x="639" y="502"/>
                    </a:lnTo>
                    <a:lnTo>
                      <a:pt x="630" y="516"/>
                    </a:lnTo>
                    <a:lnTo>
                      <a:pt x="621" y="529"/>
                    </a:lnTo>
                    <a:lnTo>
                      <a:pt x="613" y="543"/>
                    </a:lnTo>
                    <a:lnTo>
                      <a:pt x="601" y="555"/>
                    </a:lnTo>
                    <a:lnTo>
                      <a:pt x="591" y="568"/>
                    </a:lnTo>
                    <a:lnTo>
                      <a:pt x="580" y="580"/>
                    </a:lnTo>
                    <a:lnTo>
                      <a:pt x="568" y="592"/>
                    </a:lnTo>
                    <a:lnTo>
                      <a:pt x="555" y="601"/>
                    </a:lnTo>
                    <a:lnTo>
                      <a:pt x="543" y="613"/>
                    </a:lnTo>
                    <a:lnTo>
                      <a:pt x="529" y="621"/>
                    </a:lnTo>
                    <a:lnTo>
                      <a:pt x="516" y="630"/>
                    </a:lnTo>
                    <a:lnTo>
                      <a:pt x="502" y="639"/>
                    </a:lnTo>
                    <a:lnTo>
                      <a:pt x="487" y="646"/>
                    </a:lnTo>
                    <a:lnTo>
                      <a:pt x="472" y="652"/>
                    </a:lnTo>
                    <a:lnTo>
                      <a:pt x="456" y="659"/>
                    </a:lnTo>
                    <a:lnTo>
                      <a:pt x="441" y="665"/>
                    </a:lnTo>
                    <a:lnTo>
                      <a:pt x="425" y="669"/>
                    </a:lnTo>
                    <a:lnTo>
                      <a:pt x="408" y="672"/>
                    </a:lnTo>
                    <a:lnTo>
                      <a:pt x="392" y="676"/>
                    </a:lnTo>
                    <a:lnTo>
                      <a:pt x="374" y="678"/>
                    </a:lnTo>
                    <a:lnTo>
                      <a:pt x="357" y="680"/>
                    </a:lnTo>
                    <a:lnTo>
                      <a:pt x="339"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78"/>
              <p:cNvSpPr>
                <a:spLocks/>
              </p:cNvSpPr>
              <p:nvPr/>
            </p:nvSpPr>
            <p:spPr bwMode="auto">
              <a:xfrm>
                <a:off x="3232610" y="2932135"/>
                <a:ext cx="219551" cy="195567"/>
              </a:xfrm>
              <a:custGeom>
                <a:avLst/>
                <a:gdLst>
                  <a:gd name="T0" fmla="*/ 339 w 358"/>
                  <a:gd name="T1" fmla="*/ 319 h 319"/>
                  <a:gd name="T2" fmla="*/ 19 w 358"/>
                  <a:gd name="T3" fmla="*/ 319 h 319"/>
                  <a:gd name="T4" fmla="*/ 14 w 358"/>
                  <a:gd name="T5" fmla="*/ 319 h 319"/>
                  <a:gd name="T6" fmla="*/ 11 w 358"/>
                  <a:gd name="T7" fmla="*/ 318 h 319"/>
                  <a:gd name="T8" fmla="*/ 8 w 358"/>
                  <a:gd name="T9" fmla="*/ 316 h 319"/>
                  <a:gd name="T10" fmla="*/ 4 w 358"/>
                  <a:gd name="T11" fmla="*/ 313 h 319"/>
                  <a:gd name="T12" fmla="*/ 2 w 358"/>
                  <a:gd name="T13" fmla="*/ 311 h 319"/>
                  <a:gd name="T14" fmla="*/ 1 w 358"/>
                  <a:gd name="T15" fmla="*/ 307 h 319"/>
                  <a:gd name="T16" fmla="*/ 0 w 358"/>
                  <a:gd name="T17" fmla="*/ 303 h 319"/>
                  <a:gd name="T18" fmla="*/ 0 w 358"/>
                  <a:gd name="T19" fmla="*/ 300 h 319"/>
                  <a:gd name="T20" fmla="*/ 0 w 358"/>
                  <a:gd name="T21" fmla="*/ 20 h 319"/>
                  <a:gd name="T22" fmla="*/ 0 w 358"/>
                  <a:gd name="T23" fmla="*/ 15 h 319"/>
                  <a:gd name="T24" fmla="*/ 1 w 358"/>
                  <a:gd name="T25" fmla="*/ 11 h 319"/>
                  <a:gd name="T26" fmla="*/ 2 w 358"/>
                  <a:gd name="T27" fmla="*/ 9 h 319"/>
                  <a:gd name="T28" fmla="*/ 4 w 358"/>
                  <a:gd name="T29" fmla="*/ 5 h 319"/>
                  <a:gd name="T30" fmla="*/ 8 w 358"/>
                  <a:gd name="T31" fmla="*/ 3 h 319"/>
                  <a:gd name="T32" fmla="*/ 11 w 358"/>
                  <a:gd name="T33" fmla="*/ 1 h 319"/>
                  <a:gd name="T34" fmla="*/ 14 w 358"/>
                  <a:gd name="T35" fmla="*/ 0 h 319"/>
                  <a:gd name="T36" fmla="*/ 19 w 358"/>
                  <a:gd name="T37" fmla="*/ 0 h 319"/>
                  <a:gd name="T38" fmla="*/ 23 w 358"/>
                  <a:gd name="T39" fmla="*/ 0 h 319"/>
                  <a:gd name="T40" fmla="*/ 27 w 358"/>
                  <a:gd name="T41" fmla="*/ 1 h 319"/>
                  <a:gd name="T42" fmla="*/ 31 w 358"/>
                  <a:gd name="T43" fmla="*/ 3 h 319"/>
                  <a:gd name="T44" fmla="*/ 33 w 358"/>
                  <a:gd name="T45" fmla="*/ 5 h 319"/>
                  <a:gd name="T46" fmla="*/ 36 w 358"/>
                  <a:gd name="T47" fmla="*/ 9 h 319"/>
                  <a:gd name="T48" fmla="*/ 37 w 358"/>
                  <a:gd name="T49" fmla="*/ 11 h 319"/>
                  <a:gd name="T50" fmla="*/ 38 w 358"/>
                  <a:gd name="T51" fmla="*/ 15 h 319"/>
                  <a:gd name="T52" fmla="*/ 39 w 358"/>
                  <a:gd name="T53" fmla="*/ 20 h 319"/>
                  <a:gd name="T54" fmla="*/ 39 w 358"/>
                  <a:gd name="T55" fmla="*/ 280 h 319"/>
                  <a:gd name="T56" fmla="*/ 319 w 358"/>
                  <a:gd name="T57" fmla="*/ 280 h 319"/>
                  <a:gd name="T58" fmla="*/ 319 w 358"/>
                  <a:gd name="T59" fmla="*/ 20 h 319"/>
                  <a:gd name="T60" fmla="*/ 319 w 358"/>
                  <a:gd name="T61" fmla="*/ 15 h 319"/>
                  <a:gd name="T62" fmla="*/ 320 w 358"/>
                  <a:gd name="T63" fmla="*/ 11 h 319"/>
                  <a:gd name="T64" fmla="*/ 322 w 358"/>
                  <a:gd name="T65" fmla="*/ 9 h 319"/>
                  <a:gd name="T66" fmla="*/ 325 w 358"/>
                  <a:gd name="T67" fmla="*/ 5 h 319"/>
                  <a:gd name="T68" fmla="*/ 327 w 358"/>
                  <a:gd name="T69" fmla="*/ 3 h 319"/>
                  <a:gd name="T70" fmla="*/ 331 w 358"/>
                  <a:gd name="T71" fmla="*/ 1 h 319"/>
                  <a:gd name="T72" fmla="*/ 335 w 358"/>
                  <a:gd name="T73" fmla="*/ 0 h 319"/>
                  <a:gd name="T74" fmla="*/ 339 w 358"/>
                  <a:gd name="T75" fmla="*/ 0 h 319"/>
                  <a:gd name="T76" fmla="*/ 342 w 358"/>
                  <a:gd name="T77" fmla="*/ 0 h 319"/>
                  <a:gd name="T78" fmla="*/ 346 w 358"/>
                  <a:gd name="T79" fmla="*/ 1 h 319"/>
                  <a:gd name="T80" fmla="*/ 350 w 358"/>
                  <a:gd name="T81" fmla="*/ 3 h 319"/>
                  <a:gd name="T82" fmla="*/ 353 w 358"/>
                  <a:gd name="T83" fmla="*/ 5 h 319"/>
                  <a:gd name="T84" fmla="*/ 356 w 358"/>
                  <a:gd name="T85" fmla="*/ 9 h 319"/>
                  <a:gd name="T86" fmla="*/ 357 w 358"/>
                  <a:gd name="T87" fmla="*/ 11 h 319"/>
                  <a:gd name="T88" fmla="*/ 358 w 358"/>
                  <a:gd name="T89" fmla="*/ 15 h 319"/>
                  <a:gd name="T90" fmla="*/ 358 w 358"/>
                  <a:gd name="T91" fmla="*/ 20 h 319"/>
                  <a:gd name="T92" fmla="*/ 358 w 358"/>
                  <a:gd name="T93" fmla="*/ 300 h 319"/>
                  <a:gd name="T94" fmla="*/ 358 w 358"/>
                  <a:gd name="T95" fmla="*/ 303 h 319"/>
                  <a:gd name="T96" fmla="*/ 357 w 358"/>
                  <a:gd name="T97" fmla="*/ 307 h 319"/>
                  <a:gd name="T98" fmla="*/ 356 w 358"/>
                  <a:gd name="T99" fmla="*/ 311 h 319"/>
                  <a:gd name="T100" fmla="*/ 353 w 358"/>
                  <a:gd name="T101" fmla="*/ 313 h 319"/>
                  <a:gd name="T102" fmla="*/ 350 w 358"/>
                  <a:gd name="T103" fmla="*/ 316 h 319"/>
                  <a:gd name="T104" fmla="*/ 346 w 358"/>
                  <a:gd name="T105" fmla="*/ 318 h 319"/>
                  <a:gd name="T106" fmla="*/ 342 w 358"/>
                  <a:gd name="T107" fmla="*/ 319 h 319"/>
                  <a:gd name="T108" fmla="*/ 339 w 358"/>
                  <a:gd name="T10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19">
                    <a:moveTo>
                      <a:pt x="339" y="319"/>
                    </a:moveTo>
                    <a:lnTo>
                      <a:pt x="19" y="319"/>
                    </a:lnTo>
                    <a:lnTo>
                      <a:pt x="14" y="319"/>
                    </a:lnTo>
                    <a:lnTo>
                      <a:pt x="11" y="318"/>
                    </a:lnTo>
                    <a:lnTo>
                      <a:pt x="8" y="316"/>
                    </a:lnTo>
                    <a:lnTo>
                      <a:pt x="4" y="313"/>
                    </a:lnTo>
                    <a:lnTo>
                      <a:pt x="2" y="311"/>
                    </a:lnTo>
                    <a:lnTo>
                      <a:pt x="1" y="307"/>
                    </a:lnTo>
                    <a:lnTo>
                      <a:pt x="0" y="303"/>
                    </a:lnTo>
                    <a:lnTo>
                      <a:pt x="0" y="300"/>
                    </a:lnTo>
                    <a:lnTo>
                      <a:pt x="0" y="20"/>
                    </a:lnTo>
                    <a:lnTo>
                      <a:pt x="0" y="15"/>
                    </a:lnTo>
                    <a:lnTo>
                      <a:pt x="1" y="11"/>
                    </a:lnTo>
                    <a:lnTo>
                      <a:pt x="2" y="9"/>
                    </a:lnTo>
                    <a:lnTo>
                      <a:pt x="4" y="5"/>
                    </a:lnTo>
                    <a:lnTo>
                      <a:pt x="8" y="3"/>
                    </a:lnTo>
                    <a:lnTo>
                      <a:pt x="11" y="1"/>
                    </a:lnTo>
                    <a:lnTo>
                      <a:pt x="14" y="0"/>
                    </a:lnTo>
                    <a:lnTo>
                      <a:pt x="19" y="0"/>
                    </a:lnTo>
                    <a:lnTo>
                      <a:pt x="23" y="0"/>
                    </a:lnTo>
                    <a:lnTo>
                      <a:pt x="27" y="1"/>
                    </a:lnTo>
                    <a:lnTo>
                      <a:pt x="31" y="3"/>
                    </a:lnTo>
                    <a:lnTo>
                      <a:pt x="33" y="5"/>
                    </a:lnTo>
                    <a:lnTo>
                      <a:pt x="36" y="9"/>
                    </a:lnTo>
                    <a:lnTo>
                      <a:pt x="37" y="11"/>
                    </a:lnTo>
                    <a:lnTo>
                      <a:pt x="38" y="15"/>
                    </a:lnTo>
                    <a:lnTo>
                      <a:pt x="39" y="20"/>
                    </a:lnTo>
                    <a:lnTo>
                      <a:pt x="39" y="280"/>
                    </a:lnTo>
                    <a:lnTo>
                      <a:pt x="319" y="280"/>
                    </a:lnTo>
                    <a:lnTo>
                      <a:pt x="319" y="20"/>
                    </a:lnTo>
                    <a:lnTo>
                      <a:pt x="319" y="15"/>
                    </a:lnTo>
                    <a:lnTo>
                      <a:pt x="320" y="11"/>
                    </a:lnTo>
                    <a:lnTo>
                      <a:pt x="322" y="9"/>
                    </a:lnTo>
                    <a:lnTo>
                      <a:pt x="325" y="5"/>
                    </a:lnTo>
                    <a:lnTo>
                      <a:pt x="327" y="3"/>
                    </a:lnTo>
                    <a:lnTo>
                      <a:pt x="331" y="1"/>
                    </a:lnTo>
                    <a:lnTo>
                      <a:pt x="335" y="0"/>
                    </a:lnTo>
                    <a:lnTo>
                      <a:pt x="339" y="0"/>
                    </a:lnTo>
                    <a:lnTo>
                      <a:pt x="342" y="0"/>
                    </a:lnTo>
                    <a:lnTo>
                      <a:pt x="346" y="1"/>
                    </a:lnTo>
                    <a:lnTo>
                      <a:pt x="350" y="3"/>
                    </a:lnTo>
                    <a:lnTo>
                      <a:pt x="353" y="5"/>
                    </a:lnTo>
                    <a:lnTo>
                      <a:pt x="356" y="9"/>
                    </a:lnTo>
                    <a:lnTo>
                      <a:pt x="357" y="11"/>
                    </a:lnTo>
                    <a:lnTo>
                      <a:pt x="358" y="15"/>
                    </a:lnTo>
                    <a:lnTo>
                      <a:pt x="358" y="20"/>
                    </a:lnTo>
                    <a:lnTo>
                      <a:pt x="358" y="300"/>
                    </a:lnTo>
                    <a:lnTo>
                      <a:pt x="358" y="303"/>
                    </a:lnTo>
                    <a:lnTo>
                      <a:pt x="357" y="307"/>
                    </a:lnTo>
                    <a:lnTo>
                      <a:pt x="356" y="311"/>
                    </a:lnTo>
                    <a:lnTo>
                      <a:pt x="353" y="313"/>
                    </a:lnTo>
                    <a:lnTo>
                      <a:pt x="350" y="316"/>
                    </a:lnTo>
                    <a:lnTo>
                      <a:pt x="346" y="318"/>
                    </a:lnTo>
                    <a:lnTo>
                      <a:pt x="342" y="319"/>
                    </a:lnTo>
                    <a:lnTo>
                      <a:pt x="33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79"/>
              <p:cNvSpPr>
                <a:spLocks/>
              </p:cNvSpPr>
              <p:nvPr/>
            </p:nvSpPr>
            <p:spPr bwMode="auto">
              <a:xfrm>
                <a:off x="3232610" y="3004089"/>
                <a:ext cx="219551" cy="49814"/>
              </a:xfrm>
              <a:custGeom>
                <a:avLst/>
                <a:gdLst>
                  <a:gd name="T0" fmla="*/ 339 w 358"/>
                  <a:gd name="T1" fmla="*/ 81 h 81"/>
                  <a:gd name="T2" fmla="*/ 337 w 358"/>
                  <a:gd name="T3" fmla="*/ 81 h 81"/>
                  <a:gd name="T4" fmla="*/ 336 w 358"/>
                  <a:gd name="T5" fmla="*/ 80 h 81"/>
                  <a:gd name="T6" fmla="*/ 17 w 358"/>
                  <a:gd name="T7" fmla="*/ 40 h 81"/>
                  <a:gd name="T8" fmla="*/ 12 w 358"/>
                  <a:gd name="T9" fmla="*/ 40 h 81"/>
                  <a:gd name="T10" fmla="*/ 9 w 358"/>
                  <a:gd name="T11" fmla="*/ 38 h 81"/>
                  <a:gd name="T12" fmla="*/ 6 w 358"/>
                  <a:gd name="T13" fmla="*/ 35 h 81"/>
                  <a:gd name="T14" fmla="*/ 3 w 358"/>
                  <a:gd name="T15" fmla="*/ 33 h 81"/>
                  <a:gd name="T16" fmla="*/ 1 w 358"/>
                  <a:gd name="T17" fmla="*/ 30 h 81"/>
                  <a:gd name="T18" fmla="*/ 0 w 358"/>
                  <a:gd name="T19" fmla="*/ 27 h 81"/>
                  <a:gd name="T20" fmla="*/ 0 w 358"/>
                  <a:gd name="T21" fmla="*/ 23 h 81"/>
                  <a:gd name="T22" fmla="*/ 0 w 358"/>
                  <a:gd name="T23" fmla="*/ 18 h 81"/>
                  <a:gd name="T24" fmla="*/ 0 w 358"/>
                  <a:gd name="T25" fmla="*/ 14 h 81"/>
                  <a:gd name="T26" fmla="*/ 2 w 358"/>
                  <a:gd name="T27" fmla="*/ 10 h 81"/>
                  <a:gd name="T28" fmla="*/ 3 w 358"/>
                  <a:gd name="T29" fmla="*/ 8 h 81"/>
                  <a:gd name="T30" fmla="*/ 7 w 358"/>
                  <a:gd name="T31" fmla="*/ 5 h 81"/>
                  <a:gd name="T32" fmla="*/ 9 w 358"/>
                  <a:gd name="T33" fmla="*/ 3 h 81"/>
                  <a:gd name="T34" fmla="*/ 13 w 358"/>
                  <a:gd name="T35" fmla="*/ 2 h 81"/>
                  <a:gd name="T36" fmla="*/ 17 w 358"/>
                  <a:gd name="T37" fmla="*/ 0 h 81"/>
                  <a:gd name="T38" fmla="*/ 22 w 358"/>
                  <a:gd name="T39" fmla="*/ 0 h 81"/>
                  <a:gd name="T40" fmla="*/ 341 w 358"/>
                  <a:gd name="T41" fmla="*/ 41 h 81"/>
                  <a:gd name="T42" fmla="*/ 345 w 358"/>
                  <a:gd name="T43" fmla="*/ 41 h 81"/>
                  <a:gd name="T44" fmla="*/ 349 w 358"/>
                  <a:gd name="T45" fmla="*/ 44 h 81"/>
                  <a:gd name="T46" fmla="*/ 352 w 358"/>
                  <a:gd name="T47" fmla="*/ 45 h 81"/>
                  <a:gd name="T48" fmla="*/ 355 w 358"/>
                  <a:gd name="T49" fmla="*/ 49 h 81"/>
                  <a:gd name="T50" fmla="*/ 357 w 358"/>
                  <a:gd name="T51" fmla="*/ 51 h 81"/>
                  <a:gd name="T52" fmla="*/ 358 w 358"/>
                  <a:gd name="T53" fmla="*/ 55 h 81"/>
                  <a:gd name="T54" fmla="*/ 358 w 358"/>
                  <a:gd name="T55" fmla="*/ 59 h 81"/>
                  <a:gd name="T56" fmla="*/ 358 w 358"/>
                  <a:gd name="T57" fmla="*/ 63 h 81"/>
                  <a:gd name="T58" fmla="*/ 357 w 358"/>
                  <a:gd name="T59" fmla="*/ 66 h 81"/>
                  <a:gd name="T60" fmla="*/ 356 w 358"/>
                  <a:gd name="T61" fmla="*/ 70 h 81"/>
                  <a:gd name="T62" fmla="*/ 355 w 358"/>
                  <a:gd name="T63" fmla="*/ 74 h 81"/>
                  <a:gd name="T64" fmla="*/ 352 w 358"/>
                  <a:gd name="T65" fmla="*/ 76 h 81"/>
                  <a:gd name="T66" fmla="*/ 349 w 358"/>
                  <a:gd name="T67" fmla="*/ 77 h 81"/>
                  <a:gd name="T68" fmla="*/ 346 w 358"/>
                  <a:gd name="T69" fmla="*/ 80 h 81"/>
                  <a:gd name="T70" fmla="*/ 342 w 358"/>
                  <a:gd name="T71" fmla="*/ 80 h 81"/>
                  <a:gd name="T72" fmla="*/ 339 w 358"/>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1">
                    <a:moveTo>
                      <a:pt x="339" y="81"/>
                    </a:moveTo>
                    <a:lnTo>
                      <a:pt x="337" y="81"/>
                    </a:lnTo>
                    <a:lnTo>
                      <a:pt x="336" y="80"/>
                    </a:lnTo>
                    <a:lnTo>
                      <a:pt x="17" y="40"/>
                    </a:lnTo>
                    <a:lnTo>
                      <a:pt x="12" y="40"/>
                    </a:lnTo>
                    <a:lnTo>
                      <a:pt x="9" y="38"/>
                    </a:lnTo>
                    <a:lnTo>
                      <a:pt x="6" y="35"/>
                    </a:lnTo>
                    <a:lnTo>
                      <a:pt x="3" y="33"/>
                    </a:lnTo>
                    <a:lnTo>
                      <a:pt x="1" y="30"/>
                    </a:lnTo>
                    <a:lnTo>
                      <a:pt x="0" y="27"/>
                    </a:lnTo>
                    <a:lnTo>
                      <a:pt x="0" y="23"/>
                    </a:lnTo>
                    <a:lnTo>
                      <a:pt x="0" y="18"/>
                    </a:lnTo>
                    <a:lnTo>
                      <a:pt x="0" y="14"/>
                    </a:lnTo>
                    <a:lnTo>
                      <a:pt x="2" y="10"/>
                    </a:lnTo>
                    <a:lnTo>
                      <a:pt x="3" y="8"/>
                    </a:lnTo>
                    <a:lnTo>
                      <a:pt x="7" y="5"/>
                    </a:lnTo>
                    <a:lnTo>
                      <a:pt x="9" y="3"/>
                    </a:lnTo>
                    <a:lnTo>
                      <a:pt x="13" y="2"/>
                    </a:lnTo>
                    <a:lnTo>
                      <a:pt x="17" y="0"/>
                    </a:lnTo>
                    <a:lnTo>
                      <a:pt x="22" y="0"/>
                    </a:lnTo>
                    <a:lnTo>
                      <a:pt x="341" y="41"/>
                    </a:lnTo>
                    <a:lnTo>
                      <a:pt x="345" y="41"/>
                    </a:lnTo>
                    <a:lnTo>
                      <a:pt x="349" y="44"/>
                    </a:lnTo>
                    <a:lnTo>
                      <a:pt x="352" y="45"/>
                    </a:lnTo>
                    <a:lnTo>
                      <a:pt x="355" y="49"/>
                    </a:lnTo>
                    <a:lnTo>
                      <a:pt x="357" y="51"/>
                    </a:lnTo>
                    <a:lnTo>
                      <a:pt x="358" y="55"/>
                    </a:lnTo>
                    <a:lnTo>
                      <a:pt x="358" y="59"/>
                    </a:lnTo>
                    <a:lnTo>
                      <a:pt x="358" y="63"/>
                    </a:lnTo>
                    <a:lnTo>
                      <a:pt x="357" y="66"/>
                    </a:lnTo>
                    <a:lnTo>
                      <a:pt x="356" y="70"/>
                    </a:lnTo>
                    <a:lnTo>
                      <a:pt x="355" y="74"/>
                    </a:lnTo>
                    <a:lnTo>
                      <a:pt x="352" y="76"/>
                    </a:lnTo>
                    <a:lnTo>
                      <a:pt x="349" y="77"/>
                    </a:lnTo>
                    <a:lnTo>
                      <a:pt x="346" y="80"/>
                    </a:lnTo>
                    <a:lnTo>
                      <a:pt x="342" y="80"/>
                    </a:lnTo>
                    <a:lnTo>
                      <a:pt x="3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80"/>
              <p:cNvSpPr>
                <a:spLocks/>
              </p:cNvSpPr>
              <p:nvPr/>
            </p:nvSpPr>
            <p:spPr bwMode="auto">
              <a:xfrm>
                <a:off x="3232610" y="2956119"/>
                <a:ext cx="219551" cy="47969"/>
              </a:xfrm>
              <a:custGeom>
                <a:avLst/>
                <a:gdLst>
                  <a:gd name="T0" fmla="*/ 339 w 358"/>
                  <a:gd name="T1" fmla="*/ 79 h 79"/>
                  <a:gd name="T2" fmla="*/ 337 w 358"/>
                  <a:gd name="T3" fmla="*/ 79 h 79"/>
                  <a:gd name="T4" fmla="*/ 336 w 358"/>
                  <a:gd name="T5" fmla="*/ 79 h 79"/>
                  <a:gd name="T6" fmla="*/ 17 w 358"/>
                  <a:gd name="T7" fmla="*/ 40 h 79"/>
                  <a:gd name="T8" fmla="*/ 12 w 358"/>
                  <a:gd name="T9" fmla="*/ 38 h 79"/>
                  <a:gd name="T10" fmla="*/ 9 w 358"/>
                  <a:gd name="T11" fmla="*/ 37 h 79"/>
                  <a:gd name="T12" fmla="*/ 6 w 358"/>
                  <a:gd name="T13" fmla="*/ 35 h 79"/>
                  <a:gd name="T14" fmla="*/ 3 w 358"/>
                  <a:gd name="T15" fmla="*/ 32 h 79"/>
                  <a:gd name="T16" fmla="*/ 1 w 358"/>
                  <a:gd name="T17" fmla="*/ 29 h 79"/>
                  <a:gd name="T18" fmla="*/ 0 w 358"/>
                  <a:gd name="T19" fmla="*/ 25 h 79"/>
                  <a:gd name="T20" fmla="*/ 0 w 358"/>
                  <a:gd name="T21" fmla="*/ 21 h 79"/>
                  <a:gd name="T22" fmla="*/ 0 w 358"/>
                  <a:gd name="T23" fmla="*/ 17 h 79"/>
                  <a:gd name="T24" fmla="*/ 0 w 358"/>
                  <a:gd name="T25" fmla="*/ 14 h 79"/>
                  <a:gd name="T26" fmla="*/ 2 w 358"/>
                  <a:gd name="T27" fmla="*/ 10 h 79"/>
                  <a:gd name="T28" fmla="*/ 3 w 358"/>
                  <a:gd name="T29" fmla="*/ 6 h 79"/>
                  <a:gd name="T30" fmla="*/ 7 w 358"/>
                  <a:gd name="T31" fmla="*/ 4 h 79"/>
                  <a:gd name="T32" fmla="*/ 9 w 358"/>
                  <a:gd name="T33" fmla="*/ 2 h 79"/>
                  <a:gd name="T34" fmla="*/ 13 w 358"/>
                  <a:gd name="T35" fmla="*/ 0 h 79"/>
                  <a:gd name="T36" fmla="*/ 17 w 358"/>
                  <a:gd name="T37" fmla="*/ 0 h 79"/>
                  <a:gd name="T38" fmla="*/ 22 w 358"/>
                  <a:gd name="T39" fmla="*/ 0 h 79"/>
                  <a:gd name="T40" fmla="*/ 341 w 358"/>
                  <a:gd name="T41" fmla="*/ 40 h 79"/>
                  <a:gd name="T42" fmla="*/ 345 w 358"/>
                  <a:gd name="T43" fmla="*/ 41 h 79"/>
                  <a:gd name="T44" fmla="*/ 349 w 358"/>
                  <a:gd name="T45" fmla="*/ 42 h 79"/>
                  <a:gd name="T46" fmla="*/ 352 w 358"/>
                  <a:gd name="T47" fmla="*/ 45 h 79"/>
                  <a:gd name="T48" fmla="*/ 355 w 358"/>
                  <a:gd name="T49" fmla="*/ 47 h 79"/>
                  <a:gd name="T50" fmla="*/ 357 w 358"/>
                  <a:gd name="T51" fmla="*/ 51 h 79"/>
                  <a:gd name="T52" fmla="*/ 358 w 358"/>
                  <a:gd name="T53" fmla="*/ 55 h 79"/>
                  <a:gd name="T54" fmla="*/ 358 w 358"/>
                  <a:gd name="T55" fmla="*/ 58 h 79"/>
                  <a:gd name="T56" fmla="*/ 358 w 358"/>
                  <a:gd name="T57" fmla="*/ 62 h 79"/>
                  <a:gd name="T58" fmla="*/ 357 w 358"/>
                  <a:gd name="T59" fmla="*/ 66 h 79"/>
                  <a:gd name="T60" fmla="*/ 356 w 358"/>
                  <a:gd name="T61" fmla="*/ 70 h 79"/>
                  <a:gd name="T62" fmla="*/ 355 w 358"/>
                  <a:gd name="T63" fmla="*/ 72 h 79"/>
                  <a:gd name="T64" fmla="*/ 352 w 358"/>
                  <a:gd name="T65" fmla="*/ 74 h 79"/>
                  <a:gd name="T66" fmla="*/ 349 w 358"/>
                  <a:gd name="T67" fmla="*/ 77 h 79"/>
                  <a:gd name="T68" fmla="*/ 346 w 358"/>
                  <a:gd name="T69" fmla="*/ 78 h 79"/>
                  <a:gd name="T70" fmla="*/ 342 w 358"/>
                  <a:gd name="T71" fmla="*/ 79 h 79"/>
                  <a:gd name="T72" fmla="*/ 339 w 358"/>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79">
                    <a:moveTo>
                      <a:pt x="339" y="79"/>
                    </a:moveTo>
                    <a:lnTo>
                      <a:pt x="337" y="79"/>
                    </a:lnTo>
                    <a:lnTo>
                      <a:pt x="336" y="79"/>
                    </a:lnTo>
                    <a:lnTo>
                      <a:pt x="17" y="40"/>
                    </a:lnTo>
                    <a:lnTo>
                      <a:pt x="12" y="38"/>
                    </a:lnTo>
                    <a:lnTo>
                      <a:pt x="9" y="37"/>
                    </a:lnTo>
                    <a:lnTo>
                      <a:pt x="6" y="35"/>
                    </a:lnTo>
                    <a:lnTo>
                      <a:pt x="3" y="32"/>
                    </a:lnTo>
                    <a:lnTo>
                      <a:pt x="1" y="29"/>
                    </a:lnTo>
                    <a:lnTo>
                      <a:pt x="0" y="25"/>
                    </a:lnTo>
                    <a:lnTo>
                      <a:pt x="0" y="21"/>
                    </a:lnTo>
                    <a:lnTo>
                      <a:pt x="0" y="17"/>
                    </a:lnTo>
                    <a:lnTo>
                      <a:pt x="0" y="14"/>
                    </a:lnTo>
                    <a:lnTo>
                      <a:pt x="2" y="10"/>
                    </a:lnTo>
                    <a:lnTo>
                      <a:pt x="3" y="6"/>
                    </a:lnTo>
                    <a:lnTo>
                      <a:pt x="7" y="4"/>
                    </a:lnTo>
                    <a:lnTo>
                      <a:pt x="9" y="2"/>
                    </a:lnTo>
                    <a:lnTo>
                      <a:pt x="13" y="0"/>
                    </a:lnTo>
                    <a:lnTo>
                      <a:pt x="17" y="0"/>
                    </a:lnTo>
                    <a:lnTo>
                      <a:pt x="22" y="0"/>
                    </a:lnTo>
                    <a:lnTo>
                      <a:pt x="341" y="40"/>
                    </a:lnTo>
                    <a:lnTo>
                      <a:pt x="345" y="41"/>
                    </a:lnTo>
                    <a:lnTo>
                      <a:pt x="349" y="42"/>
                    </a:lnTo>
                    <a:lnTo>
                      <a:pt x="352" y="45"/>
                    </a:lnTo>
                    <a:lnTo>
                      <a:pt x="355" y="47"/>
                    </a:lnTo>
                    <a:lnTo>
                      <a:pt x="357" y="51"/>
                    </a:lnTo>
                    <a:lnTo>
                      <a:pt x="358" y="55"/>
                    </a:lnTo>
                    <a:lnTo>
                      <a:pt x="358" y="58"/>
                    </a:lnTo>
                    <a:lnTo>
                      <a:pt x="358" y="62"/>
                    </a:lnTo>
                    <a:lnTo>
                      <a:pt x="357" y="66"/>
                    </a:lnTo>
                    <a:lnTo>
                      <a:pt x="356" y="70"/>
                    </a:lnTo>
                    <a:lnTo>
                      <a:pt x="355" y="72"/>
                    </a:lnTo>
                    <a:lnTo>
                      <a:pt x="352" y="74"/>
                    </a:lnTo>
                    <a:lnTo>
                      <a:pt x="349" y="77"/>
                    </a:lnTo>
                    <a:lnTo>
                      <a:pt x="346" y="78"/>
                    </a:lnTo>
                    <a:lnTo>
                      <a:pt x="342" y="79"/>
                    </a:lnTo>
                    <a:lnTo>
                      <a:pt x="3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81"/>
              <p:cNvSpPr>
                <a:spLocks/>
              </p:cNvSpPr>
              <p:nvPr/>
            </p:nvSpPr>
            <p:spPr bwMode="auto">
              <a:xfrm>
                <a:off x="3232610" y="3053903"/>
                <a:ext cx="219551" cy="49814"/>
              </a:xfrm>
              <a:custGeom>
                <a:avLst/>
                <a:gdLst>
                  <a:gd name="T0" fmla="*/ 339 w 358"/>
                  <a:gd name="T1" fmla="*/ 80 h 80"/>
                  <a:gd name="T2" fmla="*/ 337 w 358"/>
                  <a:gd name="T3" fmla="*/ 80 h 80"/>
                  <a:gd name="T4" fmla="*/ 336 w 358"/>
                  <a:gd name="T5" fmla="*/ 80 h 80"/>
                  <a:gd name="T6" fmla="*/ 17 w 358"/>
                  <a:gd name="T7" fmla="*/ 40 h 80"/>
                  <a:gd name="T8" fmla="*/ 12 w 358"/>
                  <a:gd name="T9" fmla="*/ 39 h 80"/>
                  <a:gd name="T10" fmla="*/ 9 w 358"/>
                  <a:gd name="T11" fmla="*/ 37 h 80"/>
                  <a:gd name="T12" fmla="*/ 6 w 358"/>
                  <a:gd name="T13" fmla="*/ 35 h 80"/>
                  <a:gd name="T14" fmla="*/ 3 w 358"/>
                  <a:gd name="T15" fmla="*/ 33 h 80"/>
                  <a:gd name="T16" fmla="*/ 1 w 358"/>
                  <a:gd name="T17" fmla="*/ 29 h 80"/>
                  <a:gd name="T18" fmla="*/ 0 w 358"/>
                  <a:gd name="T19" fmla="*/ 25 h 80"/>
                  <a:gd name="T20" fmla="*/ 0 w 358"/>
                  <a:gd name="T21" fmla="*/ 21 h 80"/>
                  <a:gd name="T22" fmla="*/ 0 w 358"/>
                  <a:gd name="T23" fmla="*/ 18 h 80"/>
                  <a:gd name="T24" fmla="*/ 0 w 358"/>
                  <a:gd name="T25" fmla="*/ 14 h 80"/>
                  <a:gd name="T26" fmla="*/ 2 w 358"/>
                  <a:gd name="T27" fmla="*/ 10 h 80"/>
                  <a:gd name="T28" fmla="*/ 3 w 358"/>
                  <a:gd name="T29" fmla="*/ 6 h 80"/>
                  <a:gd name="T30" fmla="*/ 7 w 358"/>
                  <a:gd name="T31" fmla="*/ 4 h 80"/>
                  <a:gd name="T32" fmla="*/ 9 w 358"/>
                  <a:gd name="T33" fmla="*/ 1 h 80"/>
                  <a:gd name="T34" fmla="*/ 13 w 358"/>
                  <a:gd name="T35" fmla="*/ 0 h 80"/>
                  <a:gd name="T36" fmla="*/ 17 w 358"/>
                  <a:gd name="T37" fmla="*/ 0 h 80"/>
                  <a:gd name="T38" fmla="*/ 22 w 358"/>
                  <a:gd name="T39" fmla="*/ 0 h 80"/>
                  <a:gd name="T40" fmla="*/ 341 w 358"/>
                  <a:gd name="T41" fmla="*/ 40 h 80"/>
                  <a:gd name="T42" fmla="*/ 345 w 358"/>
                  <a:gd name="T43" fmla="*/ 41 h 80"/>
                  <a:gd name="T44" fmla="*/ 349 w 358"/>
                  <a:gd name="T45" fmla="*/ 42 h 80"/>
                  <a:gd name="T46" fmla="*/ 352 w 358"/>
                  <a:gd name="T47" fmla="*/ 45 h 80"/>
                  <a:gd name="T48" fmla="*/ 355 w 358"/>
                  <a:gd name="T49" fmla="*/ 47 h 80"/>
                  <a:gd name="T50" fmla="*/ 357 w 358"/>
                  <a:gd name="T51" fmla="*/ 51 h 80"/>
                  <a:gd name="T52" fmla="*/ 358 w 358"/>
                  <a:gd name="T53" fmla="*/ 55 h 80"/>
                  <a:gd name="T54" fmla="*/ 358 w 358"/>
                  <a:gd name="T55" fmla="*/ 59 h 80"/>
                  <a:gd name="T56" fmla="*/ 358 w 358"/>
                  <a:gd name="T57" fmla="*/ 62 h 80"/>
                  <a:gd name="T58" fmla="*/ 357 w 358"/>
                  <a:gd name="T59" fmla="*/ 66 h 80"/>
                  <a:gd name="T60" fmla="*/ 356 w 358"/>
                  <a:gd name="T61" fmla="*/ 70 h 80"/>
                  <a:gd name="T62" fmla="*/ 355 w 358"/>
                  <a:gd name="T63" fmla="*/ 72 h 80"/>
                  <a:gd name="T64" fmla="*/ 352 w 358"/>
                  <a:gd name="T65" fmla="*/ 75 h 80"/>
                  <a:gd name="T66" fmla="*/ 349 w 358"/>
                  <a:gd name="T67" fmla="*/ 77 h 80"/>
                  <a:gd name="T68" fmla="*/ 346 w 358"/>
                  <a:gd name="T69" fmla="*/ 78 h 80"/>
                  <a:gd name="T70" fmla="*/ 342 w 358"/>
                  <a:gd name="T71" fmla="*/ 80 h 80"/>
                  <a:gd name="T72" fmla="*/ 339 w 358"/>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0">
                    <a:moveTo>
                      <a:pt x="339" y="80"/>
                    </a:moveTo>
                    <a:lnTo>
                      <a:pt x="337" y="80"/>
                    </a:lnTo>
                    <a:lnTo>
                      <a:pt x="336" y="80"/>
                    </a:lnTo>
                    <a:lnTo>
                      <a:pt x="17" y="40"/>
                    </a:lnTo>
                    <a:lnTo>
                      <a:pt x="12" y="39"/>
                    </a:lnTo>
                    <a:lnTo>
                      <a:pt x="9" y="37"/>
                    </a:lnTo>
                    <a:lnTo>
                      <a:pt x="6" y="35"/>
                    </a:lnTo>
                    <a:lnTo>
                      <a:pt x="3" y="33"/>
                    </a:lnTo>
                    <a:lnTo>
                      <a:pt x="1" y="29"/>
                    </a:lnTo>
                    <a:lnTo>
                      <a:pt x="0" y="25"/>
                    </a:lnTo>
                    <a:lnTo>
                      <a:pt x="0" y="21"/>
                    </a:lnTo>
                    <a:lnTo>
                      <a:pt x="0" y="18"/>
                    </a:lnTo>
                    <a:lnTo>
                      <a:pt x="0" y="14"/>
                    </a:lnTo>
                    <a:lnTo>
                      <a:pt x="2" y="10"/>
                    </a:lnTo>
                    <a:lnTo>
                      <a:pt x="3" y="6"/>
                    </a:lnTo>
                    <a:lnTo>
                      <a:pt x="7" y="4"/>
                    </a:lnTo>
                    <a:lnTo>
                      <a:pt x="9" y="1"/>
                    </a:lnTo>
                    <a:lnTo>
                      <a:pt x="13" y="0"/>
                    </a:lnTo>
                    <a:lnTo>
                      <a:pt x="17" y="0"/>
                    </a:lnTo>
                    <a:lnTo>
                      <a:pt x="22" y="0"/>
                    </a:lnTo>
                    <a:lnTo>
                      <a:pt x="341" y="40"/>
                    </a:lnTo>
                    <a:lnTo>
                      <a:pt x="345" y="41"/>
                    </a:lnTo>
                    <a:lnTo>
                      <a:pt x="349" y="42"/>
                    </a:lnTo>
                    <a:lnTo>
                      <a:pt x="352" y="45"/>
                    </a:lnTo>
                    <a:lnTo>
                      <a:pt x="355" y="47"/>
                    </a:lnTo>
                    <a:lnTo>
                      <a:pt x="357" y="51"/>
                    </a:lnTo>
                    <a:lnTo>
                      <a:pt x="358" y="55"/>
                    </a:lnTo>
                    <a:lnTo>
                      <a:pt x="358" y="59"/>
                    </a:lnTo>
                    <a:lnTo>
                      <a:pt x="358" y="62"/>
                    </a:lnTo>
                    <a:lnTo>
                      <a:pt x="357" y="66"/>
                    </a:lnTo>
                    <a:lnTo>
                      <a:pt x="356" y="70"/>
                    </a:lnTo>
                    <a:lnTo>
                      <a:pt x="355" y="72"/>
                    </a:lnTo>
                    <a:lnTo>
                      <a:pt x="352" y="75"/>
                    </a:lnTo>
                    <a:lnTo>
                      <a:pt x="349" y="77"/>
                    </a:lnTo>
                    <a:lnTo>
                      <a:pt x="346" y="78"/>
                    </a:lnTo>
                    <a:lnTo>
                      <a:pt x="342" y="80"/>
                    </a:lnTo>
                    <a:lnTo>
                      <a:pt x="3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2"/>
              <p:cNvSpPr>
                <a:spLocks/>
              </p:cNvSpPr>
              <p:nvPr/>
            </p:nvSpPr>
            <p:spPr bwMode="auto">
              <a:xfrm>
                <a:off x="3009369" y="2758708"/>
                <a:ext cx="99628" cy="23985"/>
              </a:xfrm>
              <a:custGeom>
                <a:avLst/>
                <a:gdLst>
                  <a:gd name="T0" fmla="*/ 139 w 161"/>
                  <a:gd name="T1" fmla="*/ 40 h 40"/>
                  <a:gd name="T2" fmla="*/ 20 w 161"/>
                  <a:gd name="T3" fmla="*/ 40 h 40"/>
                  <a:gd name="T4" fmla="*/ 16 w 161"/>
                  <a:gd name="T5" fmla="*/ 40 h 40"/>
                  <a:gd name="T6" fmla="*/ 13 w 161"/>
                  <a:gd name="T7" fmla="*/ 39 h 40"/>
                  <a:gd name="T8" fmla="*/ 9 w 161"/>
                  <a:gd name="T9" fmla="*/ 38 h 40"/>
                  <a:gd name="T10" fmla="*/ 5 w 161"/>
                  <a:gd name="T11" fmla="*/ 35 h 40"/>
                  <a:gd name="T12" fmla="*/ 4 w 161"/>
                  <a:gd name="T13" fmla="*/ 31 h 40"/>
                  <a:gd name="T14" fmla="*/ 2 w 161"/>
                  <a:gd name="T15" fmla="*/ 29 h 40"/>
                  <a:gd name="T16" fmla="*/ 0 w 161"/>
                  <a:gd name="T17" fmla="*/ 25 h 40"/>
                  <a:gd name="T18" fmla="*/ 0 w 161"/>
                  <a:gd name="T19" fmla="*/ 20 h 40"/>
                  <a:gd name="T20" fmla="*/ 0 w 161"/>
                  <a:gd name="T21" fmla="*/ 17 h 40"/>
                  <a:gd name="T22" fmla="*/ 2 w 161"/>
                  <a:gd name="T23" fmla="*/ 13 h 40"/>
                  <a:gd name="T24" fmla="*/ 4 w 161"/>
                  <a:gd name="T25" fmla="*/ 9 h 40"/>
                  <a:gd name="T26" fmla="*/ 5 w 161"/>
                  <a:gd name="T27" fmla="*/ 7 h 40"/>
                  <a:gd name="T28" fmla="*/ 9 w 161"/>
                  <a:gd name="T29" fmla="*/ 4 h 40"/>
                  <a:gd name="T30" fmla="*/ 13 w 161"/>
                  <a:gd name="T31" fmla="*/ 3 h 40"/>
                  <a:gd name="T32" fmla="*/ 16 w 161"/>
                  <a:gd name="T33" fmla="*/ 2 h 40"/>
                  <a:gd name="T34" fmla="*/ 20 w 161"/>
                  <a:gd name="T35" fmla="*/ 0 h 40"/>
                  <a:gd name="T36" fmla="*/ 139 w 161"/>
                  <a:gd name="T37" fmla="*/ 0 h 40"/>
                  <a:gd name="T38" fmla="*/ 144 w 161"/>
                  <a:gd name="T39" fmla="*/ 2 h 40"/>
                  <a:gd name="T40" fmla="*/ 148 w 161"/>
                  <a:gd name="T41" fmla="*/ 3 h 40"/>
                  <a:gd name="T42" fmla="*/ 151 w 161"/>
                  <a:gd name="T43" fmla="*/ 4 h 40"/>
                  <a:gd name="T44" fmla="*/ 154 w 161"/>
                  <a:gd name="T45" fmla="*/ 7 h 40"/>
                  <a:gd name="T46" fmla="*/ 157 w 161"/>
                  <a:gd name="T47" fmla="*/ 9 h 40"/>
                  <a:gd name="T48" fmla="*/ 158 w 161"/>
                  <a:gd name="T49" fmla="*/ 13 h 40"/>
                  <a:gd name="T50" fmla="*/ 159 w 161"/>
                  <a:gd name="T51" fmla="*/ 17 h 40"/>
                  <a:gd name="T52" fmla="*/ 161 w 161"/>
                  <a:gd name="T53" fmla="*/ 20 h 40"/>
                  <a:gd name="T54" fmla="*/ 159 w 161"/>
                  <a:gd name="T55" fmla="*/ 25 h 40"/>
                  <a:gd name="T56" fmla="*/ 158 w 161"/>
                  <a:gd name="T57" fmla="*/ 29 h 40"/>
                  <a:gd name="T58" fmla="*/ 157 w 161"/>
                  <a:gd name="T59" fmla="*/ 31 h 40"/>
                  <a:gd name="T60" fmla="*/ 154 w 161"/>
                  <a:gd name="T61" fmla="*/ 35 h 40"/>
                  <a:gd name="T62" fmla="*/ 151 w 161"/>
                  <a:gd name="T63" fmla="*/ 38 h 40"/>
                  <a:gd name="T64" fmla="*/ 148 w 161"/>
                  <a:gd name="T65" fmla="*/ 39 h 40"/>
                  <a:gd name="T66" fmla="*/ 144 w 161"/>
                  <a:gd name="T67" fmla="*/ 40 h 40"/>
                  <a:gd name="T68" fmla="*/ 139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39" y="40"/>
                    </a:moveTo>
                    <a:lnTo>
                      <a:pt x="20" y="40"/>
                    </a:lnTo>
                    <a:lnTo>
                      <a:pt x="16" y="40"/>
                    </a:lnTo>
                    <a:lnTo>
                      <a:pt x="13" y="39"/>
                    </a:lnTo>
                    <a:lnTo>
                      <a:pt x="9" y="38"/>
                    </a:lnTo>
                    <a:lnTo>
                      <a:pt x="5" y="35"/>
                    </a:lnTo>
                    <a:lnTo>
                      <a:pt x="4" y="31"/>
                    </a:lnTo>
                    <a:lnTo>
                      <a:pt x="2" y="29"/>
                    </a:lnTo>
                    <a:lnTo>
                      <a:pt x="0" y="25"/>
                    </a:lnTo>
                    <a:lnTo>
                      <a:pt x="0" y="20"/>
                    </a:lnTo>
                    <a:lnTo>
                      <a:pt x="0" y="17"/>
                    </a:lnTo>
                    <a:lnTo>
                      <a:pt x="2" y="13"/>
                    </a:lnTo>
                    <a:lnTo>
                      <a:pt x="4" y="9"/>
                    </a:lnTo>
                    <a:lnTo>
                      <a:pt x="5" y="7"/>
                    </a:lnTo>
                    <a:lnTo>
                      <a:pt x="9" y="4"/>
                    </a:lnTo>
                    <a:lnTo>
                      <a:pt x="13" y="3"/>
                    </a:lnTo>
                    <a:lnTo>
                      <a:pt x="16" y="2"/>
                    </a:lnTo>
                    <a:lnTo>
                      <a:pt x="20" y="0"/>
                    </a:lnTo>
                    <a:lnTo>
                      <a:pt x="139" y="0"/>
                    </a:lnTo>
                    <a:lnTo>
                      <a:pt x="144" y="2"/>
                    </a:lnTo>
                    <a:lnTo>
                      <a:pt x="148" y="3"/>
                    </a:lnTo>
                    <a:lnTo>
                      <a:pt x="151" y="4"/>
                    </a:lnTo>
                    <a:lnTo>
                      <a:pt x="154" y="7"/>
                    </a:lnTo>
                    <a:lnTo>
                      <a:pt x="157" y="9"/>
                    </a:lnTo>
                    <a:lnTo>
                      <a:pt x="158" y="13"/>
                    </a:lnTo>
                    <a:lnTo>
                      <a:pt x="159" y="17"/>
                    </a:lnTo>
                    <a:lnTo>
                      <a:pt x="161" y="20"/>
                    </a:lnTo>
                    <a:lnTo>
                      <a:pt x="159" y="25"/>
                    </a:lnTo>
                    <a:lnTo>
                      <a:pt x="158" y="29"/>
                    </a:lnTo>
                    <a:lnTo>
                      <a:pt x="157" y="31"/>
                    </a:lnTo>
                    <a:lnTo>
                      <a:pt x="154" y="35"/>
                    </a:lnTo>
                    <a:lnTo>
                      <a:pt x="151" y="38"/>
                    </a:lnTo>
                    <a:lnTo>
                      <a:pt x="148" y="39"/>
                    </a:lnTo>
                    <a:lnTo>
                      <a:pt x="144" y="40"/>
                    </a:lnTo>
                    <a:lnTo>
                      <a:pt x="13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83"/>
              <p:cNvSpPr>
                <a:spLocks/>
              </p:cNvSpPr>
              <p:nvPr/>
            </p:nvSpPr>
            <p:spPr bwMode="auto">
              <a:xfrm>
                <a:off x="3575774" y="2758708"/>
                <a:ext cx="97783" cy="23985"/>
              </a:xfrm>
              <a:custGeom>
                <a:avLst/>
                <a:gdLst>
                  <a:gd name="T0" fmla="*/ 141 w 161"/>
                  <a:gd name="T1" fmla="*/ 40 h 40"/>
                  <a:gd name="T2" fmla="*/ 20 w 161"/>
                  <a:gd name="T3" fmla="*/ 40 h 40"/>
                  <a:gd name="T4" fmla="*/ 17 w 161"/>
                  <a:gd name="T5" fmla="*/ 40 h 40"/>
                  <a:gd name="T6" fmla="*/ 13 w 161"/>
                  <a:gd name="T7" fmla="*/ 39 h 40"/>
                  <a:gd name="T8" fmla="*/ 9 w 161"/>
                  <a:gd name="T9" fmla="*/ 38 h 40"/>
                  <a:gd name="T10" fmla="*/ 7 w 161"/>
                  <a:gd name="T11" fmla="*/ 35 h 40"/>
                  <a:gd name="T12" fmla="*/ 4 w 161"/>
                  <a:gd name="T13" fmla="*/ 31 h 40"/>
                  <a:gd name="T14" fmla="*/ 2 w 161"/>
                  <a:gd name="T15" fmla="*/ 29 h 40"/>
                  <a:gd name="T16" fmla="*/ 2 w 161"/>
                  <a:gd name="T17" fmla="*/ 25 h 40"/>
                  <a:gd name="T18" fmla="*/ 0 w 161"/>
                  <a:gd name="T19" fmla="*/ 20 h 40"/>
                  <a:gd name="T20" fmla="*/ 2 w 161"/>
                  <a:gd name="T21" fmla="*/ 17 h 40"/>
                  <a:gd name="T22" fmla="*/ 2 w 161"/>
                  <a:gd name="T23" fmla="*/ 13 h 40"/>
                  <a:gd name="T24" fmla="*/ 4 w 161"/>
                  <a:gd name="T25" fmla="*/ 9 h 40"/>
                  <a:gd name="T26" fmla="*/ 7 w 161"/>
                  <a:gd name="T27" fmla="*/ 7 h 40"/>
                  <a:gd name="T28" fmla="*/ 9 w 161"/>
                  <a:gd name="T29" fmla="*/ 4 h 40"/>
                  <a:gd name="T30" fmla="*/ 13 w 161"/>
                  <a:gd name="T31" fmla="*/ 3 h 40"/>
                  <a:gd name="T32" fmla="*/ 17 w 161"/>
                  <a:gd name="T33" fmla="*/ 2 h 40"/>
                  <a:gd name="T34" fmla="*/ 20 w 161"/>
                  <a:gd name="T35" fmla="*/ 0 h 40"/>
                  <a:gd name="T36" fmla="*/ 141 w 161"/>
                  <a:gd name="T37" fmla="*/ 0 h 40"/>
                  <a:gd name="T38" fmla="*/ 144 w 161"/>
                  <a:gd name="T39" fmla="*/ 2 h 40"/>
                  <a:gd name="T40" fmla="*/ 148 w 161"/>
                  <a:gd name="T41" fmla="*/ 3 h 40"/>
                  <a:gd name="T42" fmla="*/ 152 w 161"/>
                  <a:gd name="T43" fmla="*/ 4 h 40"/>
                  <a:gd name="T44" fmla="*/ 154 w 161"/>
                  <a:gd name="T45" fmla="*/ 7 h 40"/>
                  <a:gd name="T46" fmla="*/ 157 w 161"/>
                  <a:gd name="T47" fmla="*/ 9 h 40"/>
                  <a:gd name="T48" fmla="*/ 159 w 161"/>
                  <a:gd name="T49" fmla="*/ 13 h 40"/>
                  <a:gd name="T50" fmla="*/ 161 w 161"/>
                  <a:gd name="T51" fmla="*/ 17 h 40"/>
                  <a:gd name="T52" fmla="*/ 161 w 161"/>
                  <a:gd name="T53" fmla="*/ 20 h 40"/>
                  <a:gd name="T54" fmla="*/ 161 w 161"/>
                  <a:gd name="T55" fmla="*/ 25 h 40"/>
                  <a:gd name="T56" fmla="*/ 159 w 161"/>
                  <a:gd name="T57" fmla="*/ 29 h 40"/>
                  <a:gd name="T58" fmla="*/ 157 w 161"/>
                  <a:gd name="T59" fmla="*/ 31 h 40"/>
                  <a:gd name="T60" fmla="*/ 154 w 161"/>
                  <a:gd name="T61" fmla="*/ 35 h 40"/>
                  <a:gd name="T62" fmla="*/ 152 w 161"/>
                  <a:gd name="T63" fmla="*/ 38 h 40"/>
                  <a:gd name="T64" fmla="*/ 148 w 161"/>
                  <a:gd name="T65" fmla="*/ 39 h 40"/>
                  <a:gd name="T66" fmla="*/ 144 w 161"/>
                  <a:gd name="T67" fmla="*/ 40 h 40"/>
                  <a:gd name="T68" fmla="*/ 141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41" y="40"/>
                    </a:moveTo>
                    <a:lnTo>
                      <a:pt x="20" y="40"/>
                    </a:lnTo>
                    <a:lnTo>
                      <a:pt x="17" y="40"/>
                    </a:lnTo>
                    <a:lnTo>
                      <a:pt x="13" y="39"/>
                    </a:lnTo>
                    <a:lnTo>
                      <a:pt x="9" y="38"/>
                    </a:lnTo>
                    <a:lnTo>
                      <a:pt x="7" y="35"/>
                    </a:lnTo>
                    <a:lnTo>
                      <a:pt x="4" y="31"/>
                    </a:lnTo>
                    <a:lnTo>
                      <a:pt x="2" y="29"/>
                    </a:lnTo>
                    <a:lnTo>
                      <a:pt x="2" y="25"/>
                    </a:lnTo>
                    <a:lnTo>
                      <a:pt x="0" y="20"/>
                    </a:lnTo>
                    <a:lnTo>
                      <a:pt x="2" y="17"/>
                    </a:lnTo>
                    <a:lnTo>
                      <a:pt x="2" y="13"/>
                    </a:lnTo>
                    <a:lnTo>
                      <a:pt x="4" y="9"/>
                    </a:lnTo>
                    <a:lnTo>
                      <a:pt x="7" y="7"/>
                    </a:lnTo>
                    <a:lnTo>
                      <a:pt x="9" y="4"/>
                    </a:lnTo>
                    <a:lnTo>
                      <a:pt x="13" y="3"/>
                    </a:lnTo>
                    <a:lnTo>
                      <a:pt x="17" y="2"/>
                    </a:lnTo>
                    <a:lnTo>
                      <a:pt x="20" y="0"/>
                    </a:lnTo>
                    <a:lnTo>
                      <a:pt x="141" y="0"/>
                    </a:lnTo>
                    <a:lnTo>
                      <a:pt x="144" y="2"/>
                    </a:lnTo>
                    <a:lnTo>
                      <a:pt x="148" y="3"/>
                    </a:lnTo>
                    <a:lnTo>
                      <a:pt x="152" y="4"/>
                    </a:lnTo>
                    <a:lnTo>
                      <a:pt x="154" y="7"/>
                    </a:lnTo>
                    <a:lnTo>
                      <a:pt x="157" y="9"/>
                    </a:lnTo>
                    <a:lnTo>
                      <a:pt x="159" y="13"/>
                    </a:lnTo>
                    <a:lnTo>
                      <a:pt x="161" y="17"/>
                    </a:lnTo>
                    <a:lnTo>
                      <a:pt x="161" y="20"/>
                    </a:lnTo>
                    <a:lnTo>
                      <a:pt x="161" y="25"/>
                    </a:lnTo>
                    <a:lnTo>
                      <a:pt x="159" y="29"/>
                    </a:lnTo>
                    <a:lnTo>
                      <a:pt x="157" y="31"/>
                    </a:lnTo>
                    <a:lnTo>
                      <a:pt x="154" y="35"/>
                    </a:lnTo>
                    <a:lnTo>
                      <a:pt x="152" y="38"/>
                    </a:lnTo>
                    <a:lnTo>
                      <a:pt x="148" y="39"/>
                    </a:lnTo>
                    <a:lnTo>
                      <a:pt x="144" y="40"/>
                    </a:lnTo>
                    <a:lnTo>
                      <a:pt x="1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84"/>
              <p:cNvSpPr>
                <a:spLocks/>
              </p:cNvSpPr>
              <p:nvPr/>
            </p:nvSpPr>
            <p:spPr bwMode="auto">
              <a:xfrm>
                <a:off x="3103462" y="2533622"/>
                <a:ext cx="77489" cy="75644"/>
              </a:xfrm>
              <a:custGeom>
                <a:avLst/>
                <a:gdLst>
                  <a:gd name="T0" fmla="*/ 105 w 125"/>
                  <a:gd name="T1" fmla="*/ 125 h 125"/>
                  <a:gd name="T2" fmla="*/ 102 w 125"/>
                  <a:gd name="T3" fmla="*/ 125 h 125"/>
                  <a:gd name="T4" fmla="*/ 98 w 125"/>
                  <a:gd name="T5" fmla="*/ 124 h 125"/>
                  <a:gd name="T6" fmla="*/ 94 w 125"/>
                  <a:gd name="T7" fmla="*/ 121 h 125"/>
                  <a:gd name="T8" fmla="*/ 91 w 125"/>
                  <a:gd name="T9" fmla="*/ 119 h 125"/>
                  <a:gd name="T10" fmla="*/ 6 w 125"/>
                  <a:gd name="T11" fmla="*/ 34 h 125"/>
                  <a:gd name="T12" fmla="*/ 4 w 125"/>
                  <a:gd name="T13" fmla="*/ 31 h 125"/>
                  <a:gd name="T14" fmla="*/ 2 w 125"/>
                  <a:gd name="T15" fmla="*/ 28 h 125"/>
                  <a:gd name="T16" fmla="*/ 1 w 125"/>
                  <a:gd name="T17" fmla="*/ 25 h 125"/>
                  <a:gd name="T18" fmla="*/ 0 w 125"/>
                  <a:gd name="T19" fmla="*/ 20 h 125"/>
                  <a:gd name="T20" fmla="*/ 1 w 125"/>
                  <a:gd name="T21" fmla="*/ 16 h 125"/>
                  <a:gd name="T22" fmla="*/ 2 w 125"/>
                  <a:gd name="T23" fmla="*/ 12 h 125"/>
                  <a:gd name="T24" fmla="*/ 4 w 125"/>
                  <a:gd name="T25" fmla="*/ 10 h 125"/>
                  <a:gd name="T26" fmla="*/ 6 w 125"/>
                  <a:gd name="T27" fmla="*/ 6 h 125"/>
                  <a:gd name="T28" fmla="*/ 10 w 125"/>
                  <a:gd name="T29" fmla="*/ 3 h 125"/>
                  <a:gd name="T30" fmla="*/ 12 w 125"/>
                  <a:gd name="T31" fmla="*/ 2 h 125"/>
                  <a:gd name="T32" fmla="*/ 16 w 125"/>
                  <a:gd name="T33" fmla="*/ 1 h 125"/>
                  <a:gd name="T34" fmla="*/ 20 w 125"/>
                  <a:gd name="T35" fmla="*/ 0 h 125"/>
                  <a:gd name="T36" fmla="*/ 25 w 125"/>
                  <a:gd name="T37" fmla="*/ 1 h 125"/>
                  <a:gd name="T38" fmla="*/ 28 w 125"/>
                  <a:gd name="T39" fmla="*/ 2 h 125"/>
                  <a:gd name="T40" fmla="*/ 31 w 125"/>
                  <a:gd name="T41" fmla="*/ 3 h 125"/>
                  <a:gd name="T42" fmla="*/ 35 w 125"/>
                  <a:gd name="T43" fmla="*/ 6 h 125"/>
                  <a:gd name="T44" fmla="*/ 119 w 125"/>
                  <a:gd name="T45" fmla="*/ 90 h 125"/>
                  <a:gd name="T46" fmla="*/ 122 w 125"/>
                  <a:gd name="T47" fmla="*/ 94 h 125"/>
                  <a:gd name="T48" fmla="*/ 124 w 125"/>
                  <a:gd name="T49" fmla="*/ 98 h 125"/>
                  <a:gd name="T50" fmla="*/ 125 w 125"/>
                  <a:gd name="T51" fmla="*/ 102 h 125"/>
                  <a:gd name="T52" fmla="*/ 125 w 125"/>
                  <a:gd name="T53" fmla="*/ 105 h 125"/>
                  <a:gd name="T54" fmla="*/ 125 w 125"/>
                  <a:gd name="T55" fmla="*/ 109 h 125"/>
                  <a:gd name="T56" fmla="*/ 124 w 125"/>
                  <a:gd name="T57" fmla="*/ 113 h 125"/>
                  <a:gd name="T58" fmla="*/ 122 w 125"/>
                  <a:gd name="T59" fmla="*/ 116 h 125"/>
                  <a:gd name="T60" fmla="*/ 119 w 125"/>
                  <a:gd name="T61" fmla="*/ 119 h 125"/>
                  <a:gd name="T62" fmla="*/ 117 w 125"/>
                  <a:gd name="T63" fmla="*/ 121 h 125"/>
                  <a:gd name="T64" fmla="*/ 113 w 125"/>
                  <a:gd name="T65" fmla="*/ 124 h 125"/>
                  <a:gd name="T66" fmla="*/ 109 w 125"/>
                  <a:gd name="T67" fmla="*/ 125 h 125"/>
                  <a:gd name="T68" fmla="*/ 105 w 125"/>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105" y="125"/>
                    </a:moveTo>
                    <a:lnTo>
                      <a:pt x="102" y="125"/>
                    </a:lnTo>
                    <a:lnTo>
                      <a:pt x="98" y="124"/>
                    </a:lnTo>
                    <a:lnTo>
                      <a:pt x="94" y="121"/>
                    </a:lnTo>
                    <a:lnTo>
                      <a:pt x="91" y="119"/>
                    </a:lnTo>
                    <a:lnTo>
                      <a:pt x="6" y="34"/>
                    </a:lnTo>
                    <a:lnTo>
                      <a:pt x="4" y="31"/>
                    </a:lnTo>
                    <a:lnTo>
                      <a:pt x="2" y="28"/>
                    </a:lnTo>
                    <a:lnTo>
                      <a:pt x="1" y="25"/>
                    </a:lnTo>
                    <a:lnTo>
                      <a:pt x="0" y="20"/>
                    </a:lnTo>
                    <a:lnTo>
                      <a:pt x="1" y="16"/>
                    </a:lnTo>
                    <a:lnTo>
                      <a:pt x="2" y="12"/>
                    </a:lnTo>
                    <a:lnTo>
                      <a:pt x="4" y="10"/>
                    </a:lnTo>
                    <a:lnTo>
                      <a:pt x="6" y="6"/>
                    </a:lnTo>
                    <a:lnTo>
                      <a:pt x="10" y="3"/>
                    </a:lnTo>
                    <a:lnTo>
                      <a:pt x="12" y="2"/>
                    </a:lnTo>
                    <a:lnTo>
                      <a:pt x="16" y="1"/>
                    </a:lnTo>
                    <a:lnTo>
                      <a:pt x="20" y="0"/>
                    </a:lnTo>
                    <a:lnTo>
                      <a:pt x="25" y="1"/>
                    </a:lnTo>
                    <a:lnTo>
                      <a:pt x="28" y="2"/>
                    </a:lnTo>
                    <a:lnTo>
                      <a:pt x="31" y="3"/>
                    </a:lnTo>
                    <a:lnTo>
                      <a:pt x="35" y="6"/>
                    </a:lnTo>
                    <a:lnTo>
                      <a:pt x="119" y="90"/>
                    </a:lnTo>
                    <a:lnTo>
                      <a:pt x="122" y="94"/>
                    </a:lnTo>
                    <a:lnTo>
                      <a:pt x="124" y="98"/>
                    </a:lnTo>
                    <a:lnTo>
                      <a:pt x="125" y="102"/>
                    </a:lnTo>
                    <a:lnTo>
                      <a:pt x="125" y="105"/>
                    </a:lnTo>
                    <a:lnTo>
                      <a:pt x="125" y="109"/>
                    </a:lnTo>
                    <a:lnTo>
                      <a:pt x="124" y="113"/>
                    </a:lnTo>
                    <a:lnTo>
                      <a:pt x="122" y="116"/>
                    </a:lnTo>
                    <a:lnTo>
                      <a:pt x="119" y="119"/>
                    </a:lnTo>
                    <a:lnTo>
                      <a:pt x="117" y="121"/>
                    </a:lnTo>
                    <a:lnTo>
                      <a:pt x="113" y="124"/>
                    </a:lnTo>
                    <a:lnTo>
                      <a:pt x="109" y="125"/>
                    </a:lnTo>
                    <a:lnTo>
                      <a:pt x="105"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85"/>
              <p:cNvSpPr>
                <a:spLocks/>
              </p:cNvSpPr>
              <p:nvPr/>
            </p:nvSpPr>
            <p:spPr bwMode="auto">
              <a:xfrm>
                <a:off x="3503820" y="2933980"/>
                <a:ext cx="75644" cy="75644"/>
              </a:xfrm>
              <a:custGeom>
                <a:avLst/>
                <a:gdLst>
                  <a:gd name="T0" fmla="*/ 104 w 124"/>
                  <a:gd name="T1" fmla="*/ 124 h 124"/>
                  <a:gd name="T2" fmla="*/ 100 w 124"/>
                  <a:gd name="T3" fmla="*/ 124 h 124"/>
                  <a:gd name="T4" fmla="*/ 97 w 124"/>
                  <a:gd name="T5" fmla="*/ 123 h 124"/>
                  <a:gd name="T6" fmla="*/ 93 w 124"/>
                  <a:gd name="T7" fmla="*/ 121 h 124"/>
                  <a:gd name="T8" fmla="*/ 90 w 124"/>
                  <a:gd name="T9" fmla="*/ 119 h 124"/>
                  <a:gd name="T10" fmla="*/ 6 w 124"/>
                  <a:gd name="T11" fmla="*/ 33 h 124"/>
                  <a:gd name="T12" fmla="*/ 3 w 124"/>
                  <a:gd name="T13" fmla="*/ 31 h 124"/>
                  <a:gd name="T14" fmla="*/ 1 w 124"/>
                  <a:gd name="T15" fmla="*/ 27 h 124"/>
                  <a:gd name="T16" fmla="*/ 0 w 124"/>
                  <a:gd name="T17" fmla="*/ 23 h 124"/>
                  <a:gd name="T18" fmla="*/ 0 w 124"/>
                  <a:gd name="T19" fmla="*/ 20 h 124"/>
                  <a:gd name="T20" fmla="*/ 0 w 124"/>
                  <a:gd name="T21" fmla="*/ 16 h 124"/>
                  <a:gd name="T22" fmla="*/ 1 w 124"/>
                  <a:gd name="T23" fmla="*/ 12 h 124"/>
                  <a:gd name="T24" fmla="*/ 3 w 124"/>
                  <a:gd name="T25" fmla="*/ 8 h 124"/>
                  <a:gd name="T26" fmla="*/ 6 w 124"/>
                  <a:gd name="T27" fmla="*/ 6 h 124"/>
                  <a:gd name="T28" fmla="*/ 8 w 124"/>
                  <a:gd name="T29" fmla="*/ 3 h 124"/>
                  <a:gd name="T30" fmla="*/ 12 w 124"/>
                  <a:gd name="T31" fmla="*/ 1 h 124"/>
                  <a:gd name="T32" fmla="*/ 16 w 124"/>
                  <a:gd name="T33" fmla="*/ 0 h 124"/>
                  <a:gd name="T34" fmla="*/ 20 w 124"/>
                  <a:gd name="T35" fmla="*/ 0 h 124"/>
                  <a:gd name="T36" fmla="*/ 23 w 124"/>
                  <a:gd name="T37" fmla="*/ 0 h 124"/>
                  <a:gd name="T38" fmla="*/ 27 w 124"/>
                  <a:gd name="T39" fmla="*/ 1 h 124"/>
                  <a:gd name="T40" fmla="*/ 31 w 124"/>
                  <a:gd name="T41" fmla="*/ 3 h 124"/>
                  <a:gd name="T42" fmla="*/ 33 w 124"/>
                  <a:gd name="T43" fmla="*/ 6 h 124"/>
                  <a:gd name="T44" fmla="*/ 119 w 124"/>
                  <a:gd name="T45" fmla="*/ 90 h 124"/>
                  <a:gd name="T46" fmla="*/ 121 w 124"/>
                  <a:gd name="T47" fmla="*/ 93 h 124"/>
                  <a:gd name="T48" fmla="*/ 123 w 124"/>
                  <a:gd name="T49" fmla="*/ 97 h 124"/>
                  <a:gd name="T50" fmla="*/ 124 w 124"/>
                  <a:gd name="T51" fmla="*/ 100 h 124"/>
                  <a:gd name="T52" fmla="*/ 124 w 124"/>
                  <a:gd name="T53" fmla="*/ 104 h 124"/>
                  <a:gd name="T54" fmla="*/ 124 w 124"/>
                  <a:gd name="T55" fmla="*/ 108 h 124"/>
                  <a:gd name="T56" fmla="*/ 123 w 124"/>
                  <a:gd name="T57" fmla="*/ 111 h 124"/>
                  <a:gd name="T58" fmla="*/ 121 w 124"/>
                  <a:gd name="T59" fmla="*/ 115 h 124"/>
                  <a:gd name="T60" fmla="*/ 119 w 124"/>
                  <a:gd name="T61" fmla="*/ 119 h 124"/>
                  <a:gd name="T62" fmla="*/ 115 w 124"/>
                  <a:gd name="T63" fmla="*/ 121 h 124"/>
                  <a:gd name="T64" fmla="*/ 111 w 124"/>
                  <a:gd name="T65" fmla="*/ 123 h 124"/>
                  <a:gd name="T66" fmla="*/ 108 w 124"/>
                  <a:gd name="T67" fmla="*/ 124 h 124"/>
                  <a:gd name="T68" fmla="*/ 104 w 124"/>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4">
                    <a:moveTo>
                      <a:pt x="104" y="124"/>
                    </a:moveTo>
                    <a:lnTo>
                      <a:pt x="100" y="124"/>
                    </a:lnTo>
                    <a:lnTo>
                      <a:pt x="97" y="123"/>
                    </a:lnTo>
                    <a:lnTo>
                      <a:pt x="93" y="121"/>
                    </a:lnTo>
                    <a:lnTo>
                      <a:pt x="90" y="119"/>
                    </a:lnTo>
                    <a:lnTo>
                      <a:pt x="6" y="33"/>
                    </a:lnTo>
                    <a:lnTo>
                      <a:pt x="3" y="31"/>
                    </a:lnTo>
                    <a:lnTo>
                      <a:pt x="1" y="27"/>
                    </a:lnTo>
                    <a:lnTo>
                      <a:pt x="0" y="23"/>
                    </a:lnTo>
                    <a:lnTo>
                      <a:pt x="0" y="20"/>
                    </a:lnTo>
                    <a:lnTo>
                      <a:pt x="0" y="16"/>
                    </a:lnTo>
                    <a:lnTo>
                      <a:pt x="1" y="12"/>
                    </a:lnTo>
                    <a:lnTo>
                      <a:pt x="3" y="8"/>
                    </a:lnTo>
                    <a:lnTo>
                      <a:pt x="6" y="6"/>
                    </a:lnTo>
                    <a:lnTo>
                      <a:pt x="8" y="3"/>
                    </a:lnTo>
                    <a:lnTo>
                      <a:pt x="12" y="1"/>
                    </a:lnTo>
                    <a:lnTo>
                      <a:pt x="16" y="0"/>
                    </a:lnTo>
                    <a:lnTo>
                      <a:pt x="20" y="0"/>
                    </a:lnTo>
                    <a:lnTo>
                      <a:pt x="23" y="0"/>
                    </a:lnTo>
                    <a:lnTo>
                      <a:pt x="27" y="1"/>
                    </a:lnTo>
                    <a:lnTo>
                      <a:pt x="31" y="3"/>
                    </a:lnTo>
                    <a:lnTo>
                      <a:pt x="33" y="6"/>
                    </a:lnTo>
                    <a:lnTo>
                      <a:pt x="119" y="90"/>
                    </a:lnTo>
                    <a:lnTo>
                      <a:pt x="121" y="93"/>
                    </a:lnTo>
                    <a:lnTo>
                      <a:pt x="123" y="97"/>
                    </a:lnTo>
                    <a:lnTo>
                      <a:pt x="124" y="100"/>
                    </a:lnTo>
                    <a:lnTo>
                      <a:pt x="124" y="104"/>
                    </a:lnTo>
                    <a:lnTo>
                      <a:pt x="124" y="108"/>
                    </a:lnTo>
                    <a:lnTo>
                      <a:pt x="123" y="111"/>
                    </a:lnTo>
                    <a:lnTo>
                      <a:pt x="121" y="115"/>
                    </a:lnTo>
                    <a:lnTo>
                      <a:pt x="119" y="119"/>
                    </a:lnTo>
                    <a:lnTo>
                      <a:pt x="115" y="121"/>
                    </a:lnTo>
                    <a:lnTo>
                      <a:pt x="111" y="123"/>
                    </a:lnTo>
                    <a:lnTo>
                      <a:pt x="108" y="124"/>
                    </a:lnTo>
                    <a:lnTo>
                      <a:pt x="104"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86"/>
              <p:cNvSpPr>
                <a:spLocks/>
              </p:cNvSpPr>
              <p:nvPr/>
            </p:nvSpPr>
            <p:spPr bwMode="auto">
              <a:xfrm>
                <a:off x="3328548" y="2439528"/>
                <a:ext cx="25830" cy="97783"/>
              </a:xfrm>
              <a:custGeom>
                <a:avLst/>
                <a:gdLst>
                  <a:gd name="T0" fmla="*/ 20 w 40"/>
                  <a:gd name="T1" fmla="*/ 160 h 160"/>
                  <a:gd name="T2" fmla="*/ 17 w 40"/>
                  <a:gd name="T3" fmla="*/ 159 h 160"/>
                  <a:gd name="T4" fmla="*/ 13 w 40"/>
                  <a:gd name="T5" fmla="*/ 158 h 160"/>
                  <a:gd name="T6" fmla="*/ 9 w 40"/>
                  <a:gd name="T7" fmla="*/ 157 h 160"/>
                  <a:gd name="T8" fmla="*/ 7 w 40"/>
                  <a:gd name="T9" fmla="*/ 154 h 160"/>
                  <a:gd name="T10" fmla="*/ 4 w 40"/>
                  <a:gd name="T11" fmla="*/ 150 h 160"/>
                  <a:gd name="T12" fmla="*/ 3 w 40"/>
                  <a:gd name="T13" fmla="*/ 148 h 160"/>
                  <a:gd name="T14" fmla="*/ 2 w 40"/>
                  <a:gd name="T15" fmla="*/ 144 h 160"/>
                  <a:gd name="T16" fmla="*/ 0 w 40"/>
                  <a:gd name="T17" fmla="*/ 139 h 160"/>
                  <a:gd name="T18" fmla="*/ 0 w 40"/>
                  <a:gd name="T19" fmla="*/ 20 h 160"/>
                  <a:gd name="T20" fmla="*/ 2 w 40"/>
                  <a:gd name="T21" fmla="*/ 16 h 160"/>
                  <a:gd name="T22" fmla="*/ 3 w 40"/>
                  <a:gd name="T23" fmla="*/ 13 h 160"/>
                  <a:gd name="T24" fmla="*/ 4 w 40"/>
                  <a:gd name="T25" fmla="*/ 9 h 160"/>
                  <a:gd name="T26" fmla="*/ 7 w 40"/>
                  <a:gd name="T27" fmla="*/ 5 h 160"/>
                  <a:gd name="T28" fmla="*/ 9 w 40"/>
                  <a:gd name="T29" fmla="*/ 4 h 160"/>
                  <a:gd name="T30" fmla="*/ 13 w 40"/>
                  <a:gd name="T31" fmla="*/ 1 h 160"/>
                  <a:gd name="T32" fmla="*/ 17 w 40"/>
                  <a:gd name="T33" fmla="*/ 0 h 160"/>
                  <a:gd name="T34" fmla="*/ 20 w 40"/>
                  <a:gd name="T35" fmla="*/ 0 h 160"/>
                  <a:gd name="T36" fmla="*/ 25 w 40"/>
                  <a:gd name="T37" fmla="*/ 0 h 160"/>
                  <a:gd name="T38" fmla="*/ 29 w 40"/>
                  <a:gd name="T39" fmla="*/ 1 h 160"/>
                  <a:gd name="T40" fmla="*/ 32 w 40"/>
                  <a:gd name="T41" fmla="*/ 4 h 160"/>
                  <a:gd name="T42" fmla="*/ 35 w 40"/>
                  <a:gd name="T43" fmla="*/ 5 h 160"/>
                  <a:gd name="T44" fmla="*/ 38 w 40"/>
                  <a:gd name="T45" fmla="*/ 9 h 160"/>
                  <a:gd name="T46" fmla="*/ 39 w 40"/>
                  <a:gd name="T47" fmla="*/ 13 h 160"/>
                  <a:gd name="T48" fmla="*/ 40 w 40"/>
                  <a:gd name="T49" fmla="*/ 16 h 160"/>
                  <a:gd name="T50" fmla="*/ 40 w 40"/>
                  <a:gd name="T51" fmla="*/ 20 h 160"/>
                  <a:gd name="T52" fmla="*/ 40 w 40"/>
                  <a:gd name="T53" fmla="*/ 139 h 160"/>
                  <a:gd name="T54" fmla="*/ 40 w 40"/>
                  <a:gd name="T55" fmla="*/ 144 h 160"/>
                  <a:gd name="T56" fmla="*/ 39 w 40"/>
                  <a:gd name="T57" fmla="*/ 148 h 160"/>
                  <a:gd name="T58" fmla="*/ 38 w 40"/>
                  <a:gd name="T59" fmla="*/ 150 h 160"/>
                  <a:gd name="T60" fmla="*/ 35 w 40"/>
                  <a:gd name="T61" fmla="*/ 154 h 160"/>
                  <a:gd name="T62" fmla="*/ 32 w 40"/>
                  <a:gd name="T63" fmla="*/ 157 h 160"/>
                  <a:gd name="T64" fmla="*/ 29 w 40"/>
                  <a:gd name="T65" fmla="*/ 158 h 160"/>
                  <a:gd name="T66" fmla="*/ 25 w 40"/>
                  <a:gd name="T67" fmla="*/ 159 h 160"/>
                  <a:gd name="T68" fmla="*/ 20 w 40"/>
                  <a:gd name="T69"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160">
                    <a:moveTo>
                      <a:pt x="20" y="160"/>
                    </a:moveTo>
                    <a:lnTo>
                      <a:pt x="17" y="159"/>
                    </a:lnTo>
                    <a:lnTo>
                      <a:pt x="13" y="158"/>
                    </a:lnTo>
                    <a:lnTo>
                      <a:pt x="9" y="157"/>
                    </a:lnTo>
                    <a:lnTo>
                      <a:pt x="7" y="154"/>
                    </a:lnTo>
                    <a:lnTo>
                      <a:pt x="4" y="150"/>
                    </a:lnTo>
                    <a:lnTo>
                      <a:pt x="3" y="148"/>
                    </a:lnTo>
                    <a:lnTo>
                      <a:pt x="2" y="144"/>
                    </a:lnTo>
                    <a:lnTo>
                      <a:pt x="0" y="139"/>
                    </a:lnTo>
                    <a:lnTo>
                      <a:pt x="0" y="20"/>
                    </a:lnTo>
                    <a:lnTo>
                      <a:pt x="2" y="16"/>
                    </a:lnTo>
                    <a:lnTo>
                      <a:pt x="3" y="13"/>
                    </a:lnTo>
                    <a:lnTo>
                      <a:pt x="4" y="9"/>
                    </a:lnTo>
                    <a:lnTo>
                      <a:pt x="7" y="5"/>
                    </a:lnTo>
                    <a:lnTo>
                      <a:pt x="9" y="4"/>
                    </a:lnTo>
                    <a:lnTo>
                      <a:pt x="13" y="1"/>
                    </a:lnTo>
                    <a:lnTo>
                      <a:pt x="17" y="0"/>
                    </a:lnTo>
                    <a:lnTo>
                      <a:pt x="20" y="0"/>
                    </a:lnTo>
                    <a:lnTo>
                      <a:pt x="25" y="0"/>
                    </a:lnTo>
                    <a:lnTo>
                      <a:pt x="29" y="1"/>
                    </a:lnTo>
                    <a:lnTo>
                      <a:pt x="32" y="4"/>
                    </a:lnTo>
                    <a:lnTo>
                      <a:pt x="35" y="5"/>
                    </a:lnTo>
                    <a:lnTo>
                      <a:pt x="38" y="9"/>
                    </a:lnTo>
                    <a:lnTo>
                      <a:pt x="39" y="13"/>
                    </a:lnTo>
                    <a:lnTo>
                      <a:pt x="40" y="16"/>
                    </a:lnTo>
                    <a:lnTo>
                      <a:pt x="40" y="20"/>
                    </a:lnTo>
                    <a:lnTo>
                      <a:pt x="40" y="139"/>
                    </a:lnTo>
                    <a:lnTo>
                      <a:pt x="40" y="144"/>
                    </a:lnTo>
                    <a:lnTo>
                      <a:pt x="39" y="148"/>
                    </a:lnTo>
                    <a:lnTo>
                      <a:pt x="38" y="150"/>
                    </a:lnTo>
                    <a:lnTo>
                      <a:pt x="35" y="154"/>
                    </a:lnTo>
                    <a:lnTo>
                      <a:pt x="32" y="157"/>
                    </a:lnTo>
                    <a:lnTo>
                      <a:pt x="29" y="158"/>
                    </a:lnTo>
                    <a:lnTo>
                      <a:pt x="25" y="159"/>
                    </a:lnTo>
                    <a:lnTo>
                      <a:pt x="2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87"/>
              <p:cNvSpPr>
                <a:spLocks/>
              </p:cNvSpPr>
              <p:nvPr/>
            </p:nvSpPr>
            <p:spPr bwMode="auto">
              <a:xfrm>
                <a:off x="3503820" y="2533622"/>
                <a:ext cx="75644" cy="75644"/>
              </a:xfrm>
              <a:custGeom>
                <a:avLst/>
                <a:gdLst>
                  <a:gd name="T0" fmla="*/ 20 w 124"/>
                  <a:gd name="T1" fmla="*/ 125 h 125"/>
                  <a:gd name="T2" fmla="*/ 16 w 124"/>
                  <a:gd name="T3" fmla="*/ 125 h 125"/>
                  <a:gd name="T4" fmla="*/ 12 w 124"/>
                  <a:gd name="T5" fmla="*/ 124 h 125"/>
                  <a:gd name="T6" fmla="*/ 8 w 124"/>
                  <a:gd name="T7" fmla="*/ 121 h 125"/>
                  <a:gd name="T8" fmla="*/ 6 w 124"/>
                  <a:gd name="T9" fmla="*/ 119 h 125"/>
                  <a:gd name="T10" fmla="*/ 3 w 124"/>
                  <a:gd name="T11" fmla="*/ 116 h 125"/>
                  <a:gd name="T12" fmla="*/ 1 w 124"/>
                  <a:gd name="T13" fmla="*/ 113 h 125"/>
                  <a:gd name="T14" fmla="*/ 0 w 124"/>
                  <a:gd name="T15" fmla="*/ 109 h 125"/>
                  <a:gd name="T16" fmla="*/ 0 w 124"/>
                  <a:gd name="T17" fmla="*/ 105 h 125"/>
                  <a:gd name="T18" fmla="*/ 0 w 124"/>
                  <a:gd name="T19" fmla="*/ 102 h 125"/>
                  <a:gd name="T20" fmla="*/ 1 w 124"/>
                  <a:gd name="T21" fmla="*/ 98 h 125"/>
                  <a:gd name="T22" fmla="*/ 3 w 124"/>
                  <a:gd name="T23" fmla="*/ 94 h 125"/>
                  <a:gd name="T24" fmla="*/ 6 w 124"/>
                  <a:gd name="T25" fmla="*/ 90 h 125"/>
                  <a:gd name="T26" fmla="*/ 90 w 124"/>
                  <a:gd name="T27" fmla="*/ 6 h 125"/>
                  <a:gd name="T28" fmla="*/ 93 w 124"/>
                  <a:gd name="T29" fmla="*/ 3 h 125"/>
                  <a:gd name="T30" fmla="*/ 97 w 124"/>
                  <a:gd name="T31" fmla="*/ 2 h 125"/>
                  <a:gd name="T32" fmla="*/ 100 w 124"/>
                  <a:gd name="T33" fmla="*/ 1 h 125"/>
                  <a:gd name="T34" fmla="*/ 104 w 124"/>
                  <a:gd name="T35" fmla="*/ 0 h 125"/>
                  <a:gd name="T36" fmla="*/ 108 w 124"/>
                  <a:gd name="T37" fmla="*/ 1 h 125"/>
                  <a:gd name="T38" fmla="*/ 111 w 124"/>
                  <a:gd name="T39" fmla="*/ 2 h 125"/>
                  <a:gd name="T40" fmla="*/ 115 w 124"/>
                  <a:gd name="T41" fmla="*/ 3 h 125"/>
                  <a:gd name="T42" fmla="*/ 119 w 124"/>
                  <a:gd name="T43" fmla="*/ 6 h 125"/>
                  <a:gd name="T44" fmla="*/ 121 w 124"/>
                  <a:gd name="T45" fmla="*/ 10 h 125"/>
                  <a:gd name="T46" fmla="*/ 123 w 124"/>
                  <a:gd name="T47" fmla="*/ 12 h 125"/>
                  <a:gd name="T48" fmla="*/ 124 w 124"/>
                  <a:gd name="T49" fmla="*/ 16 h 125"/>
                  <a:gd name="T50" fmla="*/ 124 w 124"/>
                  <a:gd name="T51" fmla="*/ 20 h 125"/>
                  <a:gd name="T52" fmla="*/ 124 w 124"/>
                  <a:gd name="T53" fmla="*/ 25 h 125"/>
                  <a:gd name="T54" fmla="*/ 123 w 124"/>
                  <a:gd name="T55" fmla="*/ 28 h 125"/>
                  <a:gd name="T56" fmla="*/ 121 w 124"/>
                  <a:gd name="T57" fmla="*/ 31 h 125"/>
                  <a:gd name="T58" fmla="*/ 119 w 124"/>
                  <a:gd name="T59" fmla="*/ 34 h 125"/>
                  <a:gd name="T60" fmla="*/ 33 w 124"/>
                  <a:gd name="T61" fmla="*/ 119 h 125"/>
                  <a:gd name="T62" fmla="*/ 31 w 124"/>
                  <a:gd name="T63" fmla="*/ 121 h 125"/>
                  <a:gd name="T64" fmla="*/ 27 w 124"/>
                  <a:gd name="T65" fmla="*/ 124 h 125"/>
                  <a:gd name="T66" fmla="*/ 23 w 124"/>
                  <a:gd name="T67" fmla="*/ 125 h 125"/>
                  <a:gd name="T68" fmla="*/ 20 w 124"/>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20" y="125"/>
                    </a:moveTo>
                    <a:lnTo>
                      <a:pt x="16" y="125"/>
                    </a:lnTo>
                    <a:lnTo>
                      <a:pt x="12" y="124"/>
                    </a:lnTo>
                    <a:lnTo>
                      <a:pt x="8" y="121"/>
                    </a:lnTo>
                    <a:lnTo>
                      <a:pt x="6" y="119"/>
                    </a:lnTo>
                    <a:lnTo>
                      <a:pt x="3" y="116"/>
                    </a:lnTo>
                    <a:lnTo>
                      <a:pt x="1" y="113"/>
                    </a:lnTo>
                    <a:lnTo>
                      <a:pt x="0" y="109"/>
                    </a:lnTo>
                    <a:lnTo>
                      <a:pt x="0" y="105"/>
                    </a:lnTo>
                    <a:lnTo>
                      <a:pt x="0" y="102"/>
                    </a:lnTo>
                    <a:lnTo>
                      <a:pt x="1" y="98"/>
                    </a:lnTo>
                    <a:lnTo>
                      <a:pt x="3" y="94"/>
                    </a:lnTo>
                    <a:lnTo>
                      <a:pt x="6" y="90"/>
                    </a:lnTo>
                    <a:lnTo>
                      <a:pt x="90" y="6"/>
                    </a:lnTo>
                    <a:lnTo>
                      <a:pt x="93" y="3"/>
                    </a:lnTo>
                    <a:lnTo>
                      <a:pt x="97" y="2"/>
                    </a:lnTo>
                    <a:lnTo>
                      <a:pt x="100" y="1"/>
                    </a:lnTo>
                    <a:lnTo>
                      <a:pt x="104" y="0"/>
                    </a:lnTo>
                    <a:lnTo>
                      <a:pt x="108" y="1"/>
                    </a:lnTo>
                    <a:lnTo>
                      <a:pt x="111" y="2"/>
                    </a:lnTo>
                    <a:lnTo>
                      <a:pt x="115" y="3"/>
                    </a:lnTo>
                    <a:lnTo>
                      <a:pt x="119" y="6"/>
                    </a:lnTo>
                    <a:lnTo>
                      <a:pt x="121" y="10"/>
                    </a:lnTo>
                    <a:lnTo>
                      <a:pt x="123" y="12"/>
                    </a:lnTo>
                    <a:lnTo>
                      <a:pt x="124" y="16"/>
                    </a:lnTo>
                    <a:lnTo>
                      <a:pt x="124" y="20"/>
                    </a:lnTo>
                    <a:lnTo>
                      <a:pt x="124" y="25"/>
                    </a:lnTo>
                    <a:lnTo>
                      <a:pt x="123" y="28"/>
                    </a:lnTo>
                    <a:lnTo>
                      <a:pt x="121" y="31"/>
                    </a:lnTo>
                    <a:lnTo>
                      <a:pt x="119" y="34"/>
                    </a:lnTo>
                    <a:lnTo>
                      <a:pt x="33" y="119"/>
                    </a:lnTo>
                    <a:lnTo>
                      <a:pt x="31" y="121"/>
                    </a:lnTo>
                    <a:lnTo>
                      <a:pt x="27" y="124"/>
                    </a:lnTo>
                    <a:lnTo>
                      <a:pt x="23" y="125"/>
                    </a:lnTo>
                    <a:lnTo>
                      <a:pt x="20"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8"/>
              <p:cNvSpPr>
                <a:spLocks/>
              </p:cNvSpPr>
              <p:nvPr/>
            </p:nvSpPr>
            <p:spPr bwMode="auto">
              <a:xfrm>
                <a:off x="3103462" y="2933980"/>
                <a:ext cx="77489" cy="75644"/>
              </a:xfrm>
              <a:custGeom>
                <a:avLst/>
                <a:gdLst>
                  <a:gd name="T0" fmla="*/ 20 w 125"/>
                  <a:gd name="T1" fmla="*/ 124 h 124"/>
                  <a:gd name="T2" fmla="*/ 16 w 125"/>
                  <a:gd name="T3" fmla="*/ 124 h 124"/>
                  <a:gd name="T4" fmla="*/ 12 w 125"/>
                  <a:gd name="T5" fmla="*/ 123 h 124"/>
                  <a:gd name="T6" fmla="*/ 10 w 125"/>
                  <a:gd name="T7" fmla="*/ 121 h 124"/>
                  <a:gd name="T8" fmla="*/ 6 w 125"/>
                  <a:gd name="T9" fmla="*/ 119 h 124"/>
                  <a:gd name="T10" fmla="*/ 4 w 125"/>
                  <a:gd name="T11" fmla="*/ 115 h 124"/>
                  <a:gd name="T12" fmla="*/ 2 w 125"/>
                  <a:gd name="T13" fmla="*/ 111 h 124"/>
                  <a:gd name="T14" fmla="*/ 1 w 125"/>
                  <a:gd name="T15" fmla="*/ 108 h 124"/>
                  <a:gd name="T16" fmla="*/ 0 w 125"/>
                  <a:gd name="T17" fmla="*/ 104 h 124"/>
                  <a:gd name="T18" fmla="*/ 1 w 125"/>
                  <a:gd name="T19" fmla="*/ 100 h 124"/>
                  <a:gd name="T20" fmla="*/ 2 w 125"/>
                  <a:gd name="T21" fmla="*/ 97 h 124"/>
                  <a:gd name="T22" fmla="*/ 4 w 125"/>
                  <a:gd name="T23" fmla="*/ 93 h 124"/>
                  <a:gd name="T24" fmla="*/ 6 w 125"/>
                  <a:gd name="T25" fmla="*/ 90 h 124"/>
                  <a:gd name="T26" fmla="*/ 91 w 125"/>
                  <a:gd name="T27" fmla="*/ 6 h 124"/>
                  <a:gd name="T28" fmla="*/ 94 w 125"/>
                  <a:gd name="T29" fmla="*/ 3 h 124"/>
                  <a:gd name="T30" fmla="*/ 98 w 125"/>
                  <a:gd name="T31" fmla="*/ 1 h 124"/>
                  <a:gd name="T32" fmla="*/ 102 w 125"/>
                  <a:gd name="T33" fmla="*/ 0 h 124"/>
                  <a:gd name="T34" fmla="*/ 105 w 125"/>
                  <a:gd name="T35" fmla="*/ 0 h 124"/>
                  <a:gd name="T36" fmla="*/ 109 w 125"/>
                  <a:gd name="T37" fmla="*/ 0 h 124"/>
                  <a:gd name="T38" fmla="*/ 113 w 125"/>
                  <a:gd name="T39" fmla="*/ 1 h 124"/>
                  <a:gd name="T40" fmla="*/ 117 w 125"/>
                  <a:gd name="T41" fmla="*/ 3 h 124"/>
                  <a:gd name="T42" fmla="*/ 119 w 125"/>
                  <a:gd name="T43" fmla="*/ 6 h 124"/>
                  <a:gd name="T44" fmla="*/ 122 w 125"/>
                  <a:gd name="T45" fmla="*/ 8 h 124"/>
                  <a:gd name="T46" fmla="*/ 124 w 125"/>
                  <a:gd name="T47" fmla="*/ 12 h 124"/>
                  <a:gd name="T48" fmla="*/ 125 w 125"/>
                  <a:gd name="T49" fmla="*/ 16 h 124"/>
                  <a:gd name="T50" fmla="*/ 125 w 125"/>
                  <a:gd name="T51" fmla="*/ 20 h 124"/>
                  <a:gd name="T52" fmla="*/ 125 w 125"/>
                  <a:gd name="T53" fmla="*/ 23 h 124"/>
                  <a:gd name="T54" fmla="*/ 124 w 125"/>
                  <a:gd name="T55" fmla="*/ 27 h 124"/>
                  <a:gd name="T56" fmla="*/ 122 w 125"/>
                  <a:gd name="T57" fmla="*/ 31 h 124"/>
                  <a:gd name="T58" fmla="*/ 119 w 125"/>
                  <a:gd name="T59" fmla="*/ 33 h 124"/>
                  <a:gd name="T60" fmla="*/ 35 w 125"/>
                  <a:gd name="T61" fmla="*/ 119 h 124"/>
                  <a:gd name="T62" fmla="*/ 31 w 125"/>
                  <a:gd name="T63" fmla="*/ 121 h 124"/>
                  <a:gd name="T64" fmla="*/ 28 w 125"/>
                  <a:gd name="T65" fmla="*/ 123 h 124"/>
                  <a:gd name="T66" fmla="*/ 25 w 125"/>
                  <a:gd name="T67" fmla="*/ 124 h 124"/>
                  <a:gd name="T68" fmla="*/ 20 w 125"/>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4">
                    <a:moveTo>
                      <a:pt x="20" y="124"/>
                    </a:moveTo>
                    <a:lnTo>
                      <a:pt x="16" y="124"/>
                    </a:lnTo>
                    <a:lnTo>
                      <a:pt x="12" y="123"/>
                    </a:lnTo>
                    <a:lnTo>
                      <a:pt x="10" y="121"/>
                    </a:lnTo>
                    <a:lnTo>
                      <a:pt x="6" y="119"/>
                    </a:lnTo>
                    <a:lnTo>
                      <a:pt x="4" y="115"/>
                    </a:lnTo>
                    <a:lnTo>
                      <a:pt x="2" y="111"/>
                    </a:lnTo>
                    <a:lnTo>
                      <a:pt x="1" y="108"/>
                    </a:lnTo>
                    <a:lnTo>
                      <a:pt x="0" y="104"/>
                    </a:lnTo>
                    <a:lnTo>
                      <a:pt x="1" y="100"/>
                    </a:lnTo>
                    <a:lnTo>
                      <a:pt x="2" y="97"/>
                    </a:lnTo>
                    <a:lnTo>
                      <a:pt x="4" y="93"/>
                    </a:lnTo>
                    <a:lnTo>
                      <a:pt x="6" y="90"/>
                    </a:lnTo>
                    <a:lnTo>
                      <a:pt x="91" y="6"/>
                    </a:lnTo>
                    <a:lnTo>
                      <a:pt x="94" y="3"/>
                    </a:lnTo>
                    <a:lnTo>
                      <a:pt x="98" y="1"/>
                    </a:lnTo>
                    <a:lnTo>
                      <a:pt x="102" y="0"/>
                    </a:lnTo>
                    <a:lnTo>
                      <a:pt x="105" y="0"/>
                    </a:lnTo>
                    <a:lnTo>
                      <a:pt x="109" y="0"/>
                    </a:lnTo>
                    <a:lnTo>
                      <a:pt x="113" y="1"/>
                    </a:lnTo>
                    <a:lnTo>
                      <a:pt x="117" y="3"/>
                    </a:lnTo>
                    <a:lnTo>
                      <a:pt x="119" y="6"/>
                    </a:lnTo>
                    <a:lnTo>
                      <a:pt x="122" y="8"/>
                    </a:lnTo>
                    <a:lnTo>
                      <a:pt x="124" y="12"/>
                    </a:lnTo>
                    <a:lnTo>
                      <a:pt x="125" y="16"/>
                    </a:lnTo>
                    <a:lnTo>
                      <a:pt x="125" y="20"/>
                    </a:lnTo>
                    <a:lnTo>
                      <a:pt x="125" y="23"/>
                    </a:lnTo>
                    <a:lnTo>
                      <a:pt x="124" y="27"/>
                    </a:lnTo>
                    <a:lnTo>
                      <a:pt x="122" y="31"/>
                    </a:lnTo>
                    <a:lnTo>
                      <a:pt x="119" y="33"/>
                    </a:lnTo>
                    <a:lnTo>
                      <a:pt x="35" y="119"/>
                    </a:lnTo>
                    <a:lnTo>
                      <a:pt x="31" y="121"/>
                    </a:lnTo>
                    <a:lnTo>
                      <a:pt x="28" y="123"/>
                    </a:lnTo>
                    <a:lnTo>
                      <a:pt x="25" y="124"/>
                    </a:lnTo>
                    <a:lnTo>
                      <a:pt x="2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 name="Group 58"/>
            <p:cNvGrpSpPr/>
            <p:nvPr/>
          </p:nvGrpSpPr>
          <p:grpSpPr>
            <a:xfrm>
              <a:off x="5684205" y="1888518"/>
              <a:ext cx="364332" cy="485776"/>
              <a:chOff x="6821487" y="1028700"/>
              <a:chExt cx="533400" cy="711200"/>
            </a:xfrm>
            <a:solidFill>
              <a:srgbClr val="E74C3C"/>
            </a:solidFill>
          </p:grpSpPr>
          <p:sp>
            <p:nvSpPr>
              <p:cNvPr id="60" name="Freeform 59"/>
              <p:cNvSpPr>
                <a:spLocks noEditPoints="1"/>
              </p:cNvSpPr>
              <p:nvPr/>
            </p:nvSpPr>
            <p:spPr bwMode="auto">
              <a:xfrm>
                <a:off x="6821487" y="1028700"/>
                <a:ext cx="533400" cy="711200"/>
              </a:xfrm>
              <a:custGeom>
                <a:avLst/>
                <a:gdLst>
                  <a:gd name="T0" fmla="*/ 503 w 1344"/>
                  <a:gd name="T1" fmla="*/ 1609 h 1792"/>
                  <a:gd name="T2" fmla="*/ 516 w 1344"/>
                  <a:gd name="T3" fmla="*/ 1651 h 1792"/>
                  <a:gd name="T4" fmla="*/ 559 w 1344"/>
                  <a:gd name="T5" fmla="*/ 1699 h 1792"/>
                  <a:gd name="T6" fmla="*/ 640 w 1344"/>
                  <a:gd name="T7" fmla="*/ 1726 h 1792"/>
                  <a:gd name="T8" fmla="*/ 734 w 1344"/>
                  <a:gd name="T9" fmla="*/ 1720 h 1792"/>
                  <a:gd name="T10" fmla="*/ 804 w 1344"/>
                  <a:gd name="T11" fmla="*/ 1685 h 1792"/>
                  <a:gd name="T12" fmla="*/ 832 w 1344"/>
                  <a:gd name="T13" fmla="*/ 1632 h 1792"/>
                  <a:gd name="T14" fmla="*/ 852 w 1344"/>
                  <a:gd name="T15" fmla="*/ 1603 h 1792"/>
                  <a:gd name="T16" fmla="*/ 965 w 1344"/>
                  <a:gd name="T17" fmla="*/ 1210 h 1792"/>
                  <a:gd name="T18" fmla="*/ 1043 w 1344"/>
                  <a:gd name="T19" fmla="*/ 1153 h 1792"/>
                  <a:gd name="T20" fmla="*/ 1130 w 1344"/>
                  <a:gd name="T21" fmla="*/ 1072 h 1792"/>
                  <a:gd name="T22" fmla="*/ 1234 w 1344"/>
                  <a:gd name="T23" fmla="*/ 904 h 1792"/>
                  <a:gd name="T24" fmla="*/ 1268 w 1344"/>
                  <a:gd name="T25" fmla="*/ 792 h 1792"/>
                  <a:gd name="T26" fmla="*/ 1280 w 1344"/>
                  <a:gd name="T27" fmla="*/ 672 h 1792"/>
                  <a:gd name="T28" fmla="*/ 1253 w 1344"/>
                  <a:gd name="T29" fmla="*/ 491 h 1792"/>
                  <a:gd name="T30" fmla="*/ 1176 w 1344"/>
                  <a:gd name="T31" fmla="*/ 332 h 1792"/>
                  <a:gd name="T32" fmla="*/ 1059 w 1344"/>
                  <a:gd name="T33" fmla="*/ 203 h 1792"/>
                  <a:gd name="T34" fmla="*/ 909 w 1344"/>
                  <a:gd name="T35" fmla="*/ 112 h 1792"/>
                  <a:gd name="T36" fmla="*/ 734 w 1344"/>
                  <a:gd name="T37" fmla="*/ 67 h 1792"/>
                  <a:gd name="T38" fmla="*/ 550 w 1344"/>
                  <a:gd name="T39" fmla="*/ 76 h 1792"/>
                  <a:gd name="T40" fmla="*/ 383 w 1344"/>
                  <a:gd name="T41" fmla="*/ 137 h 1792"/>
                  <a:gd name="T42" fmla="*/ 242 w 1344"/>
                  <a:gd name="T43" fmla="*/ 242 h 1792"/>
                  <a:gd name="T44" fmla="*/ 138 w 1344"/>
                  <a:gd name="T45" fmla="*/ 382 h 1792"/>
                  <a:gd name="T46" fmla="*/ 76 w 1344"/>
                  <a:gd name="T47" fmla="*/ 549 h 1792"/>
                  <a:gd name="T48" fmla="*/ 66 w 1344"/>
                  <a:gd name="T49" fmla="*/ 713 h 1792"/>
                  <a:gd name="T50" fmla="*/ 85 w 1344"/>
                  <a:gd name="T51" fmla="*/ 830 h 1792"/>
                  <a:gd name="T52" fmla="*/ 146 w 1344"/>
                  <a:gd name="T53" fmla="*/ 975 h 1792"/>
                  <a:gd name="T54" fmla="*/ 242 w 1344"/>
                  <a:gd name="T55" fmla="*/ 1101 h 1792"/>
                  <a:gd name="T56" fmla="*/ 333 w 1344"/>
                  <a:gd name="T57" fmla="*/ 1177 h 1792"/>
                  <a:gd name="T58" fmla="*/ 384 w 1344"/>
                  <a:gd name="T59" fmla="*/ 1225 h 1792"/>
                  <a:gd name="T60" fmla="*/ 594 w 1344"/>
                  <a:gd name="T61" fmla="*/ 1782 h 1792"/>
                  <a:gd name="T62" fmla="*/ 502 w 1344"/>
                  <a:gd name="T63" fmla="*/ 1737 h 1792"/>
                  <a:gd name="T64" fmla="*/ 452 w 1344"/>
                  <a:gd name="T65" fmla="*/ 1664 h 1792"/>
                  <a:gd name="T66" fmla="*/ 326 w 1344"/>
                  <a:gd name="T67" fmla="*/ 1650 h 1792"/>
                  <a:gd name="T68" fmla="*/ 284 w 1344"/>
                  <a:gd name="T69" fmla="*/ 1220 h 1792"/>
                  <a:gd name="T70" fmla="*/ 186 w 1344"/>
                  <a:gd name="T71" fmla="*/ 1135 h 1792"/>
                  <a:gd name="T72" fmla="*/ 108 w 1344"/>
                  <a:gd name="T73" fmla="*/ 1036 h 1792"/>
                  <a:gd name="T74" fmla="*/ 49 w 1344"/>
                  <a:gd name="T75" fmla="*/ 923 h 1792"/>
                  <a:gd name="T76" fmla="*/ 12 w 1344"/>
                  <a:gd name="T77" fmla="*/ 800 h 1792"/>
                  <a:gd name="T78" fmla="*/ 0 w 1344"/>
                  <a:gd name="T79" fmla="*/ 672 h 1792"/>
                  <a:gd name="T80" fmla="*/ 30 w 1344"/>
                  <a:gd name="T81" fmla="*/ 472 h 1792"/>
                  <a:gd name="T82" fmla="*/ 115 w 1344"/>
                  <a:gd name="T83" fmla="*/ 297 h 1792"/>
                  <a:gd name="T84" fmla="*/ 245 w 1344"/>
                  <a:gd name="T85" fmla="*/ 154 h 1792"/>
                  <a:gd name="T86" fmla="*/ 411 w 1344"/>
                  <a:gd name="T87" fmla="*/ 53 h 1792"/>
                  <a:gd name="T88" fmla="*/ 603 w 1344"/>
                  <a:gd name="T89" fmla="*/ 4 h 1792"/>
                  <a:gd name="T90" fmla="*/ 807 w 1344"/>
                  <a:gd name="T91" fmla="*/ 14 h 1792"/>
                  <a:gd name="T92" fmla="*/ 993 w 1344"/>
                  <a:gd name="T93" fmla="*/ 81 h 1792"/>
                  <a:gd name="T94" fmla="*/ 1147 w 1344"/>
                  <a:gd name="T95" fmla="*/ 197 h 1792"/>
                  <a:gd name="T96" fmla="*/ 1263 w 1344"/>
                  <a:gd name="T97" fmla="*/ 351 h 1792"/>
                  <a:gd name="T98" fmla="*/ 1330 w 1344"/>
                  <a:gd name="T99" fmla="*/ 537 h 1792"/>
                  <a:gd name="T100" fmla="*/ 1343 w 1344"/>
                  <a:gd name="T101" fmla="*/ 715 h 1792"/>
                  <a:gd name="T102" fmla="*/ 1322 w 1344"/>
                  <a:gd name="T103" fmla="*/ 842 h 1792"/>
                  <a:gd name="T104" fmla="*/ 1278 w 1344"/>
                  <a:gd name="T105" fmla="*/ 961 h 1792"/>
                  <a:gd name="T106" fmla="*/ 1212 w 1344"/>
                  <a:gd name="T107" fmla="*/ 1070 h 1792"/>
                  <a:gd name="T108" fmla="*/ 1127 w 1344"/>
                  <a:gd name="T109" fmla="*/ 1166 h 1792"/>
                  <a:gd name="T110" fmla="*/ 1024 w 1344"/>
                  <a:gd name="T111" fmla="*/ 1244 h 1792"/>
                  <a:gd name="T112" fmla="*/ 1010 w 1344"/>
                  <a:gd name="T113" fmla="*/ 1659 h 1792"/>
                  <a:gd name="T114" fmla="*/ 881 w 1344"/>
                  <a:gd name="T115" fmla="*/ 1691 h 1792"/>
                  <a:gd name="T116" fmla="*/ 815 w 1344"/>
                  <a:gd name="T117" fmla="*/ 1755 h 1792"/>
                  <a:gd name="T118" fmla="*/ 712 w 1344"/>
                  <a:gd name="T119" fmla="*/ 1789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1792">
                    <a:moveTo>
                      <a:pt x="384" y="1601"/>
                    </a:moveTo>
                    <a:lnTo>
                      <a:pt x="480" y="1601"/>
                    </a:lnTo>
                    <a:lnTo>
                      <a:pt x="487" y="1601"/>
                    </a:lnTo>
                    <a:lnTo>
                      <a:pt x="493" y="1603"/>
                    </a:lnTo>
                    <a:lnTo>
                      <a:pt x="498" y="1606"/>
                    </a:lnTo>
                    <a:lnTo>
                      <a:pt x="503" y="1609"/>
                    </a:lnTo>
                    <a:lnTo>
                      <a:pt x="507" y="1614"/>
                    </a:lnTo>
                    <a:lnTo>
                      <a:pt x="510" y="1620"/>
                    </a:lnTo>
                    <a:lnTo>
                      <a:pt x="511" y="1626"/>
                    </a:lnTo>
                    <a:lnTo>
                      <a:pt x="512" y="1632"/>
                    </a:lnTo>
                    <a:lnTo>
                      <a:pt x="513" y="1641"/>
                    </a:lnTo>
                    <a:lnTo>
                      <a:pt x="516" y="1651"/>
                    </a:lnTo>
                    <a:lnTo>
                      <a:pt x="520" y="1660"/>
                    </a:lnTo>
                    <a:lnTo>
                      <a:pt x="525" y="1669"/>
                    </a:lnTo>
                    <a:lnTo>
                      <a:pt x="531" y="1678"/>
                    </a:lnTo>
                    <a:lnTo>
                      <a:pt x="540" y="1685"/>
                    </a:lnTo>
                    <a:lnTo>
                      <a:pt x="549" y="1693"/>
                    </a:lnTo>
                    <a:lnTo>
                      <a:pt x="559" y="1699"/>
                    </a:lnTo>
                    <a:lnTo>
                      <a:pt x="570" y="1706"/>
                    </a:lnTo>
                    <a:lnTo>
                      <a:pt x="583" y="1711"/>
                    </a:lnTo>
                    <a:lnTo>
                      <a:pt x="597" y="1716"/>
                    </a:lnTo>
                    <a:lnTo>
                      <a:pt x="611" y="1720"/>
                    </a:lnTo>
                    <a:lnTo>
                      <a:pt x="625" y="1724"/>
                    </a:lnTo>
                    <a:lnTo>
                      <a:pt x="640" y="1726"/>
                    </a:lnTo>
                    <a:lnTo>
                      <a:pt x="655" y="1727"/>
                    </a:lnTo>
                    <a:lnTo>
                      <a:pt x="672" y="1729"/>
                    </a:lnTo>
                    <a:lnTo>
                      <a:pt x="688" y="1727"/>
                    </a:lnTo>
                    <a:lnTo>
                      <a:pt x="704" y="1726"/>
                    </a:lnTo>
                    <a:lnTo>
                      <a:pt x="719" y="1724"/>
                    </a:lnTo>
                    <a:lnTo>
                      <a:pt x="734" y="1720"/>
                    </a:lnTo>
                    <a:lnTo>
                      <a:pt x="748" y="1716"/>
                    </a:lnTo>
                    <a:lnTo>
                      <a:pt x="761" y="1711"/>
                    </a:lnTo>
                    <a:lnTo>
                      <a:pt x="773" y="1706"/>
                    </a:lnTo>
                    <a:lnTo>
                      <a:pt x="785" y="1699"/>
                    </a:lnTo>
                    <a:lnTo>
                      <a:pt x="795" y="1693"/>
                    </a:lnTo>
                    <a:lnTo>
                      <a:pt x="804" y="1685"/>
                    </a:lnTo>
                    <a:lnTo>
                      <a:pt x="813" y="1678"/>
                    </a:lnTo>
                    <a:lnTo>
                      <a:pt x="819" y="1669"/>
                    </a:lnTo>
                    <a:lnTo>
                      <a:pt x="825" y="1660"/>
                    </a:lnTo>
                    <a:lnTo>
                      <a:pt x="829" y="1651"/>
                    </a:lnTo>
                    <a:lnTo>
                      <a:pt x="832" y="1641"/>
                    </a:lnTo>
                    <a:lnTo>
                      <a:pt x="832" y="1632"/>
                    </a:lnTo>
                    <a:lnTo>
                      <a:pt x="833" y="1626"/>
                    </a:lnTo>
                    <a:lnTo>
                      <a:pt x="834" y="1620"/>
                    </a:lnTo>
                    <a:lnTo>
                      <a:pt x="838" y="1614"/>
                    </a:lnTo>
                    <a:lnTo>
                      <a:pt x="842" y="1609"/>
                    </a:lnTo>
                    <a:lnTo>
                      <a:pt x="846" y="1606"/>
                    </a:lnTo>
                    <a:lnTo>
                      <a:pt x="852" y="1603"/>
                    </a:lnTo>
                    <a:lnTo>
                      <a:pt x="857" y="1601"/>
                    </a:lnTo>
                    <a:lnTo>
                      <a:pt x="865" y="1601"/>
                    </a:lnTo>
                    <a:lnTo>
                      <a:pt x="960" y="1601"/>
                    </a:lnTo>
                    <a:lnTo>
                      <a:pt x="960" y="1225"/>
                    </a:lnTo>
                    <a:lnTo>
                      <a:pt x="961" y="1218"/>
                    </a:lnTo>
                    <a:lnTo>
                      <a:pt x="965" y="1210"/>
                    </a:lnTo>
                    <a:lnTo>
                      <a:pt x="970" y="1204"/>
                    </a:lnTo>
                    <a:lnTo>
                      <a:pt x="976" y="1199"/>
                    </a:lnTo>
                    <a:lnTo>
                      <a:pt x="994" y="1187"/>
                    </a:lnTo>
                    <a:lnTo>
                      <a:pt x="1010" y="1177"/>
                    </a:lnTo>
                    <a:lnTo>
                      <a:pt x="1027" y="1166"/>
                    </a:lnTo>
                    <a:lnTo>
                      <a:pt x="1043" y="1153"/>
                    </a:lnTo>
                    <a:lnTo>
                      <a:pt x="1059" y="1140"/>
                    </a:lnTo>
                    <a:lnTo>
                      <a:pt x="1074" y="1128"/>
                    </a:lnTo>
                    <a:lnTo>
                      <a:pt x="1088" y="1114"/>
                    </a:lnTo>
                    <a:lnTo>
                      <a:pt x="1103" y="1101"/>
                    </a:lnTo>
                    <a:lnTo>
                      <a:pt x="1117" y="1086"/>
                    </a:lnTo>
                    <a:lnTo>
                      <a:pt x="1130" y="1072"/>
                    </a:lnTo>
                    <a:lnTo>
                      <a:pt x="1142" y="1057"/>
                    </a:lnTo>
                    <a:lnTo>
                      <a:pt x="1155" y="1041"/>
                    </a:lnTo>
                    <a:lnTo>
                      <a:pt x="1178" y="1008"/>
                    </a:lnTo>
                    <a:lnTo>
                      <a:pt x="1198" y="975"/>
                    </a:lnTo>
                    <a:lnTo>
                      <a:pt x="1217" y="940"/>
                    </a:lnTo>
                    <a:lnTo>
                      <a:pt x="1234" y="904"/>
                    </a:lnTo>
                    <a:lnTo>
                      <a:pt x="1241" y="887"/>
                    </a:lnTo>
                    <a:lnTo>
                      <a:pt x="1247" y="868"/>
                    </a:lnTo>
                    <a:lnTo>
                      <a:pt x="1254" y="849"/>
                    </a:lnTo>
                    <a:lnTo>
                      <a:pt x="1259" y="830"/>
                    </a:lnTo>
                    <a:lnTo>
                      <a:pt x="1264" y="811"/>
                    </a:lnTo>
                    <a:lnTo>
                      <a:pt x="1268" y="792"/>
                    </a:lnTo>
                    <a:lnTo>
                      <a:pt x="1272" y="771"/>
                    </a:lnTo>
                    <a:lnTo>
                      <a:pt x="1274" y="752"/>
                    </a:lnTo>
                    <a:lnTo>
                      <a:pt x="1277" y="732"/>
                    </a:lnTo>
                    <a:lnTo>
                      <a:pt x="1279" y="713"/>
                    </a:lnTo>
                    <a:lnTo>
                      <a:pt x="1279" y="693"/>
                    </a:lnTo>
                    <a:lnTo>
                      <a:pt x="1280" y="672"/>
                    </a:lnTo>
                    <a:lnTo>
                      <a:pt x="1279" y="641"/>
                    </a:lnTo>
                    <a:lnTo>
                      <a:pt x="1277" y="610"/>
                    </a:lnTo>
                    <a:lnTo>
                      <a:pt x="1273" y="580"/>
                    </a:lnTo>
                    <a:lnTo>
                      <a:pt x="1268" y="549"/>
                    </a:lnTo>
                    <a:lnTo>
                      <a:pt x="1261" y="520"/>
                    </a:lnTo>
                    <a:lnTo>
                      <a:pt x="1253" y="491"/>
                    </a:lnTo>
                    <a:lnTo>
                      <a:pt x="1242" y="463"/>
                    </a:lnTo>
                    <a:lnTo>
                      <a:pt x="1232" y="435"/>
                    </a:lnTo>
                    <a:lnTo>
                      <a:pt x="1220" y="409"/>
                    </a:lnTo>
                    <a:lnTo>
                      <a:pt x="1207" y="382"/>
                    </a:lnTo>
                    <a:lnTo>
                      <a:pt x="1192" y="357"/>
                    </a:lnTo>
                    <a:lnTo>
                      <a:pt x="1176" y="332"/>
                    </a:lnTo>
                    <a:lnTo>
                      <a:pt x="1159" y="308"/>
                    </a:lnTo>
                    <a:lnTo>
                      <a:pt x="1141" y="286"/>
                    </a:lnTo>
                    <a:lnTo>
                      <a:pt x="1122" y="264"/>
                    </a:lnTo>
                    <a:lnTo>
                      <a:pt x="1102" y="242"/>
                    </a:lnTo>
                    <a:lnTo>
                      <a:pt x="1080" y="222"/>
                    </a:lnTo>
                    <a:lnTo>
                      <a:pt x="1059" y="203"/>
                    </a:lnTo>
                    <a:lnTo>
                      <a:pt x="1036" y="185"/>
                    </a:lnTo>
                    <a:lnTo>
                      <a:pt x="1012" y="168"/>
                    </a:lnTo>
                    <a:lnTo>
                      <a:pt x="988" y="152"/>
                    </a:lnTo>
                    <a:lnTo>
                      <a:pt x="962" y="137"/>
                    </a:lnTo>
                    <a:lnTo>
                      <a:pt x="936" y="125"/>
                    </a:lnTo>
                    <a:lnTo>
                      <a:pt x="909" y="112"/>
                    </a:lnTo>
                    <a:lnTo>
                      <a:pt x="881" y="100"/>
                    </a:lnTo>
                    <a:lnTo>
                      <a:pt x="853" y="92"/>
                    </a:lnTo>
                    <a:lnTo>
                      <a:pt x="824" y="83"/>
                    </a:lnTo>
                    <a:lnTo>
                      <a:pt x="795" y="76"/>
                    </a:lnTo>
                    <a:lnTo>
                      <a:pt x="764" y="71"/>
                    </a:lnTo>
                    <a:lnTo>
                      <a:pt x="734" y="67"/>
                    </a:lnTo>
                    <a:lnTo>
                      <a:pt x="704" y="65"/>
                    </a:lnTo>
                    <a:lnTo>
                      <a:pt x="672" y="64"/>
                    </a:lnTo>
                    <a:lnTo>
                      <a:pt x="641" y="65"/>
                    </a:lnTo>
                    <a:lnTo>
                      <a:pt x="610" y="67"/>
                    </a:lnTo>
                    <a:lnTo>
                      <a:pt x="579" y="71"/>
                    </a:lnTo>
                    <a:lnTo>
                      <a:pt x="550" y="76"/>
                    </a:lnTo>
                    <a:lnTo>
                      <a:pt x="520" y="83"/>
                    </a:lnTo>
                    <a:lnTo>
                      <a:pt x="492" y="92"/>
                    </a:lnTo>
                    <a:lnTo>
                      <a:pt x="463" y="100"/>
                    </a:lnTo>
                    <a:lnTo>
                      <a:pt x="436" y="112"/>
                    </a:lnTo>
                    <a:lnTo>
                      <a:pt x="408" y="125"/>
                    </a:lnTo>
                    <a:lnTo>
                      <a:pt x="383" y="137"/>
                    </a:lnTo>
                    <a:lnTo>
                      <a:pt x="357" y="152"/>
                    </a:lnTo>
                    <a:lnTo>
                      <a:pt x="332" y="168"/>
                    </a:lnTo>
                    <a:lnTo>
                      <a:pt x="308" y="185"/>
                    </a:lnTo>
                    <a:lnTo>
                      <a:pt x="285" y="203"/>
                    </a:lnTo>
                    <a:lnTo>
                      <a:pt x="264" y="222"/>
                    </a:lnTo>
                    <a:lnTo>
                      <a:pt x="242" y="242"/>
                    </a:lnTo>
                    <a:lnTo>
                      <a:pt x="222" y="264"/>
                    </a:lnTo>
                    <a:lnTo>
                      <a:pt x="203" y="286"/>
                    </a:lnTo>
                    <a:lnTo>
                      <a:pt x="185" y="308"/>
                    </a:lnTo>
                    <a:lnTo>
                      <a:pt x="168" y="332"/>
                    </a:lnTo>
                    <a:lnTo>
                      <a:pt x="152" y="357"/>
                    </a:lnTo>
                    <a:lnTo>
                      <a:pt x="138" y="382"/>
                    </a:lnTo>
                    <a:lnTo>
                      <a:pt x="124" y="409"/>
                    </a:lnTo>
                    <a:lnTo>
                      <a:pt x="111" y="435"/>
                    </a:lnTo>
                    <a:lnTo>
                      <a:pt x="101" y="463"/>
                    </a:lnTo>
                    <a:lnTo>
                      <a:pt x="91" y="491"/>
                    </a:lnTo>
                    <a:lnTo>
                      <a:pt x="83" y="520"/>
                    </a:lnTo>
                    <a:lnTo>
                      <a:pt x="76" y="549"/>
                    </a:lnTo>
                    <a:lnTo>
                      <a:pt x="71" y="580"/>
                    </a:lnTo>
                    <a:lnTo>
                      <a:pt x="67" y="610"/>
                    </a:lnTo>
                    <a:lnTo>
                      <a:pt x="64" y="641"/>
                    </a:lnTo>
                    <a:lnTo>
                      <a:pt x="64" y="672"/>
                    </a:lnTo>
                    <a:lnTo>
                      <a:pt x="64" y="693"/>
                    </a:lnTo>
                    <a:lnTo>
                      <a:pt x="66" y="713"/>
                    </a:lnTo>
                    <a:lnTo>
                      <a:pt x="67" y="732"/>
                    </a:lnTo>
                    <a:lnTo>
                      <a:pt x="70" y="752"/>
                    </a:lnTo>
                    <a:lnTo>
                      <a:pt x="72" y="771"/>
                    </a:lnTo>
                    <a:lnTo>
                      <a:pt x="76" y="792"/>
                    </a:lnTo>
                    <a:lnTo>
                      <a:pt x="80" y="811"/>
                    </a:lnTo>
                    <a:lnTo>
                      <a:pt x="85" y="830"/>
                    </a:lnTo>
                    <a:lnTo>
                      <a:pt x="91" y="849"/>
                    </a:lnTo>
                    <a:lnTo>
                      <a:pt x="96" y="868"/>
                    </a:lnTo>
                    <a:lnTo>
                      <a:pt x="104" y="887"/>
                    </a:lnTo>
                    <a:lnTo>
                      <a:pt x="111" y="904"/>
                    </a:lnTo>
                    <a:lnTo>
                      <a:pt x="127" y="940"/>
                    </a:lnTo>
                    <a:lnTo>
                      <a:pt x="146" y="975"/>
                    </a:lnTo>
                    <a:lnTo>
                      <a:pt x="166" y="1008"/>
                    </a:lnTo>
                    <a:lnTo>
                      <a:pt x="190" y="1041"/>
                    </a:lnTo>
                    <a:lnTo>
                      <a:pt x="201" y="1057"/>
                    </a:lnTo>
                    <a:lnTo>
                      <a:pt x="214" y="1072"/>
                    </a:lnTo>
                    <a:lnTo>
                      <a:pt x="228" y="1086"/>
                    </a:lnTo>
                    <a:lnTo>
                      <a:pt x="242" y="1101"/>
                    </a:lnTo>
                    <a:lnTo>
                      <a:pt x="256" y="1114"/>
                    </a:lnTo>
                    <a:lnTo>
                      <a:pt x="270" y="1128"/>
                    </a:lnTo>
                    <a:lnTo>
                      <a:pt x="285" y="1140"/>
                    </a:lnTo>
                    <a:lnTo>
                      <a:pt x="302" y="1153"/>
                    </a:lnTo>
                    <a:lnTo>
                      <a:pt x="317" y="1166"/>
                    </a:lnTo>
                    <a:lnTo>
                      <a:pt x="333" y="1177"/>
                    </a:lnTo>
                    <a:lnTo>
                      <a:pt x="351" y="1187"/>
                    </a:lnTo>
                    <a:lnTo>
                      <a:pt x="367" y="1199"/>
                    </a:lnTo>
                    <a:lnTo>
                      <a:pt x="375" y="1204"/>
                    </a:lnTo>
                    <a:lnTo>
                      <a:pt x="380" y="1210"/>
                    </a:lnTo>
                    <a:lnTo>
                      <a:pt x="383" y="1218"/>
                    </a:lnTo>
                    <a:lnTo>
                      <a:pt x="384" y="1225"/>
                    </a:lnTo>
                    <a:lnTo>
                      <a:pt x="384" y="1601"/>
                    </a:lnTo>
                    <a:close/>
                    <a:moveTo>
                      <a:pt x="672" y="1792"/>
                    </a:moveTo>
                    <a:lnTo>
                      <a:pt x="652" y="1792"/>
                    </a:lnTo>
                    <a:lnTo>
                      <a:pt x="631" y="1789"/>
                    </a:lnTo>
                    <a:lnTo>
                      <a:pt x="612" y="1787"/>
                    </a:lnTo>
                    <a:lnTo>
                      <a:pt x="594" y="1782"/>
                    </a:lnTo>
                    <a:lnTo>
                      <a:pt x="577" y="1777"/>
                    </a:lnTo>
                    <a:lnTo>
                      <a:pt x="559" y="1770"/>
                    </a:lnTo>
                    <a:lnTo>
                      <a:pt x="544" y="1764"/>
                    </a:lnTo>
                    <a:lnTo>
                      <a:pt x="529" y="1755"/>
                    </a:lnTo>
                    <a:lnTo>
                      <a:pt x="515" y="1746"/>
                    </a:lnTo>
                    <a:lnTo>
                      <a:pt x="502" y="1737"/>
                    </a:lnTo>
                    <a:lnTo>
                      <a:pt x="490" y="1726"/>
                    </a:lnTo>
                    <a:lnTo>
                      <a:pt x="479" y="1715"/>
                    </a:lnTo>
                    <a:lnTo>
                      <a:pt x="470" y="1703"/>
                    </a:lnTo>
                    <a:lnTo>
                      <a:pt x="463" y="1691"/>
                    </a:lnTo>
                    <a:lnTo>
                      <a:pt x="456" y="1678"/>
                    </a:lnTo>
                    <a:lnTo>
                      <a:pt x="452" y="1664"/>
                    </a:lnTo>
                    <a:lnTo>
                      <a:pt x="352" y="1664"/>
                    </a:lnTo>
                    <a:lnTo>
                      <a:pt x="346" y="1664"/>
                    </a:lnTo>
                    <a:lnTo>
                      <a:pt x="340" y="1661"/>
                    </a:lnTo>
                    <a:lnTo>
                      <a:pt x="335" y="1659"/>
                    </a:lnTo>
                    <a:lnTo>
                      <a:pt x="329" y="1655"/>
                    </a:lnTo>
                    <a:lnTo>
                      <a:pt x="326" y="1650"/>
                    </a:lnTo>
                    <a:lnTo>
                      <a:pt x="323" y="1645"/>
                    </a:lnTo>
                    <a:lnTo>
                      <a:pt x="321" y="1639"/>
                    </a:lnTo>
                    <a:lnTo>
                      <a:pt x="321" y="1632"/>
                    </a:lnTo>
                    <a:lnTo>
                      <a:pt x="321" y="1244"/>
                    </a:lnTo>
                    <a:lnTo>
                      <a:pt x="302" y="1232"/>
                    </a:lnTo>
                    <a:lnTo>
                      <a:pt x="284" y="1220"/>
                    </a:lnTo>
                    <a:lnTo>
                      <a:pt x="266" y="1207"/>
                    </a:lnTo>
                    <a:lnTo>
                      <a:pt x="250" y="1193"/>
                    </a:lnTo>
                    <a:lnTo>
                      <a:pt x="233" y="1180"/>
                    </a:lnTo>
                    <a:lnTo>
                      <a:pt x="217" y="1166"/>
                    </a:lnTo>
                    <a:lnTo>
                      <a:pt x="201" y="1150"/>
                    </a:lnTo>
                    <a:lnTo>
                      <a:pt x="186" y="1135"/>
                    </a:lnTo>
                    <a:lnTo>
                      <a:pt x="172" y="1120"/>
                    </a:lnTo>
                    <a:lnTo>
                      <a:pt x="158" y="1103"/>
                    </a:lnTo>
                    <a:lnTo>
                      <a:pt x="144" y="1087"/>
                    </a:lnTo>
                    <a:lnTo>
                      <a:pt x="132" y="1070"/>
                    </a:lnTo>
                    <a:lnTo>
                      <a:pt x="119" y="1053"/>
                    </a:lnTo>
                    <a:lnTo>
                      <a:pt x="108" y="1036"/>
                    </a:lnTo>
                    <a:lnTo>
                      <a:pt x="96" y="1017"/>
                    </a:lnTo>
                    <a:lnTo>
                      <a:pt x="86" y="999"/>
                    </a:lnTo>
                    <a:lnTo>
                      <a:pt x="76" y="980"/>
                    </a:lnTo>
                    <a:lnTo>
                      <a:pt x="66" y="961"/>
                    </a:lnTo>
                    <a:lnTo>
                      <a:pt x="57" y="942"/>
                    </a:lnTo>
                    <a:lnTo>
                      <a:pt x="49" y="923"/>
                    </a:lnTo>
                    <a:lnTo>
                      <a:pt x="42" y="903"/>
                    </a:lnTo>
                    <a:lnTo>
                      <a:pt x="34" y="883"/>
                    </a:lnTo>
                    <a:lnTo>
                      <a:pt x="28" y="863"/>
                    </a:lnTo>
                    <a:lnTo>
                      <a:pt x="23" y="842"/>
                    </a:lnTo>
                    <a:lnTo>
                      <a:pt x="18" y="822"/>
                    </a:lnTo>
                    <a:lnTo>
                      <a:pt x="12" y="800"/>
                    </a:lnTo>
                    <a:lnTo>
                      <a:pt x="9" y="780"/>
                    </a:lnTo>
                    <a:lnTo>
                      <a:pt x="6" y="759"/>
                    </a:lnTo>
                    <a:lnTo>
                      <a:pt x="4" y="737"/>
                    </a:lnTo>
                    <a:lnTo>
                      <a:pt x="1" y="715"/>
                    </a:lnTo>
                    <a:lnTo>
                      <a:pt x="0" y="694"/>
                    </a:lnTo>
                    <a:lnTo>
                      <a:pt x="0" y="672"/>
                    </a:lnTo>
                    <a:lnTo>
                      <a:pt x="1" y="638"/>
                    </a:lnTo>
                    <a:lnTo>
                      <a:pt x="4" y="604"/>
                    </a:lnTo>
                    <a:lnTo>
                      <a:pt x="7" y="570"/>
                    </a:lnTo>
                    <a:lnTo>
                      <a:pt x="14" y="537"/>
                    </a:lnTo>
                    <a:lnTo>
                      <a:pt x="21" y="504"/>
                    </a:lnTo>
                    <a:lnTo>
                      <a:pt x="30" y="472"/>
                    </a:lnTo>
                    <a:lnTo>
                      <a:pt x="40" y="442"/>
                    </a:lnTo>
                    <a:lnTo>
                      <a:pt x="53" y="411"/>
                    </a:lnTo>
                    <a:lnTo>
                      <a:pt x="67" y="381"/>
                    </a:lnTo>
                    <a:lnTo>
                      <a:pt x="81" y="351"/>
                    </a:lnTo>
                    <a:lnTo>
                      <a:pt x="97" y="324"/>
                    </a:lnTo>
                    <a:lnTo>
                      <a:pt x="115" y="297"/>
                    </a:lnTo>
                    <a:lnTo>
                      <a:pt x="134" y="270"/>
                    </a:lnTo>
                    <a:lnTo>
                      <a:pt x="153" y="245"/>
                    </a:lnTo>
                    <a:lnTo>
                      <a:pt x="175" y="221"/>
                    </a:lnTo>
                    <a:lnTo>
                      <a:pt x="198" y="197"/>
                    </a:lnTo>
                    <a:lnTo>
                      <a:pt x="220" y="175"/>
                    </a:lnTo>
                    <a:lnTo>
                      <a:pt x="245" y="154"/>
                    </a:lnTo>
                    <a:lnTo>
                      <a:pt x="270" y="133"/>
                    </a:lnTo>
                    <a:lnTo>
                      <a:pt x="296" y="114"/>
                    </a:lnTo>
                    <a:lnTo>
                      <a:pt x="324" y="98"/>
                    </a:lnTo>
                    <a:lnTo>
                      <a:pt x="352" y="81"/>
                    </a:lnTo>
                    <a:lnTo>
                      <a:pt x="381" y="66"/>
                    </a:lnTo>
                    <a:lnTo>
                      <a:pt x="411" y="53"/>
                    </a:lnTo>
                    <a:lnTo>
                      <a:pt x="441" y="41"/>
                    </a:lnTo>
                    <a:lnTo>
                      <a:pt x="473" y="31"/>
                    </a:lnTo>
                    <a:lnTo>
                      <a:pt x="504" y="22"/>
                    </a:lnTo>
                    <a:lnTo>
                      <a:pt x="536" y="14"/>
                    </a:lnTo>
                    <a:lnTo>
                      <a:pt x="570" y="8"/>
                    </a:lnTo>
                    <a:lnTo>
                      <a:pt x="603" y="4"/>
                    </a:lnTo>
                    <a:lnTo>
                      <a:pt x="638" y="2"/>
                    </a:lnTo>
                    <a:lnTo>
                      <a:pt x="672" y="0"/>
                    </a:lnTo>
                    <a:lnTo>
                      <a:pt x="706" y="2"/>
                    </a:lnTo>
                    <a:lnTo>
                      <a:pt x="740" y="4"/>
                    </a:lnTo>
                    <a:lnTo>
                      <a:pt x="775" y="8"/>
                    </a:lnTo>
                    <a:lnTo>
                      <a:pt x="807" y="14"/>
                    </a:lnTo>
                    <a:lnTo>
                      <a:pt x="839" y="22"/>
                    </a:lnTo>
                    <a:lnTo>
                      <a:pt x="872" y="31"/>
                    </a:lnTo>
                    <a:lnTo>
                      <a:pt x="903" y="41"/>
                    </a:lnTo>
                    <a:lnTo>
                      <a:pt x="933" y="53"/>
                    </a:lnTo>
                    <a:lnTo>
                      <a:pt x="963" y="66"/>
                    </a:lnTo>
                    <a:lnTo>
                      <a:pt x="993" y="81"/>
                    </a:lnTo>
                    <a:lnTo>
                      <a:pt x="1021" y="98"/>
                    </a:lnTo>
                    <a:lnTo>
                      <a:pt x="1047" y="114"/>
                    </a:lnTo>
                    <a:lnTo>
                      <a:pt x="1074" y="133"/>
                    </a:lnTo>
                    <a:lnTo>
                      <a:pt x="1099" y="154"/>
                    </a:lnTo>
                    <a:lnTo>
                      <a:pt x="1123" y="175"/>
                    </a:lnTo>
                    <a:lnTo>
                      <a:pt x="1147" y="197"/>
                    </a:lnTo>
                    <a:lnTo>
                      <a:pt x="1169" y="221"/>
                    </a:lnTo>
                    <a:lnTo>
                      <a:pt x="1190" y="245"/>
                    </a:lnTo>
                    <a:lnTo>
                      <a:pt x="1211" y="270"/>
                    </a:lnTo>
                    <a:lnTo>
                      <a:pt x="1228" y="297"/>
                    </a:lnTo>
                    <a:lnTo>
                      <a:pt x="1246" y="324"/>
                    </a:lnTo>
                    <a:lnTo>
                      <a:pt x="1263" y="351"/>
                    </a:lnTo>
                    <a:lnTo>
                      <a:pt x="1278" y="381"/>
                    </a:lnTo>
                    <a:lnTo>
                      <a:pt x="1291" y="411"/>
                    </a:lnTo>
                    <a:lnTo>
                      <a:pt x="1303" y="442"/>
                    </a:lnTo>
                    <a:lnTo>
                      <a:pt x="1313" y="472"/>
                    </a:lnTo>
                    <a:lnTo>
                      <a:pt x="1322" y="504"/>
                    </a:lnTo>
                    <a:lnTo>
                      <a:pt x="1330" y="537"/>
                    </a:lnTo>
                    <a:lnTo>
                      <a:pt x="1336" y="570"/>
                    </a:lnTo>
                    <a:lnTo>
                      <a:pt x="1340" y="604"/>
                    </a:lnTo>
                    <a:lnTo>
                      <a:pt x="1343" y="638"/>
                    </a:lnTo>
                    <a:lnTo>
                      <a:pt x="1344" y="672"/>
                    </a:lnTo>
                    <a:lnTo>
                      <a:pt x="1344" y="694"/>
                    </a:lnTo>
                    <a:lnTo>
                      <a:pt x="1343" y="715"/>
                    </a:lnTo>
                    <a:lnTo>
                      <a:pt x="1341" y="737"/>
                    </a:lnTo>
                    <a:lnTo>
                      <a:pt x="1339" y="759"/>
                    </a:lnTo>
                    <a:lnTo>
                      <a:pt x="1335" y="780"/>
                    </a:lnTo>
                    <a:lnTo>
                      <a:pt x="1331" y="800"/>
                    </a:lnTo>
                    <a:lnTo>
                      <a:pt x="1327" y="822"/>
                    </a:lnTo>
                    <a:lnTo>
                      <a:pt x="1322" y="842"/>
                    </a:lnTo>
                    <a:lnTo>
                      <a:pt x="1316" y="863"/>
                    </a:lnTo>
                    <a:lnTo>
                      <a:pt x="1310" y="883"/>
                    </a:lnTo>
                    <a:lnTo>
                      <a:pt x="1302" y="903"/>
                    </a:lnTo>
                    <a:lnTo>
                      <a:pt x="1294" y="923"/>
                    </a:lnTo>
                    <a:lnTo>
                      <a:pt x="1287" y="942"/>
                    </a:lnTo>
                    <a:lnTo>
                      <a:pt x="1278" y="961"/>
                    </a:lnTo>
                    <a:lnTo>
                      <a:pt x="1268" y="980"/>
                    </a:lnTo>
                    <a:lnTo>
                      <a:pt x="1258" y="999"/>
                    </a:lnTo>
                    <a:lnTo>
                      <a:pt x="1247" y="1017"/>
                    </a:lnTo>
                    <a:lnTo>
                      <a:pt x="1236" y="1036"/>
                    </a:lnTo>
                    <a:lnTo>
                      <a:pt x="1225" y="1053"/>
                    </a:lnTo>
                    <a:lnTo>
                      <a:pt x="1212" y="1070"/>
                    </a:lnTo>
                    <a:lnTo>
                      <a:pt x="1199" y="1087"/>
                    </a:lnTo>
                    <a:lnTo>
                      <a:pt x="1185" y="1103"/>
                    </a:lnTo>
                    <a:lnTo>
                      <a:pt x="1171" y="1120"/>
                    </a:lnTo>
                    <a:lnTo>
                      <a:pt x="1157" y="1135"/>
                    </a:lnTo>
                    <a:lnTo>
                      <a:pt x="1142" y="1150"/>
                    </a:lnTo>
                    <a:lnTo>
                      <a:pt x="1127" y="1166"/>
                    </a:lnTo>
                    <a:lnTo>
                      <a:pt x="1111" y="1180"/>
                    </a:lnTo>
                    <a:lnTo>
                      <a:pt x="1094" y="1193"/>
                    </a:lnTo>
                    <a:lnTo>
                      <a:pt x="1078" y="1207"/>
                    </a:lnTo>
                    <a:lnTo>
                      <a:pt x="1060" y="1220"/>
                    </a:lnTo>
                    <a:lnTo>
                      <a:pt x="1042" y="1232"/>
                    </a:lnTo>
                    <a:lnTo>
                      <a:pt x="1024" y="1244"/>
                    </a:lnTo>
                    <a:lnTo>
                      <a:pt x="1024" y="1632"/>
                    </a:lnTo>
                    <a:lnTo>
                      <a:pt x="1023" y="1639"/>
                    </a:lnTo>
                    <a:lnTo>
                      <a:pt x="1022" y="1645"/>
                    </a:lnTo>
                    <a:lnTo>
                      <a:pt x="1018" y="1650"/>
                    </a:lnTo>
                    <a:lnTo>
                      <a:pt x="1014" y="1655"/>
                    </a:lnTo>
                    <a:lnTo>
                      <a:pt x="1010" y="1659"/>
                    </a:lnTo>
                    <a:lnTo>
                      <a:pt x="1004" y="1661"/>
                    </a:lnTo>
                    <a:lnTo>
                      <a:pt x="999" y="1664"/>
                    </a:lnTo>
                    <a:lnTo>
                      <a:pt x="993" y="1664"/>
                    </a:lnTo>
                    <a:lnTo>
                      <a:pt x="891" y="1664"/>
                    </a:lnTo>
                    <a:lnTo>
                      <a:pt x="887" y="1678"/>
                    </a:lnTo>
                    <a:lnTo>
                      <a:pt x="881" y="1691"/>
                    </a:lnTo>
                    <a:lnTo>
                      <a:pt x="873" y="1703"/>
                    </a:lnTo>
                    <a:lnTo>
                      <a:pt x="865" y="1715"/>
                    </a:lnTo>
                    <a:lnTo>
                      <a:pt x="854" y="1726"/>
                    </a:lnTo>
                    <a:lnTo>
                      <a:pt x="843" y="1737"/>
                    </a:lnTo>
                    <a:lnTo>
                      <a:pt x="829" y="1746"/>
                    </a:lnTo>
                    <a:lnTo>
                      <a:pt x="815" y="1755"/>
                    </a:lnTo>
                    <a:lnTo>
                      <a:pt x="801" y="1764"/>
                    </a:lnTo>
                    <a:lnTo>
                      <a:pt x="785" y="1770"/>
                    </a:lnTo>
                    <a:lnTo>
                      <a:pt x="768" y="1777"/>
                    </a:lnTo>
                    <a:lnTo>
                      <a:pt x="750" y="1782"/>
                    </a:lnTo>
                    <a:lnTo>
                      <a:pt x="731" y="1787"/>
                    </a:lnTo>
                    <a:lnTo>
                      <a:pt x="712" y="1789"/>
                    </a:lnTo>
                    <a:lnTo>
                      <a:pt x="692" y="1792"/>
                    </a:lnTo>
                    <a:lnTo>
                      <a:pt x="672" y="17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p:nvSpPr>
            <p:spPr bwMode="auto">
              <a:xfrm>
                <a:off x="6948487" y="1562100"/>
                <a:ext cx="279400" cy="25400"/>
              </a:xfrm>
              <a:custGeom>
                <a:avLst/>
                <a:gdLst>
                  <a:gd name="T0" fmla="*/ 672 w 703"/>
                  <a:gd name="T1" fmla="*/ 64 h 64"/>
                  <a:gd name="T2" fmla="*/ 31 w 703"/>
                  <a:gd name="T3" fmla="*/ 64 h 64"/>
                  <a:gd name="T4" fmla="*/ 25 w 703"/>
                  <a:gd name="T5" fmla="*/ 64 h 64"/>
                  <a:gd name="T6" fmla="*/ 19 w 703"/>
                  <a:gd name="T7" fmla="*/ 61 h 64"/>
                  <a:gd name="T8" fmla="*/ 14 w 703"/>
                  <a:gd name="T9" fmla="*/ 59 h 64"/>
                  <a:gd name="T10" fmla="*/ 8 w 703"/>
                  <a:gd name="T11" fmla="*/ 55 h 64"/>
                  <a:gd name="T12" fmla="*/ 5 w 703"/>
                  <a:gd name="T13" fmla="*/ 50 h 64"/>
                  <a:gd name="T14" fmla="*/ 2 w 703"/>
                  <a:gd name="T15" fmla="*/ 45 h 64"/>
                  <a:gd name="T16" fmla="*/ 0 w 703"/>
                  <a:gd name="T17" fmla="*/ 38 h 64"/>
                  <a:gd name="T18" fmla="*/ 0 w 703"/>
                  <a:gd name="T19" fmla="*/ 32 h 64"/>
                  <a:gd name="T20" fmla="*/ 0 w 703"/>
                  <a:gd name="T21" fmla="*/ 26 h 64"/>
                  <a:gd name="T22" fmla="*/ 2 w 703"/>
                  <a:gd name="T23" fmla="*/ 19 h 64"/>
                  <a:gd name="T24" fmla="*/ 5 w 703"/>
                  <a:gd name="T25" fmla="*/ 14 h 64"/>
                  <a:gd name="T26" fmla="*/ 8 w 703"/>
                  <a:gd name="T27" fmla="*/ 9 h 64"/>
                  <a:gd name="T28" fmla="*/ 14 w 703"/>
                  <a:gd name="T29" fmla="*/ 5 h 64"/>
                  <a:gd name="T30" fmla="*/ 19 w 703"/>
                  <a:gd name="T31" fmla="*/ 3 h 64"/>
                  <a:gd name="T32" fmla="*/ 25 w 703"/>
                  <a:gd name="T33" fmla="*/ 0 h 64"/>
                  <a:gd name="T34" fmla="*/ 31 w 703"/>
                  <a:gd name="T35" fmla="*/ 0 h 64"/>
                  <a:gd name="T36" fmla="*/ 672 w 703"/>
                  <a:gd name="T37" fmla="*/ 0 h 64"/>
                  <a:gd name="T38" fmla="*/ 678 w 703"/>
                  <a:gd name="T39" fmla="*/ 0 h 64"/>
                  <a:gd name="T40" fmla="*/ 683 w 703"/>
                  <a:gd name="T41" fmla="*/ 3 h 64"/>
                  <a:gd name="T42" fmla="*/ 689 w 703"/>
                  <a:gd name="T43" fmla="*/ 5 h 64"/>
                  <a:gd name="T44" fmla="*/ 693 w 703"/>
                  <a:gd name="T45" fmla="*/ 9 h 64"/>
                  <a:gd name="T46" fmla="*/ 697 w 703"/>
                  <a:gd name="T47" fmla="*/ 14 h 64"/>
                  <a:gd name="T48" fmla="*/ 701 w 703"/>
                  <a:gd name="T49" fmla="*/ 19 h 64"/>
                  <a:gd name="T50" fmla="*/ 702 w 703"/>
                  <a:gd name="T51" fmla="*/ 26 h 64"/>
                  <a:gd name="T52" fmla="*/ 703 w 703"/>
                  <a:gd name="T53" fmla="*/ 32 h 64"/>
                  <a:gd name="T54" fmla="*/ 702 w 703"/>
                  <a:gd name="T55" fmla="*/ 38 h 64"/>
                  <a:gd name="T56" fmla="*/ 701 w 703"/>
                  <a:gd name="T57" fmla="*/ 45 h 64"/>
                  <a:gd name="T58" fmla="*/ 697 w 703"/>
                  <a:gd name="T59" fmla="*/ 50 h 64"/>
                  <a:gd name="T60" fmla="*/ 693 w 703"/>
                  <a:gd name="T61" fmla="*/ 55 h 64"/>
                  <a:gd name="T62" fmla="*/ 689 w 703"/>
                  <a:gd name="T63" fmla="*/ 59 h 64"/>
                  <a:gd name="T64" fmla="*/ 683 w 703"/>
                  <a:gd name="T65" fmla="*/ 61 h 64"/>
                  <a:gd name="T66" fmla="*/ 678 w 703"/>
                  <a:gd name="T67" fmla="*/ 64 h 64"/>
                  <a:gd name="T68" fmla="*/ 672 w 703"/>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3" h="64">
                    <a:moveTo>
                      <a:pt x="672" y="64"/>
                    </a:moveTo>
                    <a:lnTo>
                      <a:pt x="31" y="64"/>
                    </a:lnTo>
                    <a:lnTo>
                      <a:pt x="25" y="64"/>
                    </a:lnTo>
                    <a:lnTo>
                      <a:pt x="19" y="61"/>
                    </a:lnTo>
                    <a:lnTo>
                      <a:pt x="14" y="59"/>
                    </a:lnTo>
                    <a:lnTo>
                      <a:pt x="8" y="55"/>
                    </a:lnTo>
                    <a:lnTo>
                      <a:pt x="5" y="50"/>
                    </a:lnTo>
                    <a:lnTo>
                      <a:pt x="2" y="45"/>
                    </a:lnTo>
                    <a:lnTo>
                      <a:pt x="0" y="38"/>
                    </a:lnTo>
                    <a:lnTo>
                      <a:pt x="0" y="32"/>
                    </a:lnTo>
                    <a:lnTo>
                      <a:pt x="0" y="26"/>
                    </a:lnTo>
                    <a:lnTo>
                      <a:pt x="2" y="19"/>
                    </a:lnTo>
                    <a:lnTo>
                      <a:pt x="5" y="14"/>
                    </a:lnTo>
                    <a:lnTo>
                      <a:pt x="8" y="9"/>
                    </a:lnTo>
                    <a:lnTo>
                      <a:pt x="14" y="5"/>
                    </a:lnTo>
                    <a:lnTo>
                      <a:pt x="19" y="3"/>
                    </a:lnTo>
                    <a:lnTo>
                      <a:pt x="25" y="0"/>
                    </a:lnTo>
                    <a:lnTo>
                      <a:pt x="31" y="0"/>
                    </a:lnTo>
                    <a:lnTo>
                      <a:pt x="672" y="0"/>
                    </a:lnTo>
                    <a:lnTo>
                      <a:pt x="678" y="0"/>
                    </a:lnTo>
                    <a:lnTo>
                      <a:pt x="683" y="3"/>
                    </a:lnTo>
                    <a:lnTo>
                      <a:pt x="689" y="5"/>
                    </a:lnTo>
                    <a:lnTo>
                      <a:pt x="693" y="9"/>
                    </a:lnTo>
                    <a:lnTo>
                      <a:pt x="697" y="14"/>
                    </a:lnTo>
                    <a:lnTo>
                      <a:pt x="701" y="19"/>
                    </a:lnTo>
                    <a:lnTo>
                      <a:pt x="702" y="26"/>
                    </a:lnTo>
                    <a:lnTo>
                      <a:pt x="703" y="32"/>
                    </a:lnTo>
                    <a:lnTo>
                      <a:pt x="702" y="38"/>
                    </a:lnTo>
                    <a:lnTo>
                      <a:pt x="701" y="45"/>
                    </a:lnTo>
                    <a:lnTo>
                      <a:pt x="697" y="50"/>
                    </a:lnTo>
                    <a:lnTo>
                      <a:pt x="693" y="55"/>
                    </a:lnTo>
                    <a:lnTo>
                      <a:pt x="689" y="59"/>
                    </a:lnTo>
                    <a:lnTo>
                      <a:pt x="683" y="61"/>
                    </a:lnTo>
                    <a:lnTo>
                      <a:pt x="678" y="64"/>
                    </a:lnTo>
                    <a:lnTo>
                      <a:pt x="67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p:cNvSpPr>
              <p:nvPr/>
            </p:nvSpPr>
            <p:spPr bwMode="auto">
              <a:xfrm>
                <a:off x="6948487" y="1612900"/>
                <a:ext cx="279400" cy="25400"/>
              </a:xfrm>
              <a:custGeom>
                <a:avLst/>
                <a:gdLst>
                  <a:gd name="T0" fmla="*/ 672 w 703"/>
                  <a:gd name="T1" fmla="*/ 64 h 64"/>
                  <a:gd name="T2" fmla="*/ 31 w 703"/>
                  <a:gd name="T3" fmla="*/ 64 h 64"/>
                  <a:gd name="T4" fmla="*/ 25 w 703"/>
                  <a:gd name="T5" fmla="*/ 64 h 64"/>
                  <a:gd name="T6" fmla="*/ 19 w 703"/>
                  <a:gd name="T7" fmla="*/ 61 h 64"/>
                  <a:gd name="T8" fmla="*/ 14 w 703"/>
                  <a:gd name="T9" fmla="*/ 59 h 64"/>
                  <a:gd name="T10" fmla="*/ 8 w 703"/>
                  <a:gd name="T11" fmla="*/ 55 h 64"/>
                  <a:gd name="T12" fmla="*/ 5 w 703"/>
                  <a:gd name="T13" fmla="*/ 50 h 64"/>
                  <a:gd name="T14" fmla="*/ 2 w 703"/>
                  <a:gd name="T15" fmla="*/ 45 h 64"/>
                  <a:gd name="T16" fmla="*/ 0 w 703"/>
                  <a:gd name="T17" fmla="*/ 38 h 64"/>
                  <a:gd name="T18" fmla="*/ 0 w 703"/>
                  <a:gd name="T19" fmla="*/ 32 h 64"/>
                  <a:gd name="T20" fmla="*/ 0 w 703"/>
                  <a:gd name="T21" fmla="*/ 26 h 64"/>
                  <a:gd name="T22" fmla="*/ 2 w 703"/>
                  <a:gd name="T23" fmla="*/ 19 h 64"/>
                  <a:gd name="T24" fmla="*/ 5 w 703"/>
                  <a:gd name="T25" fmla="*/ 14 h 64"/>
                  <a:gd name="T26" fmla="*/ 8 w 703"/>
                  <a:gd name="T27" fmla="*/ 9 h 64"/>
                  <a:gd name="T28" fmla="*/ 14 w 703"/>
                  <a:gd name="T29" fmla="*/ 6 h 64"/>
                  <a:gd name="T30" fmla="*/ 19 w 703"/>
                  <a:gd name="T31" fmla="*/ 3 h 64"/>
                  <a:gd name="T32" fmla="*/ 25 w 703"/>
                  <a:gd name="T33" fmla="*/ 0 h 64"/>
                  <a:gd name="T34" fmla="*/ 31 w 703"/>
                  <a:gd name="T35" fmla="*/ 0 h 64"/>
                  <a:gd name="T36" fmla="*/ 672 w 703"/>
                  <a:gd name="T37" fmla="*/ 0 h 64"/>
                  <a:gd name="T38" fmla="*/ 678 w 703"/>
                  <a:gd name="T39" fmla="*/ 0 h 64"/>
                  <a:gd name="T40" fmla="*/ 683 w 703"/>
                  <a:gd name="T41" fmla="*/ 3 h 64"/>
                  <a:gd name="T42" fmla="*/ 689 w 703"/>
                  <a:gd name="T43" fmla="*/ 6 h 64"/>
                  <a:gd name="T44" fmla="*/ 693 w 703"/>
                  <a:gd name="T45" fmla="*/ 9 h 64"/>
                  <a:gd name="T46" fmla="*/ 697 w 703"/>
                  <a:gd name="T47" fmla="*/ 14 h 64"/>
                  <a:gd name="T48" fmla="*/ 701 w 703"/>
                  <a:gd name="T49" fmla="*/ 19 h 64"/>
                  <a:gd name="T50" fmla="*/ 702 w 703"/>
                  <a:gd name="T51" fmla="*/ 26 h 64"/>
                  <a:gd name="T52" fmla="*/ 703 w 703"/>
                  <a:gd name="T53" fmla="*/ 32 h 64"/>
                  <a:gd name="T54" fmla="*/ 702 w 703"/>
                  <a:gd name="T55" fmla="*/ 38 h 64"/>
                  <a:gd name="T56" fmla="*/ 701 w 703"/>
                  <a:gd name="T57" fmla="*/ 45 h 64"/>
                  <a:gd name="T58" fmla="*/ 697 w 703"/>
                  <a:gd name="T59" fmla="*/ 50 h 64"/>
                  <a:gd name="T60" fmla="*/ 693 w 703"/>
                  <a:gd name="T61" fmla="*/ 55 h 64"/>
                  <a:gd name="T62" fmla="*/ 689 w 703"/>
                  <a:gd name="T63" fmla="*/ 59 h 64"/>
                  <a:gd name="T64" fmla="*/ 683 w 703"/>
                  <a:gd name="T65" fmla="*/ 61 h 64"/>
                  <a:gd name="T66" fmla="*/ 678 w 703"/>
                  <a:gd name="T67" fmla="*/ 64 h 64"/>
                  <a:gd name="T68" fmla="*/ 672 w 703"/>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3" h="64">
                    <a:moveTo>
                      <a:pt x="672" y="64"/>
                    </a:moveTo>
                    <a:lnTo>
                      <a:pt x="31" y="64"/>
                    </a:lnTo>
                    <a:lnTo>
                      <a:pt x="25" y="64"/>
                    </a:lnTo>
                    <a:lnTo>
                      <a:pt x="19" y="61"/>
                    </a:lnTo>
                    <a:lnTo>
                      <a:pt x="14" y="59"/>
                    </a:lnTo>
                    <a:lnTo>
                      <a:pt x="8" y="55"/>
                    </a:lnTo>
                    <a:lnTo>
                      <a:pt x="5" y="50"/>
                    </a:lnTo>
                    <a:lnTo>
                      <a:pt x="2" y="45"/>
                    </a:lnTo>
                    <a:lnTo>
                      <a:pt x="0" y="38"/>
                    </a:lnTo>
                    <a:lnTo>
                      <a:pt x="0" y="32"/>
                    </a:lnTo>
                    <a:lnTo>
                      <a:pt x="0" y="26"/>
                    </a:lnTo>
                    <a:lnTo>
                      <a:pt x="2" y="19"/>
                    </a:lnTo>
                    <a:lnTo>
                      <a:pt x="5" y="14"/>
                    </a:lnTo>
                    <a:lnTo>
                      <a:pt x="8" y="9"/>
                    </a:lnTo>
                    <a:lnTo>
                      <a:pt x="14" y="6"/>
                    </a:lnTo>
                    <a:lnTo>
                      <a:pt x="19" y="3"/>
                    </a:lnTo>
                    <a:lnTo>
                      <a:pt x="25" y="0"/>
                    </a:lnTo>
                    <a:lnTo>
                      <a:pt x="31" y="0"/>
                    </a:lnTo>
                    <a:lnTo>
                      <a:pt x="672" y="0"/>
                    </a:lnTo>
                    <a:lnTo>
                      <a:pt x="678" y="0"/>
                    </a:lnTo>
                    <a:lnTo>
                      <a:pt x="683" y="3"/>
                    </a:lnTo>
                    <a:lnTo>
                      <a:pt x="689" y="6"/>
                    </a:lnTo>
                    <a:lnTo>
                      <a:pt x="693" y="9"/>
                    </a:lnTo>
                    <a:lnTo>
                      <a:pt x="697" y="14"/>
                    </a:lnTo>
                    <a:lnTo>
                      <a:pt x="701" y="19"/>
                    </a:lnTo>
                    <a:lnTo>
                      <a:pt x="702" y="26"/>
                    </a:lnTo>
                    <a:lnTo>
                      <a:pt x="703" y="32"/>
                    </a:lnTo>
                    <a:lnTo>
                      <a:pt x="702" y="38"/>
                    </a:lnTo>
                    <a:lnTo>
                      <a:pt x="701" y="45"/>
                    </a:lnTo>
                    <a:lnTo>
                      <a:pt x="697" y="50"/>
                    </a:lnTo>
                    <a:lnTo>
                      <a:pt x="693" y="55"/>
                    </a:lnTo>
                    <a:lnTo>
                      <a:pt x="689" y="59"/>
                    </a:lnTo>
                    <a:lnTo>
                      <a:pt x="683" y="61"/>
                    </a:lnTo>
                    <a:lnTo>
                      <a:pt x="678" y="64"/>
                    </a:lnTo>
                    <a:lnTo>
                      <a:pt x="67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p:nvSpPr>
            <p:spPr bwMode="auto">
              <a:xfrm>
                <a:off x="6897687" y="1104900"/>
                <a:ext cx="190500" cy="190500"/>
              </a:xfrm>
              <a:custGeom>
                <a:avLst/>
                <a:gdLst>
                  <a:gd name="T0" fmla="*/ 25 w 479"/>
                  <a:gd name="T1" fmla="*/ 479 h 480"/>
                  <a:gd name="T2" fmla="*/ 13 w 479"/>
                  <a:gd name="T3" fmla="*/ 474 h 480"/>
                  <a:gd name="T4" fmla="*/ 5 w 479"/>
                  <a:gd name="T5" fmla="*/ 466 h 480"/>
                  <a:gd name="T6" fmla="*/ 0 w 479"/>
                  <a:gd name="T7" fmla="*/ 455 h 480"/>
                  <a:gd name="T8" fmla="*/ 0 w 479"/>
                  <a:gd name="T9" fmla="*/ 425 h 480"/>
                  <a:gd name="T10" fmla="*/ 5 w 479"/>
                  <a:gd name="T11" fmla="*/ 380 h 480"/>
                  <a:gd name="T12" fmla="*/ 13 w 479"/>
                  <a:gd name="T13" fmla="*/ 336 h 480"/>
                  <a:gd name="T14" fmla="*/ 26 w 479"/>
                  <a:gd name="T15" fmla="*/ 294 h 480"/>
                  <a:gd name="T16" fmla="*/ 43 w 479"/>
                  <a:gd name="T17" fmla="*/ 253 h 480"/>
                  <a:gd name="T18" fmla="*/ 64 w 479"/>
                  <a:gd name="T19" fmla="*/ 215 h 480"/>
                  <a:gd name="T20" fmla="*/ 88 w 479"/>
                  <a:gd name="T21" fmla="*/ 180 h 480"/>
                  <a:gd name="T22" fmla="*/ 115 w 479"/>
                  <a:gd name="T23" fmla="*/ 147 h 480"/>
                  <a:gd name="T24" fmla="*/ 145 w 479"/>
                  <a:gd name="T25" fmla="*/ 116 h 480"/>
                  <a:gd name="T26" fmla="*/ 180 w 479"/>
                  <a:gd name="T27" fmla="*/ 90 h 480"/>
                  <a:gd name="T28" fmla="*/ 215 w 479"/>
                  <a:gd name="T29" fmla="*/ 64 h 480"/>
                  <a:gd name="T30" fmla="*/ 253 w 479"/>
                  <a:gd name="T31" fmla="*/ 44 h 480"/>
                  <a:gd name="T32" fmla="*/ 294 w 479"/>
                  <a:gd name="T33" fmla="*/ 28 h 480"/>
                  <a:gd name="T34" fmla="*/ 336 w 479"/>
                  <a:gd name="T35" fmla="*/ 14 h 480"/>
                  <a:gd name="T36" fmla="*/ 379 w 479"/>
                  <a:gd name="T37" fmla="*/ 5 h 480"/>
                  <a:gd name="T38" fmla="*/ 424 w 479"/>
                  <a:gd name="T39" fmla="*/ 1 h 480"/>
                  <a:gd name="T40" fmla="*/ 453 w 479"/>
                  <a:gd name="T41" fmla="*/ 1 h 480"/>
                  <a:gd name="T42" fmla="*/ 465 w 479"/>
                  <a:gd name="T43" fmla="*/ 6 h 480"/>
                  <a:gd name="T44" fmla="*/ 474 w 479"/>
                  <a:gd name="T45" fmla="*/ 14 h 480"/>
                  <a:gd name="T46" fmla="*/ 479 w 479"/>
                  <a:gd name="T47" fmla="*/ 25 h 480"/>
                  <a:gd name="T48" fmla="*/ 479 w 479"/>
                  <a:gd name="T49" fmla="*/ 39 h 480"/>
                  <a:gd name="T50" fmla="*/ 474 w 479"/>
                  <a:gd name="T51" fmla="*/ 50 h 480"/>
                  <a:gd name="T52" fmla="*/ 465 w 479"/>
                  <a:gd name="T53" fmla="*/ 58 h 480"/>
                  <a:gd name="T54" fmla="*/ 453 w 479"/>
                  <a:gd name="T55" fmla="*/ 63 h 480"/>
                  <a:gd name="T56" fmla="*/ 427 w 479"/>
                  <a:gd name="T57" fmla="*/ 64 h 480"/>
                  <a:gd name="T58" fmla="*/ 389 w 479"/>
                  <a:gd name="T59" fmla="*/ 68 h 480"/>
                  <a:gd name="T60" fmla="*/ 351 w 479"/>
                  <a:gd name="T61" fmla="*/ 76 h 480"/>
                  <a:gd name="T62" fmla="*/ 315 w 479"/>
                  <a:gd name="T63" fmla="*/ 87 h 480"/>
                  <a:gd name="T64" fmla="*/ 281 w 479"/>
                  <a:gd name="T65" fmla="*/ 102 h 480"/>
                  <a:gd name="T66" fmla="*/ 248 w 479"/>
                  <a:gd name="T67" fmla="*/ 120 h 480"/>
                  <a:gd name="T68" fmla="*/ 218 w 479"/>
                  <a:gd name="T69" fmla="*/ 140 h 480"/>
                  <a:gd name="T70" fmla="*/ 188 w 479"/>
                  <a:gd name="T71" fmla="*/ 163 h 480"/>
                  <a:gd name="T72" fmla="*/ 163 w 479"/>
                  <a:gd name="T73" fmla="*/ 190 h 480"/>
                  <a:gd name="T74" fmla="*/ 139 w 479"/>
                  <a:gd name="T75" fmla="*/ 218 h 480"/>
                  <a:gd name="T76" fmla="*/ 119 w 479"/>
                  <a:gd name="T77" fmla="*/ 250 h 480"/>
                  <a:gd name="T78" fmla="*/ 101 w 479"/>
                  <a:gd name="T79" fmla="*/ 281 h 480"/>
                  <a:gd name="T80" fmla="*/ 86 w 479"/>
                  <a:gd name="T81" fmla="*/ 317 h 480"/>
                  <a:gd name="T82" fmla="*/ 76 w 479"/>
                  <a:gd name="T83" fmla="*/ 352 h 480"/>
                  <a:gd name="T84" fmla="*/ 68 w 479"/>
                  <a:gd name="T85" fmla="*/ 389 h 480"/>
                  <a:gd name="T86" fmla="*/ 63 w 479"/>
                  <a:gd name="T87" fmla="*/ 428 h 480"/>
                  <a:gd name="T88" fmla="*/ 63 w 479"/>
                  <a:gd name="T89" fmla="*/ 455 h 480"/>
                  <a:gd name="T90" fmla="*/ 58 w 479"/>
                  <a:gd name="T91" fmla="*/ 466 h 480"/>
                  <a:gd name="T92" fmla="*/ 49 w 479"/>
                  <a:gd name="T93" fmla="*/ 474 h 480"/>
                  <a:gd name="T94" fmla="*/ 38 w 479"/>
                  <a:gd name="T95" fmla="*/ 47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480">
                    <a:moveTo>
                      <a:pt x="31" y="480"/>
                    </a:moveTo>
                    <a:lnTo>
                      <a:pt x="25" y="479"/>
                    </a:lnTo>
                    <a:lnTo>
                      <a:pt x="19" y="478"/>
                    </a:lnTo>
                    <a:lnTo>
                      <a:pt x="13" y="474"/>
                    </a:lnTo>
                    <a:lnTo>
                      <a:pt x="8" y="470"/>
                    </a:lnTo>
                    <a:lnTo>
                      <a:pt x="5" y="466"/>
                    </a:lnTo>
                    <a:lnTo>
                      <a:pt x="2" y="460"/>
                    </a:lnTo>
                    <a:lnTo>
                      <a:pt x="0" y="455"/>
                    </a:lnTo>
                    <a:lnTo>
                      <a:pt x="0" y="449"/>
                    </a:lnTo>
                    <a:lnTo>
                      <a:pt x="0" y="425"/>
                    </a:lnTo>
                    <a:lnTo>
                      <a:pt x="1" y="402"/>
                    </a:lnTo>
                    <a:lnTo>
                      <a:pt x="5" y="380"/>
                    </a:lnTo>
                    <a:lnTo>
                      <a:pt x="8" y="357"/>
                    </a:lnTo>
                    <a:lnTo>
                      <a:pt x="13" y="336"/>
                    </a:lnTo>
                    <a:lnTo>
                      <a:pt x="20" y="315"/>
                    </a:lnTo>
                    <a:lnTo>
                      <a:pt x="26" y="294"/>
                    </a:lnTo>
                    <a:lnTo>
                      <a:pt x="34" y="274"/>
                    </a:lnTo>
                    <a:lnTo>
                      <a:pt x="43" y="253"/>
                    </a:lnTo>
                    <a:lnTo>
                      <a:pt x="53" y="234"/>
                    </a:lnTo>
                    <a:lnTo>
                      <a:pt x="64" y="215"/>
                    </a:lnTo>
                    <a:lnTo>
                      <a:pt x="76" y="198"/>
                    </a:lnTo>
                    <a:lnTo>
                      <a:pt x="88" y="180"/>
                    </a:lnTo>
                    <a:lnTo>
                      <a:pt x="101" y="163"/>
                    </a:lnTo>
                    <a:lnTo>
                      <a:pt x="115" y="147"/>
                    </a:lnTo>
                    <a:lnTo>
                      <a:pt x="130" y="132"/>
                    </a:lnTo>
                    <a:lnTo>
                      <a:pt x="145" y="116"/>
                    </a:lnTo>
                    <a:lnTo>
                      <a:pt x="162" y="102"/>
                    </a:lnTo>
                    <a:lnTo>
                      <a:pt x="180" y="90"/>
                    </a:lnTo>
                    <a:lnTo>
                      <a:pt x="196" y="77"/>
                    </a:lnTo>
                    <a:lnTo>
                      <a:pt x="215" y="64"/>
                    </a:lnTo>
                    <a:lnTo>
                      <a:pt x="234" y="54"/>
                    </a:lnTo>
                    <a:lnTo>
                      <a:pt x="253" y="44"/>
                    </a:lnTo>
                    <a:lnTo>
                      <a:pt x="273" y="35"/>
                    </a:lnTo>
                    <a:lnTo>
                      <a:pt x="294" y="28"/>
                    </a:lnTo>
                    <a:lnTo>
                      <a:pt x="314" y="20"/>
                    </a:lnTo>
                    <a:lnTo>
                      <a:pt x="336" y="14"/>
                    </a:lnTo>
                    <a:lnTo>
                      <a:pt x="357" y="9"/>
                    </a:lnTo>
                    <a:lnTo>
                      <a:pt x="379" y="5"/>
                    </a:lnTo>
                    <a:lnTo>
                      <a:pt x="401" y="2"/>
                    </a:lnTo>
                    <a:lnTo>
                      <a:pt x="424" y="1"/>
                    </a:lnTo>
                    <a:lnTo>
                      <a:pt x="447" y="0"/>
                    </a:lnTo>
                    <a:lnTo>
                      <a:pt x="453" y="1"/>
                    </a:lnTo>
                    <a:lnTo>
                      <a:pt x="460" y="2"/>
                    </a:lnTo>
                    <a:lnTo>
                      <a:pt x="465" y="6"/>
                    </a:lnTo>
                    <a:lnTo>
                      <a:pt x="470" y="10"/>
                    </a:lnTo>
                    <a:lnTo>
                      <a:pt x="474" y="14"/>
                    </a:lnTo>
                    <a:lnTo>
                      <a:pt x="476" y="20"/>
                    </a:lnTo>
                    <a:lnTo>
                      <a:pt x="479" y="25"/>
                    </a:lnTo>
                    <a:lnTo>
                      <a:pt x="479" y="31"/>
                    </a:lnTo>
                    <a:lnTo>
                      <a:pt x="479" y="39"/>
                    </a:lnTo>
                    <a:lnTo>
                      <a:pt x="476" y="44"/>
                    </a:lnTo>
                    <a:lnTo>
                      <a:pt x="474" y="50"/>
                    </a:lnTo>
                    <a:lnTo>
                      <a:pt x="470" y="54"/>
                    </a:lnTo>
                    <a:lnTo>
                      <a:pt x="465" y="58"/>
                    </a:lnTo>
                    <a:lnTo>
                      <a:pt x="460" y="62"/>
                    </a:lnTo>
                    <a:lnTo>
                      <a:pt x="453" y="63"/>
                    </a:lnTo>
                    <a:lnTo>
                      <a:pt x="447" y="64"/>
                    </a:lnTo>
                    <a:lnTo>
                      <a:pt x="427" y="64"/>
                    </a:lnTo>
                    <a:lnTo>
                      <a:pt x="408" y="66"/>
                    </a:lnTo>
                    <a:lnTo>
                      <a:pt x="389" y="68"/>
                    </a:lnTo>
                    <a:lnTo>
                      <a:pt x="370" y="72"/>
                    </a:lnTo>
                    <a:lnTo>
                      <a:pt x="351" y="76"/>
                    </a:lnTo>
                    <a:lnTo>
                      <a:pt x="333" y="81"/>
                    </a:lnTo>
                    <a:lnTo>
                      <a:pt x="315" y="87"/>
                    </a:lnTo>
                    <a:lnTo>
                      <a:pt x="297" y="95"/>
                    </a:lnTo>
                    <a:lnTo>
                      <a:pt x="281" y="102"/>
                    </a:lnTo>
                    <a:lnTo>
                      <a:pt x="265" y="110"/>
                    </a:lnTo>
                    <a:lnTo>
                      <a:pt x="248" y="120"/>
                    </a:lnTo>
                    <a:lnTo>
                      <a:pt x="233" y="129"/>
                    </a:lnTo>
                    <a:lnTo>
                      <a:pt x="218" y="140"/>
                    </a:lnTo>
                    <a:lnTo>
                      <a:pt x="202" y="152"/>
                    </a:lnTo>
                    <a:lnTo>
                      <a:pt x="188" y="163"/>
                    </a:lnTo>
                    <a:lnTo>
                      <a:pt x="176" y="177"/>
                    </a:lnTo>
                    <a:lnTo>
                      <a:pt x="163" y="190"/>
                    </a:lnTo>
                    <a:lnTo>
                      <a:pt x="150" y="204"/>
                    </a:lnTo>
                    <a:lnTo>
                      <a:pt x="139" y="218"/>
                    </a:lnTo>
                    <a:lnTo>
                      <a:pt x="129" y="233"/>
                    </a:lnTo>
                    <a:lnTo>
                      <a:pt x="119" y="250"/>
                    </a:lnTo>
                    <a:lnTo>
                      <a:pt x="110" y="265"/>
                    </a:lnTo>
                    <a:lnTo>
                      <a:pt x="101" y="281"/>
                    </a:lnTo>
                    <a:lnTo>
                      <a:pt x="93" y="299"/>
                    </a:lnTo>
                    <a:lnTo>
                      <a:pt x="86" y="317"/>
                    </a:lnTo>
                    <a:lnTo>
                      <a:pt x="81" y="334"/>
                    </a:lnTo>
                    <a:lnTo>
                      <a:pt x="76" y="352"/>
                    </a:lnTo>
                    <a:lnTo>
                      <a:pt x="71" y="371"/>
                    </a:lnTo>
                    <a:lnTo>
                      <a:pt x="68" y="389"/>
                    </a:lnTo>
                    <a:lnTo>
                      <a:pt x="65" y="409"/>
                    </a:lnTo>
                    <a:lnTo>
                      <a:pt x="63" y="428"/>
                    </a:lnTo>
                    <a:lnTo>
                      <a:pt x="63" y="449"/>
                    </a:lnTo>
                    <a:lnTo>
                      <a:pt x="63" y="455"/>
                    </a:lnTo>
                    <a:lnTo>
                      <a:pt x="60" y="460"/>
                    </a:lnTo>
                    <a:lnTo>
                      <a:pt x="58" y="466"/>
                    </a:lnTo>
                    <a:lnTo>
                      <a:pt x="54" y="470"/>
                    </a:lnTo>
                    <a:lnTo>
                      <a:pt x="49" y="474"/>
                    </a:lnTo>
                    <a:lnTo>
                      <a:pt x="44" y="478"/>
                    </a:lnTo>
                    <a:lnTo>
                      <a:pt x="38" y="479"/>
                    </a:lnTo>
                    <a:lnTo>
                      <a:pt x="31"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 name="Group 19"/>
          <p:cNvGrpSpPr/>
          <p:nvPr/>
        </p:nvGrpSpPr>
        <p:grpSpPr>
          <a:xfrm>
            <a:off x="1312269" y="1758834"/>
            <a:ext cx="2761129" cy="2757962"/>
            <a:chOff x="1277471" y="1758834"/>
            <a:chExt cx="2761129" cy="2757962"/>
          </a:xfrm>
        </p:grpSpPr>
        <p:grpSp>
          <p:nvGrpSpPr>
            <p:cNvPr id="9" name="Group 8"/>
            <p:cNvGrpSpPr/>
            <p:nvPr/>
          </p:nvGrpSpPr>
          <p:grpSpPr>
            <a:xfrm>
              <a:off x="1295400" y="2540079"/>
              <a:ext cx="2743200" cy="609600"/>
              <a:chOff x="1295400" y="2362200"/>
              <a:chExt cx="2743200" cy="609600"/>
            </a:xfrm>
          </p:grpSpPr>
          <p:cxnSp>
            <p:nvCxnSpPr>
              <p:cNvPr id="6" name="Straight Connector 5"/>
              <p:cNvCxnSpPr/>
              <p:nvPr/>
            </p:nvCxnSpPr>
            <p:spPr>
              <a:xfrm>
                <a:off x="1295400" y="2362200"/>
                <a:ext cx="2133600" cy="0"/>
              </a:xfrm>
              <a:prstGeom prst="line">
                <a:avLst/>
              </a:prstGeom>
              <a:ln w="12700">
                <a:solidFill>
                  <a:srgbClr val="E74C3C"/>
                </a:solidFill>
                <a:headEnd type="ova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429000" y="2362200"/>
                <a:ext cx="609600" cy="609600"/>
              </a:xfrm>
              <a:prstGeom prst="line">
                <a:avLst/>
              </a:prstGeom>
              <a:ln w="12700">
                <a:solidFill>
                  <a:srgbClr val="E74C3C"/>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flipV="1">
              <a:off x="1295400" y="3099483"/>
              <a:ext cx="2743200" cy="609600"/>
              <a:chOff x="1295400" y="2362200"/>
              <a:chExt cx="2743200" cy="609600"/>
            </a:xfrm>
          </p:grpSpPr>
          <p:cxnSp>
            <p:nvCxnSpPr>
              <p:cNvPr id="31" name="Straight Connector 30"/>
              <p:cNvCxnSpPr/>
              <p:nvPr/>
            </p:nvCxnSpPr>
            <p:spPr>
              <a:xfrm>
                <a:off x="1295400" y="2362200"/>
                <a:ext cx="2133600" cy="0"/>
              </a:xfrm>
              <a:prstGeom prst="line">
                <a:avLst/>
              </a:prstGeom>
              <a:ln w="12700">
                <a:solidFill>
                  <a:srgbClr val="E74C3C"/>
                </a:solidFill>
                <a:head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429000" y="2362200"/>
                <a:ext cx="609600" cy="609600"/>
              </a:xfrm>
              <a:prstGeom prst="line">
                <a:avLst/>
              </a:prstGeom>
              <a:ln w="12700">
                <a:solidFill>
                  <a:srgbClr val="E74C3C"/>
                </a:solidFill>
              </a:ln>
            </p:spPr>
            <p:style>
              <a:lnRef idx="1">
                <a:schemeClr val="accent1"/>
              </a:lnRef>
              <a:fillRef idx="0">
                <a:schemeClr val="accent1"/>
              </a:fillRef>
              <a:effectRef idx="0">
                <a:schemeClr val="accent1"/>
              </a:effectRef>
              <a:fontRef idx="minor">
                <a:schemeClr val="tx1"/>
              </a:fontRef>
            </p:style>
          </p:cxnSp>
        </p:grpSp>
        <p:sp>
          <p:nvSpPr>
            <p:cNvPr id="36" name="Rectangle 35"/>
            <p:cNvSpPr/>
            <p:nvPr/>
          </p:nvSpPr>
          <p:spPr>
            <a:xfrm>
              <a:off x="1277471" y="1758834"/>
              <a:ext cx="1605463" cy="784830"/>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REFRESH</a:t>
              </a:r>
              <a:endParaRPr lang="id-ID" sz="1200" dirty="0" smtClean="0">
                <a:solidFill>
                  <a:srgbClr val="7F8C8D"/>
                </a:solidFill>
                <a:latin typeface="Calibri Light" pitchFamily="34" charset="0"/>
              </a:endParaRPr>
            </a:p>
            <a:p>
              <a:pPr algn="r"/>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sp>
          <p:nvSpPr>
            <p:cNvPr id="38" name="Rectangle 37"/>
            <p:cNvSpPr/>
            <p:nvPr/>
          </p:nvSpPr>
          <p:spPr>
            <a:xfrm>
              <a:off x="1277471" y="3731966"/>
              <a:ext cx="1605463" cy="784830"/>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REFINE</a:t>
              </a:r>
              <a:endParaRPr lang="id-ID" sz="1200" dirty="0" smtClean="0">
                <a:solidFill>
                  <a:srgbClr val="7F8C8D"/>
                </a:solidFill>
                <a:latin typeface="Calibri Light" pitchFamily="34" charset="0"/>
              </a:endParaRPr>
            </a:p>
            <a:p>
              <a:pPr algn="r"/>
              <a:r>
                <a:rPr lang="en-US" sz="1100" dirty="0" err="1" smtClean="0">
                  <a:solidFill>
                    <a:srgbClr val="7F8C8D"/>
                  </a:solidFill>
                  <a:latin typeface="Calibri Light" pitchFamily="34" charset="0"/>
                </a:rPr>
                <a:t>Lorem</a:t>
              </a:r>
              <a:r>
                <a:rPr lang="en-US" sz="1100" dirty="0" smtClean="0">
                  <a:solidFill>
                    <a:srgbClr val="7F8C8D"/>
                  </a:solidFill>
                  <a:latin typeface="Calibri Light" pitchFamily="34" charset="0"/>
                </a:rPr>
                <a:t> </a:t>
              </a:r>
              <a:r>
                <a:rPr lang="en-US" sz="1100" dirty="0" err="1">
                  <a:solidFill>
                    <a:srgbClr val="7F8C8D"/>
                  </a:solidFill>
                  <a:latin typeface="Calibri Light" pitchFamily="34" charset="0"/>
                </a:rPr>
                <a:t>Ipsum</a:t>
              </a:r>
              <a:r>
                <a:rPr lang="en-US" sz="1100" dirty="0">
                  <a:solidFill>
                    <a:srgbClr val="7F8C8D"/>
                  </a:solidFill>
                  <a:latin typeface="Calibri Light" pitchFamily="34" charset="0"/>
                </a:rPr>
                <a:t> is simply dummy text of the printing and typesetting. </a:t>
              </a:r>
              <a:endParaRPr lang="en-US" sz="1100" dirty="0">
                <a:solidFill>
                  <a:srgbClr val="7F8C8D"/>
                </a:solidFill>
              </a:endParaRPr>
            </a:p>
          </p:txBody>
        </p:sp>
        <p:grpSp>
          <p:nvGrpSpPr>
            <p:cNvPr id="82" name="Group 81"/>
            <p:cNvGrpSpPr/>
            <p:nvPr/>
          </p:nvGrpSpPr>
          <p:grpSpPr>
            <a:xfrm>
              <a:off x="3030649" y="1879028"/>
              <a:ext cx="450018" cy="475106"/>
              <a:chOff x="4926013" y="5194300"/>
              <a:chExt cx="455613" cy="481013"/>
            </a:xfrm>
            <a:solidFill>
              <a:srgbClr val="E74C3C"/>
            </a:solidFill>
          </p:grpSpPr>
          <p:sp>
            <p:nvSpPr>
              <p:cNvPr id="87" name="Freeform 181"/>
              <p:cNvSpPr>
                <a:spLocks/>
              </p:cNvSpPr>
              <p:nvPr/>
            </p:nvSpPr>
            <p:spPr bwMode="auto">
              <a:xfrm>
                <a:off x="4926013" y="5218113"/>
                <a:ext cx="455613" cy="457200"/>
              </a:xfrm>
              <a:custGeom>
                <a:avLst/>
                <a:gdLst>
                  <a:gd name="T0" fmla="*/ 460 w 1152"/>
                  <a:gd name="T1" fmla="*/ 1139 h 1151"/>
                  <a:gd name="T2" fmla="*/ 327 w 1152"/>
                  <a:gd name="T3" fmla="*/ 1094 h 1151"/>
                  <a:gd name="T4" fmla="*/ 210 w 1152"/>
                  <a:gd name="T5" fmla="*/ 1019 h 1151"/>
                  <a:gd name="T6" fmla="*/ 114 w 1152"/>
                  <a:gd name="T7" fmla="*/ 920 h 1151"/>
                  <a:gd name="T8" fmla="*/ 46 w 1152"/>
                  <a:gd name="T9" fmla="*/ 799 h 1151"/>
                  <a:gd name="T10" fmla="*/ 6 w 1152"/>
                  <a:gd name="T11" fmla="*/ 663 h 1151"/>
                  <a:gd name="T12" fmla="*/ 3 w 1152"/>
                  <a:gd name="T13" fmla="*/ 523 h 1151"/>
                  <a:gd name="T14" fmla="*/ 27 w 1152"/>
                  <a:gd name="T15" fmla="*/ 398 h 1151"/>
                  <a:gd name="T16" fmla="*/ 78 w 1152"/>
                  <a:gd name="T17" fmla="*/ 284 h 1151"/>
                  <a:gd name="T18" fmla="*/ 151 w 1152"/>
                  <a:gd name="T19" fmla="*/ 186 h 1151"/>
                  <a:gd name="T20" fmla="*/ 244 w 1152"/>
                  <a:gd name="T21" fmla="*/ 104 h 1151"/>
                  <a:gd name="T22" fmla="*/ 353 w 1152"/>
                  <a:gd name="T23" fmla="*/ 44 h 1151"/>
                  <a:gd name="T24" fmla="*/ 477 w 1152"/>
                  <a:gd name="T25" fmla="*/ 8 h 1151"/>
                  <a:gd name="T26" fmla="*/ 497 w 1152"/>
                  <a:gd name="T27" fmla="*/ 14 h 1151"/>
                  <a:gd name="T28" fmla="*/ 503 w 1152"/>
                  <a:gd name="T29" fmla="*/ 35 h 1151"/>
                  <a:gd name="T30" fmla="*/ 490 w 1152"/>
                  <a:gd name="T31" fmla="*/ 52 h 1151"/>
                  <a:gd name="T32" fmla="*/ 393 w 1152"/>
                  <a:gd name="T33" fmla="*/ 78 h 1151"/>
                  <a:gd name="T34" fmla="*/ 290 w 1152"/>
                  <a:gd name="T35" fmla="*/ 128 h 1151"/>
                  <a:gd name="T36" fmla="*/ 200 w 1152"/>
                  <a:gd name="T37" fmla="*/ 201 h 1151"/>
                  <a:gd name="T38" fmla="*/ 130 w 1152"/>
                  <a:gd name="T39" fmla="*/ 289 h 1151"/>
                  <a:gd name="T40" fmla="*/ 79 w 1152"/>
                  <a:gd name="T41" fmla="*/ 391 h 1151"/>
                  <a:gd name="T42" fmla="*/ 51 w 1152"/>
                  <a:gd name="T43" fmla="*/ 504 h 1151"/>
                  <a:gd name="T44" fmla="*/ 49 w 1152"/>
                  <a:gd name="T45" fmla="*/ 629 h 1151"/>
                  <a:gd name="T46" fmla="*/ 79 w 1152"/>
                  <a:gd name="T47" fmla="*/ 758 h 1151"/>
                  <a:gd name="T48" fmla="*/ 136 w 1152"/>
                  <a:gd name="T49" fmla="*/ 872 h 1151"/>
                  <a:gd name="T50" fmla="*/ 220 w 1152"/>
                  <a:gd name="T51" fmla="*/ 967 h 1151"/>
                  <a:gd name="T52" fmla="*/ 324 w 1152"/>
                  <a:gd name="T53" fmla="*/ 1041 h 1151"/>
                  <a:gd name="T54" fmla="*/ 443 w 1152"/>
                  <a:gd name="T55" fmla="*/ 1089 h 1151"/>
                  <a:gd name="T56" fmla="*/ 575 w 1152"/>
                  <a:gd name="T57" fmla="*/ 1105 h 1151"/>
                  <a:gd name="T58" fmla="*/ 708 w 1152"/>
                  <a:gd name="T59" fmla="*/ 1089 h 1151"/>
                  <a:gd name="T60" fmla="*/ 828 w 1152"/>
                  <a:gd name="T61" fmla="*/ 1041 h 1151"/>
                  <a:gd name="T62" fmla="*/ 932 w 1152"/>
                  <a:gd name="T63" fmla="*/ 967 h 1151"/>
                  <a:gd name="T64" fmla="*/ 1015 w 1152"/>
                  <a:gd name="T65" fmla="*/ 872 h 1151"/>
                  <a:gd name="T66" fmla="*/ 1073 w 1152"/>
                  <a:gd name="T67" fmla="*/ 758 h 1151"/>
                  <a:gd name="T68" fmla="*/ 1103 w 1152"/>
                  <a:gd name="T69" fmla="*/ 629 h 1151"/>
                  <a:gd name="T70" fmla="*/ 1100 w 1152"/>
                  <a:gd name="T71" fmla="*/ 499 h 1151"/>
                  <a:gd name="T72" fmla="*/ 1069 w 1152"/>
                  <a:gd name="T73" fmla="*/ 380 h 1151"/>
                  <a:gd name="T74" fmla="*/ 1011 w 1152"/>
                  <a:gd name="T75" fmla="*/ 273 h 1151"/>
                  <a:gd name="T76" fmla="*/ 931 w 1152"/>
                  <a:gd name="T77" fmla="*/ 182 h 1151"/>
                  <a:gd name="T78" fmla="*/ 832 w 1152"/>
                  <a:gd name="T79" fmla="*/ 112 h 1151"/>
                  <a:gd name="T80" fmla="*/ 719 w 1152"/>
                  <a:gd name="T81" fmla="*/ 65 h 1151"/>
                  <a:gd name="T82" fmla="*/ 609 w 1152"/>
                  <a:gd name="T83" fmla="*/ 46 h 1151"/>
                  <a:gd name="T84" fmla="*/ 567 w 1152"/>
                  <a:gd name="T85" fmla="*/ 44 h 1151"/>
                  <a:gd name="T86" fmla="*/ 553 w 1152"/>
                  <a:gd name="T87" fmla="*/ 27 h 1151"/>
                  <a:gd name="T88" fmla="*/ 560 w 1152"/>
                  <a:gd name="T89" fmla="*/ 6 h 1151"/>
                  <a:gd name="T90" fmla="*/ 588 w 1152"/>
                  <a:gd name="T91" fmla="*/ 0 h 1151"/>
                  <a:gd name="T92" fmla="*/ 679 w 1152"/>
                  <a:gd name="T93" fmla="*/ 8 h 1151"/>
                  <a:gd name="T94" fmla="*/ 807 w 1152"/>
                  <a:gd name="T95" fmla="*/ 47 h 1151"/>
                  <a:gd name="T96" fmla="*/ 921 w 1152"/>
                  <a:gd name="T97" fmla="*/ 115 h 1151"/>
                  <a:gd name="T98" fmla="*/ 1016 w 1152"/>
                  <a:gd name="T99" fmla="*/ 206 h 1151"/>
                  <a:gd name="T100" fmla="*/ 1089 w 1152"/>
                  <a:gd name="T101" fmla="*/ 315 h 1151"/>
                  <a:gd name="T102" fmla="*/ 1136 w 1152"/>
                  <a:gd name="T103" fmla="*/ 440 h 1151"/>
                  <a:gd name="T104" fmla="*/ 1152 w 1152"/>
                  <a:gd name="T105" fmla="*/ 575 h 1151"/>
                  <a:gd name="T106" fmla="*/ 1134 w 1152"/>
                  <a:gd name="T107" fmla="*/ 718 h 1151"/>
                  <a:gd name="T108" fmla="*/ 1082 w 1152"/>
                  <a:gd name="T109" fmla="*/ 850 h 1151"/>
                  <a:gd name="T110" fmla="*/ 1002 w 1152"/>
                  <a:gd name="T111" fmla="*/ 963 h 1151"/>
                  <a:gd name="T112" fmla="*/ 898 w 1152"/>
                  <a:gd name="T113" fmla="*/ 1052 h 1151"/>
                  <a:gd name="T114" fmla="*/ 774 w 1152"/>
                  <a:gd name="T115" fmla="*/ 1116 h 1151"/>
                  <a:gd name="T116" fmla="*/ 634 w 1152"/>
                  <a:gd name="T117" fmla="*/ 1148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2" h="1151">
                    <a:moveTo>
                      <a:pt x="575" y="1151"/>
                    </a:moveTo>
                    <a:lnTo>
                      <a:pt x="546" y="1150"/>
                    </a:lnTo>
                    <a:lnTo>
                      <a:pt x="517" y="1148"/>
                    </a:lnTo>
                    <a:lnTo>
                      <a:pt x="488" y="1144"/>
                    </a:lnTo>
                    <a:lnTo>
                      <a:pt x="460" y="1139"/>
                    </a:lnTo>
                    <a:lnTo>
                      <a:pt x="432" y="1133"/>
                    </a:lnTo>
                    <a:lnTo>
                      <a:pt x="405" y="1126"/>
                    </a:lnTo>
                    <a:lnTo>
                      <a:pt x="378" y="1116"/>
                    </a:lnTo>
                    <a:lnTo>
                      <a:pt x="352" y="1106"/>
                    </a:lnTo>
                    <a:lnTo>
                      <a:pt x="327" y="1094"/>
                    </a:lnTo>
                    <a:lnTo>
                      <a:pt x="302" y="1082"/>
                    </a:lnTo>
                    <a:lnTo>
                      <a:pt x="277" y="1068"/>
                    </a:lnTo>
                    <a:lnTo>
                      <a:pt x="254" y="1052"/>
                    </a:lnTo>
                    <a:lnTo>
                      <a:pt x="232" y="1036"/>
                    </a:lnTo>
                    <a:lnTo>
                      <a:pt x="210" y="1019"/>
                    </a:lnTo>
                    <a:lnTo>
                      <a:pt x="189" y="1002"/>
                    </a:lnTo>
                    <a:lnTo>
                      <a:pt x="168" y="982"/>
                    </a:lnTo>
                    <a:lnTo>
                      <a:pt x="150" y="963"/>
                    </a:lnTo>
                    <a:lnTo>
                      <a:pt x="132" y="942"/>
                    </a:lnTo>
                    <a:lnTo>
                      <a:pt x="114" y="920"/>
                    </a:lnTo>
                    <a:lnTo>
                      <a:pt x="98" y="898"/>
                    </a:lnTo>
                    <a:lnTo>
                      <a:pt x="84" y="873"/>
                    </a:lnTo>
                    <a:lnTo>
                      <a:pt x="70" y="850"/>
                    </a:lnTo>
                    <a:lnTo>
                      <a:pt x="57" y="825"/>
                    </a:lnTo>
                    <a:lnTo>
                      <a:pt x="46" y="799"/>
                    </a:lnTo>
                    <a:lnTo>
                      <a:pt x="35" y="772"/>
                    </a:lnTo>
                    <a:lnTo>
                      <a:pt x="26" y="747"/>
                    </a:lnTo>
                    <a:lnTo>
                      <a:pt x="19" y="718"/>
                    </a:lnTo>
                    <a:lnTo>
                      <a:pt x="11" y="691"/>
                    </a:lnTo>
                    <a:lnTo>
                      <a:pt x="6" y="663"/>
                    </a:lnTo>
                    <a:lnTo>
                      <a:pt x="3" y="634"/>
                    </a:lnTo>
                    <a:lnTo>
                      <a:pt x="0" y="604"/>
                    </a:lnTo>
                    <a:lnTo>
                      <a:pt x="0" y="575"/>
                    </a:lnTo>
                    <a:lnTo>
                      <a:pt x="0" y="549"/>
                    </a:lnTo>
                    <a:lnTo>
                      <a:pt x="3" y="523"/>
                    </a:lnTo>
                    <a:lnTo>
                      <a:pt x="5" y="498"/>
                    </a:lnTo>
                    <a:lnTo>
                      <a:pt x="9" y="472"/>
                    </a:lnTo>
                    <a:lnTo>
                      <a:pt x="14" y="447"/>
                    </a:lnTo>
                    <a:lnTo>
                      <a:pt x="20" y="423"/>
                    </a:lnTo>
                    <a:lnTo>
                      <a:pt x="27" y="398"/>
                    </a:lnTo>
                    <a:lnTo>
                      <a:pt x="36" y="375"/>
                    </a:lnTo>
                    <a:lnTo>
                      <a:pt x="44" y="352"/>
                    </a:lnTo>
                    <a:lnTo>
                      <a:pt x="55" y="328"/>
                    </a:lnTo>
                    <a:lnTo>
                      <a:pt x="66" y="306"/>
                    </a:lnTo>
                    <a:lnTo>
                      <a:pt x="78" y="284"/>
                    </a:lnTo>
                    <a:lnTo>
                      <a:pt x="91" y="263"/>
                    </a:lnTo>
                    <a:lnTo>
                      <a:pt x="105" y="244"/>
                    </a:lnTo>
                    <a:lnTo>
                      <a:pt x="119" y="223"/>
                    </a:lnTo>
                    <a:lnTo>
                      <a:pt x="135" y="204"/>
                    </a:lnTo>
                    <a:lnTo>
                      <a:pt x="151" y="186"/>
                    </a:lnTo>
                    <a:lnTo>
                      <a:pt x="168" y="168"/>
                    </a:lnTo>
                    <a:lnTo>
                      <a:pt x="185" y="150"/>
                    </a:lnTo>
                    <a:lnTo>
                      <a:pt x="205" y="135"/>
                    </a:lnTo>
                    <a:lnTo>
                      <a:pt x="223" y="119"/>
                    </a:lnTo>
                    <a:lnTo>
                      <a:pt x="244" y="104"/>
                    </a:lnTo>
                    <a:lnTo>
                      <a:pt x="264" y="90"/>
                    </a:lnTo>
                    <a:lnTo>
                      <a:pt x="286" y="77"/>
                    </a:lnTo>
                    <a:lnTo>
                      <a:pt x="308" y="65"/>
                    </a:lnTo>
                    <a:lnTo>
                      <a:pt x="330" y="54"/>
                    </a:lnTo>
                    <a:lnTo>
                      <a:pt x="353" y="44"/>
                    </a:lnTo>
                    <a:lnTo>
                      <a:pt x="377" y="34"/>
                    </a:lnTo>
                    <a:lnTo>
                      <a:pt x="401" y="27"/>
                    </a:lnTo>
                    <a:lnTo>
                      <a:pt x="426" y="19"/>
                    </a:lnTo>
                    <a:lnTo>
                      <a:pt x="452" y="13"/>
                    </a:lnTo>
                    <a:lnTo>
                      <a:pt x="477" y="8"/>
                    </a:lnTo>
                    <a:lnTo>
                      <a:pt x="481" y="7"/>
                    </a:lnTo>
                    <a:lnTo>
                      <a:pt x="486" y="8"/>
                    </a:lnTo>
                    <a:lnTo>
                      <a:pt x="490" y="9"/>
                    </a:lnTo>
                    <a:lnTo>
                      <a:pt x="495" y="12"/>
                    </a:lnTo>
                    <a:lnTo>
                      <a:pt x="497" y="14"/>
                    </a:lnTo>
                    <a:lnTo>
                      <a:pt x="501" y="18"/>
                    </a:lnTo>
                    <a:lnTo>
                      <a:pt x="502" y="22"/>
                    </a:lnTo>
                    <a:lnTo>
                      <a:pt x="503" y="27"/>
                    </a:lnTo>
                    <a:lnTo>
                      <a:pt x="504" y="31"/>
                    </a:lnTo>
                    <a:lnTo>
                      <a:pt x="503" y="35"/>
                    </a:lnTo>
                    <a:lnTo>
                      <a:pt x="502" y="40"/>
                    </a:lnTo>
                    <a:lnTo>
                      <a:pt x="499" y="44"/>
                    </a:lnTo>
                    <a:lnTo>
                      <a:pt x="497" y="47"/>
                    </a:lnTo>
                    <a:lnTo>
                      <a:pt x="493" y="50"/>
                    </a:lnTo>
                    <a:lnTo>
                      <a:pt x="490" y="52"/>
                    </a:lnTo>
                    <a:lnTo>
                      <a:pt x="485" y="54"/>
                    </a:lnTo>
                    <a:lnTo>
                      <a:pt x="461" y="57"/>
                    </a:lnTo>
                    <a:lnTo>
                      <a:pt x="438" y="63"/>
                    </a:lnTo>
                    <a:lnTo>
                      <a:pt x="415" y="70"/>
                    </a:lnTo>
                    <a:lnTo>
                      <a:pt x="393" y="78"/>
                    </a:lnTo>
                    <a:lnTo>
                      <a:pt x="371" y="85"/>
                    </a:lnTo>
                    <a:lnTo>
                      <a:pt x="350" y="95"/>
                    </a:lnTo>
                    <a:lnTo>
                      <a:pt x="329" y="105"/>
                    </a:lnTo>
                    <a:lnTo>
                      <a:pt x="309" y="117"/>
                    </a:lnTo>
                    <a:lnTo>
                      <a:pt x="290" y="128"/>
                    </a:lnTo>
                    <a:lnTo>
                      <a:pt x="270" y="142"/>
                    </a:lnTo>
                    <a:lnTo>
                      <a:pt x="252" y="155"/>
                    </a:lnTo>
                    <a:lnTo>
                      <a:pt x="235" y="169"/>
                    </a:lnTo>
                    <a:lnTo>
                      <a:pt x="217" y="185"/>
                    </a:lnTo>
                    <a:lnTo>
                      <a:pt x="200" y="201"/>
                    </a:lnTo>
                    <a:lnTo>
                      <a:pt x="185" y="217"/>
                    </a:lnTo>
                    <a:lnTo>
                      <a:pt x="170" y="234"/>
                    </a:lnTo>
                    <a:lnTo>
                      <a:pt x="156" y="251"/>
                    </a:lnTo>
                    <a:lnTo>
                      <a:pt x="143" y="269"/>
                    </a:lnTo>
                    <a:lnTo>
                      <a:pt x="130" y="289"/>
                    </a:lnTo>
                    <a:lnTo>
                      <a:pt x="118" y="307"/>
                    </a:lnTo>
                    <a:lnTo>
                      <a:pt x="107" y="328"/>
                    </a:lnTo>
                    <a:lnTo>
                      <a:pt x="97" y="348"/>
                    </a:lnTo>
                    <a:lnTo>
                      <a:pt x="87" y="369"/>
                    </a:lnTo>
                    <a:lnTo>
                      <a:pt x="79" y="391"/>
                    </a:lnTo>
                    <a:lnTo>
                      <a:pt x="71" y="413"/>
                    </a:lnTo>
                    <a:lnTo>
                      <a:pt x="65" y="435"/>
                    </a:lnTo>
                    <a:lnTo>
                      <a:pt x="59" y="457"/>
                    </a:lnTo>
                    <a:lnTo>
                      <a:pt x="54" y="480"/>
                    </a:lnTo>
                    <a:lnTo>
                      <a:pt x="51" y="504"/>
                    </a:lnTo>
                    <a:lnTo>
                      <a:pt x="48" y="527"/>
                    </a:lnTo>
                    <a:lnTo>
                      <a:pt x="47" y="552"/>
                    </a:lnTo>
                    <a:lnTo>
                      <a:pt x="46" y="575"/>
                    </a:lnTo>
                    <a:lnTo>
                      <a:pt x="47" y="602"/>
                    </a:lnTo>
                    <a:lnTo>
                      <a:pt x="49" y="629"/>
                    </a:lnTo>
                    <a:lnTo>
                      <a:pt x="52" y="656"/>
                    </a:lnTo>
                    <a:lnTo>
                      <a:pt x="57" y="682"/>
                    </a:lnTo>
                    <a:lnTo>
                      <a:pt x="63" y="707"/>
                    </a:lnTo>
                    <a:lnTo>
                      <a:pt x="70" y="733"/>
                    </a:lnTo>
                    <a:lnTo>
                      <a:pt x="79" y="758"/>
                    </a:lnTo>
                    <a:lnTo>
                      <a:pt x="87" y="781"/>
                    </a:lnTo>
                    <a:lnTo>
                      <a:pt x="98" y="804"/>
                    </a:lnTo>
                    <a:lnTo>
                      <a:pt x="111" y="828"/>
                    </a:lnTo>
                    <a:lnTo>
                      <a:pt x="123" y="850"/>
                    </a:lnTo>
                    <a:lnTo>
                      <a:pt x="136" y="872"/>
                    </a:lnTo>
                    <a:lnTo>
                      <a:pt x="151" y="891"/>
                    </a:lnTo>
                    <a:lnTo>
                      <a:pt x="167" y="912"/>
                    </a:lnTo>
                    <a:lnTo>
                      <a:pt x="184" y="931"/>
                    </a:lnTo>
                    <a:lnTo>
                      <a:pt x="201" y="950"/>
                    </a:lnTo>
                    <a:lnTo>
                      <a:pt x="220" y="967"/>
                    </a:lnTo>
                    <a:lnTo>
                      <a:pt x="239" y="983"/>
                    </a:lnTo>
                    <a:lnTo>
                      <a:pt x="259" y="999"/>
                    </a:lnTo>
                    <a:lnTo>
                      <a:pt x="280" y="1014"/>
                    </a:lnTo>
                    <a:lnTo>
                      <a:pt x="301" y="1029"/>
                    </a:lnTo>
                    <a:lnTo>
                      <a:pt x="324" y="1041"/>
                    </a:lnTo>
                    <a:lnTo>
                      <a:pt x="346" y="1053"/>
                    </a:lnTo>
                    <a:lnTo>
                      <a:pt x="369" y="1063"/>
                    </a:lnTo>
                    <a:lnTo>
                      <a:pt x="394" y="1073"/>
                    </a:lnTo>
                    <a:lnTo>
                      <a:pt x="419" y="1082"/>
                    </a:lnTo>
                    <a:lnTo>
                      <a:pt x="443" y="1089"/>
                    </a:lnTo>
                    <a:lnTo>
                      <a:pt x="469" y="1094"/>
                    </a:lnTo>
                    <a:lnTo>
                      <a:pt x="496" y="1099"/>
                    </a:lnTo>
                    <a:lnTo>
                      <a:pt x="522" y="1102"/>
                    </a:lnTo>
                    <a:lnTo>
                      <a:pt x="549" y="1105"/>
                    </a:lnTo>
                    <a:lnTo>
                      <a:pt x="575" y="1105"/>
                    </a:lnTo>
                    <a:lnTo>
                      <a:pt x="604" y="1105"/>
                    </a:lnTo>
                    <a:lnTo>
                      <a:pt x="629" y="1102"/>
                    </a:lnTo>
                    <a:lnTo>
                      <a:pt x="656" y="1099"/>
                    </a:lnTo>
                    <a:lnTo>
                      <a:pt x="682" y="1094"/>
                    </a:lnTo>
                    <a:lnTo>
                      <a:pt x="708" y="1089"/>
                    </a:lnTo>
                    <a:lnTo>
                      <a:pt x="734" y="1082"/>
                    </a:lnTo>
                    <a:lnTo>
                      <a:pt x="758" y="1073"/>
                    </a:lnTo>
                    <a:lnTo>
                      <a:pt x="782" y="1063"/>
                    </a:lnTo>
                    <a:lnTo>
                      <a:pt x="805" y="1053"/>
                    </a:lnTo>
                    <a:lnTo>
                      <a:pt x="828" y="1041"/>
                    </a:lnTo>
                    <a:lnTo>
                      <a:pt x="850" y="1029"/>
                    </a:lnTo>
                    <a:lnTo>
                      <a:pt x="872" y="1014"/>
                    </a:lnTo>
                    <a:lnTo>
                      <a:pt x="893" y="999"/>
                    </a:lnTo>
                    <a:lnTo>
                      <a:pt x="913" y="983"/>
                    </a:lnTo>
                    <a:lnTo>
                      <a:pt x="932" y="967"/>
                    </a:lnTo>
                    <a:lnTo>
                      <a:pt x="951" y="950"/>
                    </a:lnTo>
                    <a:lnTo>
                      <a:pt x="968" y="931"/>
                    </a:lnTo>
                    <a:lnTo>
                      <a:pt x="985" y="912"/>
                    </a:lnTo>
                    <a:lnTo>
                      <a:pt x="1000" y="891"/>
                    </a:lnTo>
                    <a:lnTo>
                      <a:pt x="1015" y="872"/>
                    </a:lnTo>
                    <a:lnTo>
                      <a:pt x="1029" y="850"/>
                    </a:lnTo>
                    <a:lnTo>
                      <a:pt x="1042" y="828"/>
                    </a:lnTo>
                    <a:lnTo>
                      <a:pt x="1054" y="804"/>
                    </a:lnTo>
                    <a:lnTo>
                      <a:pt x="1064" y="781"/>
                    </a:lnTo>
                    <a:lnTo>
                      <a:pt x="1073" y="758"/>
                    </a:lnTo>
                    <a:lnTo>
                      <a:pt x="1082" y="733"/>
                    </a:lnTo>
                    <a:lnTo>
                      <a:pt x="1089" y="707"/>
                    </a:lnTo>
                    <a:lnTo>
                      <a:pt x="1096" y="682"/>
                    </a:lnTo>
                    <a:lnTo>
                      <a:pt x="1099" y="656"/>
                    </a:lnTo>
                    <a:lnTo>
                      <a:pt x="1103" y="629"/>
                    </a:lnTo>
                    <a:lnTo>
                      <a:pt x="1105" y="602"/>
                    </a:lnTo>
                    <a:lnTo>
                      <a:pt x="1105" y="575"/>
                    </a:lnTo>
                    <a:lnTo>
                      <a:pt x="1105" y="549"/>
                    </a:lnTo>
                    <a:lnTo>
                      <a:pt x="1103" y="525"/>
                    </a:lnTo>
                    <a:lnTo>
                      <a:pt x="1100" y="499"/>
                    </a:lnTo>
                    <a:lnTo>
                      <a:pt x="1096" y="474"/>
                    </a:lnTo>
                    <a:lnTo>
                      <a:pt x="1091" y="451"/>
                    </a:lnTo>
                    <a:lnTo>
                      <a:pt x="1084" y="426"/>
                    </a:lnTo>
                    <a:lnTo>
                      <a:pt x="1077" y="403"/>
                    </a:lnTo>
                    <a:lnTo>
                      <a:pt x="1069" y="380"/>
                    </a:lnTo>
                    <a:lnTo>
                      <a:pt x="1059" y="358"/>
                    </a:lnTo>
                    <a:lnTo>
                      <a:pt x="1048" y="336"/>
                    </a:lnTo>
                    <a:lnTo>
                      <a:pt x="1037" y="315"/>
                    </a:lnTo>
                    <a:lnTo>
                      <a:pt x="1024" y="294"/>
                    </a:lnTo>
                    <a:lnTo>
                      <a:pt x="1011" y="273"/>
                    </a:lnTo>
                    <a:lnTo>
                      <a:pt x="996" y="254"/>
                    </a:lnTo>
                    <a:lnTo>
                      <a:pt x="981" y="235"/>
                    </a:lnTo>
                    <a:lnTo>
                      <a:pt x="966" y="217"/>
                    </a:lnTo>
                    <a:lnTo>
                      <a:pt x="948" y="200"/>
                    </a:lnTo>
                    <a:lnTo>
                      <a:pt x="931" y="182"/>
                    </a:lnTo>
                    <a:lnTo>
                      <a:pt x="913" y="166"/>
                    </a:lnTo>
                    <a:lnTo>
                      <a:pt x="893" y="152"/>
                    </a:lnTo>
                    <a:lnTo>
                      <a:pt x="874" y="138"/>
                    </a:lnTo>
                    <a:lnTo>
                      <a:pt x="854" y="125"/>
                    </a:lnTo>
                    <a:lnTo>
                      <a:pt x="832" y="112"/>
                    </a:lnTo>
                    <a:lnTo>
                      <a:pt x="811" y="100"/>
                    </a:lnTo>
                    <a:lnTo>
                      <a:pt x="789" y="90"/>
                    </a:lnTo>
                    <a:lnTo>
                      <a:pt x="766" y="81"/>
                    </a:lnTo>
                    <a:lnTo>
                      <a:pt x="742" y="72"/>
                    </a:lnTo>
                    <a:lnTo>
                      <a:pt x="719" y="65"/>
                    </a:lnTo>
                    <a:lnTo>
                      <a:pt x="694" y="58"/>
                    </a:lnTo>
                    <a:lnTo>
                      <a:pt x="670" y="54"/>
                    </a:lnTo>
                    <a:lnTo>
                      <a:pt x="645" y="50"/>
                    </a:lnTo>
                    <a:lnTo>
                      <a:pt x="620" y="47"/>
                    </a:lnTo>
                    <a:lnTo>
                      <a:pt x="609" y="46"/>
                    </a:lnTo>
                    <a:lnTo>
                      <a:pt x="598" y="46"/>
                    </a:lnTo>
                    <a:lnTo>
                      <a:pt x="587" y="45"/>
                    </a:lnTo>
                    <a:lnTo>
                      <a:pt x="575" y="45"/>
                    </a:lnTo>
                    <a:lnTo>
                      <a:pt x="572" y="45"/>
                    </a:lnTo>
                    <a:lnTo>
                      <a:pt x="567" y="44"/>
                    </a:lnTo>
                    <a:lnTo>
                      <a:pt x="563" y="41"/>
                    </a:lnTo>
                    <a:lnTo>
                      <a:pt x="560" y="39"/>
                    </a:lnTo>
                    <a:lnTo>
                      <a:pt x="557" y="35"/>
                    </a:lnTo>
                    <a:lnTo>
                      <a:pt x="555" y="31"/>
                    </a:lnTo>
                    <a:lnTo>
                      <a:pt x="553" y="27"/>
                    </a:lnTo>
                    <a:lnTo>
                      <a:pt x="553" y="22"/>
                    </a:lnTo>
                    <a:lnTo>
                      <a:pt x="553" y="18"/>
                    </a:lnTo>
                    <a:lnTo>
                      <a:pt x="555" y="13"/>
                    </a:lnTo>
                    <a:lnTo>
                      <a:pt x="557" y="9"/>
                    </a:lnTo>
                    <a:lnTo>
                      <a:pt x="560" y="6"/>
                    </a:lnTo>
                    <a:lnTo>
                      <a:pt x="563" y="3"/>
                    </a:lnTo>
                    <a:lnTo>
                      <a:pt x="567" y="1"/>
                    </a:lnTo>
                    <a:lnTo>
                      <a:pt x="572" y="0"/>
                    </a:lnTo>
                    <a:lnTo>
                      <a:pt x="575" y="0"/>
                    </a:lnTo>
                    <a:lnTo>
                      <a:pt x="588" y="0"/>
                    </a:lnTo>
                    <a:lnTo>
                      <a:pt x="600" y="0"/>
                    </a:lnTo>
                    <a:lnTo>
                      <a:pt x="612" y="1"/>
                    </a:lnTo>
                    <a:lnTo>
                      <a:pt x="623" y="1"/>
                    </a:lnTo>
                    <a:lnTo>
                      <a:pt x="652" y="5"/>
                    </a:lnTo>
                    <a:lnTo>
                      <a:pt x="679" y="8"/>
                    </a:lnTo>
                    <a:lnTo>
                      <a:pt x="706" y="14"/>
                    </a:lnTo>
                    <a:lnTo>
                      <a:pt x="731" y="20"/>
                    </a:lnTo>
                    <a:lnTo>
                      <a:pt x="757" y="29"/>
                    </a:lnTo>
                    <a:lnTo>
                      <a:pt x="783" y="38"/>
                    </a:lnTo>
                    <a:lnTo>
                      <a:pt x="807" y="47"/>
                    </a:lnTo>
                    <a:lnTo>
                      <a:pt x="831" y="60"/>
                    </a:lnTo>
                    <a:lnTo>
                      <a:pt x="855" y="72"/>
                    </a:lnTo>
                    <a:lnTo>
                      <a:pt x="877" y="85"/>
                    </a:lnTo>
                    <a:lnTo>
                      <a:pt x="899" y="99"/>
                    </a:lnTo>
                    <a:lnTo>
                      <a:pt x="921" y="115"/>
                    </a:lnTo>
                    <a:lnTo>
                      <a:pt x="942" y="131"/>
                    </a:lnTo>
                    <a:lnTo>
                      <a:pt x="962" y="148"/>
                    </a:lnTo>
                    <a:lnTo>
                      <a:pt x="980" y="166"/>
                    </a:lnTo>
                    <a:lnTo>
                      <a:pt x="999" y="186"/>
                    </a:lnTo>
                    <a:lnTo>
                      <a:pt x="1016" y="206"/>
                    </a:lnTo>
                    <a:lnTo>
                      <a:pt x="1033" y="227"/>
                    </a:lnTo>
                    <a:lnTo>
                      <a:pt x="1048" y="247"/>
                    </a:lnTo>
                    <a:lnTo>
                      <a:pt x="1062" y="269"/>
                    </a:lnTo>
                    <a:lnTo>
                      <a:pt x="1076" y="292"/>
                    </a:lnTo>
                    <a:lnTo>
                      <a:pt x="1089" y="315"/>
                    </a:lnTo>
                    <a:lnTo>
                      <a:pt x="1100" y="339"/>
                    </a:lnTo>
                    <a:lnTo>
                      <a:pt x="1111" y="364"/>
                    </a:lnTo>
                    <a:lnTo>
                      <a:pt x="1120" y="388"/>
                    </a:lnTo>
                    <a:lnTo>
                      <a:pt x="1129" y="414"/>
                    </a:lnTo>
                    <a:lnTo>
                      <a:pt x="1136" y="440"/>
                    </a:lnTo>
                    <a:lnTo>
                      <a:pt x="1141" y="466"/>
                    </a:lnTo>
                    <a:lnTo>
                      <a:pt x="1146" y="493"/>
                    </a:lnTo>
                    <a:lnTo>
                      <a:pt x="1149" y="520"/>
                    </a:lnTo>
                    <a:lnTo>
                      <a:pt x="1151" y="548"/>
                    </a:lnTo>
                    <a:lnTo>
                      <a:pt x="1152" y="575"/>
                    </a:lnTo>
                    <a:lnTo>
                      <a:pt x="1151" y="604"/>
                    </a:lnTo>
                    <a:lnTo>
                      <a:pt x="1148" y="634"/>
                    </a:lnTo>
                    <a:lnTo>
                      <a:pt x="1145" y="663"/>
                    </a:lnTo>
                    <a:lnTo>
                      <a:pt x="1140" y="691"/>
                    </a:lnTo>
                    <a:lnTo>
                      <a:pt x="1134" y="718"/>
                    </a:lnTo>
                    <a:lnTo>
                      <a:pt x="1126" y="747"/>
                    </a:lnTo>
                    <a:lnTo>
                      <a:pt x="1116" y="772"/>
                    </a:lnTo>
                    <a:lnTo>
                      <a:pt x="1107" y="799"/>
                    </a:lnTo>
                    <a:lnTo>
                      <a:pt x="1094" y="825"/>
                    </a:lnTo>
                    <a:lnTo>
                      <a:pt x="1082" y="850"/>
                    </a:lnTo>
                    <a:lnTo>
                      <a:pt x="1069" y="873"/>
                    </a:lnTo>
                    <a:lnTo>
                      <a:pt x="1054" y="898"/>
                    </a:lnTo>
                    <a:lnTo>
                      <a:pt x="1037" y="920"/>
                    </a:lnTo>
                    <a:lnTo>
                      <a:pt x="1021" y="942"/>
                    </a:lnTo>
                    <a:lnTo>
                      <a:pt x="1002" y="963"/>
                    </a:lnTo>
                    <a:lnTo>
                      <a:pt x="983" y="982"/>
                    </a:lnTo>
                    <a:lnTo>
                      <a:pt x="963" y="1002"/>
                    </a:lnTo>
                    <a:lnTo>
                      <a:pt x="942" y="1019"/>
                    </a:lnTo>
                    <a:lnTo>
                      <a:pt x="920" y="1036"/>
                    </a:lnTo>
                    <a:lnTo>
                      <a:pt x="898" y="1052"/>
                    </a:lnTo>
                    <a:lnTo>
                      <a:pt x="875" y="1068"/>
                    </a:lnTo>
                    <a:lnTo>
                      <a:pt x="850" y="1082"/>
                    </a:lnTo>
                    <a:lnTo>
                      <a:pt x="826" y="1094"/>
                    </a:lnTo>
                    <a:lnTo>
                      <a:pt x="800" y="1106"/>
                    </a:lnTo>
                    <a:lnTo>
                      <a:pt x="774" y="1116"/>
                    </a:lnTo>
                    <a:lnTo>
                      <a:pt x="747" y="1126"/>
                    </a:lnTo>
                    <a:lnTo>
                      <a:pt x="720" y="1133"/>
                    </a:lnTo>
                    <a:lnTo>
                      <a:pt x="692" y="1139"/>
                    </a:lnTo>
                    <a:lnTo>
                      <a:pt x="664" y="1144"/>
                    </a:lnTo>
                    <a:lnTo>
                      <a:pt x="634" y="1148"/>
                    </a:lnTo>
                    <a:lnTo>
                      <a:pt x="605" y="1150"/>
                    </a:lnTo>
                    <a:lnTo>
                      <a:pt x="575" y="1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82"/>
              <p:cNvSpPr>
                <a:spLocks/>
              </p:cNvSpPr>
              <p:nvPr/>
            </p:nvSpPr>
            <p:spPr bwMode="auto">
              <a:xfrm>
                <a:off x="5084763" y="5194300"/>
                <a:ext cx="47625" cy="74613"/>
              </a:xfrm>
              <a:custGeom>
                <a:avLst/>
                <a:gdLst>
                  <a:gd name="T0" fmla="*/ 23 w 120"/>
                  <a:gd name="T1" fmla="*/ 191 h 191"/>
                  <a:gd name="T2" fmla="*/ 19 w 120"/>
                  <a:gd name="T3" fmla="*/ 191 h 191"/>
                  <a:gd name="T4" fmla="*/ 15 w 120"/>
                  <a:gd name="T5" fmla="*/ 190 h 191"/>
                  <a:gd name="T6" fmla="*/ 11 w 120"/>
                  <a:gd name="T7" fmla="*/ 188 h 191"/>
                  <a:gd name="T8" fmla="*/ 7 w 120"/>
                  <a:gd name="T9" fmla="*/ 185 h 191"/>
                  <a:gd name="T10" fmla="*/ 5 w 120"/>
                  <a:gd name="T11" fmla="*/ 182 h 191"/>
                  <a:gd name="T12" fmla="*/ 2 w 120"/>
                  <a:gd name="T13" fmla="*/ 178 h 191"/>
                  <a:gd name="T14" fmla="*/ 1 w 120"/>
                  <a:gd name="T15" fmla="*/ 173 h 191"/>
                  <a:gd name="T16" fmla="*/ 0 w 120"/>
                  <a:gd name="T17" fmla="*/ 168 h 191"/>
                  <a:gd name="T18" fmla="*/ 1 w 120"/>
                  <a:gd name="T19" fmla="*/ 164 h 191"/>
                  <a:gd name="T20" fmla="*/ 2 w 120"/>
                  <a:gd name="T21" fmla="*/ 160 h 191"/>
                  <a:gd name="T22" fmla="*/ 5 w 120"/>
                  <a:gd name="T23" fmla="*/ 156 h 191"/>
                  <a:gd name="T24" fmla="*/ 7 w 120"/>
                  <a:gd name="T25" fmla="*/ 152 h 191"/>
                  <a:gd name="T26" fmla="*/ 65 w 120"/>
                  <a:gd name="T27" fmla="*/ 96 h 191"/>
                  <a:gd name="T28" fmla="*/ 8 w 120"/>
                  <a:gd name="T29" fmla="*/ 39 h 191"/>
                  <a:gd name="T30" fmla="*/ 6 w 120"/>
                  <a:gd name="T31" fmla="*/ 36 h 191"/>
                  <a:gd name="T32" fmla="*/ 3 w 120"/>
                  <a:gd name="T33" fmla="*/ 32 h 191"/>
                  <a:gd name="T34" fmla="*/ 2 w 120"/>
                  <a:gd name="T35" fmla="*/ 28 h 191"/>
                  <a:gd name="T36" fmla="*/ 2 w 120"/>
                  <a:gd name="T37" fmla="*/ 23 h 191"/>
                  <a:gd name="T38" fmla="*/ 2 w 120"/>
                  <a:gd name="T39" fmla="*/ 18 h 191"/>
                  <a:gd name="T40" fmla="*/ 3 w 120"/>
                  <a:gd name="T41" fmla="*/ 15 h 191"/>
                  <a:gd name="T42" fmla="*/ 6 w 120"/>
                  <a:gd name="T43" fmla="*/ 11 h 191"/>
                  <a:gd name="T44" fmla="*/ 8 w 120"/>
                  <a:gd name="T45" fmla="*/ 7 h 191"/>
                  <a:gd name="T46" fmla="*/ 12 w 120"/>
                  <a:gd name="T47" fmla="*/ 4 h 191"/>
                  <a:gd name="T48" fmla="*/ 16 w 120"/>
                  <a:gd name="T49" fmla="*/ 2 h 191"/>
                  <a:gd name="T50" fmla="*/ 21 w 120"/>
                  <a:gd name="T51" fmla="*/ 1 h 191"/>
                  <a:gd name="T52" fmla="*/ 24 w 120"/>
                  <a:gd name="T53" fmla="*/ 0 h 191"/>
                  <a:gd name="T54" fmla="*/ 29 w 120"/>
                  <a:gd name="T55" fmla="*/ 1 h 191"/>
                  <a:gd name="T56" fmla="*/ 33 w 120"/>
                  <a:gd name="T57" fmla="*/ 2 h 191"/>
                  <a:gd name="T58" fmla="*/ 38 w 120"/>
                  <a:gd name="T59" fmla="*/ 4 h 191"/>
                  <a:gd name="T60" fmla="*/ 41 w 120"/>
                  <a:gd name="T61" fmla="*/ 7 h 191"/>
                  <a:gd name="T62" fmla="*/ 113 w 120"/>
                  <a:gd name="T63" fmla="*/ 79 h 191"/>
                  <a:gd name="T64" fmla="*/ 116 w 120"/>
                  <a:gd name="T65" fmla="*/ 82 h 191"/>
                  <a:gd name="T66" fmla="*/ 118 w 120"/>
                  <a:gd name="T67" fmla="*/ 87 h 191"/>
                  <a:gd name="T68" fmla="*/ 120 w 120"/>
                  <a:gd name="T69" fmla="*/ 91 h 191"/>
                  <a:gd name="T70" fmla="*/ 120 w 120"/>
                  <a:gd name="T71" fmla="*/ 96 h 191"/>
                  <a:gd name="T72" fmla="*/ 120 w 120"/>
                  <a:gd name="T73" fmla="*/ 99 h 191"/>
                  <a:gd name="T74" fmla="*/ 118 w 120"/>
                  <a:gd name="T75" fmla="*/ 104 h 191"/>
                  <a:gd name="T76" fmla="*/ 116 w 120"/>
                  <a:gd name="T77" fmla="*/ 108 h 191"/>
                  <a:gd name="T78" fmla="*/ 113 w 120"/>
                  <a:gd name="T79" fmla="*/ 112 h 191"/>
                  <a:gd name="T80" fmla="*/ 40 w 120"/>
                  <a:gd name="T81" fmla="*/ 185 h 191"/>
                  <a:gd name="T82" fmla="*/ 37 w 120"/>
                  <a:gd name="T83" fmla="*/ 188 h 191"/>
                  <a:gd name="T84" fmla="*/ 32 w 120"/>
                  <a:gd name="T85" fmla="*/ 190 h 191"/>
                  <a:gd name="T86" fmla="*/ 28 w 120"/>
                  <a:gd name="T87" fmla="*/ 191 h 191"/>
                  <a:gd name="T88" fmla="*/ 23 w 120"/>
                  <a:gd name="T8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91">
                    <a:moveTo>
                      <a:pt x="23" y="191"/>
                    </a:moveTo>
                    <a:lnTo>
                      <a:pt x="19" y="191"/>
                    </a:lnTo>
                    <a:lnTo>
                      <a:pt x="15" y="190"/>
                    </a:lnTo>
                    <a:lnTo>
                      <a:pt x="11" y="188"/>
                    </a:lnTo>
                    <a:lnTo>
                      <a:pt x="7" y="185"/>
                    </a:lnTo>
                    <a:lnTo>
                      <a:pt x="5" y="182"/>
                    </a:lnTo>
                    <a:lnTo>
                      <a:pt x="2" y="178"/>
                    </a:lnTo>
                    <a:lnTo>
                      <a:pt x="1" y="173"/>
                    </a:lnTo>
                    <a:lnTo>
                      <a:pt x="0" y="168"/>
                    </a:lnTo>
                    <a:lnTo>
                      <a:pt x="1" y="164"/>
                    </a:lnTo>
                    <a:lnTo>
                      <a:pt x="2" y="160"/>
                    </a:lnTo>
                    <a:lnTo>
                      <a:pt x="5" y="156"/>
                    </a:lnTo>
                    <a:lnTo>
                      <a:pt x="7" y="152"/>
                    </a:lnTo>
                    <a:lnTo>
                      <a:pt x="65" y="96"/>
                    </a:lnTo>
                    <a:lnTo>
                      <a:pt x="8" y="39"/>
                    </a:lnTo>
                    <a:lnTo>
                      <a:pt x="6" y="36"/>
                    </a:lnTo>
                    <a:lnTo>
                      <a:pt x="3" y="32"/>
                    </a:lnTo>
                    <a:lnTo>
                      <a:pt x="2" y="28"/>
                    </a:lnTo>
                    <a:lnTo>
                      <a:pt x="2" y="23"/>
                    </a:lnTo>
                    <a:lnTo>
                      <a:pt x="2" y="18"/>
                    </a:lnTo>
                    <a:lnTo>
                      <a:pt x="3" y="15"/>
                    </a:lnTo>
                    <a:lnTo>
                      <a:pt x="6" y="11"/>
                    </a:lnTo>
                    <a:lnTo>
                      <a:pt x="8" y="7"/>
                    </a:lnTo>
                    <a:lnTo>
                      <a:pt x="12" y="4"/>
                    </a:lnTo>
                    <a:lnTo>
                      <a:pt x="16" y="2"/>
                    </a:lnTo>
                    <a:lnTo>
                      <a:pt x="21" y="1"/>
                    </a:lnTo>
                    <a:lnTo>
                      <a:pt x="24" y="0"/>
                    </a:lnTo>
                    <a:lnTo>
                      <a:pt x="29" y="1"/>
                    </a:lnTo>
                    <a:lnTo>
                      <a:pt x="33" y="2"/>
                    </a:lnTo>
                    <a:lnTo>
                      <a:pt x="38" y="4"/>
                    </a:lnTo>
                    <a:lnTo>
                      <a:pt x="41" y="7"/>
                    </a:lnTo>
                    <a:lnTo>
                      <a:pt x="113" y="79"/>
                    </a:lnTo>
                    <a:lnTo>
                      <a:pt x="116" y="82"/>
                    </a:lnTo>
                    <a:lnTo>
                      <a:pt x="118" y="87"/>
                    </a:lnTo>
                    <a:lnTo>
                      <a:pt x="120" y="91"/>
                    </a:lnTo>
                    <a:lnTo>
                      <a:pt x="120" y="96"/>
                    </a:lnTo>
                    <a:lnTo>
                      <a:pt x="120" y="99"/>
                    </a:lnTo>
                    <a:lnTo>
                      <a:pt x="118" y="104"/>
                    </a:lnTo>
                    <a:lnTo>
                      <a:pt x="116" y="108"/>
                    </a:lnTo>
                    <a:lnTo>
                      <a:pt x="113" y="112"/>
                    </a:lnTo>
                    <a:lnTo>
                      <a:pt x="40" y="185"/>
                    </a:lnTo>
                    <a:lnTo>
                      <a:pt x="37" y="188"/>
                    </a:lnTo>
                    <a:lnTo>
                      <a:pt x="32" y="190"/>
                    </a:lnTo>
                    <a:lnTo>
                      <a:pt x="28" y="191"/>
                    </a:lnTo>
                    <a:lnTo>
                      <a:pt x="23"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1" name="Group 90"/>
            <p:cNvGrpSpPr/>
            <p:nvPr/>
          </p:nvGrpSpPr>
          <p:grpSpPr>
            <a:xfrm>
              <a:off x="2965728" y="3947766"/>
              <a:ext cx="511196" cy="367334"/>
              <a:chOff x="2223412" y="2552647"/>
              <a:chExt cx="664189" cy="477272"/>
            </a:xfrm>
            <a:solidFill>
              <a:srgbClr val="E74C3C"/>
            </a:solidFill>
          </p:grpSpPr>
          <p:sp>
            <p:nvSpPr>
              <p:cNvPr id="92" name="Freeform 48"/>
              <p:cNvSpPr>
                <a:spLocks noEditPoints="1"/>
              </p:cNvSpPr>
              <p:nvPr/>
            </p:nvSpPr>
            <p:spPr bwMode="auto">
              <a:xfrm>
                <a:off x="2223412" y="2832507"/>
                <a:ext cx="664188" cy="197412"/>
              </a:xfrm>
              <a:custGeom>
                <a:avLst/>
                <a:gdLst>
                  <a:gd name="T0" fmla="*/ 40 w 1079"/>
                  <a:gd name="T1" fmla="*/ 279 h 319"/>
                  <a:gd name="T2" fmla="*/ 1040 w 1079"/>
                  <a:gd name="T3" fmla="*/ 279 h 319"/>
                  <a:gd name="T4" fmla="*/ 1040 w 1079"/>
                  <a:gd name="T5" fmla="*/ 40 h 319"/>
                  <a:gd name="T6" fmla="*/ 40 w 1079"/>
                  <a:gd name="T7" fmla="*/ 40 h 319"/>
                  <a:gd name="T8" fmla="*/ 40 w 1079"/>
                  <a:gd name="T9" fmla="*/ 279 h 319"/>
                  <a:gd name="T10" fmla="*/ 1059 w 1079"/>
                  <a:gd name="T11" fmla="*/ 319 h 319"/>
                  <a:gd name="T12" fmla="*/ 20 w 1079"/>
                  <a:gd name="T13" fmla="*/ 319 h 319"/>
                  <a:gd name="T14" fmla="*/ 15 w 1079"/>
                  <a:gd name="T15" fmla="*/ 319 h 319"/>
                  <a:gd name="T16" fmla="*/ 11 w 1079"/>
                  <a:gd name="T17" fmla="*/ 318 h 319"/>
                  <a:gd name="T18" fmla="*/ 9 w 1079"/>
                  <a:gd name="T19" fmla="*/ 317 h 319"/>
                  <a:gd name="T20" fmla="*/ 5 w 1079"/>
                  <a:gd name="T21" fmla="*/ 314 h 319"/>
                  <a:gd name="T22" fmla="*/ 3 w 1079"/>
                  <a:gd name="T23" fmla="*/ 311 h 319"/>
                  <a:gd name="T24" fmla="*/ 1 w 1079"/>
                  <a:gd name="T25" fmla="*/ 308 h 319"/>
                  <a:gd name="T26" fmla="*/ 0 w 1079"/>
                  <a:gd name="T27" fmla="*/ 304 h 319"/>
                  <a:gd name="T28" fmla="*/ 0 w 1079"/>
                  <a:gd name="T29" fmla="*/ 299 h 319"/>
                  <a:gd name="T30" fmla="*/ 0 w 1079"/>
                  <a:gd name="T31" fmla="*/ 20 h 319"/>
                  <a:gd name="T32" fmla="*/ 0 w 1079"/>
                  <a:gd name="T33" fmla="*/ 16 h 319"/>
                  <a:gd name="T34" fmla="*/ 1 w 1079"/>
                  <a:gd name="T35" fmla="*/ 12 h 319"/>
                  <a:gd name="T36" fmla="*/ 3 w 1079"/>
                  <a:gd name="T37" fmla="*/ 9 h 319"/>
                  <a:gd name="T38" fmla="*/ 5 w 1079"/>
                  <a:gd name="T39" fmla="*/ 6 h 319"/>
                  <a:gd name="T40" fmla="*/ 9 w 1079"/>
                  <a:gd name="T41" fmla="*/ 4 h 319"/>
                  <a:gd name="T42" fmla="*/ 11 w 1079"/>
                  <a:gd name="T43" fmla="*/ 1 h 319"/>
                  <a:gd name="T44" fmla="*/ 15 w 1079"/>
                  <a:gd name="T45" fmla="*/ 0 h 319"/>
                  <a:gd name="T46" fmla="*/ 20 w 1079"/>
                  <a:gd name="T47" fmla="*/ 0 h 319"/>
                  <a:gd name="T48" fmla="*/ 1059 w 1079"/>
                  <a:gd name="T49" fmla="*/ 0 h 319"/>
                  <a:gd name="T50" fmla="*/ 1063 w 1079"/>
                  <a:gd name="T51" fmla="*/ 0 h 319"/>
                  <a:gd name="T52" fmla="*/ 1067 w 1079"/>
                  <a:gd name="T53" fmla="*/ 1 h 319"/>
                  <a:gd name="T54" fmla="*/ 1071 w 1079"/>
                  <a:gd name="T55" fmla="*/ 4 h 319"/>
                  <a:gd name="T56" fmla="*/ 1073 w 1079"/>
                  <a:gd name="T57" fmla="*/ 6 h 319"/>
                  <a:gd name="T58" fmla="*/ 1076 w 1079"/>
                  <a:gd name="T59" fmla="*/ 9 h 319"/>
                  <a:gd name="T60" fmla="*/ 1078 w 1079"/>
                  <a:gd name="T61" fmla="*/ 12 h 319"/>
                  <a:gd name="T62" fmla="*/ 1078 w 1079"/>
                  <a:gd name="T63" fmla="*/ 16 h 319"/>
                  <a:gd name="T64" fmla="*/ 1079 w 1079"/>
                  <a:gd name="T65" fmla="*/ 20 h 319"/>
                  <a:gd name="T66" fmla="*/ 1079 w 1079"/>
                  <a:gd name="T67" fmla="*/ 299 h 319"/>
                  <a:gd name="T68" fmla="*/ 1078 w 1079"/>
                  <a:gd name="T69" fmla="*/ 304 h 319"/>
                  <a:gd name="T70" fmla="*/ 1078 w 1079"/>
                  <a:gd name="T71" fmla="*/ 308 h 319"/>
                  <a:gd name="T72" fmla="*/ 1076 w 1079"/>
                  <a:gd name="T73" fmla="*/ 311 h 319"/>
                  <a:gd name="T74" fmla="*/ 1073 w 1079"/>
                  <a:gd name="T75" fmla="*/ 314 h 319"/>
                  <a:gd name="T76" fmla="*/ 1071 w 1079"/>
                  <a:gd name="T77" fmla="*/ 317 h 319"/>
                  <a:gd name="T78" fmla="*/ 1067 w 1079"/>
                  <a:gd name="T79" fmla="*/ 318 h 319"/>
                  <a:gd name="T80" fmla="*/ 1063 w 1079"/>
                  <a:gd name="T81" fmla="*/ 319 h 319"/>
                  <a:gd name="T82" fmla="*/ 1059 w 1079"/>
                  <a:gd name="T83"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9" h="319">
                    <a:moveTo>
                      <a:pt x="40" y="279"/>
                    </a:moveTo>
                    <a:lnTo>
                      <a:pt x="1040" y="279"/>
                    </a:lnTo>
                    <a:lnTo>
                      <a:pt x="1040" y="40"/>
                    </a:lnTo>
                    <a:lnTo>
                      <a:pt x="40" y="40"/>
                    </a:lnTo>
                    <a:lnTo>
                      <a:pt x="40" y="279"/>
                    </a:lnTo>
                    <a:close/>
                    <a:moveTo>
                      <a:pt x="1059" y="319"/>
                    </a:moveTo>
                    <a:lnTo>
                      <a:pt x="20" y="319"/>
                    </a:lnTo>
                    <a:lnTo>
                      <a:pt x="15" y="319"/>
                    </a:lnTo>
                    <a:lnTo>
                      <a:pt x="11" y="318"/>
                    </a:lnTo>
                    <a:lnTo>
                      <a:pt x="9" y="317"/>
                    </a:lnTo>
                    <a:lnTo>
                      <a:pt x="5" y="314"/>
                    </a:lnTo>
                    <a:lnTo>
                      <a:pt x="3" y="311"/>
                    </a:lnTo>
                    <a:lnTo>
                      <a:pt x="1" y="308"/>
                    </a:lnTo>
                    <a:lnTo>
                      <a:pt x="0" y="304"/>
                    </a:lnTo>
                    <a:lnTo>
                      <a:pt x="0" y="299"/>
                    </a:lnTo>
                    <a:lnTo>
                      <a:pt x="0" y="20"/>
                    </a:lnTo>
                    <a:lnTo>
                      <a:pt x="0" y="16"/>
                    </a:lnTo>
                    <a:lnTo>
                      <a:pt x="1" y="12"/>
                    </a:lnTo>
                    <a:lnTo>
                      <a:pt x="3" y="9"/>
                    </a:lnTo>
                    <a:lnTo>
                      <a:pt x="5" y="6"/>
                    </a:lnTo>
                    <a:lnTo>
                      <a:pt x="9" y="4"/>
                    </a:lnTo>
                    <a:lnTo>
                      <a:pt x="11" y="1"/>
                    </a:lnTo>
                    <a:lnTo>
                      <a:pt x="15" y="0"/>
                    </a:lnTo>
                    <a:lnTo>
                      <a:pt x="20" y="0"/>
                    </a:lnTo>
                    <a:lnTo>
                      <a:pt x="1059" y="0"/>
                    </a:lnTo>
                    <a:lnTo>
                      <a:pt x="1063" y="0"/>
                    </a:lnTo>
                    <a:lnTo>
                      <a:pt x="1067" y="1"/>
                    </a:lnTo>
                    <a:lnTo>
                      <a:pt x="1071" y="4"/>
                    </a:lnTo>
                    <a:lnTo>
                      <a:pt x="1073" y="6"/>
                    </a:lnTo>
                    <a:lnTo>
                      <a:pt x="1076" y="9"/>
                    </a:lnTo>
                    <a:lnTo>
                      <a:pt x="1078" y="12"/>
                    </a:lnTo>
                    <a:lnTo>
                      <a:pt x="1078" y="16"/>
                    </a:lnTo>
                    <a:lnTo>
                      <a:pt x="1079" y="20"/>
                    </a:lnTo>
                    <a:lnTo>
                      <a:pt x="1079" y="299"/>
                    </a:lnTo>
                    <a:lnTo>
                      <a:pt x="1078" y="304"/>
                    </a:lnTo>
                    <a:lnTo>
                      <a:pt x="1078" y="308"/>
                    </a:lnTo>
                    <a:lnTo>
                      <a:pt x="1076" y="311"/>
                    </a:lnTo>
                    <a:lnTo>
                      <a:pt x="1073" y="314"/>
                    </a:lnTo>
                    <a:lnTo>
                      <a:pt x="1071" y="317"/>
                    </a:lnTo>
                    <a:lnTo>
                      <a:pt x="1067" y="318"/>
                    </a:lnTo>
                    <a:lnTo>
                      <a:pt x="1063" y="319"/>
                    </a:lnTo>
                    <a:lnTo>
                      <a:pt x="105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9"/>
              <p:cNvSpPr>
                <a:spLocks/>
              </p:cNvSpPr>
              <p:nvPr/>
            </p:nvSpPr>
            <p:spPr bwMode="auto">
              <a:xfrm>
                <a:off x="2592406" y="2684909"/>
                <a:ext cx="295195" cy="173427"/>
              </a:xfrm>
              <a:custGeom>
                <a:avLst/>
                <a:gdLst>
                  <a:gd name="T0" fmla="*/ 460 w 480"/>
                  <a:gd name="T1" fmla="*/ 280 h 280"/>
                  <a:gd name="T2" fmla="*/ 456 w 480"/>
                  <a:gd name="T3" fmla="*/ 280 h 280"/>
                  <a:gd name="T4" fmla="*/ 452 w 480"/>
                  <a:gd name="T5" fmla="*/ 278 h 280"/>
                  <a:gd name="T6" fmla="*/ 448 w 480"/>
                  <a:gd name="T7" fmla="*/ 276 h 280"/>
                  <a:gd name="T8" fmla="*/ 444 w 480"/>
                  <a:gd name="T9" fmla="*/ 272 h 280"/>
                  <a:gd name="T10" fmla="*/ 251 w 480"/>
                  <a:gd name="T11" fmla="*/ 40 h 280"/>
                  <a:gd name="T12" fmla="*/ 21 w 480"/>
                  <a:gd name="T13" fmla="*/ 40 h 280"/>
                  <a:gd name="T14" fmla="*/ 16 w 480"/>
                  <a:gd name="T15" fmla="*/ 40 h 280"/>
                  <a:gd name="T16" fmla="*/ 12 w 480"/>
                  <a:gd name="T17" fmla="*/ 39 h 280"/>
                  <a:gd name="T18" fmla="*/ 10 w 480"/>
                  <a:gd name="T19" fmla="*/ 36 h 280"/>
                  <a:gd name="T20" fmla="*/ 6 w 480"/>
                  <a:gd name="T21" fmla="*/ 34 h 280"/>
                  <a:gd name="T22" fmla="*/ 3 w 480"/>
                  <a:gd name="T23" fmla="*/ 31 h 280"/>
                  <a:gd name="T24" fmla="*/ 2 w 480"/>
                  <a:gd name="T25" fmla="*/ 27 h 280"/>
                  <a:gd name="T26" fmla="*/ 1 w 480"/>
                  <a:gd name="T27" fmla="*/ 24 h 280"/>
                  <a:gd name="T28" fmla="*/ 0 w 480"/>
                  <a:gd name="T29" fmla="*/ 20 h 280"/>
                  <a:gd name="T30" fmla="*/ 1 w 480"/>
                  <a:gd name="T31" fmla="*/ 16 h 280"/>
                  <a:gd name="T32" fmla="*/ 2 w 480"/>
                  <a:gd name="T33" fmla="*/ 13 h 280"/>
                  <a:gd name="T34" fmla="*/ 3 w 480"/>
                  <a:gd name="T35" fmla="*/ 9 h 280"/>
                  <a:gd name="T36" fmla="*/ 6 w 480"/>
                  <a:gd name="T37" fmla="*/ 5 h 280"/>
                  <a:gd name="T38" fmla="*/ 10 w 480"/>
                  <a:gd name="T39" fmla="*/ 3 h 280"/>
                  <a:gd name="T40" fmla="*/ 12 w 480"/>
                  <a:gd name="T41" fmla="*/ 1 h 280"/>
                  <a:gd name="T42" fmla="*/ 16 w 480"/>
                  <a:gd name="T43" fmla="*/ 0 h 280"/>
                  <a:gd name="T44" fmla="*/ 21 w 480"/>
                  <a:gd name="T45" fmla="*/ 0 h 280"/>
                  <a:gd name="T46" fmla="*/ 261 w 480"/>
                  <a:gd name="T47" fmla="*/ 0 h 280"/>
                  <a:gd name="T48" fmla="*/ 264 w 480"/>
                  <a:gd name="T49" fmla="*/ 0 h 280"/>
                  <a:gd name="T50" fmla="*/ 269 w 480"/>
                  <a:gd name="T51" fmla="*/ 1 h 280"/>
                  <a:gd name="T52" fmla="*/ 273 w 480"/>
                  <a:gd name="T53" fmla="*/ 4 h 280"/>
                  <a:gd name="T54" fmla="*/ 275 w 480"/>
                  <a:gd name="T55" fmla="*/ 6 h 280"/>
                  <a:gd name="T56" fmla="*/ 475 w 480"/>
                  <a:gd name="T57" fmla="*/ 247 h 280"/>
                  <a:gd name="T58" fmla="*/ 478 w 480"/>
                  <a:gd name="T59" fmla="*/ 250 h 280"/>
                  <a:gd name="T60" fmla="*/ 479 w 480"/>
                  <a:gd name="T61" fmla="*/ 254 h 280"/>
                  <a:gd name="T62" fmla="*/ 480 w 480"/>
                  <a:gd name="T63" fmla="*/ 257 h 280"/>
                  <a:gd name="T64" fmla="*/ 480 w 480"/>
                  <a:gd name="T65" fmla="*/ 261 h 280"/>
                  <a:gd name="T66" fmla="*/ 479 w 480"/>
                  <a:gd name="T67" fmla="*/ 265 h 280"/>
                  <a:gd name="T68" fmla="*/ 478 w 480"/>
                  <a:gd name="T69" fmla="*/ 269 h 280"/>
                  <a:gd name="T70" fmla="*/ 475 w 480"/>
                  <a:gd name="T71" fmla="*/ 272 h 280"/>
                  <a:gd name="T72" fmla="*/ 473 w 480"/>
                  <a:gd name="T73" fmla="*/ 275 h 280"/>
                  <a:gd name="T74" fmla="*/ 467 w 480"/>
                  <a:gd name="T75" fmla="*/ 278 h 280"/>
                  <a:gd name="T76" fmla="*/ 460 w 480"/>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0" h="280">
                    <a:moveTo>
                      <a:pt x="460" y="280"/>
                    </a:moveTo>
                    <a:lnTo>
                      <a:pt x="456" y="280"/>
                    </a:lnTo>
                    <a:lnTo>
                      <a:pt x="452" y="278"/>
                    </a:lnTo>
                    <a:lnTo>
                      <a:pt x="448" y="276"/>
                    </a:lnTo>
                    <a:lnTo>
                      <a:pt x="444" y="272"/>
                    </a:lnTo>
                    <a:lnTo>
                      <a:pt x="251" y="40"/>
                    </a:lnTo>
                    <a:lnTo>
                      <a:pt x="21" y="40"/>
                    </a:lnTo>
                    <a:lnTo>
                      <a:pt x="16" y="40"/>
                    </a:lnTo>
                    <a:lnTo>
                      <a:pt x="12" y="39"/>
                    </a:lnTo>
                    <a:lnTo>
                      <a:pt x="10" y="36"/>
                    </a:lnTo>
                    <a:lnTo>
                      <a:pt x="6" y="34"/>
                    </a:lnTo>
                    <a:lnTo>
                      <a:pt x="3" y="31"/>
                    </a:lnTo>
                    <a:lnTo>
                      <a:pt x="2" y="27"/>
                    </a:lnTo>
                    <a:lnTo>
                      <a:pt x="1" y="24"/>
                    </a:lnTo>
                    <a:lnTo>
                      <a:pt x="0" y="20"/>
                    </a:lnTo>
                    <a:lnTo>
                      <a:pt x="1" y="16"/>
                    </a:lnTo>
                    <a:lnTo>
                      <a:pt x="2" y="13"/>
                    </a:lnTo>
                    <a:lnTo>
                      <a:pt x="3" y="9"/>
                    </a:lnTo>
                    <a:lnTo>
                      <a:pt x="6" y="5"/>
                    </a:lnTo>
                    <a:lnTo>
                      <a:pt x="10" y="3"/>
                    </a:lnTo>
                    <a:lnTo>
                      <a:pt x="12" y="1"/>
                    </a:lnTo>
                    <a:lnTo>
                      <a:pt x="16" y="0"/>
                    </a:lnTo>
                    <a:lnTo>
                      <a:pt x="21" y="0"/>
                    </a:lnTo>
                    <a:lnTo>
                      <a:pt x="261" y="0"/>
                    </a:lnTo>
                    <a:lnTo>
                      <a:pt x="264" y="0"/>
                    </a:lnTo>
                    <a:lnTo>
                      <a:pt x="269" y="1"/>
                    </a:lnTo>
                    <a:lnTo>
                      <a:pt x="273" y="4"/>
                    </a:lnTo>
                    <a:lnTo>
                      <a:pt x="275" y="6"/>
                    </a:lnTo>
                    <a:lnTo>
                      <a:pt x="475" y="247"/>
                    </a:lnTo>
                    <a:lnTo>
                      <a:pt x="478" y="250"/>
                    </a:lnTo>
                    <a:lnTo>
                      <a:pt x="479" y="254"/>
                    </a:lnTo>
                    <a:lnTo>
                      <a:pt x="480" y="257"/>
                    </a:lnTo>
                    <a:lnTo>
                      <a:pt x="480" y="261"/>
                    </a:lnTo>
                    <a:lnTo>
                      <a:pt x="479" y="265"/>
                    </a:lnTo>
                    <a:lnTo>
                      <a:pt x="478" y="269"/>
                    </a:lnTo>
                    <a:lnTo>
                      <a:pt x="475" y="272"/>
                    </a:lnTo>
                    <a:lnTo>
                      <a:pt x="473" y="275"/>
                    </a:lnTo>
                    <a:lnTo>
                      <a:pt x="467" y="278"/>
                    </a:lnTo>
                    <a:lnTo>
                      <a:pt x="46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0"/>
              <p:cNvSpPr>
                <a:spLocks/>
              </p:cNvSpPr>
              <p:nvPr/>
            </p:nvSpPr>
            <p:spPr bwMode="auto">
              <a:xfrm>
                <a:off x="2223412" y="2684909"/>
                <a:ext cx="295195" cy="173427"/>
              </a:xfrm>
              <a:custGeom>
                <a:avLst/>
                <a:gdLst>
                  <a:gd name="T0" fmla="*/ 20 w 479"/>
                  <a:gd name="T1" fmla="*/ 280 h 280"/>
                  <a:gd name="T2" fmla="*/ 12 w 479"/>
                  <a:gd name="T3" fmla="*/ 278 h 280"/>
                  <a:gd name="T4" fmla="*/ 6 w 479"/>
                  <a:gd name="T5" fmla="*/ 275 h 280"/>
                  <a:gd name="T6" fmla="*/ 4 w 479"/>
                  <a:gd name="T7" fmla="*/ 272 h 280"/>
                  <a:gd name="T8" fmla="*/ 1 w 479"/>
                  <a:gd name="T9" fmla="*/ 269 h 280"/>
                  <a:gd name="T10" fmla="*/ 0 w 479"/>
                  <a:gd name="T11" fmla="*/ 265 h 280"/>
                  <a:gd name="T12" fmla="*/ 0 w 479"/>
                  <a:gd name="T13" fmla="*/ 261 h 280"/>
                  <a:gd name="T14" fmla="*/ 0 w 479"/>
                  <a:gd name="T15" fmla="*/ 257 h 280"/>
                  <a:gd name="T16" fmla="*/ 0 w 479"/>
                  <a:gd name="T17" fmla="*/ 254 h 280"/>
                  <a:gd name="T18" fmla="*/ 1 w 479"/>
                  <a:gd name="T19" fmla="*/ 250 h 280"/>
                  <a:gd name="T20" fmla="*/ 4 w 479"/>
                  <a:gd name="T21" fmla="*/ 247 h 280"/>
                  <a:gd name="T22" fmla="*/ 204 w 479"/>
                  <a:gd name="T23" fmla="*/ 6 h 280"/>
                  <a:gd name="T24" fmla="*/ 207 w 479"/>
                  <a:gd name="T25" fmla="*/ 4 h 280"/>
                  <a:gd name="T26" fmla="*/ 211 w 479"/>
                  <a:gd name="T27" fmla="*/ 1 h 280"/>
                  <a:gd name="T28" fmla="*/ 215 w 479"/>
                  <a:gd name="T29" fmla="*/ 0 h 280"/>
                  <a:gd name="T30" fmla="*/ 220 w 479"/>
                  <a:gd name="T31" fmla="*/ 0 h 280"/>
                  <a:gd name="T32" fmla="*/ 460 w 479"/>
                  <a:gd name="T33" fmla="*/ 0 h 280"/>
                  <a:gd name="T34" fmla="*/ 463 w 479"/>
                  <a:gd name="T35" fmla="*/ 0 h 280"/>
                  <a:gd name="T36" fmla="*/ 467 w 479"/>
                  <a:gd name="T37" fmla="*/ 1 h 280"/>
                  <a:gd name="T38" fmla="*/ 471 w 479"/>
                  <a:gd name="T39" fmla="*/ 3 h 280"/>
                  <a:gd name="T40" fmla="*/ 473 w 479"/>
                  <a:gd name="T41" fmla="*/ 5 h 280"/>
                  <a:gd name="T42" fmla="*/ 476 w 479"/>
                  <a:gd name="T43" fmla="*/ 9 h 280"/>
                  <a:gd name="T44" fmla="*/ 478 w 479"/>
                  <a:gd name="T45" fmla="*/ 13 h 280"/>
                  <a:gd name="T46" fmla="*/ 479 w 479"/>
                  <a:gd name="T47" fmla="*/ 16 h 280"/>
                  <a:gd name="T48" fmla="*/ 479 w 479"/>
                  <a:gd name="T49" fmla="*/ 20 h 280"/>
                  <a:gd name="T50" fmla="*/ 479 w 479"/>
                  <a:gd name="T51" fmla="*/ 24 h 280"/>
                  <a:gd name="T52" fmla="*/ 478 w 479"/>
                  <a:gd name="T53" fmla="*/ 27 h 280"/>
                  <a:gd name="T54" fmla="*/ 476 w 479"/>
                  <a:gd name="T55" fmla="*/ 31 h 280"/>
                  <a:gd name="T56" fmla="*/ 473 w 479"/>
                  <a:gd name="T57" fmla="*/ 34 h 280"/>
                  <a:gd name="T58" fmla="*/ 471 w 479"/>
                  <a:gd name="T59" fmla="*/ 36 h 280"/>
                  <a:gd name="T60" fmla="*/ 467 w 479"/>
                  <a:gd name="T61" fmla="*/ 39 h 280"/>
                  <a:gd name="T62" fmla="*/ 463 w 479"/>
                  <a:gd name="T63" fmla="*/ 40 h 280"/>
                  <a:gd name="T64" fmla="*/ 460 w 479"/>
                  <a:gd name="T65" fmla="*/ 40 h 280"/>
                  <a:gd name="T66" fmla="*/ 229 w 479"/>
                  <a:gd name="T67" fmla="*/ 40 h 280"/>
                  <a:gd name="T68" fmla="*/ 35 w 479"/>
                  <a:gd name="T69" fmla="*/ 272 h 280"/>
                  <a:gd name="T70" fmla="*/ 31 w 479"/>
                  <a:gd name="T71" fmla="*/ 276 h 280"/>
                  <a:gd name="T72" fmla="*/ 27 w 479"/>
                  <a:gd name="T73" fmla="*/ 278 h 280"/>
                  <a:gd name="T74" fmla="*/ 24 w 479"/>
                  <a:gd name="T75" fmla="*/ 280 h 280"/>
                  <a:gd name="T76" fmla="*/ 20 w 479"/>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9" h="280">
                    <a:moveTo>
                      <a:pt x="20" y="280"/>
                    </a:moveTo>
                    <a:lnTo>
                      <a:pt x="12" y="278"/>
                    </a:lnTo>
                    <a:lnTo>
                      <a:pt x="6" y="275"/>
                    </a:lnTo>
                    <a:lnTo>
                      <a:pt x="4" y="272"/>
                    </a:lnTo>
                    <a:lnTo>
                      <a:pt x="1" y="269"/>
                    </a:lnTo>
                    <a:lnTo>
                      <a:pt x="0" y="265"/>
                    </a:lnTo>
                    <a:lnTo>
                      <a:pt x="0" y="261"/>
                    </a:lnTo>
                    <a:lnTo>
                      <a:pt x="0" y="257"/>
                    </a:lnTo>
                    <a:lnTo>
                      <a:pt x="0" y="254"/>
                    </a:lnTo>
                    <a:lnTo>
                      <a:pt x="1" y="250"/>
                    </a:lnTo>
                    <a:lnTo>
                      <a:pt x="4" y="247"/>
                    </a:lnTo>
                    <a:lnTo>
                      <a:pt x="204" y="6"/>
                    </a:lnTo>
                    <a:lnTo>
                      <a:pt x="207" y="4"/>
                    </a:lnTo>
                    <a:lnTo>
                      <a:pt x="211" y="1"/>
                    </a:lnTo>
                    <a:lnTo>
                      <a:pt x="215" y="0"/>
                    </a:lnTo>
                    <a:lnTo>
                      <a:pt x="220" y="0"/>
                    </a:lnTo>
                    <a:lnTo>
                      <a:pt x="460" y="0"/>
                    </a:lnTo>
                    <a:lnTo>
                      <a:pt x="463" y="0"/>
                    </a:lnTo>
                    <a:lnTo>
                      <a:pt x="467" y="1"/>
                    </a:lnTo>
                    <a:lnTo>
                      <a:pt x="471" y="3"/>
                    </a:lnTo>
                    <a:lnTo>
                      <a:pt x="473" y="5"/>
                    </a:lnTo>
                    <a:lnTo>
                      <a:pt x="476" y="9"/>
                    </a:lnTo>
                    <a:lnTo>
                      <a:pt x="478" y="13"/>
                    </a:lnTo>
                    <a:lnTo>
                      <a:pt x="479" y="16"/>
                    </a:lnTo>
                    <a:lnTo>
                      <a:pt x="479" y="20"/>
                    </a:lnTo>
                    <a:lnTo>
                      <a:pt x="479" y="24"/>
                    </a:lnTo>
                    <a:lnTo>
                      <a:pt x="478" y="27"/>
                    </a:lnTo>
                    <a:lnTo>
                      <a:pt x="476" y="31"/>
                    </a:lnTo>
                    <a:lnTo>
                      <a:pt x="473" y="34"/>
                    </a:lnTo>
                    <a:lnTo>
                      <a:pt x="471" y="36"/>
                    </a:lnTo>
                    <a:lnTo>
                      <a:pt x="467" y="39"/>
                    </a:lnTo>
                    <a:lnTo>
                      <a:pt x="463" y="40"/>
                    </a:lnTo>
                    <a:lnTo>
                      <a:pt x="460" y="40"/>
                    </a:lnTo>
                    <a:lnTo>
                      <a:pt x="229" y="40"/>
                    </a:lnTo>
                    <a:lnTo>
                      <a:pt x="35" y="272"/>
                    </a:lnTo>
                    <a:lnTo>
                      <a:pt x="31" y="276"/>
                    </a:lnTo>
                    <a:lnTo>
                      <a:pt x="27" y="278"/>
                    </a:lnTo>
                    <a:lnTo>
                      <a:pt x="24" y="280"/>
                    </a:lnTo>
                    <a:lnTo>
                      <a:pt x="2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1"/>
              <p:cNvSpPr>
                <a:spLocks/>
              </p:cNvSpPr>
              <p:nvPr/>
            </p:nvSpPr>
            <p:spPr bwMode="auto">
              <a:xfrm>
                <a:off x="2544437" y="2552647"/>
                <a:ext cx="25830" cy="293350"/>
              </a:xfrm>
              <a:custGeom>
                <a:avLst/>
                <a:gdLst>
                  <a:gd name="T0" fmla="*/ 20 w 41"/>
                  <a:gd name="T1" fmla="*/ 478 h 478"/>
                  <a:gd name="T2" fmla="*/ 16 w 41"/>
                  <a:gd name="T3" fmla="*/ 478 h 478"/>
                  <a:gd name="T4" fmla="*/ 12 w 41"/>
                  <a:gd name="T5" fmla="*/ 477 h 478"/>
                  <a:gd name="T6" fmla="*/ 8 w 41"/>
                  <a:gd name="T7" fmla="*/ 475 h 478"/>
                  <a:gd name="T8" fmla="*/ 6 w 41"/>
                  <a:gd name="T9" fmla="*/ 472 h 478"/>
                  <a:gd name="T10" fmla="*/ 3 w 41"/>
                  <a:gd name="T11" fmla="*/ 470 h 478"/>
                  <a:gd name="T12" fmla="*/ 2 w 41"/>
                  <a:gd name="T13" fmla="*/ 466 h 478"/>
                  <a:gd name="T14" fmla="*/ 1 w 41"/>
                  <a:gd name="T15" fmla="*/ 462 h 478"/>
                  <a:gd name="T16" fmla="*/ 0 w 41"/>
                  <a:gd name="T17" fmla="*/ 459 h 478"/>
                  <a:gd name="T18" fmla="*/ 0 w 41"/>
                  <a:gd name="T19" fmla="*/ 20 h 478"/>
                  <a:gd name="T20" fmla="*/ 1 w 41"/>
                  <a:gd name="T21" fmla="*/ 16 h 478"/>
                  <a:gd name="T22" fmla="*/ 2 w 41"/>
                  <a:gd name="T23" fmla="*/ 13 h 478"/>
                  <a:gd name="T24" fmla="*/ 3 w 41"/>
                  <a:gd name="T25" fmla="*/ 9 h 478"/>
                  <a:gd name="T26" fmla="*/ 6 w 41"/>
                  <a:gd name="T27" fmla="*/ 5 h 478"/>
                  <a:gd name="T28" fmla="*/ 8 w 41"/>
                  <a:gd name="T29" fmla="*/ 3 h 478"/>
                  <a:gd name="T30" fmla="*/ 12 w 41"/>
                  <a:gd name="T31" fmla="*/ 1 h 478"/>
                  <a:gd name="T32" fmla="*/ 16 w 41"/>
                  <a:gd name="T33" fmla="*/ 0 h 478"/>
                  <a:gd name="T34" fmla="*/ 20 w 41"/>
                  <a:gd name="T35" fmla="*/ 0 h 478"/>
                  <a:gd name="T36" fmla="*/ 25 w 41"/>
                  <a:gd name="T37" fmla="*/ 0 h 478"/>
                  <a:gd name="T38" fmla="*/ 28 w 41"/>
                  <a:gd name="T39" fmla="*/ 1 h 478"/>
                  <a:gd name="T40" fmla="*/ 31 w 41"/>
                  <a:gd name="T41" fmla="*/ 3 h 478"/>
                  <a:gd name="T42" fmla="*/ 34 w 41"/>
                  <a:gd name="T43" fmla="*/ 5 h 478"/>
                  <a:gd name="T44" fmla="*/ 37 w 41"/>
                  <a:gd name="T45" fmla="*/ 9 h 478"/>
                  <a:gd name="T46" fmla="*/ 38 w 41"/>
                  <a:gd name="T47" fmla="*/ 13 h 478"/>
                  <a:gd name="T48" fmla="*/ 39 w 41"/>
                  <a:gd name="T49" fmla="*/ 16 h 478"/>
                  <a:gd name="T50" fmla="*/ 41 w 41"/>
                  <a:gd name="T51" fmla="*/ 20 h 478"/>
                  <a:gd name="T52" fmla="*/ 41 w 41"/>
                  <a:gd name="T53" fmla="*/ 459 h 478"/>
                  <a:gd name="T54" fmla="*/ 39 w 41"/>
                  <a:gd name="T55" fmla="*/ 462 h 478"/>
                  <a:gd name="T56" fmla="*/ 38 w 41"/>
                  <a:gd name="T57" fmla="*/ 466 h 478"/>
                  <a:gd name="T58" fmla="*/ 37 w 41"/>
                  <a:gd name="T59" fmla="*/ 470 h 478"/>
                  <a:gd name="T60" fmla="*/ 34 w 41"/>
                  <a:gd name="T61" fmla="*/ 472 h 478"/>
                  <a:gd name="T62" fmla="*/ 31 w 41"/>
                  <a:gd name="T63" fmla="*/ 475 h 478"/>
                  <a:gd name="T64" fmla="*/ 28 w 41"/>
                  <a:gd name="T65" fmla="*/ 477 h 478"/>
                  <a:gd name="T66" fmla="*/ 25 w 41"/>
                  <a:gd name="T67" fmla="*/ 478 h 478"/>
                  <a:gd name="T68" fmla="*/ 20 w 41"/>
                  <a:gd name="T69"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478">
                    <a:moveTo>
                      <a:pt x="20" y="478"/>
                    </a:moveTo>
                    <a:lnTo>
                      <a:pt x="16" y="478"/>
                    </a:lnTo>
                    <a:lnTo>
                      <a:pt x="12" y="477"/>
                    </a:lnTo>
                    <a:lnTo>
                      <a:pt x="8" y="475"/>
                    </a:lnTo>
                    <a:lnTo>
                      <a:pt x="6" y="472"/>
                    </a:lnTo>
                    <a:lnTo>
                      <a:pt x="3" y="470"/>
                    </a:lnTo>
                    <a:lnTo>
                      <a:pt x="2" y="466"/>
                    </a:lnTo>
                    <a:lnTo>
                      <a:pt x="1" y="462"/>
                    </a:lnTo>
                    <a:lnTo>
                      <a:pt x="0" y="459"/>
                    </a:lnTo>
                    <a:lnTo>
                      <a:pt x="0" y="20"/>
                    </a:lnTo>
                    <a:lnTo>
                      <a:pt x="1" y="16"/>
                    </a:lnTo>
                    <a:lnTo>
                      <a:pt x="2" y="13"/>
                    </a:lnTo>
                    <a:lnTo>
                      <a:pt x="3" y="9"/>
                    </a:lnTo>
                    <a:lnTo>
                      <a:pt x="6" y="5"/>
                    </a:lnTo>
                    <a:lnTo>
                      <a:pt x="8" y="3"/>
                    </a:lnTo>
                    <a:lnTo>
                      <a:pt x="12" y="1"/>
                    </a:lnTo>
                    <a:lnTo>
                      <a:pt x="16" y="0"/>
                    </a:lnTo>
                    <a:lnTo>
                      <a:pt x="20" y="0"/>
                    </a:lnTo>
                    <a:lnTo>
                      <a:pt x="25" y="0"/>
                    </a:lnTo>
                    <a:lnTo>
                      <a:pt x="28" y="1"/>
                    </a:lnTo>
                    <a:lnTo>
                      <a:pt x="31" y="3"/>
                    </a:lnTo>
                    <a:lnTo>
                      <a:pt x="34" y="5"/>
                    </a:lnTo>
                    <a:lnTo>
                      <a:pt x="37" y="9"/>
                    </a:lnTo>
                    <a:lnTo>
                      <a:pt x="38" y="13"/>
                    </a:lnTo>
                    <a:lnTo>
                      <a:pt x="39" y="16"/>
                    </a:lnTo>
                    <a:lnTo>
                      <a:pt x="41" y="20"/>
                    </a:lnTo>
                    <a:lnTo>
                      <a:pt x="41" y="459"/>
                    </a:lnTo>
                    <a:lnTo>
                      <a:pt x="39" y="462"/>
                    </a:lnTo>
                    <a:lnTo>
                      <a:pt x="38" y="466"/>
                    </a:lnTo>
                    <a:lnTo>
                      <a:pt x="37" y="470"/>
                    </a:lnTo>
                    <a:lnTo>
                      <a:pt x="34" y="472"/>
                    </a:lnTo>
                    <a:lnTo>
                      <a:pt x="31" y="475"/>
                    </a:lnTo>
                    <a:lnTo>
                      <a:pt x="28" y="477"/>
                    </a:lnTo>
                    <a:lnTo>
                      <a:pt x="25" y="478"/>
                    </a:lnTo>
                    <a:lnTo>
                      <a:pt x="2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2"/>
              <p:cNvSpPr>
                <a:spLocks/>
              </p:cNvSpPr>
              <p:nvPr/>
            </p:nvSpPr>
            <p:spPr bwMode="auto">
              <a:xfrm>
                <a:off x="2468794" y="2748214"/>
                <a:ext cx="173427" cy="99628"/>
              </a:xfrm>
              <a:custGeom>
                <a:avLst/>
                <a:gdLst>
                  <a:gd name="T0" fmla="*/ 140 w 282"/>
                  <a:gd name="T1" fmla="*/ 162 h 162"/>
                  <a:gd name="T2" fmla="*/ 137 w 282"/>
                  <a:gd name="T3" fmla="*/ 162 h 162"/>
                  <a:gd name="T4" fmla="*/ 133 w 282"/>
                  <a:gd name="T5" fmla="*/ 160 h 162"/>
                  <a:gd name="T6" fmla="*/ 129 w 282"/>
                  <a:gd name="T7" fmla="*/ 158 h 162"/>
                  <a:gd name="T8" fmla="*/ 127 w 282"/>
                  <a:gd name="T9" fmla="*/ 155 h 162"/>
                  <a:gd name="T10" fmla="*/ 5 w 282"/>
                  <a:gd name="T11" fmla="*/ 35 h 162"/>
                  <a:gd name="T12" fmla="*/ 2 w 282"/>
                  <a:gd name="T13" fmla="*/ 31 h 162"/>
                  <a:gd name="T14" fmla="*/ 1 w 282"/>
                  <a:gd name="T15" fmla="*/ 28 h 162"/>
                  <a:gd name="T16" fmla="*/ 0 w 282"/>
                  <a:gd name="T17" fmla="*/ 24 h 162"/>
                  <a:gd name="T18" fmla="*/ 0 w 282"/>
                  <a:gd name="T19" fmla="*/ 20 h 162"/>
                  <a:gd name="T20" fmla="*/ 0 w 282"/>
                  <a:gd name="T21" fmla="*/ 16 h 162"/>
                  <a:gd name="T22" fmla="*/ 1 w 282"/>
                  <a:gd name="T23" fmla="*/ 13 h 162"/>
                  <a:gd name="T24" fmla="*/ 2 w 282"/>
                  <a:gd name="T25" fmla="*/ 9 h 162"/>
                  <a:gd name="T26" fmla="*/ 5 w 282"/>
                  <a:gd name="T27" fmla="*/ 6 h 162"/>
                  <a:gd name="T28" fmla="*/ 9 w 282"/>
                  <a:gd name="T29" fmla="*/ 4 h 162"/>
                  <a:gd name="T30" fmla="*/ 12 w 282"/>
                  <a:gd name="T31" fmla="*/ 1 h 162"/>
                  <a:gd name="T32" fmla="*/ 16 w 282"/>
                  <a:gd name="T33" fmla="*/ 0 h 162"/>
                  <a:gd name="T34" fmla="*/ 20 w 282"/>
                  <a:gd name="T35" fmla="*/ 0 h 162"/>
                  <a:gd name="T36" fmla="*/ 24 w 282"/>
                  <a:gd name="T37" fmla="*/ 0 h 162"/>
                  <a:gd name="T38" fmla="*/ 27 w 282"/>
                  <a:gd name="T39" fmla="*/ 1 h 162"/>
                  <a:gd name="T40" fmla="*/ 30 w 282"/>
                  <a:gd name="T41" fmla="*/ 4 h 162"/>
                  <a:gd name="T42" fmla="*/ 34 w 282"/>
                  <a:gd name="T43" fmla="*/ 6 h 162"/>
                  <a:gd name="T44" fmla="*/ 140 w 282"/>
                  <a:gd name="T45" fmla="*/ 113 h 162"/>
                  <a:gd name="T46" fmla="*/ 248 w 282"/>
                  <a:gd name="T47" fmla="*/ 6 h 162"/>
                  <a:gd name="T48" fmla="*/ 251 w 282"/>
                  <a:gd name="T49" fmla="*/ 4 h 162"/>
                  <a:gd name="T50" fmla="*/ 255 w 282"/>
                  <a:gd name="T51" fmla="*/ 1 h 162"/>
                  <a:gd name="T52" fmla="*/ 258 w 282"/>
                  <a:gd name="T53" fmla="*/ 0 h 162"/>
                  <a:gd name="T54" fmla="*/ 262 w 282"/>
                  <a:gd name="T55" fmla="*/ 0 h 162"/>
                  <a:gd name="T56" fmla="*/ 266 w 282"/>
                  <a:gd name="T57" fmla="*/ 0 h 162"/>
                  <a:gd name="T58" fmla="*/ 269 w 282"/>
                  <a:gd name="T59" fmla="*/ 1 h 162"/>
                  <a:gd name="T60" fmla="*/ 273 w 282"/>
                  <a:gd name="T61" fmla="*/ 4 h 162"/>
                  <a:gd name="T62" fmla="*/ 276 w 282"/>
                  <a:gd name="T63" fmla="*/ 6 h 162"/>
                  <a:gd name="T64" fmla="*/ 279 w 282"/>
                  <a:gd name="T65" fmla="*/ 9 h 162"/>
                  <a:gd name="T66" fmla="*/ 281 w 282"/>
                  <a:gd name="T67" fmla="*/ 13 h 162"/>
                  <a:gd name="T68" fmla="*/ 282 w 282"/>
                  <a:gd name="T69" fmla="*/ 16 h 162"/>
                  <a:gd name="T70" fmla="*/ 282 w 282"/>
                  <a:gd name="T71" fmla="*/ 20 h 162"/>
                  <a:gd name="T72" fmla="*/ 282 w 282"/>
                  <a:gd name="T73" fmla="*/ 24 h 162"/>
                  <a:gd name="T74" fmla="*/ 281 w 282"/>
                  <a:gd name="T75" fmla="*/ 28 h 162"/>
                  <a:gd name="T76" fmla="*/ 279 w 282"/>
                  <a:gd name="T77" fmla="*/ 31 h 162"/>
                  <a:gd name="T78" fmla="*/ 276 w 282"/>
                  <a:gd name="T79" fmla="*/ 35 h 162"/>
                  <a:gd name="T80" fmla="*/ 155 w 282"/>
                  <a:gd name="T81" fmla="*/ 155 h 162"/>
                  <a:gd name="T82" fmla="*/ 152 w 282"/>
                  <a:gd name="T83" fmla="*/ 158 h 162"/>
                  <a:gd name="T84" fmla="*/ 148 w 282"/>
                  <a:gd name="T85" fmla="*/ 160 h 162"/>
                  <a:gd name="T86" fmla="*/ 144 w 282"/>
                  <a:gd name="T87" fmla="*/ 162 h 162"/>
                  <a:gd name="T88" fmla="*/ 140 w 282"/>
                  <a:gd name="T89"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162">
                    <a:moveTo>
                      <a:pt x="140" y="162"/>
                    </a:moveTo>
                    <a:lnTo>
                      <a:pt x="137" y="162"/>
                    </a:lnTo>
                    <a:lnTo>
                      <a:pt x="133" y="160"/>
                    </a:lnTo>
                    <a:lnTo>
                      <a:pt x="129" y="158"/>
                    </a:lnTo>
                    <a:lnTo>
                      <a:pt x="127" y="155"/>
                    </a:lnTo>
                    <a:lnTo>
                      <a:pt x="5" y="35"/>
                    </a:lnTo>
                    <a:lnTo>
                      <a:pt x="2" y="31"/>
                    </a:lnTo>
                    <a:lnTo>
                      <a:pt x="1" y="28"/>
                    </a:lnTo>
                    <a:lnTo>
                      <a:pt x="0" y="24"/>
                    </a:lnTo>
                    <a:lnTo>
                      <a:pt x="0" y="20"/>
                    </a:lnTo>
                    <a:lnTo>
                      <a:pt x="0" y="16"/>
                    </a:lnTo>
                    <a:lnTo>
                      <a:pt x="1" y="13"/>
                    </a:lnTo>
                    <a:lnTo>
                      <a:pt x="2" y="9"/>
                    </a:lnTo>
                    <a:lnTo>
                      <a:pt x="5" y="6"/>
                    </a:lnTo>
                    <a:lnTo>
                      <a:pt x="9" y="4"/>
                    </a:lnTo>
                    <a:lnTo>
                      <a:pt x="12" y="1"/>
                    </a:lnTo>
                    <a:lnTo>
                      <a:pt x="16" y="0"/>
                    </a:lnTo>
                    <a:lnTo>
                      <a:pt x="20" y="0"/>
                    </a:lnTo>
                    <a:lnTo>
                      <a:pt x="24" y="0"/>
                    </a:lnTo>
                    <a:lnTo>
                      <a:pt x="27" y="1"/>
                    </a:lnTo>
                    <a:lnTo>
                      <a:pt x="30" y="4"/>
                    </a:lnTo>
                    <a:lnTo>
                      <a:pt x="34" y="6"/>
                    </a:lnTo>
                    <a:lnTo>
                      <a:pt x="140" y="113"/>
                    </a:lnTo>
                    <a:lnTo>
                      <a:pt x="248" y="6"/>
                    </a:lnTo>
                    <a:lnTo>
                      <a:pt x="251" y="4"/>
                    </a:lnTo>
                    <a:lnTo>
                      <a:pt x="255" y="1"/>
                    </a:lnTo>
                    <a:lnTo>
                      <a:pt x="258" y="0"/>
                    </a:lnTo>
                    <a:lnTo>
                      <a:pt x="262" y="0"/>
                    </a:lnTo>
                    <a:lnTo>
                      <a:pt x="266" y="0"/>
                    </a:lnTo>
                    <a:lnTo>
                      <a:pt x="269" y="1"/>
                    </a:lnTo>
                    <a:lnTo>
                      <a:pt x="273" y="4"/>
                    </a:lnTo>
                    <a:lnTo>
                      <a:pt x="276" y="6"/>
                    </a:lnTo>
                    <a:lnTo>
                      <a:pt x="279" y="9"/>
                    </a:lnTo>
                    <a:lnTo>
                      <a:pt x="281" y="13"/>
                    </a:lnTo>
                    <a:lnTo>
                      <a:pt x="282" y="16"/>
                    </a:lnTo>
                    <a:lnTo>
                      <a:pt x="282" y="20"/>
                    </a:lnTo>
                    <a:lnTo>
                      <a:pt x="282" y="24"/>
                    </a:lnTo>
                    <a:lnTo>
                      <a:pt x="281" y="28"/>
                    </a:lnTo>
                    <a:lnTo>
                      <a:pt x="279" y="31"/>
                    </a:lnTo>
                    <a:lnTo>
                      <a:pt x="276" y="35"/>
                    </a:lnTo>
                    <a:lnTo>
                      <a:pt x="155" y="155"/>
                    </a:lnTo>
                    <a:lnTo>
                      <a:pt x="152" y="158"/>
                    </a:lnTo>
                    <a:lnTo>
                      <a:pt x="148" y="160"/>
                    </a:lnTo>
                    <a:lnTo>
                      <a:pt x="144" y="162"/>
                    </a:lnTo>
                    <a:lnTo>
                      <a:pt x="140"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p:cNvGrpSpPr/>
          <p:nvPr/>
        </p:nvGrpSpPr>
        <p:grpSpPr>
          <a:xfrm>
            <a:off x="3804175" y="2335193"/>
            <a:ext cx="1605246" cy="1605245"/>
            <a:chOff x="3446112" y="2106090"/>
            <a:chExt cx="2136532" cy="2136532"/>
          </a:xfrm>
        </p:grpSpPr>
        <p:sp>
          <p:nvSpPr>
            <p:cNvPr id="17" name="Oval 16"/>
            <p:cNvSpPr/>
            <p:nvPr/>
          </p:nvSpPr>
          <p:spPr>
            <a:xfrm>
              <a:off x="3446112" y="2106090"/>
              <a:ext cx="2136532" cy="213653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3523778" y="2183756"/>
              <a:ext cx="1981200" cy="1981200"/>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7" name="Group 96"/>
          <p:cNvGrpSpPr/>
          <p:nvPr/>
        </p:nvGrpSpPr>
        <p:grpSpPr>
          <a:xfrm>
            <a:off x="4204155" y="2751655"/>
            <a:ext cx="805286" cy="772321"/>
            <a:chOff x="5389563" y="5646738"/>
            <a:chExt cx="542925" cy="520700"/>
          </a:xfrm>
          <a:solidFill>
            <a:schemeClr val="bg1"/>
          </a:solidFill>
        </p:grpSpPr>
        <p:sp>
          <p:nvSpPr>
            <p:cNvPr id="98" name="Freeform 9"/>
            <p:cNvSpPr>
              <a:spLocks noEditPoints="1"/>
            </p:cNvSpPr>
            <p:nvPr/>
          </p:nvSpPr>
          <p:spPr bwMode="auto">
            <a:xfrm>
              <a:off x="5389563" y="5646738"/>
              <a:ext cx="384175" cy="382588"/>
            </a:xfrm>
            <a:custGeom>
              <a:avLst/>
              <a:gdLst>
                <a:gd name="T0" fmla="*/ 396 w 965"/>
                <a:gd name="T1" fmla="*/ 62 h 966"/>
                <a:gd name="T2" fmla="*/ 297 w 965"/>
                <a:gd name="T3" fmla="*/ 96 h 966"/>
                <a:gd name="T4" fmla="*/ 210 w 965"/>
                <a:gd name="T5" fmla="*/ 152 h 966"/>
                <a:gd name="T6" fmla="*/ 139 w 965"/>
                <a:gd name="T7" fmla="*/ 226 h 966"/>
                <a:gd name="T8" fmla="*/ 87 w 965"/>
                <a:gd name="T9" fmla="*/ 315 h 966"/>
                <a:gd name="T10" fmla="*/ 58 w 965"/>
                <a:gd name="T11" fmla="*/ 418 h 966"/>
                <a:gd name="T12" fmla="*/ 56 w 965"/>
                <a:gd name="T13" fmla="*/ 526 h 966"/>
                <a:gd name="T14" fmla="*/ 80 w 965"/>
                <a:gd name="T15" fmla="*/ 631 h 966"/>
                <a:gd name="T16" fmla="*/ 127 w 965"/>
                <a:gd name="T17" fmla="*/ 722 h 966"/>
                <a:gd name="T18" fmla="*/ 194 w 965"/>
                <a:gd name="T19" fmla="*/ 801 h 966"/>
                <a:gd name="T20" fmla="*/ 278 w 965"/>
                <a:gd name="T21" fmla="*/ 860 h 966"/>
                <a:gd name="T22" fmla="*/ 376 w 965"/>
                <a:gd name="T23" fmla="*/ 898 h 966"/>
                <a:gd name="T24" fmla="*/ 482 w 965"/>
                <a:gd name="T25" fmla="*/ 912 h 966"/>
                <a:gd name="T26" fmla="*/ 590 w 965"/>
                <a:gd name="T27" fmla="*/ 898 h 966"/>
                <a:gd name="T28" fmla="*/ 687 w 965"/>
                <a:gd name="T29" fmla="*/ 860 h 966"/>
                <a:gd name="T30" fmla="*/ 771 w 965"/>
                <a:gd name="T31" fmla="*/ 801 h 966"/>
                <a:gd name="T32" fmla="*/ 838 w 965"/>
                <a:gd name="T33" fmla="*/ 722 h 966"/>
                <a:gd name="T34" fmla="*/ 886 w 965"/>
                <a:gd name="T35" fmla="*/ 631 h 966"/>
                <a:gd name="T36" fmla="*/ 909 w 965"/>
                <a:gd name="T37" fmla="*/ 526 h 966"/>
                <a:gd name="T38" fmla="*/ 907 w 965"/>
                <a:gd name="T39" fmla="*/ 418 h 966"/>
                <a:gd name="T40" fmla="*/ 878 w 965"/>
                <a:gd name="T41" fmla="*/ 315 h 966"/>
                <a:gd name="T42" fmla="*/ 826 w 965"/>
                <a:gd name="T43" fmla="*/ 226 h 966"/>
                <a:gd name="T44" fmla="*/ 756 w 965"/>
                <a:gd name="T45" fmla="*/ 152 h 966"/>
                <a:gd name="T46" fmla="*/ 668 w 965"/>
                <a:gd name="T47" fmla="*/ 96 h 966"/>
                <a:gd name="T48" fmla="*/ 569 w 965"/>
                <a:gd name="T49" fmla="*/ 62 h 966"/>
                <a:gd name="T50" fmla="*/ 482 w 965"/>
                <a:gd name="T51" fmla="*/ 966 h 966"/>
                <a:gd name="T52" fmla="*/ 362 w 965"/>
                <a:gd name="T53" fmla="*/ 950 h 966"/>
                <a:gd name="T54" fmla="*/ 252 w 965"/>
                <a:gd name="T55" fmla="*/ 907 h 966"/>
                <a:gd name="T56" fmla="*/ 158 w 965"/>
                <a:gd name="T57" fmla="*/ 840 h 966"/>
                <a:gd name="T58" fmla="*/ 82 w 965"/>
                <a:gd name="T59" fmla="*/ 753 h 966"/>
                <a:gd name="T60" fmla="*/ 29 w 965"/>
                <a:gd name="T61" fmla="*/ 648 h 966"/>
                <a:gd name="T62" fmla="*/ 2 w 965"/>
                <a:gd name="T63" fmla="*/ 532 h 966"/>
                <a:gd name="T64" fmla="*/ 6 w 965"/>
                <a:gd name="T65" fmla="*/ 410 h 966"/>
                <a:gd name="T66" fmla="*/ 38 w 965"/>
                <a:gd name="T67" fmla="*/ 295 h 966"/>
                <a:gd name="T68" fmla="*/ 95 w 965"/>
                <a:gd name="T69" fmla="*/ 194 h 966"/>
                <a:gd name="T70" fmla="*/ 176 w 965"/>
                <a:gd name="T71" fmla="*/ 110 h 966"/>
                <a:gd name="T72" fmla="*/ 273 w 965"/>
                <a:gd name="T73" fmla="*/ 48 h 966"/>
                <a:gd name="T74" fmla="*/ 386 w 965"/>
                <a:gd name="T75" fmla="*/ 9 h 966"/>
                <a:gd name="T76" fmla="*/ 508 w 965"/>
                <a:gd name="T77" fmla="*/ 0 h 966"/>
                <a:gd name="T78" fmla="*/ 625 w 965"/>
                <a:gd name="T79" fmla="*/ 22 h 966"/>
                <a:gd name="T80" fmla="*/ 733 w 965"/>
                <a:gd name="T81" fmla="*/ 70 h 966"/>
                <a:gd name="T82" fmla="*/ 824 w 965"/>
                <a:gd name="T83" fmla="*/ 142 h 966"/>
                <a:gd name="T84" fmla="*/ 896 w 965"/>
                <a:gd name="T85" fmla="*/ 233 h 966"/>
                <a:gd name="T86" fmla="*/ 944 w 965"/>
                <a:gd name="T87" fmla="*/ 339 h 966"/>
                <a:gd name="T88" fmla="*/ 965 w 965"/>
                <a:gd name="T89" fmla="*/ 458 h 966"/>
                <a:gd name="T90" fmla="*/ 955 w 965"/>
                <a:gd name="T91" fmla="*/ 580 h 966"/>
                <a:gd name="T92" fmla="*/ 918 w 965"/>
                <a:gd name="T93" fmla="*/ 692 h 966"/>
                <a:gd name="T94" fmla="*/ 855 w 965"/>
                <a:gd name="T95" fmla="*/ 790 h 966"/>
                <a:gd name="T96" fmla="*/ 771 w 965"/>
                <a:gd name="T97" fmla="*/ 869 h 966"/>
                <a:gd name="T98" fmla="*/ 670 w 965"/>
                <a:gd name="T99" fmla="*/ 928 h 966"/>
                <a:gd name="T100" fmla="*/ 556 w 965"/>
                <a:gd name="T101" fmla="*/ 96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5" h="966">
                  <a:moveTo>
                    <a:pt x="482" y="53"/>
                  </a:moveTo>
                  <a:lnTo>
                    <a:pt x="461" y="54"/>
                  </a:lnTo>
                  <a:lnTo>
                    <a:pt x="438" y="55"/>
                  </a:lnTo>
                  <a:lnTo>
                    <a:pt x="417" y="59"/>
                  </a:lnTo>
                  <a:lnTo>
                    <a:pt x="396" y="62"/>
                  </a:lnTo>
                  <a:lnTo>
                    <a:pt x="376" y="68"/>
                  </a:lnTo>
                  <a:lnTo>
                    <a:pt x="355" y="73"/>
                  </a:lnTo>
                  <a:lnTo>
                    <a:pt x="335" y="80"/>
                  </a:lnTo>
                  <a:lnTo>
                    <a:pt x="316" y="88"/>
                  </a:lnTo>
                  <a:lnTo>
                    <a:pt x="297" y="96"/>
                  </a:lnTo>
                  <a:lnTo>
                    <a:pt x="278" y="106"/>
                  </a:lnTo>
                  <a:lnTo>
                    <a:pt x="260" y="116"/>
                  </a:lnTo>
                  <a:lnTo>
                    <a:pt x="243" y="127"/>
                  </a:lnTo>
                  <a:lnTo>
                    <a:pt x="226" y="139"/>
                  </a:lnTo>
                  <a:lnTo>
                    <a:pt x="210" y="152"/>
                  </a:lnTo>
                  <a:lnTo>
                    <a:pt x="194" y="165"/>
                  </a:lnTo>
                  <a:lnTo>
                    <a:pt x="179" y="180"/>
                  </a:lnTo>
                  <a:lnTo>
                    <a:pt x="165" y="194"/>
                  </a:lnTo>
                  <a:lnTo>
                    <a:pt x="151" y="210"/>
                  </a:lnTo>
                  <a:lnTo>
                    <a:pt x="139" y="226"/>
                  </a:lnTo>
                  <a:lnTo>
                    <a:pt x="127" y="243"/>
                  </a:lnTo>
                  <a:lnTo>
                    <a:pt x="115" y="261"/>
                  </a:lnTo>
                  <a:lnTo>
                    <a:pt x="105" y="278"/>
                  </a:lnTo>
                  <a:lnTo>
                    <a:pt x="95" y="296"/>
                  </a:lnTo>
                  <a:lnTo>
                    <a:pt x="87" y="315"/>
                  </a:lnTo>
                  <a:lnTo>
                    <a:pt x="80" y="336"/>
                  </a:lnTo>
                  <a:lnTo>
                    <a:pt x="73" y="356"/>
                  </a:lnTo>
                  <a:lnTo>
                    <a:pt x="67" y="376"/>
                  </a:lnTo>
                  <a:lnTo>
                    <a:pt x="62" y="396"/>
                  </a:lnTo>
                  <a:lnTo>
                    <a:pt x="58" y="418"/>
                  </a:lnTo>
                  <a:lnTo>
                    <a:pt x="56" y="439"/>
                  </a:lnTo>
                  <a:lnTo>
                    <a:pt x="54" y="461"/>
                  </a:lnTo>
                  <a:lnTo>
                    <a:pt x="54" y="483"/>
                  </a:lnTo>
                  <a:lnTo>
                    <a:pt x="54" y="505"/>
                  </a:lnTo>
                  <a:lnTo>
                    <a:pt x="56" y="526"/>
                  </a:lnTo>
                  <a:lnTo>
                    <a:pt x="58" y="549"/>
                  </a:lnTo>
                  <a:lnTo>
                    <a:pt x="62" y="569"/>
                  </a:lnTo>
                  <a:lnTo>
                    <a:pt x="67" y="590"/>
                  </a:lnTo>
                  <a:lnTo>
                    <a:pt x="73" y="610"/>
                  </a:lnTo>
                  <a:lnTo>
                    <a:pt x="80" y="631"/>
                  </a:lnTo>
                  <a:lnTo>
                    <a:pt x="87" y="650"/>
                  </a:lnTo>
                  <a:lnTo>
                    <a:pt x="95" y="669"/>
                  </a:lnTo>
                  <a:lnTo>
                    <a:pt x="105" y="688"/>
                  </a:lnTo>
                  <a:lnTo>
                    <a:pt x="115" y="706"/>
                  </a:lnTo>
                  <a:lnTo>
                    <a:pt x="127" y="722"/>
                  </a:lnTo>
                  <a:lnTo>
                    <a:pt x="139" y="739"/>
                  </a:lnTo>
                  <a:lnTo>
                    <a:pt x="151" y="756"/>
                  </a:lnTo>
                  <a:lnTo>
                    <a:pt x="165" y="772"/>
                  </a:lnTo>
                  <a:lnTo>
                    <a:pt x="179" y="786"/>
                  </a:lnTo>
                  <a:lnTo>
                    <a:pt x="194" y="801"/>
                  </a:lnTo>
                  <a:lnTo>
                    <a:pt x="210" y="814"/>
                  </a:lnTo>
                  <a:lnTo>
                    <a:pt x="226" y="827"/>
                  </a:lnTo>
                  <a:lnTo>
                    <a:pt x="243" y="839"/>
                  </a:lnTo>
                  <a:lnTo>
                    <a:pt x="260" y="850"/>
                  </a:lnTo>
                  <a:lnTo>
                    <a:pt x="278" y="860"/>
                  </a:lnTo>
                  <a:lnTo>
                    <a:pt x="297" y="869"/>
                  </a:lnTo>
                  <a:lnTo>
                    <a:pt x="316" y="878"/>
                  </a:lnTo>
                  <a:lnTo>
                    <a:pt x="335" y="886"/>
                  </a:lnTo>
                  <a:lnTo>
                    <a:pt x="355" y="893"/>
                  </a:lnTo>
                  <a:lnTo>
                    <a:pt x="376" y="898"/>
                  </a:lnTo>
                  <a:lnTo>
                    <a:pt x="396" y="903"/>
                  </a:lnTo>
                  <a:lnTo>
                    <a:pt x="417" y="907"/>
                  </a:lnTo>
                  <a:lnTo>
                    <a:pt x="438" y="910"/>
                  </a:lnTo>
                  <a:lnTo>
                    <a:pt x="461" y="912"/>
                  </a:lnTo>
                  <a:lnTo>
                    <a:pt x="482" y="912"/>
                  </a:lnTo>
                  <a:lnTo>
                    <a:pt x="504" y="912"/>
                  </a:lnTo>
                  <a:lnTo>
                    <a:pt x="527" y="910"/>
                  </a:lnTo>
                  <a:lnTo>
                    <a:pt x="548" y="907"/>
                  </a:lnTo>
                  <a:lnTo>
                    <a:pt x="569" y="903"/>
                  </a:lnTo>
                  <a:lnTo>
                    <a:pt x="590" y="898"/>
                  </a:lnTo>
                  <a:lnTo>
                    <a:pt x="610" y="893"/>
                  </a:lnTo>
                  <a:lnTo>
                    <a:pt x="630" y="886"/>
                  </a:lnTo>
                  <a:lnTo>
                    <a:pt x="649" y="878"/>
                  </a:lnTo>
                  <a:lnTo>
                    <a:pt x="668" y="869"/>
                  </a:lnTo>
                  <a:lnTo>
                    <a:pt x="687" y="860"/>
                  </a:lnTo>
                  <a:lnTo>
                    <a:pt x="705" y="850"/>
                  </a:lnTo>
                  <a:lnTo>
                    <a:pt x="722" y="839"/>
                  </a:lnTo>
                  <a:lnTo>
                    <a:pt x="739" y="827"/>
                  </a:lnTo>
                  <a:lnTo>
                    <a:pt x="756" y="814"/>
                  </a:lnTo>
                  <a:lnTo>
                    <a:pt x="771" y="801"/>
                  </a:lnTo>
                  <a:lnTo>
                    <a:pt x="786" y="786"/>
                  </a:lnTo>
                  <a:lnTo>
                    <a:pt x="800" y="772"/>
                  </a:lnTo>
                  <a:lnTo>
                    <a:pt x="814" y="756"/>
                  </a:lnTo>
                  <a:lnTo>
                    <a:pt x="826" y="739"/>
                  </a:lnTo>
                  <a:lnTo>
                    <a:pt x="838" y="722"/>
                  </a:lnTo>
                  <a:lnTo>
                    <a:pt x="850" y="706"/>
                  </a:lnTo>
                  <a:lnTo>
                    <a:pt x="860" y="688"/>
                  </a:lnTo>
                  <a:lnTo>
                    <a:pt x="870" y="669"/>
                  </a:lnTo>
                  <a:lnTo>
                    <a:pt x="878" y="650"/>
                  </a:lnTo>
                  <a:lnTo>
                    <a:pt x="886" y="631"/>
                  </a:lnTo>
                  <a:lnTo>
                    <a:pt x="892" y="610"/>
                  </a:lnTo>
                  <a:lnTo>
                    <a:pt x="898" y="590"/>
                  </a:lnTo>
                  <a:lnTo>
                    <a:pt x="903" y="569"/>
                  </a:lnTo>
                  <a:lnTo>
                    <a:pt x="907" y="549"/>
                  </a:lnTo>
                  <a:lnTo>
                    <a:pt x="909" y="526"/>
                  </a:lnTo>
                  <a:lnTo>
                    <a:pt x="911" y="505"/>
                  </a:lnTo>
                  <a:lnTo>
                    <a:pt x="911" y="483"/>
                  </a:lnTo>
                  <a:lnTo>
                    <a:pt x="911" y="461"/>
                  </a:lnTo>
                  <a:lnTo>
                    <a:pt x="909" y="439"/>
                  </a:lnTo>
                  <a:lnTo>
                    <a:pt x="907" y="418"/>
                  </a:lnTo>
                  <a:lnTo>
                    <a:pt x="903" y="396"/>
                  </a:lnTo>
                  <a:lnTo>
                    <a:pt x="898" y="376"/>
                  </a:lnTo>
                  <a:lnTo>
                    <a:pt x="892" y="356"/>
                  </a:lnTo>
                  <a:lnTo>
                    <a:pt x="886" y="336"/>
                  </a:lnTo>
                  <a:lnTo>
                    <a:pt x="878" y="315"/>
                  </a:lnTo>
                  <a:lnTo>
                    <a:pt x="870" y="296"/>
                  </a:lnTo>
                  <a:lnTo>
                    <a:pt x="860" y="278"/>
                  </a:lnTo>
                  <a:lnTo>
                    <a:pt x="850" y="261"/>
                  </a:lnTo>
                  <a:lnTo>
                    <a:pt x="838" y="243"/>
                  </a:lnTo>
                  <a:lnTo>
                    <a:pt x="826" y="226"/>
                  </a:lnTo>
                  <a:lnTo>
                    <a:pt x="814" y="210"/>
                  </a:lnTo>
                  <a:lnTo>
                    <a:pt x="800" y="194"/>
                  </a:lnTo>
                  <a:lnTo>
                    <a:pt x="786" y="180"/>
                  </a:lnTo>
                  <a:lnTo>
                    <a:pt x="771" y="165"/>
                  </a:lnTo>
                  <a:lnTo>
                    <a:pt x="756" y="152"/>
                  </a:lnTo>
                  <a:lnTo>
                    <a:pt x="739" y="139"/>
                  </a:lnTo>
                  <a:lnTo>
                    <a:pt x="722" y="127"/>
                  </a:lnTo>
                  <a:lnTo>
                    <a:pt x="705" y="116"/>
                  </a:lnTo>
                  <a:lnTo>
                    <a:pt x="687" y="106"/>
                  </a:lnTo>
                  <a:lnTo>
                    <a:pt x="668" y="96"/>
                  </a:lnTo>
                  <a:lnTo>
                    <a:pt x="649" y="88"/>
                  </a:lnTo>
                  <a:lnTo>
                    <a:pt x="630" y="80"/>
                  </a:lnTo>
                  <a:lnTo>
                    <a:pt x="610" y="73"/>
                  </a:lnTo>
                  <a:lnTo>
                    <a:pt x="590" y="68"/>
                  </a:lnTo>
                  <a:lnTo>
                    <a:pt x="569" y="62"/>
                  </a:lnTo>
                  <a:lnTo>
                    <a:pt x="548" y="59"/>
                  </a:lnTo>
                  <a:lnTo>
                    <a:pt x="527" y="55"/>
                  </a:lnTo>
                  <a:lnTo>
                    <a:pt x="504" y="54"/>
                  </a:lnTo>
                  <a:lnTo>
                    <a:pt x="482" y="53"/>
                  </a:lnTo>
                  <a:close/>
                  <a:moveTo>
                    <a:pt x="482" y="966"/>
                  </a:moveTo>
                  <a:lnTo>
                    <a:pt x="457" y="965"/>
                  </a:lnTo>
                  <a:lnTo>
                    <a:pt x="433" y="964"/>
                  </a:lnTo>
                  <a:lnTo>
                    <a:pt x="409" y="960"/>
                  </a:lnTo>
                  <a:lnTo>
                    <a:pt x="386" y="956"/>
                  </a:lnTo>
                  <a:lnTo>
                    <a:pt x="362" y="950"/>
                  </a:lnTo>
                  <a:lnTo>
                    <a:pt x="340" y="944"/>
                  </a:lnTo>
                  <a:lnTo>
                    <a:pt x="317" y="937"/>
                  </a:lnTo>
                  <a:lnTo>
                    <a:pt x="295" y="928"/>
                  </a:lnTo>
                  <a:lnTo>
                    <a:pt x="273" y="918"/>
                  </a:lnTo>
                  <a:lnTo>
                    <a:pt x="252" y="907"/>
                  </a:lnTo>
                  <a:lnTo>
                    <a:pt x="232" y="896"/>
                  </a:lnTo>
                  <a:lnTo>
                    <a:pt x="213" y="883"/>
                  </a:lnTo>
                  <a:lnTo>
                    <a:pt x="194" y="869"/>
                  </a:lnTo>
                  <a:lnTo>
                    <a:pt x="176" y="856"/>
                  </a:lnTo>
                  <a:lnTo>
                    <a:pt x="158" y="840"/>
                  </a:lnTo>
                  <a:lnTo>
                    <a:pt x="141" y="825"/>
                  </a:lnTo>
                  <a:lnTo>
                    <a:pt x="126" y="808"/>
                  </a:lnTo>
                  <a:lnTo>
                    <a:pt x="110" y="790"/>
                  </a:lnTo>
                  <a:lnTo>
                    <a:pt x="95" y="772"/>
                  </a:lnTo>
                  <a:lnTo>
                    <a:pt x="82" y="753"/>
                  </a:lnTo>
                  <a:lnTo>
                    <a:pt x="69" y="733"/>
                  </a:lnTo>
                  <a:lnTo>
                    <a:pt x="58" y="712"/>
                  </a:lnTo>
                  <a:lnTo>
                    <a:pt x="47" y="692"/>
                  </a:lnTo>
                  <a:lnTo>
                    <a:pt x="38" y="671"/>
                  </a:lnTo>
                  <a:lnTo>
                    <a:pt x="29" y="648"/>
                  </a:lnTo>
                  <a:lnTo>
                    <a:pt x="21" y="626"/>
                  </a:lnTo>
                  <a:lnTo>
                    <a:pt x="15" y="604"/>
                  </a:lnTo>
                  <a:lnTo>
                    <a:pt x="10" y="580"/>
                  </a:lnTo>
                  <a:lnTo>
                    <a:pt x="6" y="557"/>
                  </a:lnTo>
                  <a:lnTo>
                    <a:pt x="2" y="532"/>
                  </a:lnTo>
                  <a:lnTo>
                    <a:pt x="0" y="507"/>
                  </a:lnTo>
                  <a:lnTo>
                    <a:pt x="0" y="483"/>
                  </a:lnTo>
                  <a:lnTo>
                    <a:pt x="0" y="458"/>
                  </a:lnTo>
                  <a:lnTo>
                    <a:pt x="2" y="433"/>
                  </a:lnTo>
                  <a:lnTo>
                    <a:pt x="6" y="410"/>
                  </a:lnTo>
                  <a:lnTo>
                    <a:pt x="10" y="386"/>
                  </a:lnTo>
                  <a:lnTo>
                    <a:pt x="15" y="363"/>
                  </a:lnTo>
                  <a:lnTo>
                    <a:pt x="21" y="339"/>
                  </a:lnTo>
                  <a:lnTo>
                    <a:pt x="29" y="317"/>
                  </a:lnTo>
                  <a:lnTo>
                    <a:pt x="38" y="295"/>
                  </a:lnTo>
                  <a:lnTo>
                    <a:pt x="47" y="274"/>
                  </a:lnTo>
                  <a:lnTo>
                    <a:pt x="58" y="253"/>
                  </a:lnTo>
                  <a:lnTo>
                    <a:pt x="69" y="233"/>
                  </a:lnTo>
                  <a:lnTo>
                    <a:pt x="82" y="213"/>
                  </a:lnTo>
                  <a:lnTo>
                    <a:pt x="95" y="194"/>
                  </a:lnTo>
                  <a:lnTo>
                    <a:pt x="110" y="176"/>
                  </a:lnTo>
                  <a:lnTo>
                    <a:pt x="126" y="159"/>
                  </a:lnTo>
                  <a:lnTo>
                    <a:pt x="141" y="142"/>
                  </a:lnTo>
                  <a:lnTo>
                    <a:pt x="158" y="126"/>
                  </a:lnTo>
                  <a:lnTo>
                    <a:pt x="176" y="110"/>
                  </a:lnTo>
                  <a:lnTo>
                    <a:pt x="194" y="96"/>
                  </a:lnTo>
                  <a:lnTo>
                    <a:pt x="213" y="82"/>
                  </a:lnTo>
                  <a:lnTo>
                    <a:pt x="232" y="70"/>
                  </a:lnTo>
                  <a:lnTo>
                    <a:pt x="252" y="59"/>
                  </a:lnTo>
                  <a:lnTo>
                    <a:pt x="273" y="48"/>
                  </a:lnTo>
                  <a:lnTo>
                    <a:pt x="295" y="39"/>
                  </a:lnTo>
                  <a:lnTo>
                    <a:pt x="317" y="30"/>
                  </a:lnTo>
                  <a:lnTo>
                    <a:pt x="340" y="22"/>
                  </a:lnTo>
                  <a:lnTo>
                    <a:pt x="362" y="15"/>
                  </a:lnTo>
                  <a:lnTo>
                    <a:pt x="386" y="9"/>
                  </a:lnTo>
                  <a:lnTo>
                    <a:pt x="409" y="6"/>
                  </a:lnTo>
                  <a:lnTo>
                    <a:pt x="433" y="3"/>
                  </a:lnTo>
                  <a:lnTo>
                    <a:pt x="457" y="0"/>
                  </a:lnTo>
                  <a:lnTo>
                    <a:pt x="482" y="0"/>
                  </a:lnTo>
                  <a:lnTo>
                    <a:pt x="508" y="0"/>
                  </a:lnTo>
                  <a:lnTo>
                    <a:pt x="531" y="3"/>
                  </a:lnTo>
                  <a:lnTo>
                    <a:pt x="556" y="6"/>
                  </a:lnTo>
                  <a:lnTo>
                    <a:pt x="580" y="9"/>
                  </a:lnTo>
                  <a:lnTo>
                    <a:pt x="603" y="15"/>
                  </a:lnTo>
                  <a:lnTo>
                    <a:pt x="625" y="22"/>
                  </a:lnTo>
                  <a:lnTo>
                    <a:pt x="648" y="30"/>
                  </a:lnTo>
                  <a:lnTo>
                    <a:pt x="670" y="39"/>
                  </a:lnTo>
                  <a:lnTo>
                    <a:pt x="692" y="48"/>
                  </a:lnTo>
                  <a:lnTo>
                    <a:pt x="713" y="59"/>
                  </a:lnTo>
                  <a:lnTo>
                    <a:pt x="733" y="70"/>
                  </a:lnTo>
                  <a:lnTo>
                    <a:pt x="752" y="82"/>
                  </a:lnTo>
                  <a:lnTo>
                    <a:pt x="771" y="96"/>
                  </a:lnTo>
                  <a:lnTo>
                    <a:pt x="789" y="110"/>
                  </a:lnTo>
                  <a:lnTo>
                    <a:pt x="807" y="126"/>
                  </a:lnTo>
                  <a:lnTo>
                    <a:pt x="824" y="142"/>
                  </a:lnTo>
                  <a:lnTo>
                    <a:pt x="840" y="159"/>
                  </a:lnTo>
                  <a:lnTo>
                    <a:pt x="855" y="176"/>
                  </a:lnTo>
                  <a:lnTo>
                    <a:pt x="869" y="194"/>
                  </a:lnTo>
                  <a:lnTo>
                    <a:pt x="883" y="213"/>
                  </a:lnTo>
                  <a:lnTo>
                    <a:pt x="896" y="233"/>
                  </a:lnTo>
                  <a:lnTo>
                    <a:pt x="907" y="253"/>
                  </a:lnTo>
                  <a:lnTo>
                    <a:pt x="918" y="274"/>
                  </a:lnTo>
                  <a:lnTo>
                    <a:pt x="927" y="295"/>
                  </a:lnTo>
                  <a:lnTo>
                    <a:pt x="936" y="317"/>
                  </a:lnTo>
                  <a:lnTo>
                    <a:pt x="944" y="339"/>
                  </a:lnTo>
                  <a:lnTo>
                    <a:pt x="951" y="363"/>
                  </a:lnTo>
                  <a:lnTo>
                    <a:pt x="955" y="386"/>
                  </a:lnTo>
                  <a:lnTo>
                    <a:pt x="960" y="410"/>
                  </a:lnTo>
                  <a:lnTo>
                    <a:pt x="963" y="433"/>
                  </a:lnTo>
                  <a:lnTo>
                    <a:pt x="965" y="458"/>
                  </a:lnTo>
                  <a:lnTo>
                    <a:pt x="965" y="483"/>
                  </a:lnTo>
                  <a:lnTo>
                    <a:pt x="965" y="507"/>
                  </a:lnTo>
                  <a:lnTo>
                    <a:pt x="963" y="532"/>
                  </a:lnTo>
                  <a:lnTo>
                    <a:pt x="960" y="557"/>
                  </a:lnTo>
                  <a:lnTo>
                    <a:pt x="955" y="580"/>
                  </a:lnTo>
                  <a:lnTo>
                    <a:pt x="951" y="604"/>
                  </a:lnTo>
                  <a:lnTo>
                    <a:pt x="944" y="626"/>
                  </a:lnTo>
                  <a:lnTo>
                    <a:pt x="936" y="648"/>
                  </a:lnTo>
                  <a:lnTo>
                    <a:pt x="927" y="671"/>
                  </a:lnTo>
                  <a:lnTo>
                    <a:pt x="918" y="692"/>
                  </a:lnTo>
                  <a:lnTo>
                    <a:pt x="907" y="712"/>
                  </a:lnTo>
                  <a:lnTo>
                    <a:pt x="896" y="733"/>
                  </a:lnTo>
                  <a:lnTo>
                    <a:pt x="883" y="753"/>
                  </a:lnTo>
                  <a:lnTo>
                    <a:pt x="869" y="772"/>
                  </a:lnTo>
                  <a:lnTo>
                    <a:pt x="855" y="790"/>
                  </a:lnTo>
                  <a:lnTo>
                    <a:pt x="840" y="808"/>
                  </a:lnTo>
                  <a:lnTo>
                    <a:pt x="824" y="825"/>
                  </a:lnTo>
                  <a:lnTo>
                    <a:pt x="807" y="840"/>
                  </a:lnTo>
                  <a:lnTo>
                    <a:pt x="789" y="856"/>
                  </a:lnTo>
                  <a:lnTo>
                    <a:pt x="771" y="869"/>
                  </a:lnTo>
                  <a:lnTo>
                    <a:pt x="752" y="883"/>
                  </a:lnTo>
                  <a:lnTo>
                    <a:pt x="733" y="896"/>
                  </a:lnTo>
                  <a:lnTo>
                    <a:pt x="713" y="907"/>
                  </a:lnTo>
                  <a:lnTo>
                    <a:pt x="692" y="918"/>
                  </a:lnTo>
                  <a:lnTo>
                    <a:pt x="670" y="928"/>
                  </a:lnTo>
                  <a:lnTo>
                    <a:pt x="648" y="937"/>
                  </a:lnTo>
                  <a:lnTo>
                    <a:pt x="625" y="944"/>
                  </a:lnTo>
                  <a:lnTo>
                    <a:pt x="603" y="950"/>
                  </a:lnTo>
                  <a:lnTo>
                    <a:pt x="580" y="956"/>
                  </a:lnTo>
                  <a:lnTo>
                    <a:pt x="556" y="960"/>
                  </a:lnTo>
                  <a:lnTo>
                    <a:pt x="531" y="964"/>
                  </a:lnTo>
                  <a:lnTo>
                    <a:pt x="508" y="965"/>
                  </a:lnTo>
                  <a:lnTo>
                    <a:pt x="482" y="9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
            <p:cNvSpPr>
              <a:spLocks/>
            </p:cNvSpPr>
            <p:nvPr/>
          </p:nvSpPr>
          <p:spPr bwMode="auto">
            <a:xfrm>
              <a:off x="5708650" y="5943600"/>
              <a:ext cx="223838" cy="223838"/>
            </a:xfrm>
            <a:custGeom>
              <a:avLst/>
              <a:gdLst>
                <a:gd name="T0" fmla="*/ 536 w 563"/>
                <a:gd name="T1" fmla="*/ 562 h 562"/>
                <a:gd name="T2" fmla="*/ 531 w 563"/>
                <a:gd name="T3" fmla="*/ 562 h 562"/>
                <a:gd name="T4" fmla="*/ 526 w 563"/>
                <a:gd name="T5" fmla="*/ 560 h 562"/>
                <a:gd name="T6" fmla="*/ 521 w 563"/>
                <a:gd name="T7" fmla="*/ 558 h 562"/>
                <a:gd name="T8" fmla="*/ 517 w 563"/>
                <a:gd name="T9" fmla="*/ 555 h 562"/>
                <a:gd name="T10" fmla="*/ 8 w 563"/>
                <a:gd name="T11" fmla="*/ 44 h 562"/>
                <a:gd name="T12" fmla="*/ 4 w 563"/>
                <a:gd name="T13" fmla="*/ 41 h 562"/>
                <a:gd name="T14" fmla="*/ 1 w 563"/>
                <a:gd name="T15" fmla="*/ 37 h 562"/>
                <a:gd name="T16" fmla="*/ 0 w 563"/>
                <a:gd name="T17" fmla="*/ 31 h 562"/>
                <a:gd name="T18" fmla="*/ 0 w 563"/>
                <a:gd name="T19" fmla="*/ 27 h 562"/>
                <a:gd name="T20" fmla="*/ 0 w 563"/>
                <a:gd name="T21" fmla="*/ 21 h 562"/>
                <a:gd name="T22" fmla="*/ 1 w 563"/>
                <a:gd name="T23" fmla="*/ 16 h 562"/>
                <a:gd name="T24" fmla="*/ 4 w 563"/>
                <a:gd name="T25" fmla="*/ 11 h 562"/>
                <a:gd name="T26" fmla="*/ 8 w 563"/>
                <a:gd name="T27" fmla="*/ 7 h 562"/>
                <a:gd name="T28" fmla="*/ 11 w 563"/>
                <a:gd name="T29" fmla="*/ 4 h 562"/>
                <a:gd name="T30" fmla="*/ 17 w 563"/>
                <a:gd name="T31" fmla="*/ 1 h 562"/>
                <a:gd name="T32" fmla="*/ 21 w 563"/>
                <a:gd name="T33" fmla="*/ 0 h 562"/>
                <a:gd name="T34" fmla="*/ 27 w 563"/>
                <a:gd name="T35" fmla="*/ 0 h 562"/>
                <a:gd name="T36" fmla="*/ 31 w 563"/>
                <a:gd name="T37" fmla="*/ 0 h 562"/>
                <a:gd name="T38" fmla="*/ 37 w 563"/>
                <a:gd name="T39" fmla="*/ 1 h 562"/>
                <a:gd name="T40" fmla="*/ 41 w 563"/>
                <a:gd name="T41" fmla="*/ 4 h 562"/>
                <a:gd name="T42" fmla="*/ 45 w 563"/>
                <a:gd name="T43" fmla="*/ 7 h 562"/>
                <a:gd name="T44" fmla="*/ 555 w 563"/>
                <a:gd name="T45" fmla="*/ 516 h 562"/>
                <a:gd name="T46" fmla="*/ 558 w 563"/>
                <a:gd name="T47" fmla="*/ 521 h 562"/>
                <a:gd name="T48" fmla="*/ 560 w 563"/>
                <a:gd name="T49" fmla="*/ 525 h 562"/>
                <a:gd name="T50" fmla="*/ 563 w 563"/>
                <a:gd name="T51" fmla="*/ 531 h 562"/>
                <a:gd name="T52" fmla="*/ 563 w 563"/>
                <a:gd name="T53" fmla="*/ 536 h 562"/>
                <a:gd name="T54" fmla="*/ 563 w 563"/>
                <a:gd name="T55" fmla="*/ 541 h 562"/>
                <a:gd name="T56" fmla="*/ 560 w 563"/>
                <a:gd name="T57" fmla="*/ 546 h 562"/>
                <a:gd name="T58" fmla="*/ 558 w 563"/>
                <a:gd name="T59" fmla="*/ 550 h 562"/>
                <a:gd name="T60" fmla="*/ 555 w 563"/>
                <a:gd name="T61" fmla="*/ 555 h 562"/>
                <a:gd name="T62" fmla="*/ 550 w 563"/>
                <a:gd name="T63" fmla="*/ 558 h 562"/>
                <a:gd name="T64" fmla="*/ 546 w 563"/>
                <a:gd name="T65" fmla="*/ 560 h 562"/>
                <a:gd name="T66" fmla="*/ 541 w 563"/>
                <a:gd name="T67" fmla="*/ 562 h 562"/>
                <a:gd name="T68" fmla="*/ 536 w 563"/>
                <a:gd name="T69" fmla="*/ 56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3" h="562">
                  <a:moveTo>
                    <a:pt x="536" y="562"/>
                  </a:moveTo>
                  <a:lnTo>
                    <a:pt x="531" y="562"/>
                  </a:lnTo>
                  <a:lnTo>
                    <a:pt x="526" y="560"/>
                  </a:lnTo>
                  <a:lnTo>
                    <a:pt x="521" y="558"/>
                  </a:lnTo>
                  <a:lnTo>
                    <a:pt x="517" y="555"/>
                  </a:lnTo>
                  <a:lnTo>
                    <a:pt x="8" y="44"/>
                  </a:lnTo>
                  <a:lnTo>
                    <a:pt x="4" y="41"/>
                  </a:lnTo>
                  <a:lnTo>
                    <a:pt x="1" y="37"/>
                  </a:lnTo>
                  <a:lnTo>
                    <a:pt x="0" y="31"/>
                  </a:lnTo>
                  <a:lnTo>
                    <a:pt x="0" y="27"/>
                  </a:lnTo>
                  <a:lnTo>
                    <a:pt x="0" y="21"/>
                  </a:lnTo>
                  <a:lnTo>
                    <a:pt x="1" y="16"/>
                  </a:lnTo>
                  <a:lnTo>
                    <a:pt x="4" y="11"/>
                  </a:lnTo>
                  <a:lnTo>
                    <a:pt x="8" y="7"/>
                  </a:lnTo>
                  <a:lnTo>
                    <a:pt x="11" y="4"/>
                  </a:lnTo>
                  <a:lnTo>
                    <a:pt x="17" y="1"/>
                  </a:lnTo>
                  <a:lnTo>
                    <a:pt x="21" y="0"/>
                  </a:lnTo>
                  <a:lnTo>
                    <a:pt x="27" y="0"/>
                  </a:lnTo>
                  <a:lnTo>
                    <a:pt x="31" y="0"/>
                  </a:lnTo>
                  <a:lnTo>
                    <a:pt x="37" y="1"/>
                  </a:lnTo>
                  <a:lnTo>
                    <a:pt x="41" y="4"/>
                  </a:lnTo>
                  <a:lnTo>
                    <a:pt x="45" y="7"/>
                  </a:lnTo>
                  <a:lnTo>
                    <a:pt x="555" y="516"/>
                  </a:lnTo>
                  <a:lnTo>
                    <a:pt x="558" y="521"/>
                  </a:lnTo>
                  <a:lnTo>
                    <a:pt x="560" y="525"/>
                  </a:lnTo>
                  <a:lnTo>
                    <a:pt x="563" y="531"/>
                  </a:lnTo>
                  <a:lnTo>
                    <a:pt x="563" y="536"/>
                  </a:lnTo>
                  <a:lnTo>
                    <a:pt x="563" y="541"/>
                  </a:lnTo>
                  <a:lnTo>
                    <a:pt x="560" y="546"/>
                  </a:lnTo>
                  <a:lnTo>
                    <a:pt x="558" y="550"/>
                  </a:lnTo>
                  <a:lnTo>
                    <a:pt x="555" y="555"/>
                  </a:lnTo>
                  <a:lnTo>
                    <a:pt x="550" y="558"/>
                  </a:lnTo>
                  <a:lnTo>
                    <a:pt x="546" y="560"/>
                  </a:lnTo>
                  <a:lnTo>
                    <a:pt x="541" y="562"/>
                  </a:lnTo>
                  <a:lnTo>
                    <a:pt x="536" y="5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1"/>
            <p:cNvSpPr>
              <a:spLocks/>
            </p:cNvSpPr>
            <p:nvPr/>
          </p:nvSpPr>
          <p:spPr bwMode="auto">
            <a:xfrm>
              <a:off x="5432425" y="5688013"/>
              <a:ext cx="158750" cy="160338"/>
            </a:xfrm>
            <a:custGeom>
              <a:avLst/>
              <a:gdLst>
                <a:gd name="T0" fmla="*/ 23 w 403"/>
                <a:gd name="T1" fmla="*/ 402 h 402"/>
                <a:gd name="T2" fmla="*/ 13 w 403"/>
                <a:gd name="T3" fmla="*/ 398 h 402"/>
                <a:gd name="T4" fmla="*/ 6 w 403"/>
                <a:gd name="T5" fmla="*/ 391 h 402"/>
                <a:gd name="T6" fmla="*/ 2 w 403"/>
                <a:gd name="T7" fmla="*/ 381 h 402"/>
                <a:gd name="T8" fmla="*/ 2 w 403"/>
                <a:gd name="T9" fmla="*/ 356 h 402"/>
                <a:gd name="T10" fmla="*/ 5 w 403"/>
                <a:gd name="T11" fmla="*/ 318 h 402"/>
                <a:gd name="T12" fmla="*/ 13 w 403"/>
                <a:gd name="T13" fmla="*/ 282 h 402"/>
                <a:gd name="T14" fmla="*/ 24 w 403"/>
                <a:gd name="T15" fmla="*/ 247 h 402"/>
                <a:gd name="T16" fmla="*/ 39 w 403"/>
                <a:gd name="T17" fmla="*/ 213 h 402"/>
                <a:gd name="T18" fmla="*/ 55 w 403"/>
                <a:gd name="T19" fmla="*/ 182 h 402"/>
                <a:gd name="T20" fmla="*/ 76 w 403"/>
                <a:gd name="T21" fmla="*/ 151 h 402"/>
                <a:gd name="T22" fmla="*/ 99 w 403"/>
                <a:gd name="T23" fmla="*/ 123 h 402"/>
                <a:gd name="T24" fmla="*/ 124 w 403"/>
                <a:gd name="T25" fmla="*/ 97 h 402"/>
                <a:gd name="T26" fmla="*/ 152 w 403"/>
                <a:gd name="T27" fmla="*/ 75 h 402"/>
                <a:gd name="T28" fmla="*/ 182 w 403"/>
                <a:gd name="T29" fmla="*/ 55 h 402"/>
                <a:gd name="T30" fmla="*/ 213 w 403"/>
                <a:gd name="T31" fmla="*/ 37 h 402"/>
                <a:gd name="T32" fmla="*/ 247 w 403"/>
                <a:gd name="T33" fmla="*/ 23 h 402"/>
                <a:gd name="T34" fmla="*/ 283 w 403"/>
                <a:gd name="T35" fmla="*/ 12 h 402"/>
                <a:gd name="T36" fmla="*/ 320 w 403"/>
                <a:gd name="T37" fmla="*/ 4 h 402"/>
                <a:gd name="T38" fmla="*/ 357 w 403"/>
                <a:gd name="T39" fmla="*/ 1 h 402"/>
                <a:gd name="T40" fmla="*/ 382 w 403"/>
                <a:gd name="T41" fmla="*/ 1 h 402"/>
                <a:gd name="T42" fmla="*/ 392 w 403"/>
                <a:gd name="T43" fmla="*/ 4 h 402"/>
                <a:gd name="T44" fmla="*/ 398 w 403"/>
                <a:gd name="T45" fmla="*/ 12 h 402"/>
                <a:gd name="T46" fmla="*/ 403 w 403"/>
                <a:gd name="T47" fmla="*/ 21 h 402"/>
                <a:gd name="T48" fmla="*/ 403 w 403"/>
                <a:gd name="T49" fmla="*/ 32 h 402"/>
                <a:gd name="T50" fmla="*/ 398 w 403"/>
                <a:gd name="T51" fmla="*/ 43 h 402"/>
                <a:gd name="T52" fmla="*/ 392 w 403"/>
                <a:gd name="T53" fmla="*/ 49 h 402"/>
                <a:gd name="T54" fmla="*/ 382 w 403"/>
                <a:gd name="T55" fmla="*/ 54 h 402"/>
                <a:gd name="T56" fmla="*/ 360 w 403"/>
                <a:gd name="T57" fmla="*/ 55 h 402"/>
                <a:gd name="T58" fmla="*/ 328 w 403"/>
                <a:gd name="T59" fmla="*/ 58 h 402"/>
                <a:gd name="T60" fmla="*/ 296 w 403"/>
                <a:gd name="T61" fmla="*/ 64 h 402"/>
                <a:gd name="T62" fmla="*/ 266 w 403"/>
                <a:gd name="T63" fmla="*/ 74 h 402"/>
                <a:gd name="T64" fmla="*/ 237 w 403"/>
                <a:gd name="T65" fmla="*/ 86 h 402"/>
                <a:gd name="T66" fmla="*/ 210 w 403"/>
                <a:gd name="T67" fmla="*/ 101 h 402"/>
                <a:gd name="T68" fmla="*/ 184 w 403"/>
                <a:gd name="T69" fmla="*/ 118 h 402"/>
                <a:gd name="T70" fmla="*/ 160 w 403"/>
                <a:gd name="T71" fmla="*/ 138 h 402"/>
                <a:gd name="T72" fmla="*/ 138 w 403"/>
                <a:gd name="T73" fmla="*/ 159 h 402"/>
                <a:gd name="T74" fmla="*/ 118 w 403"/>
                <a:gd name="T75" fmla="*/ 184 h 402"/>
                <a:gd name="T76" fmla="*/ 101 w 403"/>
                <a:gd name="T77" fmla="*/ 210 h 402"/>
                <a:gd name="T78" fmla="*/ 87 w 403"/>
                <a:gd name="T79" fmla="*/ 237 h 402"/>
                <a:gd name="T80" fmla="*/ 74 w 403"/>
                <a:gd name="T81" fmla="*/ 266 h 402"/>
                <a:gd name="T82" fmla="*/ 64 w 403"/>
                <a:gd name="T83" fmla="*/ 296 h 402"/>
                <a:gd name="T84" fmla="*/ 59 w 403"/>
                <a:gd name="T85" fmla="*/ 327 h 402"/>
                <a:gd name="T86" fmla="*/ 55 w 403"/>
                <a:gd name="T87" fmla="*/ 360 h 402"/>
                <a:gd name="T88" fmla="*/ 54 w 403"/>
                <a:gd name="T89" fmla="*/ 381 h 402"/>
                <a:gd name="T90" fmla="*/ 50 w 403"/>
                <a:gd name="T91" fmla="*/ 391 h 402"/>
                <a:gd name="T92" fmla="*/ 43 w 403"/>
                <a:gd name="T93" fmla="*/ 398 h 402"/>
                <a:gd name="T94" fmla="*/ 33 w 403"/>
                <a:gd name="T95"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3" h="402">
                  <a:moveTo>
                    <a:pt x="27" y="402"/>
                  </a:moveTo>
                  <a:lnTo>
                    <a:pt x="23" y="402"/>
                  </a:lnTo>
                  <a:lnTo>
                    <a:pt x="17" y="400"/>
                  </a:lnTo>
                  <a:lnTo>
                    <a:pt x="13" y="398"/>
                  </a:lnTo>
                  <a:lnTo>
                    <a:pt x="8" y="395"/>
                  </a:lnTo>
                  <a:lnTo>
                    <a:pt x="6" y="391"/>
                  </a:lnTo>
                  <a:lnTo>
                    <a:pt x="3" y="387"/>
                  </a:lnTo>
                  <a:lnTo>
                    <a:pt x="2" y="381"/>
                  </a:lnTo>
                  <a:lnTo>
                    <a:pt x="0" y="376"/>
                  </a:lnTo>
                  <a:lnTo>
                    <a:pt x="2" y="356"/>
                  </a:lnTo>
                  <a:lnTo>
                    <a:pt x="3" y="337"/>
                  </a:lnTo>
                  <a:lnTo>
                    <a:pt x="5" y="318"/>
                  </a:lnTo>
                  <a:lnTo>
                    <a:pt x="8" y="300"/>
                  </a:lnTo>
                  <a:lnTo>
                    <a:pt x="13" y="282"/>
                  </a:lnTo>
                  <a:lnTo>
                    <a:pt x="18" y="265"/>
                  </a:lnTo>
                  <a:lnTo>
                    <a:pt x="24" y="247"/>
                  </a:lnTo>
                  <a:lnTo>
                    <a:pt x="31" y="230"/>
                  </a:lnTo>
                  <a:lnTo>
                    <a:pt x="39" y="213"/>
                  </a:lnTo>
                  <a:lnTo>
                    <a:pt x="46" y="197"/>
                  </a:lnTo>
                  <a:lnTo>
                    <a:pt x="55" y="182"/>
                  </a:lnTo>
                  <a:lnTo>
                    <a:pt x="65" y="166"/>
                  </a:lnTo>
                  <a:lnTo>
                    <a:pt x="76" y="151"/>
                  </a:lnTo>
                  <a:lnTo>
                    <a:pt x="87" y="137"/>
                  </a:lnTo>
                  <a:lnTo>
                    <a:pt x="99" y="123"/>
                  </a:lnTo>
                  <a:lnTo>
                    <a:pt x="111" y="111"/>
                  </a:lnTo>
                  <a:lnTo>
                    <a:pt x="124" y="97"/>
                  </a:lnTo>
                  <a:lnTo>
                    <a:pt x="138" y="86"/>
                  </a:lnTo>
                  <a:lnTo>
                    <a:pt x="152" y="75"/>
                  </a:lnTo>
                  <a:lnTo>
                    <a:pt x="166" y="65"/>
                  </a:lnTo>
                  <a:lnTo>
                    <a:pt x="182" y="55"/>
                  </a:lnTo>
                  <a:lnTo>
                    <a:pt x="198" y="46"/>
                  </a:lnTo>
                  <a:lnTo>
                    <a:pt x="213" y="37"/>
                  </a:lnTo>
                  <a:lnTo>
                    <a:pt x="230" y="30"/>
                  </a:lnTo>
                  <a:lnTo>
                    <a:pt x="247" y="23"/>
                  </a:lnTo>
                  <a:lnTo>
                    <a:pt x="265" y="17"/>
                  </a:lnTo>
                  <a:lnTo>
                    <a:pt x="283" y="12"/>
                  </a:lnTo>
                  <a:lnTo>
                    <a:pt x="301" y="8"/>
                  </a:lnTo>
                  <a:lnTo>
                    <a:pt x="320" y="4"/>
                  </a:lnTo>
                  <a:lnTo>
                    <a:pt x="338" y="2"/>
                  </a:lnTo>
                  <a:lnTo>
                    <a:pt x="357" y="1"/>
                  </a:lnTo>
                  <a:lnTo>
                    <a:pt x="376" y="0"/>
                  </a:lnTo>
                  <a:lnTo>
                    <a:pt x="382" y="1"/>
                  </a:lnTo>
                  <a:lnTo>
                    <a:pt x="387" y="2"/>
                  </a:lnTo>
                  <a:lnTo>
                    <a:pt x="392" y="4"/>
                  </a:lnTo>
                  <a:lnTo>
                    <a:pt x="395" y="8"/>
                  </a:lnTo>
                  <a:lnTo>
                    <a:pt x="398" y="12"/>
                  </a:lnTo>
                  <a:lnTo>
                    <a:pt x="402" y="17"/>
                  </a:lnTo>
                  <a:lnTo>
                    <a:pt x="403" y="21"/>
                  </a:lnTo>
                  <a:lnTo>
                    <a:pt x="403" y="27"/>
                  </a:lnTo>
                  <a:lnTo>
                    <a:pt x="403" y="32"/>
                  </a:lnTo>
                  <a:lnTo>
                    <a:pt x="402" y="38"/>
                  </a:lnTo>
                  <a:lnTo>
                    <a:pt x="398" y="43"/>
                  </a:lnTo>
                  <a:lnTo>
                    <a:pt x="395" y="46"/>
                  </a:lnTo>
                  <a:lnTo>
                    <a:pt x="392" y="49"/>
                  </a:lnTo>
                  <a:lnTo>
                    <a:pt x="387" y="52"/>
                  </a:lnTo>
                  <a:lnTo>
                    <a:pt x="382" y="54"/>
                  </a:lnTo>
                  <a:lnTo>
                    <a:pt x="376" y="54"/>
                  </a:lnTo>
                  <a:lnTo>
                    <a:pt x="360" y="55"/>
                  </a:lnTo>
                  <a:lnTo>
                    <a:pt x="343" y="56"/>
                  </a:lnTo>
                  <a:lnTo>
                    <a:pt x="328" y="58"/>
                  </a:lnTo>
                  <a:lnTo>
                    <a:pt x="312" y="60"/>
                  </a:lnTo>
                  <a:lnTo>
                    <a:pt x="296" y="64"/>
                  </a:lnTo>
                  <a:lnTo>
                    <a:pt x="281" y="68"/>
                  </a:lnTo>
                  <a:lnTo>
                    <a:pt x="266" y="74"/>
                  </a:lnTo>
                  <a:lnTo>
                    <a:pt x="252" y="80"/>
                  </a:lnTo>
                  <a:lnTo>
                    <a:pt x="237" y="86"/>
                  </a:lnTo>
                  <a:lnTo>
                    <a:pt x="224" y="93"/>
                  </a:lnTo>
                  <a:lnTo>
                    <a:pt x="210" y="101"/>
                  </a:lnTo>
                  <a:lnTo>
                    <a:pt x="197" y="109"/>
                  </a:lnTo>
                  <a:lnTo>
                    <a:pt x="184" y="118"/>
                  </a:lnTo>
                  <a:lnTo>
                    <a:pt x="172" y="128"/>
                  </a:lnTo>
                  <a:lnTo>
                    <a:pt x="160" y="138"/>
                  </a:lnTo>
                  <a:lnTo>
                    <a:pt x="150" y="148"/>
                  </a:lnTo>
                  <a:lnTo>
                    <a:pt x="138" y="159"/>
                  </a:lnTo>
                  <a:lnTo>
                    <a:pt x="128" y="171"/>
                  </a:lnTo>
                  <a:lnTo>
                    <a:pt x="118" y="184"/>
                  </a:lnTo>
                  <a:lnTo>
                    <a:pt x="109" y="196"/>
                  </a:lnTo>
                  <a:lnTo>
                    <a:pt x="101" y="210"/>
                  </a:lnTo>
                  <a:lnTo>
                    <a:pt x="94" y="223"/>
                  </a:lnTo>
                  <a:lnTo>
                    <a:pt x="87" y="237"/>
                  </a:lnTo>
                  <a:lnTo>
                    <a:pt x="80" y="251"/>
                  </a:lnTo>
                  <a:lnTo>
                    <a:pt x="74" y="266"/>
                  </a:lnTo>
                  <a:lnTo>
                    <a:pt x="69" y="280"/>
                  </a:lnTo>
                  <a:lnTo>
                    <a:pt x="64" y="296"/>
                  </a:lnTo>
                  <a:lnTo>
                    <a:pt x="61" y="312"/>
                  </a:lnTo>
                  <a:lnTo>
                    <a:pt x="59" y="327"/>
                  </a:lnTo>
                  <a:lnTo>
                    <a:pt x="57" y="343"/>
                  </a:lnTo>
                  <a:lnTo>
                    <a:pt x="55" y="360"/>
                  </a:lnTo>
                  <a:lnTo>
                    <a:pt x="54" y="376"/>
                  </a:lnTo>
                  <a:lnTo>
                    <a:pt x="54" y="381"/>
                  </a:lnTo>
                  <a:lnTo>
                    <a:pt x="52" y="387"/>
                  </a:lnTo>
                  <a:lnTo>
                    <a:pt x="50" y="391"/>
                  </a:lnTo>
                  <a:lnTo>
                    <a:pt x="46" y="395"/>
                  </a:lnTo>
                  <a:lnTo>
                    <a:pt x="43" y="398"/>
                  </a:lnTo>
                  <a:lnTo>
                    <a:pt x="39" y="400"/>
                  </a:lnTo>
                  <a:lnTo>
                    <a:pt x="33" y="402"/>
                  </a:lnTo>
                  <a:lnTo>
                    <a:pt x="27"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674837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p:cNvSpPr txBox="1"/>
          <p:nvPr>
            <p:custDataLst>
              <p:tags r:id="rId1"/>
            </p:custDataLst>
          </p:nvPr>
        </p:nvSpPr>
        <p:spPr>
          <a:xfrm>
            <a:off x="304800" y="4953000"/>
            <a:ext cx="1551387" cy="523220"/>
          </a:xfrm>
          <a:prstGeom prst="rect">
            <a:avLst/>
          </a:prstGeom>
          <a:noFill/>
        </p:spPr>
        <p:txBody>
          <a:bodyPr wrap="none" rtlCol="0">
            <a:spAutoFit/>
          </a:bodyPr>
          <a:lstStyle/>
          <a:p>
            <a:r>
              <a:rPr lang="id-ID" sz="2800" dirty="0" smtClean="0">
                <a:solidFill>
                  <a:schemeClr val="tx1">
                    <a:lumMod val="75000"/>
                    <a:lumOff val="25000"/>
                  </a:schemeClr>
                </a:solidFill>
                <a:latin typeface="Calibri Light" pitchFamily="34" charset="0"/>
              </a:rPr>
              <a:t>IMPROVE</a:t>
            </a:r>
            <a:endParaRPr lang="en-US" sz="2800" dirty="0">
              <a:solidFill>
                <a:schemeClr val="tx1">
                  <a:lumMod val="75000"/>
                  <a:lumOff val="25000"/>
                </a:schemeClr>
              </a:solidFill>
              <a:latin typeface="Calibri Light" pitchFamily="34" charset="0"/>
            </a:endParaRPr>
          </a:p>
        </p:txBody>
      </p:sp>
      <p:sp>
        <p:nvSpPr>
          <p:cNvPr id="45" name="Rectangle 44"/>
          <p:cNvSpPr/>
          <p:nvPr>
            <p:custDataLst>
              <p:tags r:id="rId2"/>
            </p:custDataLst>
          </p:nvPr>
        </p:nvSpPr>
        <p:spPr>
          <a:xfrm>
            <a:off x="0" y="5496580"/>
            <a:ext cx="9144000" cy="1361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p:nvPr/>
        </p:nvCxnSpPr>
        <p:spPr>
          <a:xfrm flipH="1">
            <a:off x="0" y="5486400"/>
            <a:ext cx="9144000" cy="0"/>
          </a:xfrm>
          <a:prstGeom prst="line">
            <a:avLst/>
          </a:prstGeom>
          <a:ln w="12700">
            <a:solidFill>
              <a:srgbClr val="E74C3C"/>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21</a:t>
            </a:fld>
            <a:endParaRPr lang="en-US"/>
          </a:p>
        </p:txBody>
      </p:sp>
      <p:sp>
        <p:nvSpPr>
          <p:cNvPr id="47" name="Rectangle 46"/>
          <p:cNvSpPr/>
          <p:nvPr>
            <p:custDataLst>
              <p:tags r:id="rId3"/>
            </p:custDataLst>
          </p:nvPr>
        </p:nvSpPr>
        <p:spPr>
          <a:xfrm>
            <a:off x="304800" y="5648236"/>
            <a:ext cx="8305800" cy="600164"/>
          </a:xfrm>
          <a:prstGeom prst="rect">
            <a:avLst/>
          </a:prstGeom>
        </p:spPr>
        <p:txBody>
          <a:bodyPr wrap="square">
            <a:spAutoFit/>
          </a:bodyPr>
          <a:lstStyle/>
          <a:p>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a:t>
            </a:r>
            <a:r>
              <a:rPr lang="en-US" sz="1100" dirty="0" smtClean="0">
                <a:solidFill>
                  <a:schemeClr val="tx1">
                    <a:lumMod val="75000"/>
                    <a:lumOff val="25000"/>
                  </a:schemeClr>
                </a:solidFill>
                <a:latin typeface="Calibri Light" pitchFamily="34" charset="0"/>
              </a:rPr>
              <a:t>simply dummy text of the printing and </a:t>
            </a:r>
            <a:r>
              <a:rPr lang="en-US" sz="1100" dirty="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smtClean="0">
                <a:solidFill>
                  <a:schemeClr val="tx1">
                    <a:lumMod val="75000"/>
                    <a:lumOff val="25000"/>
                  </a:schemeClr>
                </a:solidFill>
                <a:latin typeface="Calibri Light" pitchFamily="34" charset="0"/>
              </a:rPr>
              <a:t>Lorem</a:t>
            </a:r>
            <a:r>
              <a:rPr lang="en-US" sz="1100" dirty="0" smtClean="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a:t>
            </a:r>
            <a:r>
              <a:rPr lang="en-US" sz="1100" dirty="0" smtClean="0">
                <a:solidFill>
                  <a:schemeClr val="tx1">
                    <a:lumMod val="75000"/>
                    <a:lumOff val="25000"/>
                  </a:schemeClr>
                </a:solidFill>
                <a:latin typeface="Calibri Light" pitchFamily="34" charset="0"/>
              </a:rPr>
              <a:t>typesetting. </a:t>
            </a:r>
          </a:p>
        </p:txBody>
      </p:sp>
      <p:grpSp>
        <p:nvGrpSpPr>
          <p:cNvPr id="10" name="Group 9"/>
          <p:cNvGrpSpPr/>
          <p:nvPr/>
        </p:nvGrpSpPr>
        <p:grpSpPr>
          <a:xfrm>
            <a:off x="5879409" y="1516394"/>
            <a:ext cx="2627395" cy="3541630"/>
            <a:chOff x="5084594" y="1541916"/>
            <a:chExt cx="2627395" cy="3541630"/>
          </a:xfrm>
        </p:grpSpPr>
        <p:grpSp>
          <p:nvGrpSpPr>
            <p:cNvPr id="19" name="Group 18"/>
            <p:cNvGrpSpPr/>
            <p:nvPr/>
          </p:nvGrpSpPr>
          <p:grpSpPr>
            <a:xfrm>
              <a:off x="5084594" y="1541916"/>
              <a:ext cx="863640" cy="924579"/>
              <a:chOff x="-1046920" y="2123773"/>
              <a:chExt cx="1219200" cy="1305227"/>
            </a:xfrm>
          </p:grpSpPr>
          <p:sp>
            <p:nvSpPr>
              <p:cNvPr id="20" name="Oval 19"/>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Oval 20"/>
              <p:cNvSpPr/>
              <p:nvPr/>
            </p:nvSpPr>
            <p:spPr>
              <a:xfrm>
                <a:off x="-961755" y="22949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3" name="Oval 22"/>
              <p:cNvSpPr/>
              <p:nvPr/>
            </p:nvSpPr>
            <p:spPr>
              <a:xfrm>
                <a:off x="-627820" y="2123773"/>
                <a:ext cx="381000" cy="381000"/>
              </a:xfrm>
              <a:prstGeom prst="ellipse">
                <a:avLst/>
              </a:prstGeom>
              <a:solidFill>
                <a:schemeClr val="bg1"/>
              </a:solidFill>
              <a:ln w="38100">
                <a:solidFill>
                  <a:srgbClr val="E74C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b="1" dirty="0" smtClean="0">
                    <a:solidFill>
                      <a:srgbClr val="7F8C8D"/>
                    </a:solidFill>
                    <a:latin typeface="Calibri Light" panose="020F0302020204030204" pitchFamily="34" charset="0"/>
                  </a:rPr>
                  <a:t>1</a:t>
                </a:r>
                <a:endParaRPr lang="id-ID" sz="1200" b="1" dirty="0">
                  <a:solidFill>
                    <a:srgbClr val="7F8C8D"/>
                  </a:solidFill>
                  <a:latin typeface="Calibri Light" panose="020F0302020204030204" pitchFamily="34" charset="0"/>
                </a:endParaRPr>
              </a:p>
            </p:txBody>
          </p:sp>
        </p:grpSp>
        <p:grpSp>
          <p:nvGrpSpPr>
            <p:cNvPr id="36" name="Group 35"/>
            <p:cNvGrpSpPr/>
            <p:nvPr/>
          </p:nvGrpSpPr>
          <p:grpSpPr>
            <a:xfrm>
              <a:off x="5084594" y="2850442"/>
              <a:ext cx="863640" cy="924579"/>
              <a:chOff x="-1046920" y="2123773"/>
              <a:chExt cx="1219200" cy="1305227"/>
            </a:xfrm>
          </p:grpSpPr>
          <p:sp>
            <p:nvSpPr>
              <p:cNvPr id="38" name="Oval 37"/>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9" name="Oval 38"/>
              <p:cNvSpPr/>
              <p:nvPr/>
            </p:nvSpPr>
            <p:spPr>
              <a:xfrm>
                <a:off x="-961755" y="2294965"/>
                <a:ext cx="1048871" cy="1048871"/>
              </a:xfrm>
              <a:prstGeom prst="ellipse">
                <a:avLst/>
              </a:prstGeom>
              <a:solidFill>
                <a:srgbClr val="C0392B"/>
              </a:solidFill>
              <a:ln w="38100">
                <a:solidFill>
                  <a:srgbClr val="D6DAD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sz="1200">
                  <a:latin typeface="+mj-lt"/>
                </a:endParaRPr>
              </a:p>
            </p:txBody>
          </p:sp>
          <p:sp>
            <p:nvSpPr>
              <p:cNvPr id="40" name="Oval 39"/>
              <p:cNvSpPr/>
              <p:nvPr/>
            </p:nvSpPr>
            <p:spPr>
              <a:xfrm>
                <a:off x="-627820" y="2123773"/>
                <a:ext cx="381000" cy="381000"/>
              </a:xfrm>
              <a:prstGeom prst="ellipse">
                <a:avLst/>
              </a:prstGeom>
              <a:solidFill>
                <a:schemeClr val="bg1"/>
              </a:solidFill>
              <a:ln w="38100">
                <a:solidFill>
                  <a:srgbClr val="C039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b="1" dirty="0" smtClean="0">
                    <a:solidFill>
                      <a:srgbClr val="7F8C8D"/>
                    </a:solidFill>
                    <a:latin typeface="Calibri Light" panose="020F0302020204030204" pitchFamily="34" charset="0"/>
                  </a:rPr>
                  <a:t>2</a:t>
                </a:r>
                <a:endParaRPr lang="id-ID" sz="1200" b="1" dirty="0">
                  <a:solidFill>
                    <a:srgbClr val="7F8C8D"/>
                  </a:solidFill>
                  <a:latin typeface="Calibri Light" panose="020F0302020204030204" pitchFamily="34" charset="0"/>
                </a:endParaRPr>
              </a:p>
            </p:txBody>
          </p:sp>
        </p:grpSp>
        <p:grpSp>
          <p:nvGrpSpPr>
            <p:cNvPr id="41" name="Group 40"/>
            <p:cNvGrpSpPr/>
            <p:nvPr/>
          </p:nvGrpSpPr>
          <p:grpSpPr>
            <a:xfrm>
              <a:off x="5084594" y="4158967"/>
              <a:ext cx="863640" cy="924579"/>
              <a:chOff x="-1046920" y="2123773"/>
              <a:chExt cx="1219200" cy="1305227"/>
            </a:xfrm>
          </p:grpSpPr>
          <p:sp>
            <p:nvSpPr>
              <p:cNvPr id="42" name="Oval 41"/>
              <p:cNvSpPr/>
              <p:nvPr/>
            </p:nvSpPr>
            <p:spPr>
              <a:xfrm>
                <a:off x="-1046920" y="22098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3" name="Oval 42"/>
              <p:cNvSpPr/>
              <p:nvPr/>
            </p:nvSpPr>
            <p:spPr>
              <a:xfrm>
                <a:off x="-961755" y="2294965"/>
                <a:ext cx="1048871" cy="1048871"/>
              </a:xfrm>
              <a:prstGeom prst="ellipse">
                <a:avLst/>
              </a:prstGeom>
              <a:solidFill>
                <a:srgbClr val="8D291F"/>
              </a:solidFill>
              <a:ln w="38100">
                <a:solidFill>
                  <a:srgbClr val="D6DADC"/>
                </a:solidFill>
                <a:round/>
                <a:headEnd/>
                <a:tailEnd/>
              </a:ln>
            </p:spPr>
            <p:txBody>
              <a:bodyPr/>
              <a:lstStyle/>
              <a:p>
                <a:endParaRPr lang="id-ID" sz="1200">
                  <a:solidFill>
                    <a:schemeClr val="bg1"/>
                  </a:solidFill>
                  <a:latin typeface="+mj-lt"/>
                </a:endParaRPr>
              </a:p>
            </p:txBody>
          </p:sp>
          <p:sp>
            <p:nvSpPr>
              <p:cNvPr id="48" name="Oval 47"/>
              <p:cNvSpPr/>
              <p:nvPr/>
            </p:nvSpPr>
            <p:spPr>
              <a:xfrm>
                <a:off x="-627820" y="2123773"/>
                <a:ext cx="381000" cy="381000"/>
              </a:xfrm>
              <a:prstGeom prst="ellipse">
                <a:avLst/>
              </a:prstGeom>
              <a:solidFill>
                <a:schemeClr val="bg1"/>
              </a:solidFill>
              <a:ln w="38100">
                <a:solidFill>
                  <a:srgbClr val="8D29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b="1" dirty="0" smtClean="0">
                    <a:solidFill>
                      <a:srgbClr val="7F8C8D"/>
                    </a:solidFill>
                    <a:latin typeface="Calibri Light" panose="020F0302020204030204" pitchFamily="34" charset="0"/>
                  </a:rPr>
                  <a:t>3</a:t>
                </a:r>
                <a:endParaRPr lang="id-ID" sz="1200" b="1" dirty="0">
                  <a:solidFill>
                    <a:srgbClr val="7F8C8D"/>
                  </a:solidFill>
                  <a:latin typeface="Calibri Light" panose="020F0302020204030204" pitchFamily="34" charset="0"/>
                </a:endParaRPr>
              </a:p>
            </p:txBody>
          </p:sp>
        </p:grpSp>
        <p:sp>
          <p:nvSpPr>
            <p:cNvPr id="49" name="Rectangle 48"/>
            <p:cNvSpPr/>
            <p:nvPr/>
          </p:nvSpPr>
          <p:spPr>
            <a:xfrm>
              <a:off x="6106526" y="1642260"/>
              <a:ext cx="1605463" cy="815608"/>
            </a:xfrm>
            <a:prstGeom prst="rect">
              <a:avLst/>
            </a:prstGeom>
          </p:spPr>
          <p:txBody>
            <a:bodyPr wrap="square">
              <a:spAutoFit/>
            </a:bodyPr>
            <a:lstStyle/>
            <a:p>
              <a:r>
                <a:rPr lang="id-ID" sz="1200" b="1" dirty="0">
                  <a:solidFill>
                    <a:schemeClr val="tx1">
                      <a:lumMod val="75000"/>
                      <a:lumOff val="25000"/>
                    </a:schemeClr>
                  </a:solidFill>
                  <a:latin typeface="Calibri Light" pitchFamily="34" charset="0"/>
                </a:rPr>
                <a:t>CHALLENGE</a:t>
              </a:r>
            </a:p>
            <a:p>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typesetting. </a:t>
              </a:r>
            </a:p>
          </p:txBody>
        </p:sp>
        <p:sp>
          <p:nvSpPr>
            <p:cNvPr id="50" name="Rectangle 49"/>
            <p:cNvSpPr/>
            <p:nvPr/>
          </p:nvSpPr>
          <p:spPr>
            <a:xfrm>
              <a:off x="6106526" y="2891303"/>
              <a:ext cx="1605463" cy="784830"/>
            </a:xfrm>
            <a:prstGeom prst="rect">
              <a:avLst/>
            </a:prstGeom>
          </p:spPr>
          <p:txBody>
            <a:bodyPr wrap="square">
              <a:spAutoFit/>
            </a:bodyPr>
            <a:lstStyle/>
            <a:p>
              <a:r>
                <a:rPr lang="id-ID" sz="1200" b="1" dirty="0">
                  <a:solidFill>
                    <a:schemeClr val="tx1">
                      <a:lumMod val="75000"/>
                      <a:lumOff val="25000"/>
                    </a:schemeClr>
                  </a:solidFill>
                  <a:latin typeface="Calibri Light" pitchFamily="34" charset="0"/>
                </a:rPr>
                <a:t>SOLUTIONS</a:t>
              </a:r>
            </a:p>
            <a:p>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typesetting. </a:t>
              </a:r>
            </a:p>
          </p:txBody>
        </p:sp>
        <p:sp>
          <p:nvSpPr>
            <p:cNvPr id="51" name="Rectangle 50"/>
            <p:cNvSpPr/>
            <p:nvPr/>
          </p:nvSpPr>
          <p:spPr>
            <a:xfrm>
              <a:off x="6106526" y="4230378"/>
              <a:ext cx="1605463" cy="784830"/>
            </a:xfrm>
            <a:prstGeom prst="rect">
              <a:avLst/>
            </a:prstGeom>
          </p:spPr>
          <p:txBody>
            <a:bodyPr wrap="square">
              <a:spAutoFit/>
            </a:bodyPr>
            <a:lstStyle/>
            <a:p>
              <a:r>
                <a:rPr lang="id-ID" sz="1200" b="1" dirty="0">
                  <a:solidFill>
                    <a:schemeClr val="tx1">
                      <a:lumMod val="75000"/>
                      <a:lumOff val="25000"/>
                    </a:schemeClr>
                  </a:solidFill>
                  <a:latin typeface="Calibri Light" pitchFamily="34" charset="0"/>
                </a:rPr>
                <a:t>RESULT</a:t>
              </a:r>
            </a:p>
            <a:p>
              <a:r>
                <a:rPr lang="en-US" sz="1100" dirty="0" err="1">
                  <a:solidFill>
                    <a:schemeClr val="tx1">
                      <a:lumMod val="75000"/>
                      <a:lumOff val="25000"/>
                    </a:schemeClr>
                  </a:solidFill>
                  <a:latin typeface="Calibri Light" pitchFamily="34" charset="0"/>
                </a:rPr>
                <a:t>Lorem</a:t>
              </a:r>
              <a:r>
                <a:rPr lang="en-US" sz="1100" dirty="0">
                  <a:solidFill>
                    <a:schemeClr val="tx1">
                      <a:lumMod val="75000"/>
                      <a:lumOff val="25000"/>
                    </a:schemeClr>
                  </a:solidFill>
                  <a:latin typeface="Calibri Light" pitchFamily="34" charset="0"/>
                </a:rPr>
                <a:t> </a:t>
              </a:r>
              <a:r>
                <a:rPr lang="en-US" sz="1100" dirty="0" err="1">
                  <a:solidFill>
                    <a:schemeClr val="tx1">
                      <a:lumMod val="75000"/>
                      <a:lumOff val="25000"/>
                    </a:schemeClr>
                  </a:solidFill>
                  <a:latin typeface="Calibri Light" pitchFamily="34" charset="0"/>
                </a:rPr>
                <a:t>Ipsum</a:t>
              </a:r>
              <a:r>
                <a:rPr lang="en-US" sz="1100" dirty="0">
                  <a:solidFill>
                    <a:schemeClr val="tx1">
                      <a:lumMod val="75000"/>
                      <a:lumOff val="25000"/>
                    </a:schemeClr>
                  </a:solidFill>
                  <a:latin typeface="Calibri Light" pitchFamily="34" charset="0"/>
                </a:rPr>
                <a:t> is simply dummy text of the printing and typesetting. </a:t>
              </a:r>
            </a:p>
          </p:txBody>
        </p:sp>
        <p:grpSp>
          <p:nvGrpSpPr>
            <p:cNvPr id="53" name="Group 52"/>
            <p:cNvGrpSpPr/>
            <p:nvPr/>
          </p:nvGrpSpPr>
          <p:grpSpPr>
            <a:xfrm>
              <a:off x="5352151" y="1911763"/>
              <a:ext cx="328525" cy="371183"/>
              <a:chOff x="4010025" y="1682750"/>
              <a:chExt cx="941388" cy="1063626"/>
            </a:xfrm>
            <a:solidFill>
              <a:schemeClr val="bg1"/>
            </a:solidFill>
          </p:grpSpPr>
          <p:sp>
            <p:nvSpPr>
              <p:cNvPr id="54" name="Freeform 48"/>
              <p:cNvSpPr>
                <a:spLocks noEditPoints="1"/>
              </p:cNvSpPr>
              <p:nvPr/>
            </p:nvSpPr>
            <p:spPr bwMode="auto">
              <a:xfrm>
                <a:off x="4265613" y="1793875"/>
                <a:ext cx="439738" cy="420688"/>
              </a:xfrm>
              <a:custGeom>
                <a:avLst/>
                <a:gdLst>
                  <a:gd name="T0" fmla="*/ 425 w 831"/>
                  <a:gd name="T1" fmla="*/ 595 h 793"/>
                  <a:gd name="T2" fmla="*/ 597 w 831"/>
                  <a:gd name="T3" fmla="*/ 685 h 793"/>
                  <a:gd name="T4" fmla="*/ 565 w 831"/>
                  <a:gd name="T5" fmla="*/ 493 h 793"/>
                  <a:gd name="T6" fmla="*/ 568 w 831"/>
                  <a:gd name="T7" fmla="*/ 480 h 793"/>
                  <a:gd name="T8" fmla="*/ 577 w 831"/>
                  <a:gd name="T9" fmla="*/ 468 h 793"/>
                  <a:gd name="T10" fmla="*/ 522 w 831"/>
                  <a:gd name="T11" fmla="*/ 311 h 793"/>
                  <a:gd name="T12" fmla="*/ 509 w 831"/>
                  <a:gd name="T13" fmla="*/ 306 h 793"/>
                  <a:gd name="T14" fmla="*/ 499 w 831"/>
                  <a:gd name="T15" fmla="*/ 295 h 793"/>
                  <a:gd name="T16" fmla="*/ 333 w 831"/>
                  <a:gd name="T17" fmla="*/ 291 h 793"/>
                  <a:gd name="T18" fmla="*/ 325 w 831"/>
                  <a:gd name="T19" fmla="*/ 302 h 793"/>
                  <a:gd name="T20" fmla="*/ 313 w 831"/>
                  <a:gd name="T21" fmla="*/ 310 h 793"/>
                  <a:gd name="T22" fmla="*/ 121 w 831"/>
                  <a:gd name="T23" fmla="*/ 338 h 793"/>
                  <a:gd name="T24" fmla="*/ 259 w 831"/>
                  <a:gd name="T25" fmla="*/ 476 h 793"/>
                  <a:gd name="T26" fmla="*/ 264 w 831"/>
                  <a:gd name="T27" fmla="*/ 488 h 793"/>
                  <a:gd name="T28" fmla="*/ 264 w 831"/>
                  <a:gd name="T29" fmla="*/ 502 h 793"/>
                  <a:gd name="T30" fmla="*/ 401 w 831"/>
                  <a:gd name="T31" fmla="*/ 597 h 793"/>
                  <a:gd name="T32" fmla="*/ 415 w 831"/>
                  <a:gd name="T33" fmla="*/ 594 h 793"/>
                  <a:gd name="T34" fmla="*/ 640 w 831"/>
                  <a:gd name="T35" fmla="*/ 792 h 793"/>
                  <a:gd name="T36" fmla="*/ 415 w 831"/>
                  <a:gd name="T37" fmla="*/ 676 h 793"/>
                  <a:gd name="T38" fmla="*/ 190 w 831"/>
                  <a:gd name="T39" fmla="*/ 793 h 793"/>
                  <a:gd name="T40" fmla="*/ 174 w 831"/>
                  <a:gd name="T41" fmla="*/ 793 h 793"/>
                  <a:gd name="T42" fmla="*/ 159 w 831"/>
                  <a:gd name="T43" fmla="*/ 787 h 793"/>
                  <a:gd name="T44" fmla="*/ 149 w 831"/>
                  <a:gd name="T45" fmla="*/ 774 h 793"/>
                  <a:gd name="T46" fmla="*/ 144 w 831"/>
                  <a:gd name="T47" fmla="*/ 759 h 793"/>
                  <a:gd name="T48" fmla="*/ 185 w 831"/>
                  <a:gd name="T49" fmla="*/ 510 h 793"/>
                  <a:gd name="T50" fmla="*/ 5 w 831"/>
                  <a:gd name="T51" fmla="*/ 331 h 793"/>
                  <a:gd name="T52" fmla="*/ 0 w 831"/>
                  <a:gd name="T53" fmla="*/ 316 h 793"/>
                  <a:gd name="T54" fmla="*/ 2 w 831"/>
                  <a:gd name="T55" fmla="*/ 300 h 793"/>
                  <a:gd name="T56" fmla="*/ 9 w 831"/>
                  <a:gd name="T57" fmla="*/ 286 h 793"/>
                  <a:gd name="T58" fmla="*/ 22 w 831"/>
                  <a:gd name="T59" fmla="*/ 277 h 793"/>
                  <a:gd name="T60" fmla="*/ 273 w 831"/>
                  <a:gd name="T61" fmla="*/ 239 h 793"/>
                  <a:gd name="T62" fmla="*/ 387 w 831"/>
                  <a:gd name="T63" fmla="*/ 12 h 793"/>
                  <a:gd name="T64" fmla="*/ 399 w 831"/>
                  <a:gd name="T65" fmla="*/ 4 h 793"/>
                  <a:gd name="T66" fmla="*/ 415 w 831"/>
                  <a:gd name="T67" fmla="*/ 0 h 793"/>
                  <a:gd name="T68" fmla="*/ 431 w 831"/>
                  <a:gd name="T69" fmla="*/ 4 h 793"/>
                  <a:gd name="T70" fmla="*/ 444 w 831"/>
                  <a:gd name="T71" fmla="*/ 12 h 793"/>
                  <a:gd name="T72" fmla="*/ 558 w 831"/>
                  <a:gd name="T73" fmla="*/ 239 h 793"/>
                  <a:gd name="T74" fmla="*/ 809 w 831"/>
                  <a:gd name="T75" fmla="*/ 277 h 793"/>
                  <a:gd name="T76" fmla="*/ 821 w 831"/>
                  <a:gd name="T77" fmla="*/ 286 h 793"/>
                  <a:gd name="T78" fmla="*/ 829 w 831"/>
                  <a:gd name="T79" fmla="*/ 300 h 793"/>
                  <a:gd name="T80" fmla="*/ 831 w 831"/>
                  <a:gd name="T81" fmla="*/ 316 h 793"/>
                  <a:gd name="T82" fmla="*/ 827 w 831"/>
                  <a:gd name="T83" fmla="*/ 331 h 793"/>
                  <a:gd name="T84" fmla="*/ 646 w 831"/>
                  <a:gd name="T85" fmla="*/ 510 h 793"/>
                  <a:gd name="T86" fmla="*/ 686 w 831"/>
                  <a:gd name="T87" fmla="*/ 759 h 793"/>
                  <a:gd name="T88" fmla="*/ 682 w 831"/>
                  <a:gd name="T89" fmla="*/ 774 h 793"/>
                  <a:gd name="T90" fmla="*/ 671 w 831"/>
                  <a:gd name="T91" fmla="*/ 787 h 793"/>
                  <a:gd name="T92" fmla="*/ 654 w 831"/>
                  <a:gd name="T93" fmla="*/ 793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31" h="793">
                    <a:moveTo>
                      <a:pt x="415" y="594"/>
                    </a:moveTo>
                    <a:lnTo>
                      <a:pt x="420" y="595"/>
                    </a:lnTo>
                    <a:lnTo>
                      <a:pt x="425" y="595"/>
                    </a:lnTo>
                    <a:lnTo>
                      <a:pt x="429" y="597"/>
                    </a:lnTo>
                    <a:lnTo>
                      <a:pt x="433" y="599"/>
                    </a:lnTo>
                    <a:lnTo>
                      <a:pt x="597" y="685"/>
                    </a:lnTo>
                    <a:lnTo>
                      <a:pt x="566" y="502"/>
                    </a:lnTo>
                    <a:lnTo>
                      <a:pt x="565" y="498"/>
                    </a:lnTo>
                    <a:lnTo>
                      <a:pt x="565" y="493"/>
                    </a:lnTo>
                    <a:lnTo>
                      <a:pt x="566" y="488"/>
                    </a:lnTo>
                    <a:lnTo>
                      <a:pt x="567" y="484"/>
                    </a:lnTo>
                    <a:lnTo>
                      <a:pt x="568" y="480"/>
                    </a:lnTo>
                    <a:lnTo>
                      <a:pt x="572" y="476"/>
                    </a:lnTo>
                    <a:lnTo>
                      <a:pt x="574" y="471"/>
                    </a:lnTo>
                    <a:lnTo>
                      <a:pt x="577" y="468"/>
                    </a:lnTo>
                    <a:lnTo>
                      <a:pt x="710" y="338"/>
                    </a:lnTo>
                    <a:lnTo>
                      <a:pt x="526" y="312"/>
                    </a:lnTo>
                    <a:lnTo>
                      <a:pt x="522" y="311"/>
                    </a:lnTo>
                    <a:lnTo>
                      <a:pt x="517" y="310"/>
                    </a:lnTo>
                    <a:lnTo>
                      <a:pt x="513" y="308"/>
                    </a:lnTo>
                    <a:lnTo>
                      <a:pt x="509" y="306"/>
                    </a:lnTo>
                    <a:lnTo>
                      <a:pt x="506" y="302"/>
                    </a:lnTo>
                    <a:lnTo>
                      <a:pt x="502" y="299"/>
                    </a:lnTo>
                    <a:lnTo>
                      <a:pt x="499" y="295"/>
                    </a:lnTo>
                    <a:lnTo>
                      <a:pt x="497" y="291"/>
                    </a:lnTo>
                    <a:lnTo>
                      <a:pt x="415" y="125"/>
                    </a:lnTo>
                    <a:lnTo>
                      <a:pt x="333" y="291"/>
                    </a:lnTo>
                    <a:lnTo>
                      <a:pt x="331" y="295"/>
                    </a:lnTo>
                    <a:lnTo>
                      <a:pt x="328" y="299"/>
                    </a:lnTo>
                    <a:lnTo>
                      <a:pt x="325" y="302"/>
                    </a:lnTo>
                    <a:lnTo>
                      <a:pt x="322" y="306"/>
                    </a:lnTo>
                    <a:lnTo>
                      <a:pt x="318" y="308"/>
                    </a:lnTo>
                    <a:lnTo>
                      <a:pt x="313" y="310"/>
                    </a:lnTo>
                    <a:lnTo>
                      <a:pt x="309" y="311"/>
                    </a:lnTo>
                    <a:lnTo>
                      <a:pt x="305" y="312"/>
                    </a:lnTo>
                    <a:lnTo>
                      <a:pt x="121" y="338"/>
                    </a:lnTo>
                    <a:lnTo>
                      <a:pt x="254" y="468"/>
                    </a:lnTo>
                    <a:lnTo>
                      <a:pt x="257" y="471"/>
                    </a:lnTo>
                    <a:lnTo>
                      <a:pt x="259" y="476"/>
                    </a:lnTo>
                    <a:lnTo>
                      <a:pt x="262" y="480"/>
                    </a:lnTo>
                    <a:lnTo>
                      <a:pt x="263" y="484"/>
                    </a:lnTo>
                    <a:lnTo>
                      <a:pt x="264" y="488"/>
                    </a:lnTo>
                    <a:lnTo>
                      <a:pt x="265" y="493"/>
                    </a:lnTo>
                    <a:lnTo>
                      <a:pt x="265" y="498"/>
                    </a:lnTo>
                    <a:lnTo>
                      <a:pt x="264" y="502"/>
                    </a:lnTo>
                    <a:lnTo>
                      <a:pt x="234" y="685"/>
                    </a:lnTo>
                    <a:lnTo>
                      <a:pt x="397" y="599"/>
                    </a:lnTo>
                    <a:lnTo>
                      <a:pt x="401" y="597"/>
                    </a:lnTo>
                    <a:lnTo>
                      <a:pt x="406" y="595"/>
                    </a:lnTo>
                    <a:lnTo>
                      <a:pt x="411" y="595"/>
                    </a:lnTo>
                    <a:lnTo>
                      <a:pt x="415" y="594"/>
                    </a:lnTo>
                    <a:close/>
                    <a:moveTo>
                      <a:pt x="648" y="793"/>
                    </a:moveTo>
                    <a:lnTo>
                      <a:pt x="644" y="793"/>
                    </a:lnTo>
                    <a:lnTo>
                      <a:pt x="640" y="792"/>
                    </a:lnTo>
                    <a:lnTo>
                      <a:pt x="634" y="791"/>
                    </a:lnTo>
                    <a:lnTo>
                      <a:pt x="630" y="789"/>
                    </a:lnTo>
                    <a:lnTo>
                      <a:pt x="415" y="676"/>
                    </a:lnTo>
                    <a:lnTo>
                      <a:pt x="201" y="789"/>
                    </a:lnTo>
                    <a:lnTo>
                      <a:pt x="195" y="791"/>
                    </a:lnTo>
                    <a:lnTo>
                      <a:pt x="190" y="793"/>
                    </a:lnTo>
                    <a:lnTo>
                      <a:pt x="185" y="793"/>
                    </a:lnTo>
                    <a:lnTo>
                      <a:pt x="179" y="793"/>
                    </a:lnTo>
                    <a:lnTo>
                      <a:pt x="174" y="793"/>
                    </a:lnTo>
                    <a:lnTo>
                      <a:pt x="169" y="791"/>
                    </a:lnTo>
                    <a:lnTo>
                      <a:pt x="164" y="789"/>
                    </a:lnTo>
                    <a:lnTo>
                      <a:pt x="159" y="787"/>
                    </a:lnTo>
                    <a:lnTo>
                      <a:pt x="155" y="783"/>
                    </a:lnTo>
                    <a:lnTo>
                      <a:pt x="152" y="778"/>
                    </a:lnTo>
                    <a:lnTo>
                      <a:pt x="149" y="774"/>
                    </a:lnTo>
                    <a:lnTo>
                      <a:pt x="146" y="770"/>
                    </a:lnTo>
                    <a:lnTo>
                      <a:pt x="144" y="765"/>
                    </a:lnTo>
                    <a:lnTo>
                      <a:pt x="144" y="759"/>
                    </a:lnTo>
                    <a:lnTo>
                      <a:pt x="143" y="754"/>
                    </a:lnTo>
                    <a:lnTo>
                      <a:pt x="144" y="749"/>
                    </a:lnTo>
                    <a:lnTo>
                      <a:pt x="185" y="510"/>
                    </a:lnTo>
                    <a:lnTo>
                      <a:pt x="11" y="340"/>
                    </a:lnTo>
                    <a:lnTo>
                      <a:pt x="7" y="335"/>
                    </a:lnTo>
                    <a:lnTo>
                      <a:pt x="5" y="331"/>
                    </a:lnTo>
                    <a:lnTo>
                      <a:pt x="2" y="326"/>
                    </a:lnTo>
                    <a:lnTo>
                      <a:pt x="1" y="321"/>
                    </a:lnTo>
                    <a:lnTo>
                      <a:pt x="0" y="316"/>
                    </a:lnTo>
                    <a:lnTo>
                      <a:pt x="0" y="311"/>
                    </a:lnTo>
                    <a:lnTo>
                      <a:pt x="0" y="306"/>
                    </a:lnTo>
                    <a:lnTo>
                      <a:pt x="2" y="300"/>
                    </a:lnTo>
                    <a:lnTo>
                      <a:pt x="3" y="295"/>
                    </a:lnTo>
                    <a:lnTo>
                      <a:pt x="6" y="290"/>
                    </a:lnTo>
                    <a:lnTo>
                      <a:pt x="9" y="286"/>
                    </a:lnTo>
                    <a:lnTo>
                      <a:pt x="14" y="282"/>
                    </a:lnTo>
                    <a:lnTo>
                      <a:pt x="18" y="279"/>
                    </a:lnTo>
                    <a:lnTo>
                      <a:pt x="22" y="277"/>
                    </a:lnTo>
                    <a:lnTo>
                      <a:pt x="27" y="275"/>
                    </a:lnTo>
                    <a:lnTo>
                      <a:pt x="33" y="274"/>
                    </a:lnTo>
                    <a:lnTo>
                      <a:pt x="273" y="239"/>
                    </a:lnTo>
                    <a:lnTo>
                      <a:pt x="380" y="21"/>
                    </a:lnTo>
                    <a:lnTo>
                      <a:pt x="383" y="16"/>
                    </a:lnTo>
                    <a:lnTo>
                      <a:pt x="387" y="12"/>
                    </a:lnTo>
                    <a:lnTo>
                      <a:pt x="391" y="9"/>
                    </a:lnTo>
                    <a:lnTo>
                      <a:pt x="395" y="6"/>
                    </a:lnTo>
                    <a:lnTo>
                      <a:pt x="399" y="4"/>
                    </a:lnTo>
                    <a:lnTo>
                      <a:pt x="405" y="2"/>
                    </a:lnTo>
                    <a:lnTo>
                      <a:pt x="410" y="2"/>
                    </a:lnTo>
                    <a:lnTo>
                      <a:pt x="415" y="0"/>
                    </a:lnTo>
                    <a:lnTo>
                      <a:pt x="421" y="2"/>
                    </a:lnTo>
                    <a:lnTo>
                      <a:pt x="426" y="2"/>
                    </a:lnTo>
                    <a:lnTo>
                      <a:pt x="431" y="4"/>
                    </a:lnTo>
                    <a:lnTo>
                      <a:pt x="435" y="6"/>
                    </a:lnTo>
                    <a:lnTo>
                      <a:pt x="440" y="9"/>
                    </a:lnTo>
                    <a:lnTo>
                      <a:pt x="444" y="12"/>
                    </a:lnTo>
                    <a:lnTo>
                      <a:pt x="447" y="16"/>
                    </a:lnTo>
                    <a:lnTo>
                      <a:pt x="450" y="21"/>
                    </a:lnTo>
                    <a:lnTo>
                      <a:pt x="558" y="239"/>
                    </a:lnTo>
                    <a:lnTo>
                      <a:pt x="798" y="274"/>
                    </a:lnTo>
                    <a:lnTo>
                      <a:pt x="803" y="275"/>
                    </a:lnTo>
                    <a:lnTo>
                      <a:pt x="809" y="277"/>
                    </a:lnTo>
                    <a:lnTo>
                      <a:pt x="813" y="279"/>
                    </a:lnTo>
                    <a:lnTo>
                      <a:pt x="817" y="282"/>
                    </a:lnTo>
                    <a:lnTo>
                      <a:pt x="821" y="286"/>
                    </a:lnTo>
                    <a:lnTo>
                      <a:pt x="824" y="290"/>
                    </a:lnTo>
                    <a:lnTo>
                      <a:pt x="828" y="295"/>
                    </a:lnTo>
                    <a:lnTo>
                      <a:pt x="829" y="300"/>
                    </a:lnTo>
                    <a:lnTo>
                      <a:pt x="831" y="306"/>
                    </a:lnTo>
                    <a:lnTo>
                      <a:pt x="831" y="311"/>
                    </a:lnTo>
                    <a:lnTo>
                      <a:pt x="831" y="316"/>
                    </a:lnTo>
                    <a:lnTo>
                      <a:pt x="830" y="321"/>
                    </a:lnTo>
                    <a:lnTo>
                      <a:pt x="829" y="326"/>
                    </a:lnTo>
                    <a:lnTo>
                      <a:pt x="827" y="331"/>
                    </a:lnTo>
                    <a:lnTo>
                      <a:pt x="823" y="335"/>
                    </a:lnTo>
                    <a:lnTo>
                      <a:pt x="819" y="340"/>
                    </a:lnTo>
                    <a:lnTo>
                      <a:pt x="646" y="510"/>
                    </a:lnTo>
                    <a:lnTo>
                      <a:pt x="686" y="749"/>
                    </a:lnTo>
                    <a:lnTo>
                      <a:pt x="687" y="754"/>
                    </a:lnTo>
                    <a:lnTo>
                      <a:pt x="686" y="759"/>
                    </a:lnTo>
                    <a:lnTo>
                      <a:pt x="686" y="765"/>
                    </a:lnTo>
                    <a:lnTo>
                      <a:pt x="684" y="770"/>
                    </a:lnTo>
                    <a:lnTo>
                      <a:pt x="682" y="774"/>
                    </a:lnTo>
                    <a:lnTo>
                      <a:pt x="679" y="778"/>
                    </a:lnTo>
                    <a:lnTo>
                      <a:pt x="676" y="783"/>
                    </a:lnTo>
                    <a:lnTo>
                      <a:pt x="671" y="787"/>
                    </a:lnTo>
                    <a:lnTo>
                      <a:pt x="666" y="790"/>
                    </a:lnTo>
                    <a:lnTo>
                      <a:pt x="660" y="792"/>
                    </a:lnTo>
                    <a:lnTo>
                      <a:pt x="654" y="793"/>
                    </a:lnTo>
                    <a:lnTo>
                      <a:pt x="648" y="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9"/>
              <p:cNvSpPr>
                <a:spLocks noEditPoints="1"/>
              </p:cNvSpPr>
              <p:nvPr/>
            </p:nvSpPr>
            <p:spPr bwMode="auto">
              <a:xfrm>
                <a:off x="4173538" y="1682750"/>
                <a:ext cx="614363" cy="777875"/>
              </a:xfrm>
              <a:custGeom>
                <a:avLst/>
                <a:gdLst>
                  <a:gd name="T0" fmla="*/ 93 w 1159"/>
                  <a:gd name="T1" fmla="*/ 1065 h 1469"/>
                  <a:gd name="T2" fmla="*/ 143 w 1159"/>
                  <a:gd name="T3" fmla="*/ 1140 h 1469"/>
                  <a:gd name="T4" fmla="*/ 194 w 1159"/>
                  <a:gd name="T5" fmla="*/ 1201 h 1469"/>
                  <a:gd name="T6" fmla="*/ 240 w 1159"/>
                  <a:gd name="T7" fmla="*/ 1248 h 1469"/>
                  <a:gd name="T8" fmla="*/ 293 w 1159"/>
                  <a:gd name="T9" fmla="*/ 1292 h 1469"/>
                  <a:gd name="T10" fmla="*/ 353 w 1159"/>
                  <a:gd name="T11" fmla="*/ 1332 h 1469"/>
                  <a:gd name="T12" fmla="*/ 421 w 1159"/>
                  <a:gd name="T13" fmla="*/ 1363 h 1469"/>
                  <a:gd name="T14" fmla="*/ 497 w 1159"/>
                  <a:gd name="T15" fmla="*/ 1384 h 1469"/>
                  <a:gd name="T16" fmla="*/ 579 w 1159"/>
                  <a:gd name="T17" fmla="*/ 1391 h 1469"/>
                  <a:gd name="T18" fmla="*/ 662 w 1159"/>
                  <a:gd name="T19" fmla="*/ 1384 h 1469"/>
                  <a:gd name="T20" fmla="*/ 736 w 1159"/>
                  <a:gd name="T21" fmla="*/ 1363 h 1469"/>
                  <a:gd name="T22" fmla="*/ 804 w 1159"/>
                  <a:gd name="T23" fmla="*/ 1332 h 1469"/>
                  <a:gd name="T24" fmla="*/ 865 w 1159"/>
                  <a:gd name="T25" fmla="*/ 1292 h 1469"/>
                  <a:gd name="T26" fmla="*/ 919 w 1159"/>
                  <a:gd name="T27" fmla="*/ 1248 h 1469"/>
                  <a:gd name="T28" fmla="*/ 964 w 1159"/>
                  <a:gd name="T29" fmla="*/ 1201 h 1469"/>
                  <a:gd name="T30" fmla="*/ 1014 w 1159"/>
                  <a:gd name="T31" fmla="*/ 1140 h 1469"/>
                  <a:gd name="T32" fmla="*/ 1064 w 1159"/>
                  <a:gd name="T33" fmla="*/ 1065 h 1469"/>
                  <a:gd name="T34" fmla="*/ 1081 w 1159"/>
                  <a:gd name="T35" fmla="*/ 78 h 1469"/>
                  <a:gd name="T36" fmla="*/ 579 w 1159"/>
                  <a:gd name="T37" fmla="*/ 1469 h 1469"/>
                  <a:gd name="T38" fmla="*/ 477 w 1159"/>
                  <a:gd name="T39" fmla="*/ 1459 h 1469"/>
                  <a:gd name="T40" fmla="*/ 385 w 1159"/>
                  <a:gd name="T41" fmla="*/ 1433 h 1469"/>
                  <a:gd name="T42" fmla="*/ 303 w 1159"/>
                  <a:gd name="T43" fmla="*/ 1392 h 1469"/>
                  <a:gd name="T44" fmla="*/ 231 w 1159"/>
                  <a:gd name="T45" fmla="*/ 1343 h 1469"/>
                  <a:gd name="T46" fmla="*/ 170 w 1159"/>
                  <a:gd name="T47" fmla="*/ 1289 h 1469"/>
                  <a:gd name="T48" fmla="*/ 117 w 1159"/>
                  <a:gd name="T49" fmla="*/ 1233 h 1469"/>
                  <a:gd name="T50" fmla="*/ 63 w 1159"/>
                  <a:gd name="T51" fmla="*/ 1162 h 1469"/>
                  <a:gd name="T52" fmla="*/ 3 w 1159"/>
                  <a:gd name="T53" fmla="*/ 1060 h 1469"/>
                  <a:gd name="T54" fmla="*/ 0 w 1159"/>
                  <a:gd name="T55" fmla="*/ 38 h 1469"/>
                  <a:gd name="T56" fmla="*/ 6 w 1159"/>
                  <a:gd name="T57" fmla="*/ 17 h 1469"/>
                  <a:gd name="T58" fmla="*/ 23 w 1159"/>
                  <a:gd name="T59" fmla="*/ 3 h 1469"/>
                  <a:gd name="T60" fmla="*/ 1120 w 1159"/>
                  <a:gd name="T61" fmla="*/ 0 h 1469"/>
                  <a:gd name="T62" fmla="*/ 1142 w 1159"/>
                  <a:gd name="T63" fmla="*/ 6 h 1469"/>
                  <a:gd name="T64" fmla="*/ 1156 w 1159"/>
                  <a:gd name="T65" fmla="*/ 23 h 1469"/>
                  <a:gd name="T66" fmla="*/ 1159 w 1159"/>
                  <a:gd name="T67" fmla="*/ 1044 h 1469"/>
                  <a:gd name="T68" fmla="*/ 1144 w 1159"/>
                  <a:gd name="T69" fmla="*/ 1082 h 1469"/>
                  <a:gd name="T70" fmla="*/ 1070 w 1159"/>
                  <a:gd name="T71" fmla="*/ 1197 h 1469"/>
                  <a:gd name="T72" fmla="*/ 1024 w 1159"/>
                  <a:gd name="T73" fmla="*/ 1252 h 1469"/>
                  <a:gd name="T74" fmla="*/ 969 w 1159"/>
                  <a:gd name="T75" fmla="*/ 1307 h 1469"/>
                  <a:gd name="T76" fmla="*/ 904 w 1159"/>
                  <a:gd name="T77" fmla="*/ 1360 h 1469"/>
                  <a:gd name="T78" fmla="*/ 828 w 1159"/>
                  <a:gd name="T79" fmla="*/ 1407 h 1469"/>
                  <a:gd name="T80" fmla="*/ 743 w 1159"/>
                  <a:gd name="T81" fmla="*/ 1443 h 1469"/>
                  <a:gd name="T82" fmla="*/ 648 w 1159"/>
                  <a:gd name="T83" fmla="*/ 1465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9" h="1469">
                    <a:moveTo>
                      <a:pt x="77" y="1034"/>
                    </a:moveTo>
                    <a:lnTo>
                      <a:pt x="83" y="1047"/>
                    </a:lnTo>
                    <a:lnTo>
                      <a:pt x="93" y="1065"/>
                    </a:lnTo>
                    <a:lnTo>
                      <a:pt x="107" y="1086"/>
                    </a:lnTo>
                    <a:lnTo>
                      <a:pt x="124" y="1112"/>
                    </a:lnTo>
                    <a:lnTo>
                      <a:pt x="143" y="1140"/>
                    </a:lnTo>
                    <a:lnTo>
                      <a:pt x="166" y="1170"/>
                    </a:lnTo>
                    <a:lnTo>
                      <a:pt x="180" y="1185"/>
                    </a:lnTo>
                    <a:lnTo>
                      <a:pt x="194" y="1201"/>
                    </a:lnTo>
                    <a:lnTo>
                      <a:pt x="208" y="1217"/>
                    </a:lnTo>
                    <a:lnTo>
                      <a:pt x="224" y="1232"/>
                    </a:lnTo>
                    <a:lnTo>
                      <a:pt x="240" y="1248"/>
                    </a:lnTo>
                    <a:lnTo>
                      <a:pt x="257" y="1263"/>
                    </a:lnTo>
                    <a:lnTo>
                      <a:pt x="275" y="1277"/>
                    </a:lnTo>
                    <a:lnTo>
                      <a:pt x="293" y="1292"/>
                    </a:lnTo>
                    <a:lnTo>
                      <a:pt x="312" y="1306"/>
                    </a:lnTo>
                    <a:lnTo>
                      <a:pt x="333" y="1319"/>
                    </a:lnTo>
                    <a:lnTo>
                      <a:pt x="353" y="1332"/>
                    </a:lnTo>
                    <a:lnTo>
                      <a:pt x="376" y="1342"/>
                    </a:lnTo>
                    <a:lnTo>
                      <a:pt x="398" y="1353"/>
                    </a:lnTo>
                    <a:lnTo>
                      <a:pt x="421" y="1363"/>
                    </a:lnTo>
                    <a:lnTo>
                      <a:pt x="446" y="1371"/>
                    </a:lnTo>
                    <a:lnTo>
                      <a:pt x="471" y="1378"/>
                    </a:lnTo>
                    <a:lnTo>
                      <a:pt x="497" y="1384"/>
                    </a:lnTo>
                    <a:lnTo>
                      <a:pt x="523" y="1388"/>
                    </a:lnTo>
                    <a:lnTo>
                      <a:pt x="551" y="1390"/>
                    </a:lnTo>
                    <a:lnTo>
                      <a:pt x="579" y="1391"/>
                    </a:lnTo>
                    <a:lnTo>
                      <a:pt x="607" y="1390"/>
                    </a:lnTo>
                    <a:lnTo>
                      <a:pt x="635" y="1388"/>
                    </a:lnTo>
                    <a:lnTo>
                      <a:pt x="662" y="1384"/>
                    </a:lnTo>
                    <a:lnTo>
                      <a:pt x="687" y="1378"/>
                    </a:lnTo>
                    <a:lnTo>
                      <a:pt x="713" y="1371"/>
                    </a:lnTo>
                    <a:lnTo>
                      <a:pt x="736" y="1363"/>
                    </a:lnTo>
                    <a:lnTo>
                      <a:pt x="759" y="1353"/>
                    </a:lnTo>
                    <a:lnTo>
                      <a:pt x="783" y="1342"/>
                    </a:lnTo>
                    <a:lnTo>
                      <a:pt x="804" y="1332"/>
                    </a:lnTo>
                    <a:lnTo>
                      <a:pt x="825" y="1319"/>
                    </a:lnTo>
                    <a:lnTo>
                      <a:pt x="845" y="1306"/>
                    </a:lnTo>
                    <a:lnTo>
                      <a:pt x="865" y="1292"/>
                    </a:lnTo>
                    <a:lnTo>
                      <a:pt x="884" y="1277"/>
                    </a:lnTo>
                    <a:lnTo>
                      <a:pt x="902" y="1263"/>
                    </a:lnTo>
                    <a:lnTo>
                      <a:pt x="919" y="1248"/>
                    </a:lnTo>
                    <a:lnTo>
                      <a:pt x="935" y="1232"/>
                    </a:lnTo>
                    <a:lnTo>
                      <a:pt x="950" y="1217"/>
                    </a:lnTo>
                    <a:lnTo>
                      <a:pt x="964" y="1201"/>
                    </a:lnTo>
                    <a:lnTo>
                      <a:pt x="978" y="1185"/>
                    </a:lnTo>
                    <a:lnTo>
                      <a:pt x="991" y="1170"/>
                    </a:lnTo>
                    <a:lnTo>
                      <a:pt x="1014" y="1140"/>
                    </a:lnTo>
                    <a:lnTo>
                      <a:pt x="1035" y="1112"/>
                    </a:lnTo>
                    <a:lnTo>
                      <a:pt x="1052" y="1086"/>
                    </a:lnTo>
                    <a:lnTo>
                      <a:pt x="1064" y="1065"/>
                    </a:lnTo>
                    <a:lnTo>
                      <a:pt x="1075" y="1047"/>
                    </a:lnTo>
                    <a:lnTo>
                      <a:pt x="1081" y="1034"/>
                    </a:lnTo>
                    <a:lnTo>
                      <a:pt x="1081" y="78"/>
                    </a:lnTo>
                    <a:lnTo>
                      <a:pt x="77" y="78"/>
                    </a:lnTo>
                    <a:lnTo>
                      <a:pt x="77" y="1034"/>
                    </a:lnTo>
                    <a:close/>
                    <a:moveTo>
                      <a:pt x="579" y="1469"/>
                    </a:moveTo>
                    <a:lnTo>
                      <a:pt x="544" y="1468"/>
                    </a:lnTo>
                    <a:lnTo>
                      <a:pt x="510" y="1465"/>
                    </a:lnTo>
                    <a:lnTo>
                      <a:pt x="477" y="1459"/>
                    </a:lnTo>
                    <a:lnTo>
                      <a:pt x="445" y="1452"/>
                    </a:lnTo>
                    <a:lnTo>
                      <a:pt x="415" y="1443"/>
                    </a:lnTo>
                    <a:lnTo>
                      <a:pt x="385" y="1433"/>
                    </a:lnTo>
                    <a:lnTo>
                      <a:pt x="357" y="1420"/>
                    </a:lnTo>
                    <a:lnTo>
                      <a:pt x="329" y="1407"/>
                    </a:lnTo>
                    <a:lnTo>
                      <a:pt x="303" y="1392"/>
                    </a:lnTo>
                    <a:lnTo>
                      <a:pt x="278" y="1377"/>
                    </a:lnTo>
                    <a:lnTo>
                      <a:pt x="255" y="1360"/>
                    </a:lnTo>
                    <a:lnTo>
                      <a:pt x="231" y="1343"/>
                    </a:lnTo>
                    <a:lnTo>
                      <a:pt x="210" y="1326"/>
                    </a:lnTo>
                    <a:lnTo>
                      <a:pt x="189" y="1307"/>
                    </a:lnTo>
                    <a:lnTo>
                      <a:pt x="170" y="1289"/>
                    </a:lnTo>
                    <a:lnTo>
                      <a:pt x="151" y="1270"/>
                    </a:lnTo>
                    <a:lnTo>
                      <a:pt x="133" y="1252"/>
                    </a:lnTo>
                    <a:lnTo>
                      <a:pt x="117" y="1233"/>
                    </a:lnTo>
                    <a:lnTo>
                      <a:pt x="103" y="1215"/>
                    </a:lnTo>
                    <a:lnTo>
                      <a:pt x="88" y="1197"/>
                    </a:lnTo>
                    <a:lnTo>
                      <a:pt x="63" y="1162"/>
                    </a:lnTo>
                    <a:lnTo>
                      <a:pt x="43" y="1131"/>
                    </a:lnTo>
                    <a:lnTo>
                      <a:pt x="14" y="1082"/>
                    </a:lnTo>
                    <a:lnTo>
                      <a:pt x="3" y="1060"/>
                    </a:lnTo>
                    <a:lnTo>
                      <a:pt x="1" y="1052"/>
                    </a:lnTo>
                    <a:lnTo>
                      <a:pt x="0" y="1044"/>
                    </a:lnTo>
                    <a:lnTo>
                      <a:pt x="0" y="38"/>
                    </a:lnTo>
                    <a:lnTo>
                      <a:pt x="1" y="31"/>
                    </a:lnTo>
                    <a:lnTo>
                      <a:pt x="3" y="23"/>
                    </a:lnTo>
                    <a:lnTo>
                      <a:pt x="6" y="17"/>
                    </a:lnTo>
                    <a:lnTo>
                      <a:pt x="10" y="12"/>
                    </a:lnTo>
                    <a:lnTo>
                      <a:pt x="17" y="6"/>
                    </a:lnTo>
                    <a:lnTo>
                      <a:pt x="23" y="3"/>
                    </a:lnTo>
                    <a:lnTo>
                      <a:pt x="30" y="1"/>
                    </a:lnTo>
                    <a:lnTo>
                      <a:pt x="38" y="0"/>
                    </a:lnTo>
                    <a:lnTo>
                      <a:pt x="1120" y="0"/>
                    </a:lnTo>
                    <a:lnTo>
                      <a:pt x="1128" y="1"/>
                    </a:lnTo>
                    <a:lnTo>
                      <a:pt x="1136" y="3"/>
                    </a:lnTo>
                    <a:lnTo>
                      <a:pt x="1142" y="6"/>
                    </a:lnTo>
                    <a:lnTo>
                      <a:pt x="1147" y="12"/>
                    </a:lnTo>
                    <a:lnTo>
                      <a:pt x="1153" y="17"/>
                    </a:lnTo>
                    <a:lnTo>
                      <a:pt x="1156" y="23"/>
                    </a:lnTo>
                    <a:lnTo>
                      <a:pt x="1158" y="31"/>
                    </a:lnTo>
                    <a:lnTo>
                      <a:pt x="1159" y="38"/>
                    </a:lnTo>
                    <a:lnTo>
                      <a:pt x="1159" y="1044"/>
                    </a:lnTo>
                    <a:lnTo>
                      <a:pt x="1158" y="1052"/>
                    </a:lnTo>
                    <a:lnTo>
                      <a:pt x="1155" y="1060"/>
                    </a:lnTo>
                    <a:lnTo>
                      <a:pt x="1144" y="1082"/>
                    </a:lnTo>
                    <a:lnTo>
                      <a:pt x="1115" y="1131"/>
                    </a:lnTo>
                    <a:lnTo>
                      <a:pt x="1095" y="1162"/>
                    </a:lnTo>
                    <a:lnTo>
                      <a:pt x="1070" y="1197"/>
                    </a:lnTo>
                    <a:lnTo>
                      <a:pt x="1056" y="1215"/>
                    </a:lnTo>
                    <a:lnTo>
                      <a:pt x="1041" y="1233"/>
                    </a:lnTo>
                    <a:lnTo>
                      <a:pt x="1024" y="1252"/>
                    </a:lnTo>
                    <a:lnTo>
                      <a:pt x="1007" y="1270"/>
                    </a:lnTo>
                    <a:lnTo>
                      <a:pt x="989" y="1289"/>
                    </a:lnTo>
                    <a:lnTo>
                      <a:pt x="969" y="1307"/>
                    </a:lnTo>
                    <a:lnTo>
                      <a:pt x="949" y="1326"/>
                    </a:lnTo>
                    <a:lnTo>
                      <a:pt x="926" y="1343"/>
                    </a:lnTo>
                    <a:lnTo>
                      <a:pt x="904" y="1360"/>
                    </a:lnTo>
                    <a:lnTo>
                      <a:pt x="879" y="1377"/>
                    </a:lnTo>
                    <a:lnTo>
                      <a:pt x="855" y="1392"/>
                    </a:lnTo>
                    <a:lnTo>
                      <a:pt x="828" y="1407"/>
                    </a:lnTo>
                    <a:lnTo>
                      <a:pt x="801" y="1420"/>
                    </a:lnTo>
                    <a:lnTo>
                      <a:pt x="773" y="1433"/>
                    </a:lnTo>
                    <a:lnTo>
                      <a:pt x="743" y="1443"/>
                    </a:lnTo>
                    <a:lnTo>
                      <a:pt x="713" y="1452"/>
                    </a:lnTo>
                    <a:lnTo>
                      <a:pt x="681" y="1459"/>
                    </a:lnTo>
                    <a:lnTo>
                      <a:pt x="648" y="1465"/>
                    </a:lnTo>
                    <a:lnTo>
                      <a:pt x="614" y="1468"/>
                    </a:lnTo>
                    <a:lnTo>
                      <a:pt x="579" y="14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0"/>
              <p:cNvSpPr>
                <a:spLocks/>
              </p:cNvSpPr>
              <p:nvPr/>
            </p:nvSpPr>
            <p:spPr bwMode="auto">
              <a:xfrm>
                <a:off x="4010025" y="1763713"/>
                <a:ext cx="204788" cy="368300"/>
              </a:xfrm>
              <a:custGeom>
                <a:avLst/>
                <a:gdLst>
                  <a:gd name="T0" fmla="*/ 344 w 387"/>
                  <a:gd name="T1" fmla="*/ 696 h 696"/>
                  <a:gd name="T2" fmla="*/ 333 w 387"/>
                  <a:gd name="T3" fmla="*/ 693 h 696"/>
                  <a:gd name="T4" fmla="*/ 302 w 387"/>
                  <a:gd name="T5" fmla="*/ 681 h 696"/>
                  <a:gd name="T6" fmla="*/ 267 w 387"/>
                  <a:gd name="T7" fmla="*/ 663 h 696"/>
                  <a:gd name="T8" fmla="*/ 240 w 387"/>
                  <a:gd name="T9" fmla="*/ 645 h 696"/>
                  <a:gd name="T10" fmla="*/ 211 w 387"/>
                  <a:gd name="T11" fmla="*/ 623 h 696"/>
                  <a:gd name="T12" fmla="*/ 180 w 387"/>
                  <a:gd name="T13" fmla="*/ 594 h 696"/>
                  <a:gd name="T14" fmla="*/ 149 w 387"/>
                  <a:gd name="T15" fmla="*/ 559 h 696"/>
                  <a:gd name="T16" fmla="*/ 118 w 387"/>
                  <a:gd name="T17" fmla="*/ 518 h 696"/>
                  <a:gd name="T18" fmla="*/ 90 w 387"/>
                  <a:gd name="T19" fmla="*/ 469 h 696"/>
                  <a:gd name="T20" fmla="*/ 63 w 387"/>
                  <a:gd name="T21" fmla="*/ 411 h 696"/>
                  <a:gd name="T22" fmla="*/ 40 w 387"/>
                  <a:gd name="T23" fmla="*/ 346 h 696"/>
                  <a:gd name="T24" fmla="*/ 22 w 387"/>
                  <a:gd name="T25" fmla="*/ 270 h 696"/>
                  <a:gd name="T26" fmla="*/ 8 w 387"/>
                  <a:gd name="T27" fmla="*/ 186 h 696"/>
                  <a:gd name="T28" fmla="*/ 1 w 387"/>
                  <a:gd name="T29" fmla="*/ 90 h 696"/>
                  <a:gd name="T30" fmla="*/ 1 w 387"/>
                  <a:gd name="T31" fmla="*/ 31 h 696"/>
                  <a:gd name="T32" fmla="*/ 7 w 387"/>
                  <a:gd name="T33" fmla="*/ 17 h 696"/>
                  <a:gd name="T34" fmla="*/ 17 w 387"/>
                  <a:gd name="T35" fmla="*/ 8 h 696"/>
                  <a:gd name="T36" fmla="*/ 31 w 387"/>
                  <a:gd name="T37" fmla="*/ 1 h 696"/>
                  <a:gd name="T38" fmla="*/ 348 w 387"/>
                  <a:gd name="T39" fmla="*/ 0 h 696"/>
                  <a:gd name="T40" fmla="*/ 363 w 387"/>
                  <a:gd name="T41" fmla="*/ 3 h 696"/>
                  <a:gd name="T42" fmla="*/ 375 w 387"/>
                  <a:gd name="T43" fmla="*/ 12 h 696"/>
                  <a:gd name="T44" fmla="*/ 384 w 387"/>
                  <a:gd name="T45" fmla="*/ 25 h 696"/>
                  <a:gd name="T46" fmla="*/ 387 w 387"/>
                  <a:gd name="T47" fmla="*/ 39 h 696"/>
                  <a:gd name="T48" fmla="*/ 384 w 387"/>
                  <a:gd name="T49" fmla="*/ 54 h 696"/>
                  <a:gd name="T50" fmla="*/ 375 w 387"/>
                  <a:gd name="T51" fmla="*/ 67 h 696"/>
                  <a:gd name="T52" fmla="*/ 363 w 387"/>
                  <a:gd name="T53" fmla="*/ 75 h 696"/>
                  <a:gd name="T54" fmla="*/ 348 w 387"/>
                  <a:gd name="T55" fmla="*/ 78 h 696"/>
                  <a:gd name="T56" fmla="*/ 80 w 387"/>
                  <a:gd name="T57" fmla="*/ 121 h 696"/>
                  <a:gd name="T58" fmla="*/ 88 w 387"/>
                  <a:gd name="T59" fmla="*/ 200 h 696"/>
                  <a:gd name="T60" fmla="*/ 101 w 387"/>
                  <a:gd name="T61" fmla="*/ 270 h 696"/>
                  <a:gd name="T62" fmla="*/ 117 w 387"/>
                  <a:gd name="T63" fmla="*/ 333 h 696"/>
                  <a:gd name="T64" fmla="*/ 137 w 387"/>
                  <a:gd name="T65" fmla="*/ 387 h 696"/>
                  <a:gd name="T66" fmla="*/ 160 w 387"/>
                  <a:gd name="T67" fmla="*/ 435 h 696"/>
                  <a:gd name="T68" fmla="*/ 184 w 387"/>
                  <a:gd name="T69" fmla="*/ 475 h 696"/>
                  <a:gd name="T70" fmla="*/ 209 w 387"/>
                  <a:gd name="T71" fmla="*/ 510 h 696"/>
                  <a:gd name="T72" fmla="*/ 234 w 387"/>
                  <a:gd name="T73" fmla="*/ 539 h 696"/>
                  <a:gd name="T74" fmla="*/ 260 w 387"/>
                  <a:gd name="T75" fmla="*/ 562 h 696"/>
                  <a:gd name="T76" fmla="*/ 294 w 387"/>
                  <a:gd name="T77" fmla="*/ 589 h 696"/>
                  <a:gd name="T78" fmla="*/ 332 w 387"/>
                  <a:gd name="T79" fmla="*/ 610 h 696"/>
                  <a:gd name="T80" fmla="*/ 354 w 387"/>
                  <a:gd name="T81" fmla="*/ 619 h 696"/>
                  <a:gd name="T82" fmla="*/ 365 w 387"/>
                  <a:gd name="T83" fmla="*/ 623 h 696"/>
                  <a:gd name="T84" fmla="*/ 376 w 387"/>
                  <a:gd name="T85" fmla="*/ 631 h 696"/>
                  <a:gd name="T86" fmla="*/ 384 w 387"/>
                  <a:gd name="T87" fmla="*/ 644 h 696"/>
                  <a:gd name="T88" fmla="*/ 387 w 387"/>
                  <a:gd name="T89" fmla="*/ 659 h 696"/>
                  <a:gd name="T90" fmla="*/ 383 w 387"/>
                  <a:gd name="T91" fmla="*/ 673 h 696"/>
                  <a:gd name="T92" fmla="*/ 376 w 387"/>
                  <a:gd name="T93" fmla="*/ 683 h 696"/>
                  <a:gd name="T94" fmla="*/ 366 w 387"/>
                  <a:gd name="T95" fmla="*/ 692 h 696"/>
                  <a:gd name="T96" fmla="*/ 354 w 387"/>
                  <a:gd name="T97"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7" h="696">
                    <a:moveTo>
                      <a:pt x="348" y="696"/>
                    </a:moveTo>
                    <a:lnTo>
                      <a:pt x="344" y="696"/>
                    </a:lnTo>
                    <a:lnTo>
                      <a:pt x="338" y="695"/>
                    </a:lnTo>
                    <a:lnTo>
                      <a:pt x="333" y="693"/>
                    </a:lnTo>
                    <a:lnTo>
                      <a:pt x="320" y="689"/>
                    </a:lnTo>
                    <a:lnTo>
                      <a:pt x="302" y="681"/>
                    </a:lnTo>
                    <a:lnTo>
                      <a:pt x="280" y="671"/>
                    </a:lnTo>
                    <a:lnTo>
                      <a:pt x="267" y="663"/>
                    </a:lnTo>
                    <a:lnTo>
                      <a:pt x="254" y="655"/>
                    </a:lnTo>
                    <a:lnTo>
                      <a:pt x="240" y="645"/>
                    </a:lnTo>
                    <a:lnTo>
                      <a:pt x="226" y="635"/>
                    </a:lnTo>
                    <a:lnTo>
                      <a:pt x="211" y="623"/>
                    </a:lnTo>
                    <a:lnTo>
                      <a:pt x="195" y="609"/>
                    </a:lnTo>
                    <a:lnTo>
                      <a:pt x="180" y="594"/>
                    </a:lnTo>
                    <a:lnTo>
                      <a:pt x="164" y="577"/>
                    </a:lnTo>
                    <a:lnTo>
                      <a:pt x="149" y="559"/>
                    </a:lnTo>
                    <a:lnTo>
                      <a:pt x="133" y="539"/>
                    </a:lnTo>
                    <a:lnTo>
                      <a:pt x="118" y="518"/>
                    </a:lnTo>
                    <a:lnTo>
                      <a:pt x="103" y="494"/>
                    </a:lnTo>
                    <a:lnTo>
                      <a:pt x="90" y="469"/>
                    </a:lnTo>
                    <a:lnTo>
                      <a:pt x="76" y="441"/>
                    </a:lnTo>
                    <a:lnTo>
                      <a:pt x="63" y="411"/>
                    </a:lnTo>
                    <a:lnTo>
                      <a:pt x="51" y="380"/>
                    </a:lnTo>
                    <a:lnTo>
                      <a:pt x="40" y="346"/>
                    </a:lnTo>
                    <a:lnTo>
                      <a:pt x="30" y="309"/>
                    </a:lnTo>
                    <a:lnTo>
                      <a:pt x="22" y="270"/>
                    </a:lnTo>
                    <a:lnTo>
                      <a:pt x="14" y="230"/>
                    </a:lnTo>
                    <a:lnTo>
                      <a:pt x="8" y="186"/>
                    </a:lnTo>
                    <a:lnTo>
                      <a:pt x="3" y="139"/>
                    </a:lnTo>
                    <a:lnTo>
                      <a:pt x="1" y="90"/>
                    </a:lnTo>
                    <a:lnTo>
                      <a:pt x="0" y="39"/>
                    </a:lnTo>
                    <a:lnTo>
                      <a:pt x="1" y="31"/>
                    </a:lnTo>
                    <a:lnTo>
                      <a:pt x="3" y="25"/>
                    </a:lnTo>
                    <a:lnTo>
                      <a:pt x="7" y="17"/>
                    </a:lnTo>
                    <a:lnTo>
                      <a:pt x="12" y="12"/>
                    </a:lnTo>
                    <a:lnTo>
                      <a:pt x="17" y="8"/>
                    </a:lnTo>
                    <a:lnTo>
                      <a:pt x="24" y="3"/>
                    </a:lnTo>
                    <a:lnTo>
                      <a:pt x="31" y="1"/>
                    </a:lnTo>
                    <a:lnTo>
                      <a:pt x="39" y="0"/>
                    </a:lnTo>
                    <a:lnTo>
                      <a:pt x="348" y="0"/>
                    </a:lnTo>
                    <a:lnTo>
                      <a:pt x="356" y="1"/>
                    </a:lnTo>
                    <a:lnTo>
                      <a:pt x="363" y="3"/>
                    </a:lnTo>
                    <a:lnTo>
                      <a:pt x="370" y="8"/>
                    </a:lnTo>
                    <a:lnTo>
                      <a:pt x="375" y="12"/>
                    </a:lnTo>
                    <a:lnTo>
                      <a:pt x="380" y="17"/>
                    </a:lnTo>
                    <a:lnTo>
                      <a:pt x="384" y="25"/>
                    </a:lnTo>
                    <a:lnTo>
                      <a:pt x="386" y="31"/>
                    </a:lnTo>
                    <a:lnTo>
                      <a:pt x="387" y="39"/>
                    </a:lnTo>
                    <a:lnTo>
                      <a:pt x="386" y="47"/>
                    </a:lnTo>
                    <a:lnTo>
                      <a:pt x="384" y="54"/>
                    </a:lnTo>
                    <a:lnTo>
                      <a:pt x="380" y="61"/>
                    </a:lnTo>
                    <a:lnTo>
                      <a:pt x="375" y="67"/>
                    </a:lnTo>
                    <a:lnTo>
                      <a:pt x="370" y="71"/>
                    </a:lnTo>
                    <a:lnTo>
                      <a:pt x="363" y="75"/>
                    </a:lnTo>
                    <a:lnTo>
                      <a:pt x="356" y="77"/>
                    </a:lnTo>
                    <a:lnTo>
                      <a:pt x="348" y="78"/>
                    </a:lnTo>
                    <a:lnTo>
                      <a:pt x="78" y="78"/>
                    </a:lnTo>
                    <a:lnTo>
                      <a:pt x="80" y="121"/>
                    </a:lnTo>
                    <a:lnTo>
                      <a:pt x="83" y="162"/>
                    </a:lnTo>
                    <a:lnTo>
                      <a:pt x="88" y="200"/>
                    </a:lnTo>
                    <a:lnTo>
                      <a:pt x="94" y="236"/>
                    </a:lnTo>
                    <a:lnTo>
                      <a:pt x="101" y="270"/>
                    </a:lnTo>
                    <a:lnTo>
                      <a:pt x="109" y="303"/>
                    </a:lnTo>
                    <a:lnTo>
                      <a:pt x="117" y="333"/>
                    </a:lnTo>
                    <a:lnTo>
                      <a:pt x="127" y="360"/>
                    </a:lnTo>
                    <a:lnTo>
                      <a:pt x="137" y="387"/>
                    </a:lnTo>
                    <a:lnTo>
                      <a:pt x="148" y="411"/>
                    </a:lnTo>
                    <a:lnTo>
                      <a:pt x="160" y="435"/>
                    </a:lnTo>
                    <a:lnTo>
                      <a:pt x="171" y="456"/>
                    </a:lnTo>
                    <a:lnTo>
                      <a:pt x="184" y="475"/>
                    </a:lnTo>
                    <a:lnTo>
                      <a:pt x="197" y="493"/>
                    </a:lnTo>
                    <a:lnTo>
                      <a:pt x="209" y="510"/>
                    </a:lnTo>
                    <a:lnTo>
                      <a:pt x="221" y="525"/>
                    </a:lnTo>
                    <a:lnTo>
                      <a:pt x="234" y="539"/>
                    </a:lnTo>
                    <a:lnTo>
                      <a:pt x="247" y="552"/>
                    </a:lnTo>
                    <a:lnTo>
                      <a:pt x="260" y="562"/>
                    </a:lnTo>
                    <a:lnTo>
                      <a:pt x="271" y="572"/>
                    </a:lnTo>
                    <a:lnTo>
                      <a:pt x="294" y="589"/>
                    </a:lnTo>
                    <a:lnTo>
                      <a:pt x="315" y="602"/>
                    </a:lnTo>
                    <a:lnTo>
                      <a:pt x="332" y="610"/>
                    </a:lnTo>
                    <a:lnTo>
                      <a:pt x="345" y="615"/>
                    </a:lnTo>
                    <a:lnTo>
                      <a:pt x="354" y="619"/>
                    </a:lnTo>
                    <a:lnTo>
                      <a:pt x="357" y="620"/>
                    </a:lnTo>
                    <a:lnTo>
                      <a:pt x="365" y="623"/>
                    </a:lnTo>
                    <a:lnTo>
                      <a:pt x="371" y="627"/>
                    </a:lnTo>
                    <a:lnTo>
                      <a:pt x="376" y="631"/>
                    </a:lnTo>
                    <a:lnTo>
                      <a:pt x="381" y="638"/>
                    </a:lnTo>
                    <a:lnTo>
                      <a:pt x="384" y="644"/>
                    </a:lnTo>
                    <a:lnTo>
                      <a:pt x="386" y="652"/>
                    </a:lnTo>
                    <a:lnTo>
                      <a:pt x="387" y="659"/>
                    </a:lnTo>
                    <a:lnTo>
                      <a:pt x="385" y="666"/>
                    </a:lnTo>
                    <a:lnTo>
                      <a:pt x="383" y="673"/>
                    </a:lnTo>
                    <a:lnTo>
                      <a:pt x="380" y="679"/>
                    </a:lnTo>
                    <a:lnTo>
                      <a:pt x="376" y="683"/>
                    </a:lnTo>
                    <a:lnTo>
                      <a:pt x="371" y="688"/>
                    </a:lnTo>
                    <a:lnTo>
                      <a:pt x="366" y="692"/>
                    </a:lnTo>
                    <a:lnTo>
                      <a:pt x="361" y="694"/>
                    </a:lnTo>
                    <a:lnTo>
                      <a:pt x="354" y="695"/>
                    </a:lnTo>
                    <a:lnTo>
                      <a:pt x="348"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1"/>
              <p:cNvSpPr>
                <a:spLocks/>
              </p:cNvSpPr>
              <p:nvPr/>
            </p:nvSpPr>
            <p:spPr bwMode="auto">
              <a:xfrm>
                <a:off x="4746625" y="1763713"/>
                <a:ext cx="204788" cy="368300"/>
              </a:xfrm>
              <a:custGeom>
                <a:avLst/>
                <a:gdLst>
                  <a:gd name="T0" fmla="*/ 32 w 387"/>
                  <a:gd name="T1" fmla="*/ 695 h 696"/>
                  <a:gd name="T2" fmla="*/ 21 w 387"/>
                  <a:gd name="T3" fmla="*/ 692 h 696"/>
                  <a:gd name="T4" fmla="*/ 11 w 387"/>
                  <a:gd name="T5" fmla="*/ 683 h 696"/>
                  <a:gd name="T6" fmla="*/ 4 w 387"/>
                  <a:gd name="T7" fmla="*/ 673 h 696"/>
                  <a:gd name="T8" fmla="*/ 0 w 387"/>
                  <a:gd name="T9" fmla="*/ 659 h 696"/>
                  <a:gd name="T10" fmla="*/ 3 w 387"/>
                  <a:gd name="T11" fmla="*/ 644 h 696"/>
                  <a:gd name="T12" fmla="*/ 10 w 387"/>
                  <a:gd name="T13" fmla="*/ 631 h 696"/>
                  <a:gd name="T14" fmla="*/ 22 w 387"/>
                  <a:gd name="T15" fmla="*/ 623 h 696"/>
                  <a:gd name="T16" fmla="*/ 34 w 387"/>
                  <a:gd name="T17" fmla="*/ 619 h 696"/>
                  <a:gd name="T18" fmla="*/ 58 w 387"/>
                  <a:gd name="T19" fmla="*/ 609 h 696"/>
                  <a:gd name="T20" fmla="*/ 97 w 387"/>
                  <a:gd name="T21" fmla="*/ 587 h 696"/>
                  <a:gd name="T22" fmla="*/ 131 w 387"/>
                  <a:gd name="T23" fmla="*/ 560 h 696"/>
                  <a:gd name="T24" fmla="*/ 156 w 387"/>
                  <a:gd name="T25" fmla="*/ 537 h 696"/>
                  <a:gd name="T26" fmla="*/ 181 w 387"/>
                  <a:gd name="T27" fmla="*/ 507 h 696"/>
                  <a:gd name="T28" fmla="*/ 206 w 387"/>
                  <a:gd name="T29" fmla="*/ 473 h 696"/>
                  <a:gd name="T30" fmla="*/ 229 w 387"/>
                  <a:gd name="T31" fmla="*/ 433 h 696"/>
                  <a:gd name="T32" fmla="*/ 251 w 387"/>
                  <a:gd name="T33" fmla="*/ 385 h 696"/>
                  <a:gd name="T34" fmla="*/ 270 w 387"/>
                  <a:gd name="T35" fmla="*/ 331 h 696"/>
                  <a:gd name="T36" fmla="*/ 287 w 387"/>
                  <a:gd name="T37" fmla="*/ 269 h 696"/>
                  <a:gd name="T38" fmla="*/ 299 w 387"/>
                  <a:gd name="T39" fmla="*/ 199 h 696"/>
                  <a:gd name="T40" fmla="*/ 308 w 387"/>
                  <a:gd name="T41" fmla="*/ 120 h 696"/>
                  <a:gd name="T42" fmla="*/ 39 w 387"/>
                  <a:gd name="T43" fmla="*/ 78 h 696"/>
                  <a:gd name="T44" fmla="*/ 24 w 387"/>
                  <a:gd name="T45" fmla="*/ 75 h 696"/>
                  <a:gd name="T46" fmla="*/ 12 w 387"/>
                  <a:gd name="T47" fmla="*/ 67 h 696"/>
                  <a:gd name="T48" fmla="*/ 4 w 387"/>
                  <a:gd name="T49" fmla="*/ 54 h 696"/>
                  <a:gd name="T50" fmla="*/ 0 w 387"/>
                  <a:gd name="T51" fmla="*/ 39 h 696"/>
                  <a:gd name="T52" fmla="*/ 4 w 387"/>
                  <a:gd name="T53" fmla="*/ 25 h 696"/>
                  <a:gd name="T54" fmla="*/ 12 w 387"/>
                  <a:gd name="T55" fmla="*/ 12 h 696"/>
                  <a:gd name="T56" fmla="*/ 24 w 387"/>
                  <a:gd name="T57" fmla="*/ 3 h 696"/>
                  <a:gd name="T58" fmla="*/ 39 w 387"/>
                  <a:gd name="T59" fmla="*/ 0 h 696"/>
                  <a:gd name="T60" fmla="*/ 356 w 387"/>
                  <a:gd name="T61" fmla="*/ 1 h 696"/>
                  <a:gd name="T62" fmla="*/ 370 w 387"/>
                  <a:gd name="T63" fmla="*/ 8 h 696"/>
                  <a:gd name="T64" fmla="*/ 380 w 387"/>
                  <a:gd name="T65" fmla="*/ 17 h 696"/>
                  <a:gd name="T66" fmla="*/ 386 w 387"/>
                  <a:gd name="T67" fmla="*/ 31 h 696"/>
                  <a:gd name="T68" fmla="*/ 386 w 387"/>
                  <a:gd name="T69" fmla="*/ 90 h 696"/>
                  <a:gd name="T70" fmla="*/ 379 w 387"/>
                  <a:gd name="T71" fmla="*/ 186 h 696"/>
                  <a:gd name="T72" fmla="*/ 366 w 387"/>
                  <a:gd name="T73" fmla="*/ 270 h 696"/>
                  <a:gd name="T74" fmla="*/ 347 w 387"/>
                  <a:gd name="T75" fmla="*/ 346 h 696"/>
                  <a:gd name="T76" fmla="*/ 323 w 387"/>
                  <a:gd name="T77" fmla="*/ 411 h 696"/>
                  <a:gd name="T78" fmla="*/ 298 w 387"/>
                  <a:gd name="T79" fmla="*/ 469 h 696"/>
                  <a:gd name="T80" fmla="*/ 268 w 387"/>
                  <a:gd name="T81" fmla="*/ 518 h 696"/>
                  <a:gd name="T82" fmla="*/ 238 w 387"/>
                  <a:gd name="T83" fmla="*/ 559 h 696"/>
                  <a:gd name="T84" fmla="*/ 208 w 387"/>
                  <a:gd name="T85" fmla="*/ 594 h 696"/>
                  <a:gd name="T86" fmla="*/ 177 w 387"/>
                  <a:gd name="T87" fmla="*/ 623 h 696"/>
                  <a:gd name="T88" fmla="*/ 147 w 387"/>
                  <a:gd name="T89" fmla="*/ 645 h 696"/>
                  <a:gd name="T90" fmla="*/ 119 w 387"/>
                  <a:gd name="T91" fmla="*/ 663 h 696"/>
                  <a:gd name="T92" fmla="*/ 84 w 387"/>
                  <a:gd name="T93" fmla="*/ 681 h 696"/>
                  <a:gd name="T94" fmla="*/ 55 w 387"/>
                  <a:gd name="T95" fmla="*/ 693 h 696"/>
                  <a:gd name="T96" fmla="*/ 44 w 387"/>
                  <a:gd name="T97" fmla="*/ 69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7" h="696">
                    <a:moveTo>
                      <a:pt x="39" y="696"/>
                    </a:moveTo>
                    <a:lnTo>
                      <a:pt x="32" y="695"/>
                    </a:lnTo>
                    <a:lnTo>
                      <a:pt x="27" y="694"/>
                    </a:lnTo>
                    <a:lnTo>
                      <a:pt x="21" y="692"/>
                    </a:lnTo>
                    <a:lnTo>
                      <a:pt x="15" y="688"/>
                    </a:lnTo>
                    <a:lnTo>
                      <a:pt x="11" y="683"/>
                    </a:lnTo>
                    <a:lnTo>
                      <a:pt x="7" y="679"/>
                    </a:lnTo>
                    <a:lnTo>
                      <a:pt x="4" y="673"/>
                    </a:lnTo>
                    <a:lnTo>
                      <a:pt x="1" y="666"/>
                    </a:lnTo>
                    <a:lnTo>
                      <a:pt x="0" y="659"/>
                    </a:lnTo>
                    <a:lnTo>
                      <a:pt x="0" y="652"/>
                    </a:lnTo>
                    <a:lnTo>
                      <a:pt x="3" y="644"/>
                    </a:lnTo>
                    <a:lnTo>
                      <a:pt x="6" y="638"/>
                    </a:lnTo>
                    <a:lnTo>
                      <a:pt x="10" y="631"/>
                    </a:lnTo>
                    <a:lnTo>
                      <a:pt x="15" y="627"/>
                    </a:lnTo>
                    <a:lnTo>
                      <a:pt x="22" y="623"/>
                    </a:lnTo>
                    <a:lnTo>
                      <a:pt x="29" y="620"/>
                    </a:lnTo>
                    <a:lnTo>
                      <a:pt x="34" y="619"/>
                    </a:lnTo>
                    <a:lnTo>
                      <a:pt x="44" y="615"/>
                    </a:lnTo>
                    <a:lnTo>
                      <a:pt x="58" y="609"/>
                    </a:lnTo>
                    <a:lnTo>
                      <a:pt x="76" y="600"/>
                    </a:lnTo>
                    <a:lnTo>
                      <a:pt x="97" y="587"/>
                    </a:lnTo>
                    <a:lnTo>
                      <a:pt x="119" y="570"/>
                    </a:lnTo>
                    <a:lnTo>
                      <a:pt x="131" y="560"/>
                    </a:lnTo>
                    <a:lnTo>
                      <a:pt x="144" y="549"/>
                    </a:lnTo>
                    <a:lnTo>
                      <a:pt x="156" y="537"/>
                    </a:lnTo>
                    <a:lnTo>
                      <a:pt x="168" y="523"/>
                    </a:lnTo>
                    <a:lnTo>
                      <a:pt x="181" y="507"/>
                    </a:lnTo>
                    <a:lnTo>
                      <a:pt x="194" y="491"/>
                    </a:lnTo>
                    <a:lnTo>
                      <a:pt x="206" y="473"/>
                    </a:lnTo>
                    <a:lnTo>
                      <a:pt x="217" y="454"/>
                    </a:lnTo>
                    <a:lnTo>
                      <a:pt x="229" y="433"/>
                    </a:lnTo>
                    <a:lnTo>
                      <a:pt x="241" y="409"/>
                    </a:lnTo>
                    <a:lnTo>
                      <a:pt x="251" y="385"/>
                    </a:lnTo>
                    <a:lnTo>
                      <a:pt x="261" y="358"/>
                    </a:lnTo>
                    <a:lnTo>
                      <a:pt x="270" y="331"/>
                    </a:lnTo>
                    <a:lnTo>
                      <a:pt x="279" y="301"/>
                    </a:lnTo>
                    <a:lnTo>
                      <a:pt x="287" y="269"/>
                    </a:lnTo>
                    <a:lnTo>
                      <a:pt x="294" y="235"/>
                    </a:lnTo>
                    <a:lnTo>
                      <a:pt x="299" y="199"/>
                    </a:lnTo>
                    <a:lnTo>
                      <a:pt x="303" y="161"/>
                    </a:lnTo>
                    <a:lnTo>
                      <a:pt x="308" y="120"/>
                    </a:lnTo>
                    <a:lnTo>
                      <a:pt x="309" y="78"/>
                    </a:lnTo>
                    <a:lnTo>
                      <a:pt x="39" y="78"/>
                    </a:lnTo>
                    <a:lnTo>
                      <a:pt x="31" y="77"/>
                    </a:lnTo>
                    <a:lnTo>
                      <a:pt x="24" y="75"/>
                    </a:lnTo>
                    <a:lnTo>
                      <a:pt x="17" y="71"/>
                    </a:lnTo>
                    <a:lnTo>
                      <a:pt x="12" y="67"/>
                    </a:lnTo>
                    <a:lnTo>
                      <a:pt x="7" y="61"/>
                    </a:lnTo>
                    <a:lnTo>
                      <a:pt x="4" y="54"/>
                    </a:lnTo>
                    <a:lnTo>
                      <a:pt x="1" y="47"/>
                    </a:lnTo>
                    <a:lnTo>
                      <a:pt x="0" y="39"/>
                    </a:lnTo>
                    <a:lnTo>
                      <a:pt x="1" y="31"/>
                    </a:lnTo>
                    <a:lnTo>
                      <a:pt x="4" y="25"/>
                    </a:lnTo>
                    <a:lnTo>
                      <a:pt x="7" y="17"/>
                    </a:lnTo>
                    <a:lnTo>
                      <a:pt x="12" y="12"/>
                    </a:lnTo>
                    <a:lnTo>
                      <a:pt x="17" y="8"/>
                    </a:lnTo>
                    <a:lnTo>
                      <a:pt x="24" y="3"/>
                    </a:lnTo>
                    <a:lnTo>
                      <a:pt x="31" y="1"/>
                    </a:lnTo>
                    <a:lnTo>
                      <a:pt x="39" y="0"/>
                    </a:lnTo>
                    <a:lnTo>
                      <a:pt x="348" y="0"/>
                    </a:lnTo>
                    <a:lnTo>
                      <a:pt x="356" y="1"/>
                    </a:lnTo>
                    <a:lnTo>
                      <a:pt x="363" y="3"/>
                    </a:lnTo>
                    <a:lnTo>
                      <a:pt x="370" y="8"/>
                    </a:lnTo>
                    <a:lnTo>
                      <a:pt x="376" y="12"/>
                    </a:lnTo>
                    <a:lnTo>
                      <a:pt x="380" y="17"/>
                    </a:lnTo>
                    <a:lnTo>
                      <a:pt x="384" y="25"/>
                    </a:lnTo>
                    <a:lnTo>
                      <a:pt x="386" y="31"/>
                    </a:lnTo>
                    <a:lnTo>
                      <a:pt x="387" y="39"/>
                    </a:lnTo>
                    <a:lnTo>
                      <a:pt x="386" y="90"/>
                    </a:lnTo>
                    <a:lnTo>
                      <a:pt x="383" y="139"/>
                    </a:lnTo>
                    <a:lnTo>
                      <a:pt x="379" y="186"/>
                    </a:lnTo>
                    <a:lnTo>
                      <a:pt x="372" y="230"/>
                    </a:lnTo>
                    <a:lnTo>
                      <a:pt x="366" y="270"/>
                    </a:lnTo>
                    <a:lnTo>
                      <a:pt x="356" y="309"/>
                    </a:lnTo>
                    <a:lnTo>
                      <a:pt x="347" y="346"/>
                    </a:lnTo>
                    <a:lnTo>
                      <a:pt x="336" y="380"/>
                    </a:lnTo>
                    <a:lnTo>
                      <a:pt x="323" y="411"/>
                    </a:lnTo>
                    <a:lnTo>
                      <a:pt x="311" y="441"/>
                    </a:lnTo>
                    <a:lnTo>
                      <a:pt x="298" y="469"/>
                    </a:lnTo>
                    <a:lnTo>
                      <a:pt x="283" y="494"/>
                    </a:lnTo>
                    <a:lnTo>
                      <a:pt x="268" y="518"/>
                    </a:lnTo>
                    <a:lnTo>
                      <a:pt x="253" y="539"/>
                    </a:lnTo>
                    <a:lnTo>
                      <a:pt x="238" y="559"/>
                    </a:lnTo>
                    <a:lnTo>
                      <a:pt x="223" y="577"/>
                    </a:lnTo>
                    <a:lnTo>
                      <a:pt x="208" y="594"/>
                    </a:lnTo>
                    <a:lnTo>
                      <a:pt x="192" y="609"/>
                    </a:lnTo>
                    <a:lnTo>
                      <a:pt x="177" y="623"/>
                    </a:lnTo>
                    <a:lnTo>
                      <a:pt x="162" y="635"/>
                    </a:lnTo>
                    <a:lnTo>
                      <a:pt x="147" y="645"/>
                    </a:lnTo>
                    <a:lnTo>
                      <a:pt x="133" y="655"/>
                    </a:lnTo>
                    <a:lnTo>
                      <a:pt x="119" y="663"/>
                    </a:lnTo>
                    <a:lnTo>
                      <a:pt x="107" y="671"/>
                    </a:lnTo>
                    <a:lnTo>
                      <a:pt x="84" y="681"/>
                    </a:lnTo>
                    <a:lnTo>
                      <a:pt x="67" y="689"/>
                    </a:lnTo>
                    <a:lnTo>
                      <a:pt x="55" y="693"/>
                    </a:lnTo>
                    <a:lnTo>
                      <a:pt x="48" y="695"/>
                    </a:lnTo>
                    <a:lnTo>
                      <a:pt x="44" y="696"/>
                    </a:lnTo>
                    <a:lnTo>
                      <a:pt x="39"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2"/>
              <p:cNvSpPr>
                <a:spLocks noEditPoints="1"/>
              </p:cNvSpPr>
              <p:nvPr/>
            </p:nvSpPr>
            <p:spPr bwMode="auto">
              <a:xfrm>
                <a:off x="4256088" y="2624138"/>
                <a:ext cx="449263" cy="122238"/>
              </a:xfrm>
              <a:custGeom>
                <a:avLst/>
                <a:gdLst>
                  <a:gd name="T0" fmla="*/ 77 w 850"/>
                  <a:gd name="T1" fmla="*/ 154 h 232"/>
                  <a:gd name="T2" fmla="*/ 773 w 850"/>
                  <a:gd name="T3" fmla="*/ 154 h 232"/>
                  <a:gd name="T4" fmla="*/ 773 w 850"/>
                  <a:gd name="T5" fmla="*/ 77 h 232"/>
                  <a:gd name="T6" fmla="*/ 77 w 850"/>
                  <a:gd name="T7" fmla="*/ 77 h 232"/>
                  <a:gd name="T8" fmla="*/ 77 w 850"/>
                  <a:gd name="T9" fmla="*/ 154 h 232"/>
                  <a:gd name="T10" fmla="*/ 812 w 850"/>
                  <a:gd name="T11" fmla="*/ 232 h 232"/>
                  <a:gd name="T12" fmla="*/ 39 w 850"/>
                  <a:gd name="T13" fmla="*/ 232 h 232"/>
                  <a:gd name="T14" fmla="*/ 30 w 850"/>
                  <a:gd name="T15" fmla="*/ 231 h 232"/>
                  <a:gd name="T16" fmla="*/ 23 w 850"/>
                  <a:gd name="T17" fmla="*/ 229 h 232"/>
                  <a:gd name="T18" fmla="*/ 17 w 850"/>
                  <a:gd name="T19" fmla="*/ 225 h 232"/>
                  <a:gd name="T20" fmla="*/ 11 w 850"/>
                  <a:gd name="T21" fmla="*/ 220 h 232"/>
                  <a:gd name="T22" fmla="*/ 6 w 850"/>
                  <a:gd name="T23" fmla="*/ 215 h 232"/>
                  <a:gd name="T24" fmla="*/ 3 w 850"/>
                  <a:gd name="T25" fmla="*/ 208 h 232"/>
                  <a:gd name="T26" fmla="*/ 1 w 850"/>
                  <a:gd name="T27" fmla="*/ 201 h 232"/>
                  <a:gd name="T28" fmla="*/ 0 w 850"/>
                  <a:gd name="T29" fmla="*/ 193 h 232"/>
                  <a:gd name="T30" fmla="*/ 0 w 850"/>
                  <a:gd name="T31" fmla="*/ 38 h 232"/>
                  <a:gd name="T32" fmla="*/ 1 w 850"/>
                  <a:gd name="T33" fmla="*/ 31 h 232"/>
                  <a:gd name="T34" fmla="*/ 3 w 850"/>
                  <a:gd name="T35" fmla="*/ 23 h 232"/>
                  <a:gd name="T36" fmla="*/ 6 w 850"/>
                  <a:gd name="T37" fmla="*/ 17 h 232"/>
                  <a:gd name="T38" fmla="*/ 11 w 850"/>
                  <a:gd name="T39" fmla="*/ 11 h 232"/>
                  <a:gd name="T40" fmla="*/ 17 w 850"/>
                  <a:gd name="T41" fmla="*/ 6 h 232"/>
                  <a:gd name="T42" fmla="*/ 23 w 850"/>
                  <a:gd name="T43" fmla="*/ 3 h 232"/>
                  <a:gd name="T44" fmla="*/ 30 w 850"/>
                  <a:gd name="T45" fmla="*/ 0 h 232"/>
                  <a:gd name="T46" fmla="*/ 39 w 850"/>
                  <a:gd name="T47" fmla="*/ 0 h 232"/>
                  <a:gd name="T48" fmla="*/ 812 w 850"/>
                  <a:gd name="T49" fmla="*/ 0 h 232"/>
                  <a:gd name="T50" fmla="*/ 819 w 850"/>
                  <a:gd name="T51" fmla="*/ 0 h 232"/>
                  <a:gd name="T52" fmla="*/ 826 w 850"/>
                  <a:gd name="T53" fmla="*/ 3 h 232"/>
                  <a:gd name="T54" fmla="*/ 833 w 850"/>
                  <a:gd name="T55" fmla="*/ 6 h 232"/>
                  <a:gd name="T56" fmla="*/ 839 w 850"/>
                  <a:gd name="T57" fmla="*/ 11 h 232"/>
                  <a:gd name="T58" fmla="*/ 843 w 850"/>
                  <a:gd name="T59" fmla="*/ 17 h 232"/>
                  <a:gd name="T60" fmla="*/ 847 w 850"/>
                  <a:gd name="T61" fmla="*/ 23 h 232"/>
                  <a:gd name="T62" fmla="*/ 850 w 850"/>
                  <a:gd name="T63" fmla="*/ 31 h 232"/>
                  <a:gd name="T64" fmla="*/ 850 w 850"/>
                  <a:gd name="T65" fmla="*/ 38 h 232"/>
                  <a:gd name="T66" fmla="*/ 850 w 850"/>
                  <a:gd name="T67" fmla="*/ 193 h 232"/>
                  <a:gd name="T68" fmla="*/ 850 w 850"/>
                  <a:gd name="T69" fmla="*/ 201 h 232"/>
                  <a:gd name="T70" fmla="*/ 847 w 850"/>
                  <a:gd name="T71" fmla="*/ 208 h 232"/>
                  <a:gd name="T72" fmla="*/ 843 w 850"/>
                  <a:gd name="T73" fmla="*/ 215 h 232"/>
                  <a:gd name="T74" fmla="*/ 839 w 850"/>
                  <a:gd name="T75" fmla="*/ 220 h 232"/>
                  <a:gd name="T76" fmla="*/ 833 w 850"/>
                  <a:gd name="T77" fmla="*/ 225 h 232"/>
                  <a:gd name="T78" fmla="*/ 826 w 850"/>
                  <a:gd name="T79" fmla="*/ 229 h 232"/>
                  <a:gd name="T80" fmla="*/ 819 w 850"/>
                  <a:gd name="T81" fmla="*/ 231 h 232"/>
                  <a:gd name="T82" fmla="*/ 812 w 850"/>
                  <a:gd name="T8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232">
                    <a:moveTo>
                      <a:pt x="77" y="154"/>
                    </a:moveTo>
                    <a:lnTo>
                      <a:pt x="773" y="154"/>
                    </a:lnTo>
                    <a:lnTo>
                      <a:pt x="773" y="77"/>
                    </a:lnTo>
                    <a:lnTo>
                      <a:pt x="77" y="77"/>
                    </a:lnTo>
                    <a:lnTo>
                      <a:pt x="77" y="154"/>
                    </a:lnTo>
                    <a:close/>
                    <a:moveTo>
                      <a:pt x="812" y="232"/>
                    </a:moveTo>
                    <a:lnTo>
                      <a:pt x="39" y="232"/>
                    </a:lnTo>
                    <a:lnTo>
                      <a:pt x="30" y="231"/>
                    </a:lnTo>
                    <a:lnTo>
                      <a:pt x="23" y="229"/>
                    </a:lnTo>
                    <a:lnTo>
                      <a:pt x="17" y="225"/>
                    </a:lnTo>
                    <a:lnTo>
                      <a:pt x="11" y="220"/>
                    </a:lnTo>
                    <a:lnTo>
                      <a:pt x="6" y="215"/>
                    </a:lnTo>
                    <a:lnTo>
                      <a:pt x="3" y="208"/>
                    </a:lnTo>
                    <a:lnTo>
                      <a:pt x="1" y="201"/>
                    </a:lnTo>
                    <a:lnTo>
                      <a:pt x="0" y="193"/>
                    </a:lnTo>
                    <a:lnTo>
                      <a:pt x="0" y="38"/>
                    </a:lnTo>
                    <a:lnTo>
                      <a:pt x="1" y="31"/>
                    </a:lnTo>
                    <a:lnTo>
                      <a:pt x="3" y="23"/>
                    </a:lnTo>
                    <a:lnTo>
                      <a:pt x="6" y="17"/>
                    </a:lnTo>
                    <a:lnTo>
                      <a:pt x="11" y="11"/>
                    </a:lnTo>
                    <a:lnTo>
                      <a:pt x="17" y="6"/>
                    </a:lnTo>
                    <a:lnTo>
                      <a:pt x="23" y="3"/>
                    </a:lnTo>
                    <a:lnTo>
                      <a:pt x="30" y="0"/>
                    </a:lnTo>
                    <a:lnTo>
                      <a:pt x="39" y="0"/>
                    </a:lnTo>
                    <a:lnTo>
                      <a:pt x="812" y="0"/>
                    </a:lnTo>
                    <a:lnTo>
                      <a:pt x="819" y="0"/>
                    </a:lnTo>
                    <a:lnTo>
                      <a:pt x="826" y="3"/>
                    </a:lnTo>
                    <a:lnTo>
                      <a:pt x="833" y="6"/>
                    </a:lnTo>
                    <a:lnTo>
                      <a:pt x="839" y="11"/>
                    </a:lnTo>
                    <a:lnTo>
                      <a:pt x="843" y="17"/>
                    </a:lnTo>
                    <a:lnTo>
                      <a:pt x="847" y="23"/>
                    </a:lnTo>
                    <a:lnTo>
                      <a:pt x="850" y="31"/>
                    </a:lnTo>
                    <a:lnTo>
                      <a:pt x="850" y="38"/>
                    </a:lnTo>
                    <a:lnTo>
                      <a:pt x="850" y="193"/>
                    </a:lnTo>
                    <a:lnTo>
                      <a:pt x="850" y="201"/>
                    </a:lnTo>
                    <a:lnTo>
                      <a:pt x="847" y="208"/>
                    </a:lnTo>
                    <a:lnTo>
                      <a:pt x="843" y="215"/>
                    </a:lnTo>
                    <a:lnTo>
                      <a:pt x="839" y="220"/>
                    </a:lnTo>
                    <a:lnTo>
                      <a:pt x="833" y="225"/>
                    </a:lnTo>
                    <a:lnTo>
                      <a:pt x="826" y="229"/>
                    </a:lnTo>
                    <a:lnTo>
                      <a:pt x="819" y="231"/>
                    </a:lnTo>
                    <a:lnTo>
                      <a:pt x="812"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3"/>
              <p:cNvSpPr>
                <a:spLocks/>
              </p:cNvSpPr>
              <p:nvPr/>
            </p:nvSpPr>
            <p:spPr bwMode="auto">
              <a:xfrm>
                <a:off x="4459288" y="2419350"/>
                <a:ext cx="41275" cy="244475"/>
              </a:xfrm>
              <a:custGeom>
                <a:avLst/>
                <a:gdLst>
                  <a:gd name="T0" fmla="*/ 39 w 78"/>
                  <a:gd name="T1" fmla="*/ 464 h 464"/>
                  <a:gd name="T2" fmla="*/ 31 w 78"/>
                  <a:gd name="T3" fmla="*/ 464 h 464"/>
                  <a:gd name="T4" fmla="*/ 24 w 78"/>
                  <a:gd name="T5" fmla="*/ 461 h 464"/>
                  <a:gd name="T6" fmla="*/ 17 w 78"/>
                  <a:gd name="T7" fmla="*/ 457 h 464"/>
                  <a:gd name="T8" fmla="*/ 12 w 78"/>
                  <a:gd name="T9" fmla="*/ 453 h 464"/>
                  <a:gd name="T10" fmla="*/ 7 w 78"/>
                  <a:gd name="T11" fmla="*/ 447 h 464"/>
                  <a:gd name="T12" fmla="*/ 4 w 78"/>
                  <a:gd name="T13" fmla="*/ 440 h 464"/>
                  <a:gd name="T14" fmla="*/ 2 w 78"/>
                  <a:gd name="T15" fmla="*/ 433 h 464"/>
                  <a:gd name="T16" fmla="*/ 0 w 78"/>
                  <a:gd name="T17" fmla="*/ 425 h 464"/>
                  <a:gd name="T18" fmla="*/ 0 w 78"/>
                  <a:gd name="T19" fmla="*/ 38 h 464"/>
                  <a:gd name="T20" fmla="*/ 2 w 78"/>
                  <a:gd name="T21" fmla="*/ 31 h 464"/>
                  <a:gd name="T22" fmla="*/ 4 w 78"/>
                  <a:gd name="T23" fmla="*/ 24 h 464"/>
                  <a:gd name="T24" fmla="*/ 7 w 78"/>
                  <a:gd name="T25" fmla="*/ 17 h 464"/>
                  <a:gd name="T26" fmla="*/ 12 w 78"/>
                  <a:gd name="T27" fmla="*/ 12 h 464"/>
                  <a:gd name="T28" fmla="*/ 17 w 78"/>
                  <a:gd name="T29" fmla="*/ 7 h 464"/>
                  <a:gd name="T30" fmla="*/ 24 w 78"/>
                  <a:gd name="T31" fmla="*/ 3 h 464"/>
                  <a:gd name="T32" fmla="*/ 31 w 78"/>
                  <a:gd name="T33" fmla="*/ 1 h 464"/>
                  <a:gd name="T34" fmla="*/ 39 w 78"/>
                  <a:gd name="T35" fmla="*/ 0 h 464"/>
                  <a:gd name="T36" fmla="*/ 47 w 78"/>
                  <a:gd name="T37" fmla="*/ 1 h 464"/>
                  <a:gd name="T38" fmla="*/ 54 w 78"/>
                  <a:gd name="T39" fmla="*/ 3 h 464"/>
                  <a:gd name="T40" fmla="*/ 61 w 78"/>
                  <a:gd name="T41" fmla="*/ 7 h 464"/>
                  <a:gd name="T42" fmla="*/ 66 w 78"/>
                  <a:gd name="T43" fmla="*/ 12 h 464"/>
                  <a:gd name="T44" fmla="*/ 71 w 78"/>
                  <a:gd name="T45" fmla="*/ 17 h 464"/>
                  <a:gd name="T46" fmla="*/ 75 w 78"/>
                  <a:gd name="T47" fmla="*/ 24 h 464"/>
                  <a:gd name="T48" fmla="*/ 77 w 78"/>
                  <a:gd name="T49" fmla="*/ 31 h 464"/>
                  <a:gd name="T50" fmla="*/ 78 w 78"/>
                  <a:gd name="T51" fmla="*/ 38 h 464"/>
                  <a:gd name="T52" fmla="*/ 78 w 78"/>
                  <a:gd name="T53" fmla="*/ 425 h 464"/>
                  <a:gd name="T54" fmla="*/ 77 w 78"/>
                  <a:gd name="T55" fmla="*/ 433 h 464"/>
                  <a:gd name="T56" fmla="*/ 75 w 78"/>
                  <a:gd name="T57" fmla="*/ 440 h 464"/>
                  <a:gd name="T58" fmla="*/ 71 w 78"/>
                  <a:gd name="T59" fmla="*/ 447 h 464"/>
                  <a:gd name="T60" fmla="*/ 66 w 78"/>
                  <a:gd name="T61" fmla="*/ 453 h 464"/>
                  <a:gd name="T62" fmla="*/ 61 w 78"/>
                  <a:gd name="T63" fmla="*/ 457 h 464"/>
                  <a:gd name="T64" fmla="*/ 54 w 78"/>
                  <a:gd name="T65" fmla="*/ 461 h 464"/>
                  <a:gd name="T66" fmla="*/ 47 w 78"/>
                  <a:gd name="T67" fmla="*/ 464 h 464"/>
                  <a:gd name="T68" fmla="*/ 39 w 78"/>
                  <a:gd name="T69"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464">
                    <a:moveTo>
                      <a:pt x="39" y="464"/>
                    </a:moveTo>
                    <a:lnTo>
                      <a:pt x="31" y="464"/>
                    </a:lnTo>
                    <a:lnTo>
                      <a:pt x="24" y="461"/>
                    </a:lnTo>
                    <a:lnTo>
                      <a:pt x="17" y="457"/>
                    </a:lnTo>
                    <a:lnTo>
                      <a:pt x="12" y="453"/>
                    </a:lnTo>
                    <a:lnTo>
                      <a:pt x="7" y="447"/>
                    </a:lnTo>
                    <a:lnTo>
                      <a:pt x="4" y="440"/>
                    </a:lnTo>
                    <a:lnTo>
                      <a:pt x="2" y="433"/>
                    </a:lnTo>
                    <a:lnTo>
                      <a:pt x="0" y="425"/>
                    </a:lnTo>
                    <a:lnTo>
                      <a:pt x="0" y="38"/>
                    </a:lnTo>
                    <a:lnTo>
                      <a:pt x="2" y="31"/>
                    </a:lnTo>
                    <a:lnTo>
                      <a:pt x="4" y="24"/>
                    </a:lnTo>
                    <a:lnTo>
                      <a:pt x="7" y="17"/>
                    </a:lnTo>
                    <a:lnTo>
                      <a:pt x="12" y="12"/>
                    </a:lnTo>
                    <a:lnTo>
                      <a:pt x="17" y="7"/>
                    </a:lnTo>
                    <a:lnTo>
                      <a:pt x="24" y="3"/>
                    </a:lnTo>
                    <a:lnTo>
                      <a:pt x="31" y="1"/>
                    </a:lnTo>
                    <a:lnTo>
                      <a:pt x="39" y="0"/>
                    </a:lnTo>
                    <a:lnTo>
                      <a:pt x="47" y="1"/>
                    </a:lnTo>
                    <a:lnTo>
                      <a:pt x="54" y="3"/>
                    </a:lnTo>
                    <a:lnTo>
                      <a:pt x="61" y="7"/>
                    </a:lnTo>
                    <a:lnTo>
                      <a:pt x="66" y="12"/>
                    </a:lnTo>
                    <a:lnTo>
                      <a:pt x="71" y="17"/>
                    </a:lnTo>
                    <a:lnTo>
                      <a:pt x="75" y="24"/>
                    </a:lnTo>
                    <a:lnTo>
                      <a:pt x="77" y="31"/>
                    </a:lnTo>
                    <a:lnTo>
                      <a:pt x="78" y="38"/>
                    </a:lnTo>
                    <a:lnTo>
                      <a:pt x="78" y="425"/>
                    </a:lnTo>
                    <a:lnTo>
                      <a:pt x="77" y="433"/>
                    </a:lnTo>
                    <a:lnTo>
                      <a:pt x="75" y="440"/>
                    </a:lnTo>
                    <a:lnTo>
                      <a:pt x="71" y="447"/>
                    </a:lnTo>
                    <a:lnTo>
                      <a:pt x="66" y="453"/>
                    </a:lnTo>
                    <a:lnTo>
                      <a:pt x="61" y="457"/>
                    </a:lnTo>
                    <a:lnTo>
                      <a:pt x="54" y="461"/>
                    </a:lnTo>
                    <a:lnTo>
                      <a:pt x="47" y="464"/>
                    </a:lnTo>
                    <a:lnTo>
                      <a:pt x="39"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 77"/>
            <p:cNvGrpSpPr/>
            <p:nvPr/>
          </p:nvGrpSpPr>
          <p:grpSpPr>
            <a:xfrm>
              <a:off x="5326238" y="3183869"/>
              <a:ext cx="379798" cy="393513"/>
              <a:chOff x="3009369" y="2439528"/>
              <a:chExt cx="664188" cy="688174"/>
            </a:xfrm>
            <a:solidFill>
              <a:schemeClr val="bg1"/>
            </a:solidFill>
          </p:grpSpPr>
          <p:sp>
            <p:nvSpPr>
              <p:cNvPr id="79" name="Freeform 77"/>
              <p:cNvSpPr>
                <a:spLocks noEditPoints="1"/>
              </p:cNvSpPr>
              <p:nvPr/>
            </p:nvSpPr>
            <p:spPr bwMode="auto">
              <a:xfrm>
                <a:off x="3132981" y="2563141"/>
                <a:ext cx="418808" cy="416963"/>
              </a:xfrm>
              <a:custGeom>
                <a:avLst/>
                <a:gdLst>
                  <a:gd name="T0" fmla="*/ 280 w 680"/>
                  <a:gd name="T1" fmla="*/ 46 h 680"/>
                  <a:gd name="T2" fmla="*/ 210 w 680"/>
                  <a:gd name="T3" fmla="*/ 70 h 680"/>
                  <a:gd name="T4" fmla="*/ 149 w 680"/>
                  <a:gd name="T5" fmla="*/ 108 h 680"/>
                  <a:gd name="T6" fmla="*/ 100 w 680"/>
                  <a:gd name="T7" fmla="*/ 160 h 680"/>
                  <a:gd name="T8" fmla="*/ 64 w 680"/>
                  <a:gd name="T9" fmla="*/ 223 h 680"/>
                  <a:gd name="T10" fmla="*/ 44 w 680"/>
                  <a:gd name="T11" fmla="*/ 295 h 680"/>
                  <a:gd name="T12" fmla="*/ 41 w 680"/>
                  <a:gd name="T13" fmla="*/ 370 h 680"/>
                  <a:gd name="T14" fmla="*/ 59 w 680"/>
                  <a:gd name="T15" fmla="*/ 442 h 680"/>
                  <a:gd name="T16" fmla="*/ 91 w 680"/>
                  <a:gd name="T17" fmla="*/ 507 h 680"/>
                  <a:gd name="T18" fmla="*/ 138 w 680"/>
                  <a:gd name="T19" fmla="*/ 562 h 680"/>
                  <a:gd name="T20" fmla="*/ 197 w 680"/>
                  <a:gd name="T21" fmla="*/ 604 h 680"/>
                  <a:gd name="T22" fmla="*/ 265 w 680"/>
                  <a:gd name="T23" fmla="*/ 630 h 680"/>
                  <a:gd name="T24" fmla="*/ 339 w 680"/>
                  <a:gd name="T25" fmla="*/ 640 h 680"/>
                  <a:gd name="T26" fmla="*/ 415 w 680"/>
                  <a:gd name="T27" fmla="*/ 630 h 680"/>
                  <a:gd name="T28" fmla="*/ 482 w 680"/>
                  <a:gd name="T29" fmla="*/ 604 h 680"/>
                  <a:gd name="T30" fmla="*/ 542 w 680"/>
                  <a:gd name="T31" fmla="*/ 562 h 680"/>
                  <a:gd name="T32" fmla="*/ 589 w 680"/>
                  <a:gd name="T33" fmla="*/ 507 h 680"/>
                  <a:gd name="T34" fmla="*/ 621 w 680"/>
                  <a:gd name="T35" fmla="*/ 442 h 680"/>
                  <a:gd name="T36" fmla="*/ 639 w 680"/>
                  <a:gd name="T37" fmla="*/ 370 h 680"/>
                  <a:gd name="T38" fmla="*/ 636 w 680"/>
                  <a:gd name="T39" fmla="*/ 295 h 680"/>
                  <a:gd name="T40" fmla="*/ 616 w 680"/>
                  <a:gd name="T41" fmla="*/ 223 h 680"/>
                  <a:gd name="T42" fmla="*/ 580 w 680"/>
                  <a:gd name="T43" fmla="*/ 160 h 680"/>
                  <a:gd name="T44" fmla="*/ 531 w 680"/>
                  <a:gd name="T45" fmla="*/ 108 h 680"/>
                  <a:gd name="T46" fmla="*/ 470 w 680"/>
                  <a:gd name="T47" fmla="*/ 70 h 680"/>
                  <a:gd name="T48" fmla="*/ 400 w 680"/>
                  <a:gd name="T49" fmla="*/ 46 h 680"/>
                  <a:gd name="T50" fmla="*/ 339 w 680"/>
                  <a:gd name="T51" fmla="*/ 680 h 680"/>
                  <a:gd name="T52" fmla="*/ 255 w 680"/>
                  <a:gd name="T53" fmla="*/ 669 h 680"/>
                  <a:gd name="T54" fmla="*/ 178 w 680"/>
                  <a:gd name="T55" fmla="*/ 639 h 680"/>
                  <a:gd name="T56" fmla="*/ 111 w 680"/>
                  <a:gd name="T57" fmla="*/ 592 h 680"/>
                  <a:gd name="T58" fmla="*/ 59 w 680"/>
                  <a:gd name="T59" fmla="*/ 529 h 680"/>
                  <a:gd name="T60" fmla="*/ 20 w 680"/>
                  <a:gd name="T61" fmla="*/ 456 h 680"/>
                  <a:gd name="T62" fmla="*/ 2 w 680"/>
                  <a:gd name="T63" fmla="*/ 374 h 680"/>
                  <a:gd name="T64" fmla="*/ 4 w 680"/>
                  <a:gd name="T65" fmla="*/ 288 h 680"/>
                  <a:gd name="T66" fmla="*/ 26 w 680"/>
                  <a:gd name="T67" fmla="*/ 208 h 680"/>
                  <a:gd name="T68" fmla="*/ 67 w 680"/>
                  <a:gd name="T69" fmla="*/ 137 h 680"/>
                  <a:gd name="T70" fmla="*/ 123 w 680"/>
                  <a:gd name="T71" fmla="*/ 77 h 680"/>
                  <a:gd name="T72" fmla="*/ 193 w 680"/>
                  <a:gd name="T73" fmla="*/ 34 h 680"/>
                  <a:gd name="T74" fmla="*/ 271 w 680"/>
                  <a:gd name="T75" fmla="*/ 6 h 680"/>
                  <a:gd name="T76" fmla="*/ 357 w 680"/>
                  <a:gd name="T77" fmla="*/ 0 h 680"/>
                  <a:gd name="T78" fmla="*/ 441 w 680"/>
                  <a:gd name="T79" fmla="*/ 15 h 680"/>
                  <a:gd name="T80" fmla="*/ 516 w 680"/>
                  <a:gd name="T81" fmla="*/ 49 h 680"/>
                  <a:gd name="T82" fmla="*/ 580 w 680"/>
                  <a:gd name="T83" fmla="*/ 100 h 680"/>
                  <a:gd name="T84" fmla="*/ 630 w 680"/>
                  <a:gd name="T85" fmla="*/ 164 h 680"/>
                  <a:gd name="T86" fmla="*/ 665 w 680"/>
                  <a:gd name="T87" fmla="*/ 239 h 680"/>
                  <a:gd name="T88" fmla="*/ 680 w 680"/>
                  <a:gd name="T89" fmla="*/ 322 h 680"/>
                  <a:gd name="T90" fmla="*/ 672 w 680"/>
                  <a:gd name="T91" fmla="*/ 408 h 680"/>
                  <a:gd name="T92" fmla="*/ 646 w 680"/>
                  <a:gd name="T93" fmla="*/ 487 h 680"/>
                  <a:gd name="T94" fmla="*/ 601 w 680"/>
                  <a:gd name="T95" fmla="*/ 555 h 680"/>
                  <a:gd name="T96" fmla="*/ 543 w 680"/>
                  <a:gd name="T97" fmla="*/ 613 h 680"/>
                  <a:gd name="T98" fmla="*/ 472 w 680"/>
                  <a:gd name="T99" fmla="*/ 652 h 680"/>
                  <a:gd name="T100" fmla="*/ 392 w 680"/>
                  <a:gd name="T101" fmla="*/ 67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680">
                    <a:moveTo>
                      <a:pt x="339" y="40"/>
                    </a:moveTo>
                    <a:lnTo>
                      <a:pt x="324" y="40"/>
                    </a:lnTo>
                    <a:lnTo>
                      <a:pt x="310" y="41"/>
                    </a:lnTo>
                    <a:lnTo>
                      <a:pt x="295" y="44"/>
                    </a:lnTo>
                    <a:lnTo>
                      <a:pt x="280" y="46"/>
                    </a:lnTo>
                    <a:lnTo>
                      <a:pt x="265" y="50"/>
                    </a:lnTo>
                    <a:lnTo>
                      <a:pt x="251" y="54"/>
                    </a:lnTo>
                    <a:lnTo>
                      <a:pt x="236" y="59"/>
                    </a:lnTo>
                    <a:lnTo>
                      <a:pt x="223" y="63"/>
                    </a:lnTo>
                    <a:lnTo>
                      <a:pt x="210" y="70"/>
                    </a:lnTo>
                    <a:lnTo>
                      <a:pt x="197" y="76"/>
                    </a:lnTo>
                    <a:lnTo>
                      <a:pt x="184" y="83"/>
                    </a:lnTo>
                    <a:lnTo>
                      <a:pt x="172" y="91"/>
                    </a:lnTo>
                    <a:lnTo>
                      <a:pt x="161" y="100"/>
                    </a:lnTo>
                    <a:lnTo>
                      <a:pt x="149" y="108"/>
                    </a:lnTo>
                    <a:lnTo>
                      <a:pt x="138" y="118"/>
                    </a:lnTo>
                    <a:lnTo>
                      <a:pt x="128" y="128"/>
                    </a:lnTo>
                    <a:lnTo>
                      <a:pt x="118" y="138"/>
                    </a:lnTo>
                    <a:lnTo>
                      <a:pt x="108" y="149"/>
                    </a:lnTo>
                    <a:lnTo>
                      <a:pt x="100" y="160"/>
                    </a:lnTo>
                    <a:lnTo>
                      <a:pt x="91" y="172"/>
                    </a:lnTo>
                    <a:lnTo>
                      <a:pt x="83" y="184"/>
                    </a:lnTo>
                    <a:lnTo>
                      <a:pt x="76" y="196"/>
                    </a:lnTo>
                    <a:lnTo>
                      <a:pt x="70" y="210"/>
                    </a:lnTo>
                    <a:lnTo>
                      <a:pt x="64" y="223"/>
                    </a:lnTo>
                    <a:lnTo>
                      <a:pt x="59" y="236"/>
                    </a:lnTo>
                    <a:lnTo>
                      <a:pt x="54" y="251"/>
                    </a:lnTo>
                    <a:lnTo>
                      <a:pt x="50" y="265"/>
                    </a:lnTo>
                    <a:lnTo>
                      <a:pt x="46" y="280"/>
                    </a:lnTo>
                    <a:lnTo>
                      <a:pt x="44" y="295"/>
                    </a:lnTo>
                    <a:lnTo>
                      <a:pt x="41" y="309"/>
                    </a:lnTo>
                    <a:lnTo>
                      <a:pt x="40" y="324"/>
                    </a:lnTo>
                    <a:lnTo>
                      <a:pt x="40" y="339"/>
                    </a:lnTo>
                    <a:lnTo>
                      <a:pt x="40" y="355"/>
                    </a:lnTo>
                    <a:lnTo>
                      <a:pt x="41" y="370"/>
                    </a:lnTo>
                    <a:lnTo>
                      <a:pt x="44" y="385"/>
                    </a:lnTo>
                    <a:lnTo>
                      <a:pt x="46" y="400"/>
                    </a:lnTo>
                    <a:lnTo>
                      <a:pt x="50" y="415"/>
                    </a:lnTo>
                    <a:lnTo>
                      <a:pt x="54" y="429"/>
                    </a:lnTo>
                    <a:lnTo>
                      <a:pt x="59" y="442"/>
                    </a:lnTo>
                    <a:lnTo>
                      <a:pt x="64" y="456"/>
                    </a:lnTo>
                    <a:lnTo>
                      <a:pt x="70" y="470"/>
                    </a:lnTo>
                    <a:lnTo>
                      <a:pt x="76" y="482"/>
                    </a:lnTo>
                    <a:lnTo>
                      <a:pt x="83" y="495"/>
                    </a:lnTo>
                    <a:lnTo>
                      <a:pt x="91" y="507"/>
                    </a:lnTo>
                    <a:lnTo>
                      <a:pt x="100" y="519"/>
                    </a:lnTo>
                    <a:lnTo>
                      <a:pt x="108" y="531"/>
                    </a:lnTo>
                    <a:lnTo>
                      <a:pt x="118" y="542"/>
                    </a:lnTo>
                    <a:lnTo>
                      <a:pt x="128" y="552"/>
                    </a:lnTo>
                    <a:lnTo>
                      <a:pt x="138" y="562"/>
                    </a:lnTo>
                    <a:lnTo>
                      <a:pt x="149" y="572"/>
                    </a:lnTo>
                    <a:lnTo>
                      <a:pt x="161" y="580"/>
                    </a:lnTo>
                    <a:lnTo>
                      <a:pt x="172" y="589"/>
                    </a:lnTo>
                    <a:lnTo>
                      <a:pt x="184" y="596"/>
                    </a:lnTo>
                    <a:lnTo>
                      <a:pt x="197" y="604"/>
                    </a:lnTo>
                    <a:lnTo>
                      <a:pt x="210" y="610"/>
                    </a:lnTo>
                    <a:lnTo>
                      <a:pt x="223" y="616"/>
                    </a:lnTo>
                    <a:lnTo>
                      <a:pt x="236" y="621"/>
                    </a:lnTo>
                    <a:lnTo>
                      <a:pt x="251" y="626"/>
                    </a:lnTo>
                    <a:lnTo>
                      <a:pt x="265" y="630"/>
                    </a:lnTo>
                    <a:lnTo>
                      <a:pt x="280" y="634"/>
                    </a:lnTo>
                    <a:lnTo>
                      <a:pt x="295" y="636"/>
                    </a:lnTo>
                    <a:lnTo>
                      <a:pt x="310" y="639"/>
                    </a:lnTo>
                    <a:lnTo>
                      <a:pt x="324" y="640"/>
                    </a:lnTo>
                    <a:lnTo>
                      <a:pt x="339" y="640"/>
                    </a:lnTo>
                    <a:lnTo>
                      <a:pt x="355" y="640"/>
                    </a:lnTo>
                    <a:lnTo>
                      <a:pt x="370" y="639"/>
                    </a:lnTo>
                    <a:lnTo>
                      <a:pt x="385" y="636"/>
                    </a:lnTo>
                    <a:lnTo>
                      <a:pt x="400" y="634"/>
                    </a:lnTo>
                    <a:lnTo>
                      <a:pt x="415" y="630"/>
                    </a:lnTo>
                    <a:lnTo>
                      <a:pt x="429" y="626"/>
                    </a:lnTo>
                    <a:lnTo>
                      <a:pt x="442" y="621"/>
                    </a:lnTo>
                    <a:lnTo>
                      <a:pt x="456" y="616"/>
                    </a:lnTo>
                    <a:lnTo>
                      <a:pt x="470" y="610"/>
                    </a:lnTo>
                    <a:lnTo>
                      <a:pt x="482" y="604"/>
                    </a:lnTo>
                    <a:lnTo>
                      <a:pt x="495" y="596"/>
                    </a:lnTo>
                    <a:lnTo>
                      <a:pt x="507" y="589"/>
                    </a:lnTo>
                    <a:lnTo>
                      <a:pt x="519" y="580"/>
                    </a:lnTo>
                    <a:lnTo>
                      <a:pt x="531" y="572"/>
                    </a:lnTo>
                    <a:lnTo>
                      <a:pt x="542" y="562"/>
                    </a:lnTo>
                    <a:lnTo>
                      <a:pt x="552" y="552"/>
                    </a:lnTo>
                    <a:lnTo>
                      <a:pt x="562" y="542"/>
                    </a:lnTo>
                    <a:lnTo>
                      <a:pt x="572" y="531"/>
                    </a:lnTo>
                    <a:lnTo>
                      <a:pt x="580" y="519"/>
                    </a:lnTo>
                    <a:lnTo>
                      <a:pt x="589" y="507"/>
                    </a:lnTo>
                    <a:lnTo>
                      <a:pt x="596" y="495"/>
                    </a:lnTo>
                    <a:lnTo>
                      <a:pt x="604" y="482"/>
                    </a:lnTo>
                    <a:lnTo>
                      <a:pt x="610" y="470"/>
                    </a:lnTo>
                    <a:lnTo>
                      <a:pt x="616" y="456"/>
                    </a:lnTo>
                    <a:lnTo>
                      <a:pt x="621" y="442"/>
                    </a:lnTo>
                    <a:lnTo>
                      <a:pt x="626" y="429"/>
                    </a:lnTo>
                    <a:lnTo>
                      <a:pt x="630" y="415"/>
                    </a:lnTo>
                    <a:lnTo>
                      <a:pt x="634" y="400"/>
                    </a:lnTo>
                    <a:lnTo>
                      <a:pt x="636" y="385"/>
                    </a:lnTo>
                    <a:lnTo>
                      <a:pt x="639" y="370"/>
                    </a:lnTo>
                    <a:lnTo>
                      <a:pt x="640" y="355"/>
                    </a:lnTo>
                    <a:lnTo>
                      <a:pt x="640" y="339"/>
                    </a:lnTo>
                    <a:lnTo>
                      <a:pt x="640" y="324"/>
                    </a:lnTo>
                    <a:lnTo>
                      <a:pt x="639" y="309"/>
                    </a:lnTo>
                    <a:lnTo>
                      <a:pt x="636" y="295"/>
                    </a:lnTo>
                    <a:lnTo>
                      <a:pt x="634" y="280"/>
                    </a:lnTo>
                    <a:lnTo>
                      <a:pt x="630" y="265"/>
                    </a:lnTo>
                    <a:lnTo>
                      <a:pt x="626" y="251"/>
                    </a:lnTo>
                    <a:lnTo>
                      <a:pt x="621" y="236"/>
                    </a:lnTo>
                    <a:lnTo>
                      <a:pt x="616" y="223"/>
                    </a:lnTo>
                    <a:lnTo>
                      <a:pt x="610" y="210"/>
                    </a:lnTo>
                    <a:lnTo>
                      <a:pt x="604" y="196"/>
                    </a:lnTo>
                    <a:lnTo>
                      <a:pt x="596" y="184"/>
                    </a:lnTo>
                    <a:lnTo>
                      <a:pt x="589" y="172"/>
                    </a:lnTo>
                    <a:lnTo>
                      <a:pt x="580" y="160"/>
                    </a:lnTo>
                    <a:lnTo>
                      <a:pt x="572" y="149"/>
                    </a:lnTo>
                    <a:lnTo>
                      <a:pt x="562" y="138"/>
                    </a:lnTo>
                    <a:lnTo>
                      <a:pt x="552" y="128"/>
                    </a:lnTo>
                    <a:lnTo>
                      <a:pt x="542" y="118"/>
                    </a:lnTo>
                    <a:lnTo>
                      <a:pt x="531" y="108"/>
                    </a:lnTo>
                    <a:lnTo>
                      <a:pt x="519" y="100"/>
                    </a:lnTo>
                    <a:lnTo>
                      <a:pt x="507" y="91"/>
                    </a:lnTo>
                    <a:lnTo>
                      <a:pt x="495" y="83"/>
                    </a:lnTo>
                    <a:lnTo>
                      <a:pt x="482" y="76"/>
                    </a:lnTo>
                    <a:lnTo>
                      <a:pt x="470" y="70"/>
                    </a:lnTo>
                    <a:lnTo>
                      <a:pt x="456" y="63"/>
                    </a:lnTo>
                    <a:lnTo>
                      <a:pt x="442" y="59"/>
                    </a:lnTo>
                    <a:lnTo>
                      <a:pt x="429" y="54"/>
                    </a:lnTo>
                    <a:lnTo>
                      <a:pt x="415" y="50"/>
                    </a:lnTo>
                    <a:lnTo>
                      <a:pt x="400" y="46"/>
                    </a:lnTo>
                    <a:lnTo>
                      <a:pt x="385" y="44"/>
                    </a:lnTo>
                    <a:lnTo>
                      <a:pt x="370" y="41"/>
                    </a:lnTo>
                    <a:lnTo>
                      <a:pt x="355" y="40"/>
                    </a:lnTo>
                    <a:lnTo>
                      <a:pt x="339" y="40"/>
                    </a:lnTo>
                    <a:close/>
                    <a:moveTo>
                      <a:pt x="339" y="680"/>
                    </a:moveTo>
                    <a:lnTo>
                      <a:pt x="322" y="680"/>
                    </a:lnTo>
                    <a:lnTo>
                      <a:pt x="305" y="678"/>
                    </a:lnTo>
                    <a:lnTo>
                      <a:pt x="288" y="676"/>
                    </a:lnTo>
                    <a:lnTo>
                      <a:pt x="271" y="672"/>
                    </a:lnTo>
                    <a:lnTo>
                      <a:pt x="255" y="669"/>
                    </a:lnTo>
                    <a:lnTo>
                      <a:pt x="239" y="665"/>
                    </a:lnTo>
                    <a:lnTo>
                      <a:pt x="223" y="659"/>
                    </a:lnTo>
                    <a:lnTo>
                      <a:pt x="208" y="652"/>
                    </a:lnTo>
                    <a:lnTo>
                      <a:pt x="193" y="646"/>
                    </a:lnTo>
                    <a:lnTo>
                      <a:pt x="178" y="639"/>
                    </a:lnTo>
                    <a:lnTo>
                      <a:pt x="164" y="630"/>
                    </a:lnTo>
                    <a:lnTo>
                      <a:pt x="149" y="621"/>
                    </a:lnTo>
                    <a:lnTo>
                      <a:pt x="137" y="613"/>
                    </a:lnTo>
                    <a:lnTo>
                      <a:pt x="123" y="601"/>
                    </a:lnTo>
                    <a:lnTo>
                      <a:pt x="111" y="592"/>
                    </a:lnTo>
                    <a:lnTo>
                      <a:pt x="100" y="580"/>
                    </a:lnTo>
                    <a:lnTo>
                      <a:pt x="88" y="568"/>
                    </a:lnTo>
                    <a:lnTo>
                      <a:pt x="77" y="555"/>
                    </a:lnTo>
                    <a:lnTo>
                      <a:pt x="67" y="543"/>
                    </a:lnTo>
                    <a:lnTo>
                      <a:pt x="59" y="529"/>
                    </a:lnTo>
                    <a:lnTo>
                      <a:pt x="49" y="516"/>
                    </a:lnTo>
                    <a:lnTo>
                      <a:pt x="41" y="502"/>
                    </a:lnTo>
                    <a:lnTo>
                      <a:pt x="34" y="487"/>
                    </a:lnTo>
                    <a:lnTo>
                      <a:pt x="26" y="472"/>
                    </a:lnTo>
                    <a:lnTo>
                      <a:pt x="20" y="456"/>
                    </a:lnTo>
                    <a:lnTo>
                      <a:pt x="15" y="441"/>
                    </a:lnTo>
                    <a:lnTo>
                      <a:pt x="10" y="425"/>
                    </a:lnTo>
                    <a:lnTo>
                      <a:pt x="6" y="408"/>
                    </a:lnTo>
                    <a:lnTo>
                      <a:pt x="4" y="391"/>
                    </a:lnTo>
                    <a:lnTo>
                      <a:pt x="2" y="374"/>
                    </a:lnTo>
                    <a:lnTo>
                      <a:pt x="0" y="357"/>
                    </a:lnTo>
                    <a:lnTo>
                      <a:pt x="0" y="339"/>
                    </a:lnTo>
                    <a:lnTo>
                      <a:pt x="0" y="322"/>
                    </a:lnTo>
                    <a:lnTo>
                      <a:pt x="2" y="305"/>
                    </a:lnTo>
                    <a:lnTo>
                      <a:pt x="4" y="288"/>
                    </a:lnTo>
                    <a:lnTo>
                      <a:pt x="6" y="271"/>
                    </a:lnTo>
                    <a:lnTo>
                      <a:pt x="10" y="255"/>
                    </a:lnTo>
                    <a:lnTo>
                      <a:pt x="15" y="239"/>
                    </a:lnTo>
                    <a:lnTo>
                      <a:pt x="20" y="223"/>
                    </a:lnTo>
                    <a:lnTo>
                      <a:pt x="26" y="208"/>
                    </a:lnTo>
                    <a:lnTo>
                      <a:pt x="34" y="193"/>
                    </a:lnTo>
                    <a:lnTo>
                      <a:pt x="41" y="178"/>
                    </a:lnTo>
                    <a:lnTo>
                      <a:pt x="49" y="164"/>
                    </a:lnTo>
                    <a:lnTo>
                      <a:pt x="59" y="149"/>
                    </a:lnTo>
                    <a:lnTo>
                      <a:pt x="67" y="137"/>
                    </a:lnTo>
                    <a:lnTo>
                      <a:pt x="77" y="123"/>
                    </a:lnTo>
                    <a:lnTo>
                      <a:pt x="88" y="111"/>
                    </a:lnTo>
                    <a:lnTo>
                      <a:pt x="100" y="100"/>
                    </a:lnTo>
                    <a:lnTo>
                      <a:pt x="111" y="88"/>
                    </a:lnTo>
                    <a:lnTo>
                      <a:pt x="123" y="77"/>
                    </a:lnTo>
                    <a:lnTo>
                      <a:pt x="137" y="67"/>
                    </a:lnTo>
                    <a:lnTo>
                      <a:pt x="149" y="59"/>
                    </a:lnTo>
                    <a:lnTo>
                      <a:pt x="164" y="49"/>
                    </a:lnTo>
                    <a:lnTo>
                      <a:pt x="178" y="41"/>
                    </a:lnTo>
                    <a:lnTo>
                      <a:pt x="193" y="34"/>
                    </a:lnTo>
                    <a:lnTo>
                      <a:pt x="208" y="26"/>
                    </a:lnTo>
                    <a:lnTo>
                      <a:pt x="223" y="20"/>
                    </a:lnTo>
                    <a:lnTo>
                      <a:pt x="239" y="15"/>
                    </a:lnTo>
                    <a:lnTo>
                      <a:pt x="255" y="10"/>
                    </a:lnTo>
                    <a:lnTo>
                      <a:pt x="271" y="6"/>
                    </a:lnTo>
                    <a:lnTo>
                      <a:pt x="288" y="4"/>
                    </a:lnTo>
                    <a:lnTo>
                      <a:pt x="305" y="1"/>
                    </a:lnTo>
                    <a:lnTo>
                      <a:pt x="322" y="0"/>
                    </a:lnTo>
                    <a:lnTo>
                      <a:pt x="339" y="0"/>
                    </a:lnTo>
                    <a:lnTo>
                      <a:pt x="357" y="0"/>
                    </a:lnTo>
                    <a:lnTo>
                      <a:pt x="374" y="1"/>
                    </a:lnTo>
                    <a:lnTo>
                      <a:pt x="392" y="4"/>
                    </a:lnTo>
                    <a:lnTo>
                      <a:pt x="408" y="6"/>
                    </a:lnTo>
                    <a:lnTo>
                      <a:pt x="425" y="10"/>
                    </a:lnTo>
                    <a:lnTo>
                      <a:pt x="441" y="15"/>
                    </a:lnTo>
                    <a:lnTo>
                      <a:pt x="456" y="20"/>
                    </a:lnTo>
                    <a:lnTo>
                      <a:pt x="472" y="26"/>
                    </a:lnTo>
                    <a:lnTo>
                      <a:pt x="487" y="34"/>
                    </a:lnTo>
                    <a:lnTo>
                      <a:pt x="502" y="41"/>
                    </a:lnTo>
                    <a:lnTo>
                      <a:pt x="516" y="49"/>
                    </a:lnTo>
                    <a:lnTo>
                      <a:pt x="529" y="59"/>
                    </a:lnTo>
                    <a:lnTo>
                      <a:pt x="543" y="67"/>
                    </a:lnTo>
                    <a:lnTo>
                      <a:pt x="555" y="77"/>
                    </a:lnTo>
                    <a:lnTo>
                      <a:pt x="568" y="88"/>
                    </a:lnTo>
                    <a:lnTo>
                      <a:pt x="580" y="100"/>
                    </a:lnTo>
                    <a:lnTo>
                      <a:pt x="591" y="111"/>
                    </a:lnTo>
                    <a:lnTo>
                      <a:pt x="601" y="123"/>
                    </a:lnTo>
                    <a:lnTo>
                      <a:pt x="613" y="137"/>
                    </a:lnTo>
                    <a:lnTo>
                      <a:pt x="621" y="149"/>
                    </a:lnTo>
                    <a:lnTo>
                      <a:pt x="630" y="164"/>
                    </a:lnTo>
                    <a:lnTo>
                      <a:pt x="639" y="178"/>
                    </a:lnTo>
                    <a:lnTo>
                      <a:pt x="646" y="193"/>
                    </a:lnTo>
                    <a:lnTo>
                      <a:pt x="652" y="208"/>
                    </a:lnTo>
                    <a:lnTo>
                      <a:pt x="659" y="223"/>
                    </a:lnTo>
                    <a:lnTo>
                      <a:pt x="665" y="239"/>
                    </a:lnTo>
                    <a:lnTo>
                      <a:pt x="668" y="255"/>
                    </a:lnTo>
                    <a:lnTo>
                      <a:pt x="672" y="271"/>
                    </a:lnTo>
                    <a:lnTo>
                      <a:pt x="676" y="288"/>
                    </a:lnTo>
                    <a:lnTo>
                      <a:pt x="678" y="305"/>
                    </a:lnTo>
                    <a:lnTo>
                      <a:pt x="680" y="322"/>
                    </a:lnTo>
                    <a:lnTo>
                      <a:pt x="680" y="339"/>
                    </a:lnTo>
                    <a:lnTo>
                      <a:pt x="680" y="357"/>
                    </a:lnTo>
                    <a:lnTo>
                      <a:pt x="678" y="374"/>
                    </a:lnTo>
                    <a:lnTo>
                      <a:pt x="676" y="391"/>
                    </a:lnTo>
                    <a:lnTo>
                      <a:pt x="672" y="408"/>
                    </a:lnTo>
                    <a:lnTo>
                      <a:pt x="668" y="425"/>
                    </a:lnTo>
                    <a:lnTo>
                      <a:pt x="665" y="441"/>
                    </a:lnTo>
                    <a:lnTo>
                      <a:pt x="659" y="456"/>
                    </a:lnTo>
                    <a:lnTo>
                      <a:pt x="652" y="472"/>
                    </a:lnTo>
                    <a:lnTo>
                      <a:pt x="646" y="487"/>
                    </a:lnTo>
                    <a:lnTo>
                      <a:pt x="639" y="502"/>
                    </a:lnTo>
                    <a:lnTo>
                      <a:pt x="630" y="516"/>
                    </a:lnTo>
                    <a:lnTo>
                      <a:pt x="621" y="529"/>
                    </a:lnTo>
                    <a:lnTo>
                      <a:pt x="613" y="543"/>
                    </a:lnTo>
                    <a:lnTo>
                      <a:pt x="601" y="555"/>
                    </a:lnTo>
                    <a:lnTo>
                      <a:pt x="591" y="568"/>
                    </a:lnTo>
                    <a:lnTo>
                      <a:pt x="580" y="580"/>
                    </a:lnTo>
                    <a:lnTo>
                      <a:pt x="568" y="592"/>
                    </a:lnTo>
                    <a:lnTo>
                      <a:pt x="555" y="601"/>
                    </a:lnTo>
                    <a:lnTo>
                      <a:pt x="543" y="613"/>
                    </a:lnTo>
                    <a:lnTo>
                      <a:pt x="529" y="621"/>
                    </a:lnTo>
                    <a:lnTo>
                      <a:pt x="516" y="630"/>
                    </a:lnTo>
                    <a:lnTo>
                      <a:pt x="502" y="639"/>
                    </a:lnTo>
                    <a:lnTo>
                      <a:pt x="487" y="646"/>
                    </a:lnTo>
                    <a:lnTo>
                      <a:pt x="472" y="652"/>
                    </a:lnTo>
                    <a:lnTo>
                      <a:pt x="456" y="659"/>
                    </a:lnTo>
                    <a:lnTo>
                      <a:pt x="441" y="665"/>
                    </a:lnTo>
                    <a:lnTo>
                      <a:pt x="425" y="669"/>
                    </a:lnTo>
                    <a:lnTo>
                      <a:pt x="408" y="672"/>
                    </a:lnTo>
                    <a:lnTo>
                      <a:pt x="392" y="676"/>
                    </a:lnTo>
                    <a:lnTo>
                      <a:pt x="374" y="678"/>
                    </a:lnTo>
                    <a:lnTo>
                      <a:pt x="357" y="680"/>
                    </a:lnTo>
                    <a:lnTo>
                      <a:pt x="339"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8"/>
              <p:cNvSpPr>
                <a:spLocks/>
              </p:cNvSpPr>
              <p:nvPr/>
            </p:nvSpPr>
            <p:spPr bwMode="auto">
              <a:xfrm>
                <a:off x="3232610" y="2932135"/>
                <a:ext cx="219551" cy="195567"/>
              </a:xfrm>
              <a:custGeom>
                <a:avLst/>
                <a:gdLst>
                  <a:gd name="T0" fmla="*/ 339 w 358"/>
                  <a:gd name="T1" fmla="*/ 319 h 319"/>
                  <a:gd name="T2" fmla="*/ 19 w 358"/>
                  <a:gd name="T3" fmla="*/ 319 h 319"/>
                  <a:gd name="T4" fmla="*/ 14 w 358"/>
                  <a:gd name="T5" fmla="*/ 319 h 319"/>
                  <a:gd name="T6" fmla="*/ 11 w 358"/>
                  <a:gd name="T7" fmla="*/ 318 h 319"/>
                  <a:gd name="T8" fmla="*/ 8 w 358"/>
                  <a:gd name="T9" fmla="*/ 316 h 319"/>
                  <a:gd name="T10" fmla="*/ 4 w 358"/>
                  <a:gd name="T11" fmla="*/ 313 h 319"/>
                  <a:gd name="T12" fmla="*/ 2 w 358"/>
                  <a:gd name="T13" fmla="*/ 311 h 319"/>
                  <a:gd name="T14" fmla="*/ 1 w 358"/>
                  <a:gd name="T15" fmla="*/ 307 h 319"/>
                  <a:gd name="T16" fmla="*/ 0 w 358"/>
                  <a:gd name="T17" fmla="*/ 303 h 319"/>
                  <a:gd name="T18" fmla="*/ 0 w 358"/>
                  <a:gd name="T19" fmla="*/ 300 h 319"/>
                  <a:gd name="T20" fmla="*/ 0 w 358"/>
                  <a:gd name="T21" fmla="*/ 20 h 319"/>
                  <a:gd name="T22" fmla="*/ 0 w 358"/>
                  <a:gd name="T23" fmla="*/ 15 h 319"/>
                  <a:gd name="T24" fmla="*/ 1 w 358"/>
                  <a:gd name="T25" fmla="*/ 11 h 319"/>
                  <a:gd name="T26" fmla="*/ 2 w 358"/>
                  <a:gd name="T27" fmla="*/ 9 h 319"/>
                  <a:gd name="T28" fmla="*/ 4 w 358"/>
                  <a:gd name="T29" fmla="*/ 5 h 319"/>
                  <a:gd name="T30" fmla="*/ 8 w 358"/>
                  <a:gd name="T31" fmla="*/ 3 h 319"/>
                  <a:gd name="T32" fmla="*/ 11 w 358"/>
                  <a:gd name="T33" fmla="*/ 1 h 319"/>
                  <a:gd name="T34" fmla="*/ 14 w 358"/>
                  <a:gd name="T35" fmla="*/ 0 h 319"/>
                  <a:gd name="T36" fmla="*/ 19 w 358"/>
                  <a:gd name="T37" fmla="*/ 0 h 319"/>
                  <a:gd name="T38" fmla="*/ 23 w 358"/>
                  <a:gd name="T39" fmla="*/ 0 h 319"/>
                  <a:gd name="T40" fmla="*/ 27 w 358"/>
                  <a:gd name="T41" fmla="*/ 1 h 319"/>
                  <a:gd name="T42" fmla="*/ 31 w 358"/>
                  <a:gd name="T43" fmla="*/ 3 h 319"/>
                  <a:gd name="T44" fmla="*/ 33 w 358"/>
                  <a:gd name="T45" fmla="*/ 5 h 319"/>
                  <a:gd name="T46" fmla="*/ 36 w 358"/>
                  <a:gd name="T47" fmla="*/ 9 h 319"/>
                  <a:gd name="T48" fmla="*/ 37 w 358"/>
                  <a:gd name="T49" fmla="*/ 11 h 319"/>
                  <a:gd name="T50" fmla="*/ 38 w 358"/>
                  <a:gd name="T51" fmla="*/ 15 h 319"/>
                  <a:gd name="T52" fmla="*/ 39 w 358"/>
                  <a:gd name="T53" fmla="*/ 20 h 319"/>
                  <a:gd name="T54" fmla="*/ 39 w 358"/>
                  <a:gd name="T55" fmla="*/ 280 h 319"/>
                  <a:gd name="T56" fmla="*/ 319 w 358"/>
                  <a:gd name="T57" fmla="*/ 280 h 319"/>
                  <a:gd name="T58" fmla="*/ 319 w 358"/>
                  <a:gd name="T59" fmla="*/ 20 h 319"/>
                  <a:gd name="T60" fmla="*/ 319 w 358"/>
                  <a:gd name="T61" fmla="*/ 15 h 319"/>
                  <a:gd name="T62" fmla="*/ 320 w 358"/>
                  <a:gd name="T63" fmla="*/ 11 h 319"/>
                  <a:gd name="T64" fmla="*/ 322 w 358"/>
                  <a:gd name="T65" fmla="*/ 9 h 319"/>
                  <a:gd name="T66" fmla="*/ 325 w 358"/>
                  <a:gd name="T67" fmla="*/ 5 h 319"/>
                  <a:gd name="T68" fmla="*/ 327 w 358"/>
                  <a:gd name="T69" fmla="*/ 3 h 319"/>
                  <a:gd name="T70" fmla="*/ 331 w 358"/>
                  <a:gd name="T71" fmla="*/ 1 h 319"/>
                  <a:gd name="T72" fmla="*/ 335 w 358"/>
                  <a:gd name="T73" fmla="*/ 0 h 319"/>
                  <a:gd name="T74" fmla="*/ 339 w 358"/>
                  <a:gd name="T75" fmla="*/ 0 h 319"/>
                  <a:gd name="T76" fmla="*/ 342 w 358"/>
                  <a:gd name="T77" fmla="*/ 0 h 319"/>
                  <a:gd name="T78" fmla="*/ 346 w 358"/>
                  <a:gd name="T79" fmla="*/ 1 h 319"/>
                  <a:gd name="T80" fmla="*/ 350 w 358"/>
                  <a:gd name="T81" fmla="*/ 3 h 319"/>
                  <a:gd name="T82" fmla="*/ 353 w 358"/>
                  <a:gd name="T83" fmla="*/ 5 h 319"/>
                  <a:gd name="T84" fmla="*/ 356 w 358"/>
                  <a:gd name="T85" fmla="*/ 9 h 319"/>
                  <a:gd name="T86" fmla="*/ 357 w 358"/>
                  <a:gd name="T87" fmla="*/ 11 h 319"/>
                  <a:gd name="T88" fmla="*/ 358 w 358"/>
                  <a:gd name="T89" fmla="*/ 15 h 319"/>
                  <a:gd name="T90" fmla="*/ 358 w 358"/>
                  <a:gd name="T91" fmla="*/ 20 h 319"/>
                  <a:gd name="T92" fmla="*/ 358 w 358"/>
                  <a:gd name="T93" fmla="*/ 300 h 319"/>
                  <a:gd name="T94" fmla="*/ 358 w 358"/>
                  <a:gd name="T95" fmla="*/ 303 h 319"/>
                  <a:gd name="T96" fmla="*/ 357 w 358"/>
                  <a:gd name="T97" fmla="*/ 307 h 319"/>
                  <a:gd name="T98" fmla="*/ 356 w 358"/>
                  <a:gd name="T99" fmla="*/ 311 h 319"/>
                  <a:gd name="T100" fmla="*/ 353 w 358"/>
                  <a:gd name="T101" fmla="*/ 313 h 319"/>
                  <a:gd name="T102" fmla="*/ 350 w 358"/>
                  <a:gd name="T103" fmla="*/ 316 h 319"/>
                  <a:gd name="T104" fmla="*/ 346 w 358"/>
                  <a:gd name="T105" fmla="*/ 318 h 319"/>
                  <a:gd name="T106" fmla="*/ 342 w 358"/>
                  <a:gd name="T107" fmla="*/ 319 h 319"/>
                  <a:gd name="T108" fmla="*/ 339 w 358"/>
                  <a:gd name="T10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19">
                    <a:moveTo>
                      <a:pt x="339" y="319"/>
                    </a:moveTo>
                    <a:lnTo>
                      <a:pt x="19" y="319"/>
                    </a:lnTo>
                    <a:lnTo>
                      <a:pt x="14" y="319"/>
                    </a:lnTo>
                    <a:lnTo>
                      <a:pt x="11" y="318"/>
                    </a:lnTo>
                    <a:lnTo>
                      <a:pt x="8" y="316"/>
                    </a:lnTo>
                    <a:lnTo>
                      <a:pt x="4" y="313"/>
                    </a:lnTo>
                    <a:lnTo>
                      <a:pt x="2" y="311"/>
                    </a:lnTo>
                    <a:lnTo>
                      <a:pt x="1" y="307"/>
                    </a:lnTo>
                    <a:lnTo>
                      <a:pt x="0" y="303"/>
                    </a:lnTo>
                    <a:lnTo>
                      <a:pt x="0" y="300"/>
                    </a:lnTo>
                    <a:lnTo>
                      <a:pt x="0" y="20"/>
                    </a:lnTo>
                    <a:lnTo>
                      <a:pt x="0" y="15"/>
                    </a:lnTo>
                    <a:lnTo>
                      <a:pt x="1" y="11"/>
                    </a:lnTo>
                    <a:lnTo>
                      <a:pt x="2" y="9"/>
                    </a:lnTo>
                    <a:lnTo>
                      <a:pt x="4" y="5"/>
                    </a:lnTo>
                    <a:lnTo>
                      <a:pt x="8" y="3"/>
                    </a:lnTo>
                    <a:lnTo>
                      <a:pt x="11" y="1"/>
                    </a:lnTo>
                    <a:lnTo>
                      <a:pt x="14" y="0"/>
                    </a:lnTo>
                    <a:lnTo>
                      <a:pt x="19" y="0"/>
                    </a:lnTo>
                    <a:lnTo>
                      <a:pt x="23" y="0"/>
                    </a:lnTo>
                    <a:lnTo>
                      <a:pt x="27" y="1"/>
                    </a:lnTo>
                    <a:lnTo>
                      <a:pt x="31" y="3"/>
                    </a:lnTo>
                    <a:lnTo>
                      <a:pt x="33" y="5"/>
                    </a:lnTo>
                    <a:lnTo>
                      <a:pt x="36" y="9"/>
                    </a:lnTo>
                    <a:lnTo>
                      <a:pt x="37" y="11"/>
                    </a:lnTo>
                    <a:lnTo>
                      <a:pt x="38" y="15"/>
                    </a:lnTo>
                    <a:lnTo>
                      <a:pt x="39" y="20"/>
                    </a:lnTo>
                    <a:lnTo>
                      <a:pt x="39" y="280"/>
                    </a:lnTo>
                    <a:lnTo>
                      <a:pt x="319" y="280"/>
                    </a:lnTo>
                    <a:lnTo>
                      <a:pt x="319" y="20"/>
                    </a:lnTo>
                    <a:lnTo>
                      <a:pt x="319" y="15"/>
                    </a:lnTo>
                    <a:lnTo>
                      <a:pt x="320" y="11"/>
                    </a:lnTo>
                    <a:lnTo>
                      <a:pt x="322" y="9"/>
                    </a:lnTo>
                    <a:lnTo>
                      <a:pt x="325" y="5"/>
                    </a:lnTo>
                    <a:lnTo>
                      <a:pt x="327" y="3"/>
                    </a:lnTo>
                    <a:lnTo>
                      <a:pt x="331" y="1"/>
                    </a:lnTo>
                    <a:lnTo>
                      <a:pt x="335" y="0"/>
                    </a:lnTo>
                    <a:lnTo>
                      <a:pt x="339" y="0"/>
                    </a:lnTo>
                    <a:lnTo>
                      <a:pt x="342" y="0"/>
                    </a:lnTo>
                    <a:lnTo>
                      <a:pt x="346" y="1"/>
                    </a:lnTo>
                    <a:lnTo>
                      <a:pt x="350" y="3"/>
                    </a:lnTo>
                    <a:lnTo>
                      <a:pt x="353" y="5"/>
                    </a:lnTo>
                    <a:lnTo>
                      <a:pt x="356" y="9"/>
                    </a:lnTo>
                    <a:lnTo>
                      <a:pt x="357" y="11"/>
                    </a:lnTo>
                    <a:lnTo>
                      <a:pt x="358" y="15"/>
                    </a:lnTo>
                    <a:lnTo>
                      <a:pt x="358" y="20"/>
                    </a:lnTo>
                    <a:lnTo>
                      <a:pt x="358" y="300"/>
                    </a:lnTo>
                    <a:lnTo>
                      <a:pt x="358" y="303"/>
                    </a:lnTo>
                    <a:lnTo>
                      <a:pt x="357" y="307"/>
                    </a:lnTo>
                    <a:lnTo>
                      <a:pt x="356" y="311"/>
                    </a:lnTo>
                    <a:lnTo>
                      <a:pt x="353" y="313"/>
                    </a:lnTo>
                    <a:lnTo>
                      <a:pt x="350" y="316"/>
                    </a:lnTo>
                    <a:lnTo>
                      <a:pt x="346" y="318"/>
                    </a:lnTo>
                    <a:lnTo>
                      <a:pt x="342" y="319"/>
                    </a:lnTo>
                    <a:lnTo>
                      <a:pt x="33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9"/>
              <p:cNvSpPr>
                <a:spLocks/>
              </p:cNvSpPr>
              <p:nvPr/>
            </p:nvSpPr>
            <p:spPr bwMode="auto">
              <a:xfrm>
                <a:off x="3232610" y="3004089"/>
                <a:ext cx="219551" cy="49814"/>
              </a:xfrm>
              <a:custGeom>
                <a:avLst/>
                <a:gdLst>
                  <a:gd name="T0" fmla="*/ 339 w 358"/>
                  <a:gd name="T1" fmla="*/ 81 h 81"/>
                  <a:gd name="T2" fmla="*/ 337 w 358"/>
                  <a:gd name="T3" fmla="*/ 81 h 81"/>
                  <a:gd name="T4" fmla="*/ 336 w 358"/>
                  <a:gd name="T5" fmla="*/ 80 h 81"/>
                  <a:gd name="T6" fmla="*/ 17 w 358"/>
                  <a:gd name="T7" fmla="*/ 40 h 81"/>
                  <a:gd name="T8" fmla="*/ 12 w 358"/>
                  <a:gd name="T9" fmla="*/ 40 h 81"/>
                  <a:gd name="T10" fmla="*/ 9 w 358"/>
                  <a:gd name="T11" fmla="*/ 38 h 81"/>
                  <a:gd name="T12" fmla="*/ 6 w 358"/>
                  <a:gd name="T13" fmla="*/ 35 h 81"/>
                  <a:gd name="T14" fmla="*/ 3 w 358"/>
                  <a:gd name="T15" fmla="*/ 33 h 81"/>
                  <a:gd name="T16" fmla="*/ 1 w 358"/>
                  <a:gd name="T17" fmla="*/ 30 h 81"/>
                  <a:gd name="T18" fmla="*/ 0 w 358"/>
                  <a:gd name="T19" fmla="*/ 27 h 81"/>
                  <a:gd name="T20" fmla="*/ 0 w 358"/>
                  <a:gd name="T21" fmla="*/ 23 h 81"/>
                  <a:gd name="T22" fmla="*/ 0 w 358"/>
                  <a:gd name="T23" fmla="*/ 18 h 81"/>
                  <a:gd name="T24" fmla="*/ 0 w 358"/>
                  <a:gd name="T25" fmla="*/ 14 h 81"/>
                  <a:gd name="T26" fmla="*/ 2 w 358"/>
                  <a:gd name="T27" fmla="*/ 10 h 81"/>
                  <a:gd name="T28" fmla="*/ 3 w 358"/>
                  <a:gd name="T29" fmla="*/ 8 h 81"/>
                  <a:gd name="T30" fmla="*/ 7 w 358"/>
                  <a:gd name="T31" fmla="*/ 5 h 81"/>
                  <a:gd name="T32" fmla="*/ 9 w 358"/>
                  <a:gd name="T33" fmla="*/ 3 h 81"/>
                  <a:gd name="T34" fmla="*/ 13 w 358"/>
                  <a:gd name="T35" fmla="*/ 2 h 81"/>
                  <a:gd name="T36" fmla="*/ 17 w 358"/>
                  <a:gd name="T37" fmla="*/ 0 h 81"/>
                  <a:gd name="T38" fmla="*/ 22 w 358"/>
                  <a:gd name="T39" fmla="*/ 0 h 81"/>
                  <a:gd name="T40" fmla="*/ 341 w 358"/>
                  <a:gd name="T41" fmla="*/ 41 h 81"/>
                  <a:gd name="T42" fmla="*/ 345 w 358"/>
                  <a:gd name="T43" fmla="*/ 41 h 81"/>
                  <a:gd name="T44" fmla="*/ 349 w 358"/>
                  <a:gd name="T45" fmla="*/ 44 h 81"/>
                  <a:gd name="T46" fmla="*/ 352 w 358"/>
                  <a:gd name="T47" fmla="*/ 45 h 81"/>
                  <a:gd name="T48" fmla="*/ 355 w 358"/>
                  <a:gd name="T49" fmla="*/ 49 h 81"/>
                  <a:gd name="T50" fmla="*/ 357 w 358"/>
                  <a:gd name="T51" fmla="*/ 51 h 81"/>
                  <a:gd name="T52" fmla="*/ 358 w 358"/>
                  <a:gd name="T53" fmla="*/ 55 h 81"/>
                  <a:gd name="T54" fmla="*/ 358 w 358"/>
                  <a:gd name="T55" fmla="*/ 59 h 81"/>
                  <a:gd name="T56" fmla="*/ 358 w 358"/>
                  <a:gd name="T57" fmla="*/ 63 h 81"/>
                  <a:gd name="T58" fmla="*/ 357 w 358"/>
                  <a:gd name="T59" fmla="*/ 66 h 81"/>
                  <a:gd name="T60" fmla="*/ 356 w 358"/>
                  <a:gd name="T61" fmla="*/ 70 h 81"/>
                  <a:gd name="T62" fmla="*/ 355 w 358"/>
                  <a:gd name="T63" fmla="*/ 74 h 81"/>
                  <a:gd name="T64" fmla="*/ 352 w 358"/>
                  <a:gd name="T65" fmla="*/ 76 h 81"/>
                  <a:gd name="T66" fmla="*/ 349 w 358"/>
                  <a:gd name="T67" fmla="*/ 77 h 81"/>
                  <a:gd name="T68" fmla="*/ 346 w 358"/>
                  <a:gd name="T69" fmla="*/ 80 h 81"/>
                  <a:gd name="T70" fmla="*/ 342 w 358"/>
                  <a:gd name="T71" fmla="*/ 80 h 81"/>
                  <a:gd name="T72" fmla="*/ 339 w 358"/>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1">
                    <a:moveTo>
                      <a:pt x="339" y="81"/>
                    </a:moveTo>
                    <a:lnTo>
                      <a:pt x="337" y="81"/>
                    </a:lnTo>
                    <a:lnTo>
                      <a:pt x="336" y="80"/>
                    </a:lnTo>
                    <a:lnTo>
                      <a:pt x="17" y="40"/>
                    </a:lnTo>
                    <a:lnTo>
                      <a:pt x="12" y="40"/>
                    </a:lnTo>
                    <a:lnTo>
                      <a:pt x="9" y="38"/>
                    </a:lnTo>
                    <a:lnTo>
                      <a:pt x="6" y="35"/>
                    </a:lnTo>
                    <a:lnTo>
                      <a:pt x="3" y="33"/>
                    </a:lnTo>
                    <a:lnTo>
                      <a:pt x="1" y="30"/>
                    </a:lnTo>
                    <a:lnTo>
                      <a:pt x="0" y="27"/>
                    </a:lnTo>
                    <a:lnTo>
                      <a:pt x="0" y="23"/>
                    </a:lnTo>
                    <a:lnTo>
                      <a:pt x="0" y="18"/>
                    </a:lnTo>
                    <a:lnTo>
                      <a:pt x="0" y="14"/>
                    </a:lnTo>
                    <a:lnTo>
                      <a:pt x="2" y="10"/>
                    </a:lnTo>
                    <a:lnTo>
                      <a:pt x="3" y="8"/>
                    </a:lnTo>
                    <a:lnTo>
                      <a:pt x="7" y="5"/>
                    </a:lnTo>
                    <a:lnTo>
                      <a:pt x="9" y="3"/>
                    </a:lnTo>
                    <a:lnTo>
                      <a:pt x="13" y="2"/>
                    </a:lnTo>
                    <a:lnTo>
                      <a:pt x="17" y="0"/>
                    </a:lnTo>
                    <a:lnTo>
                      <a:pt x="22" y="0"/>
                    </a:lnTo>
                    <a:lnTo>
                      <a:pt x="341" y="41"/>
                    </a:lnTo>
                    <a:lnTo>
                      <a:pt x="345" y="41"/>
                    </a:lnTo>
                    <a:lnTo>
                      <a:pt x="349" y="44"/>
                    </a:lnTo>
                    <a:lnTo>
                      <a:pt x="352" y="45"/>
                    </a:lnTo>
                    <a:lnTo>
                      <a:pt x="355" y="49"/>
                    </a:lnTo>
                    <a:lnTo>
                      <a:pt x="357" y="51"/>
                    </a:lnTo>
                    <a:lnTo>
                      <a:pt x="358" y="55"/>
                    </a:lnTo>
                    <a:lnTo>
                      <a:pt x="358" y="59"/>
                    </a:lnTo>
                    <a:lnTo>
                      <a:pt x="358" y="63"/>
                    </a:lnTo>
                    <a:lnTo>
                      <a:pt x="357" y="66"/>
                    </a:lnTo>
                    <a:lnTo>
                      <a:pt x="356" y="70"/>
                    </a:lnTo>
                    <a:lnTo>
                      <a:pt x="355" y="74"/>
                    </a:lnTo>
                    <a:lnTo>
                      <a:pt x="352" y="76"/>
                    </a:lnTo>
                    <a:lnTo>
                      <a:pt x="349" y="77"/>
                    </a:lnTo>
                    <a:lnTo>
                      <a:pt x="346" y="80"/>
                    </a:lnTo>
                    <a:lnTo>
                      <a:pt x="342" y="80"/>
                    </a:lnTo>
                    <a:lnTo>
                      <a:pt x="3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0"/>
              <p:cNvSpPr>
                <a:spLocks/>
              </p:cNvSpPr>
              <p:nvPr/>
            </p:nvSpPr>
            <p:spPr bwMode="auto">
              <a:xfrm>
                <a:off x="3232610" y="2956119"/>
                <a:ext cx="219551" cy="47969"/>
              </a:xfrm>
              <a:custGeom>
                <a:avLst/>
                <a:gdLst>
                  <a:gd name="T0" fmla="*/ 339 w 358"/>
                  <a:gd name="T1" fmla="*/ 79 h 79"/>
                  <a:gd name="T2" fmla="*/ 337 w 358"/>
                  <a:gd name="T3" fmla="*/ 79 h 79"/>
                  <a:gd name="T4" fmla="*/ 336 w 358"/>
                  <a:gd name="T5" fmla="*/ 79 h 79"/>
                  <a:gd name="T6" fmla="*/ 17 w 358"/>
                  <a:gd name="T7" fmla="*/ 40 h 79"/>
                  <a:gd name="T8" fmla="*/ 12 w 358"/>
                  <a:gd name="T9" fmla="*/ 38 h 79"/>
                  <a:gd name="T10" fmla="*/ 9 w 358"/>
                  <a:gd name="T11" fmla="*/ 37 h 79"/>
                  <a:gd name="T12" fmla="*/ 6 w 358"/>
                  <a:gd name="T13" fmla="*/ 35 h 79"/>
                  <a:gd name="T14" fmla="*/ 3 w 358"/>
                  <a:gd name="T15" fmla="*/ 32 h 79"/>
                  <a:gd name="T16" fmla="*/ 1 w 358"/>
                  <a:gd name="T17" fmla="*/ 29 h 79"/>
                  <a:gd name="T18" fmla="*/ 0 w 358"/>
                  <a:gd name="T19" fmla="*/ 25 h 79"/>
                  <a:gd name="T20" fmla="*/ 0 w 358"/>
                  <a:gd name="T21" fmla="*/ 21 h 79"/>
                  <a:gd name="T22" fmla="*/ 0 w 358"/>
                  <a:gd name="T23" fmla="*/ 17 h 79"/>
                  <a:gd name="T24" fmla="*/ 0 w 358"/>
                  <a:gd name="T25" fmla="*/ 14 h 79"/>
                  <a:gd name="T26" fmla="*/ 2 w 358"/>
                  <a:gd name="T27" fmla="*/ 10 h 79"/>
                  <a:gd name="T28" fmla="*/ 3 w 358"/>
                  <a:gd name="T29" fmla="*/ 6 h 79"/>
                  <a:gd name="T30" fmla="*/ 7 w 358"/>
                  <a:gd name="T31" fmla="*/ 4 h 79"/>
                  <a:gd name="T32" fmla="*/ 9 w 358"/>
                  <a:gd name="T33" fmla="*/ 2 h 79"/>
                  <a:gd name="T34" fmla="*/ 13 w 358"/>
                  <a:gd name="T35" fmla="*/ 0 h 79"/>
                  <a:gd name="T36" fmla="*/ 17 w 358"/>
                  <a:gd name="T37" fmla="*/ 0 h 79"/>
                  <a:gd name="T38" fmla="*/ 22 w 358"/>
                  <a:gd name="T39" fmla="*/ 0 h 79"/>
                  <a:gd name="T40" fmla="*/ 341 w 358"/>
                  <a:gd name="T41" fmla="*/ 40 h 79"/>
                  <a:gd name="T42" fmla="*/ 345 w 358"/>
                  <a:gd name="T43" fmla="*/ 41 h 79"/>
                  <a:gd name="T44" fmla="*/ 349 w 358"/>
                  <a:gd name="T45" fmla="*/ 42 h 79"/>
                  <a:gd name="T46" fmla="*/ 352 w 358"/>
                  <a:gd name="T47" fmla="*/ 45 h 79"/>
                  <a:gd name="T48" fmla="*/ 355 w 358"/>
                  <a:gd name="T49" fmla="*/ 47 h 79"/>
                  <a:gd name="T50" fmla="*/ 357 w 358"/>
                  <a:gd name="T51" fmla="*/ 51 h 79"/>
                  <a:gd name="T52" fmla="*/ 358 w 358"/>
                  <a:gd name="T53" fmla="*/ 55 h 79"/>
                  <a:gd name="T54" fmla="*/ 358 w 358"/>
                  <a:gd name="T55" fmla="*/ 58 h 79"/>
                  <a:gd name="T56" fmla="*/ 358 w 358"/>
                  <a:gd name="T57" fmla="*/ 62 h 79"/>
                  <a:gd name="T58" fmla="*/ 357 w 358"/>
                  <a:gd name="T59" fmla="*/ 66 h 79"/>
                  <a:gd name="T60" fmla="*/ 356 w 358"/>
                  <a:gd name="T61" fmla="*/ 70 h 79"/>
                  <a:gd name="T62" fmla="*/ 355 w 358"/>
                  <a:gd name="T63" fmla="*/ 72 h 79"/>
                  <a:gd name="T64" fmla="*/ 352 w 358"/>
                  <a:gd name="T65" fmla="*/ 74 h 79"/>
                  <a:gd name="T66" fmla="*/ 349 w 358"/>
                  <a:gd name="T67" fmla="*/ 77 h 79"/>
                  <a:gd name="T68" fmla="*/ 346 w 358"/>
                  <a:gd name="T69" fmla="*/ 78 h 79"/>
                  <a:gd name="T70" fmla="*/ 342 w 358"/>
                  <a:gd name="T71" fmla="*/ 79 h 79"/>
                  <a:gd name="T72" fmla="*/ 339 w 358"/>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79">
                    <a:moveTo>
                      <a:pt x="339" y="79"/>
                    </a:moveTo>
                    <a:lnTo>
                      <a:pt x="337" y="79"/>
                    </a:lnTo>
                    <a:lnTo>
                      <a:pt x="336" y="79"/>
                    </a:lnTo>
                    <a:lnTo>
                      <a:pt x="17" y="40"/>
                    </a:lnTo>
                    <a:lnTo>
                      <a:pt x="12" y="38"/>
                    </a:lnTo>
                    <a:lnTo>
                      <a:pt x="9" y="37"/>
                    </a:lnTo>
                    <a:lnTo>
                      <a:pt x="6" y="35"/>
                    </a:lnTo>
                    <a:lnTo>
                      <a:pt x="3" y="32"/>
                    </a:lnTo>
                    <a:lnTo>
                      <a:pt x="1" y="29"/>
                    </a:lnTo>
                    <a:lnTo>
                      <a:pt x="0" y="25"/>
                    </a:lnTo>
                    <a:lnTo>
                      <a:pt x="0" y="21"/>
                    </a:lnTo>
                    <a:lnTo>
                      <a:pt x="0" y="17"/>
                    </a:lnTo>
                    <a:lnTo>
                      <a:pt x="0" y="14"/>
                    </a:lnTo>
                    <a:lnTo>
                      <a:pt x="2" y="10"/>
                    </a:lnTo>
                    <a:lnTo>
                      <a:pt x="3" y="6"/>
                    </a:lnTo>
                    <a:lnTo>
                      <a:pt x="7" y="4"/>
                    </a:lnTo>
                    <a:lnTo>
                      <a:pt x="9" y="2"/>
                    </a:lnTo>
                    <a:lnTo>
                      <a:pt x="13" y="0"/>
                    </a:lnTo>
                    <a:lnTo>
                      <a:pt x="17" y="0"/>
                    </a:lnTo>
                    <a:lnTo>
                      <a:pt x="22" y="0"/>
                    </a:lnTo>
                    <a:lnTo>
                      <a:pt x="341" y="40"/>
                    </a:lnTo>
                    <a:lnTo>
                      <a:pt x="345" y="41"/>
                    </a:lnTo>
                    <a:lnTo>
                      <a:pt x="349" y="42"/>
                    </a:lnTo>
                    <a:lnTo>
                      <a:pt x="352" y="45"/>
                    </a:lnTo>
                    <a:lnTo>
                      <a:pt x="355" y="47"/>
                    </a:lnTo>
                    <a:lnTo>
                      <a:pt x="357" y="51"/>
                    </a:lnTo>
                    <a:lnTo>
                      <a:pt x="358" y="55"/>
                    </a:lnTo>
                    <a:lnTo>
                      <a:pt x="358" y="58"/>
                    </a:lnTo>
                    <a:lnTo>
                      <a:pt x="358" y="62"/>
                    </a:lnTo>
                    <a:lnTo>
                      <a:pt x="357" y="66"/>
                    </a:lnTo>
                    <a:lnTo>
                      <a:pt x="356" y="70"/>
                    </a:lnTo>
                    <a:lnTo>
                      <a:pt x="355" y="72"/>
                    </a:lnTo>
                    <a:lnTo>
                      <a:pt x="352" y="74"/>
                    </a:lnTo>
                    <a:lnTo>
                      <a:pt x="349" y="77"/>
                    </a:lnTo>
                    <a:lnTo>
                      <a:pt x="346" y="78"/>
                    </a:lnTo>
                    <a:lnTo>
                      <a:pt x="342" y="79"/>
                    </a:lnTo>
                    <a:lnTo>
                      <a:pt x="3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1"/>
              <p:cNvSpPr>
                <a:spLocks/>
              </p:cNvSpPr>
              <p:nvPr/>
            </p:nvSpPr>
            <p:spPr bwMode="auto">
              <a:xfrm>
                <a:off x="3232610" y="3053903"/>
                <a:ext cx="219551" cy="49814"/>
              </a:xfrm>
              <a:custGeom>
                <a:avLst/>
                <a:gdLst>
                  <a:gd name="T0" fmla="*/ 339 w 358"/>
                  <a:gd name="T1" fmla="*/ 80 h 80"/>
                  <a:gd name="T2" fmla="*/ 337 w 358"/>
                  <a:gd name="T3" fmla="*/ 80 h 80"/>
                  <a:gd name="T4" fmla="*/ 336 w 358"/>
                  <a:gd name="T5" fmla="*/ 80 h 80"/>
                  <a:gd name="T6" fmla="*/ 17 w 358"/>
                  <a:gd name="T7" fmla="*/ 40 h 80"/>
                  <a:gd name="T8" fmla="*/ 12 w 358"/>
                  <a:gd name="T9" fmla="*/ 39 h 80"/>
                  <a:gd name="T10" fmla="*/ 9 w 358"/>
                  <a:gd name="T11" fmla="*/ 37 h 80"/>
                  <a:gd name="T12" fmla="*/ 6 w 358"/>
                  <a:gd name="T13" fmla="*/ 35 h 80"/>
                  <a:gd name="T14" fmla="*/ 3 w 358"/>
                  <a:gd name="T15" fmla="*/ 33 h 80"/>
                  <a:gd name="T16" fmla="*/ 1 w 358"/>
                  <a:gd name="T17" fmla="*/ 29 h 80"/>
                  <a:gd name="T18" fmla="*/ 0 w 358"/>
                  <a:gd name="T19" fmla="*/ 25 h 80"/>
                  <a:gd name="T20" fmla="*/ 0 w 358"/>
                  <a:gd name="T21" fmla="*/ 21 h 80"/>
                  <a:gd name="T22" fmla="*/ 0 w 358"/>
                  <a:gd name="T23" fmla="*/ 18 h 80"/>
                  <a:gd name="T24" fmla="*/ 0 w 358"/>
                  <a:gd name="T25" fmla="*/ 14 h 80"/>
                  <a:gd name="T26" fmla="*/ 2 w 358"/>
                  <a:gd name="T27" fmla="*/ 10 h 80"/>
                  <a:gd name="T28" fmla="*/ 3 w 358"/>
                  <a:gd name="T29" fmla="*/ 6 h 80"/>
                  <a:gd name="T30" fmla="*/ 7 w 358"/>
                  <a:gd name="T31" fmla="*/ 4 h 80"/>
                  <a:gd name="T32" fmla="*/ 9 w 358"/>
                  <a:gd name="T33" fmla="*/ 1 h 80"/>
                  <a:gd name="T34" fmla="*/ 13 w 358"/>
                  <a:gd name="T35" fmla="*/ 0 h 80"/>
                  <a:gd name="T36" fmla="*/ 17 w 358"/>
                  <a:gd name="T37" fmla="*/ 0 h 80"/>
                  <a:gd name="T38" fmla="*/ 22 w 358"/>
                  <a:gd name="T39" fmla="*/ 0 h 80"/>
                  <a:gd name="T40" fmla="*/ 341 w 358"/>
                  <a:gd name="T41" fmla="*/ 40 h 80"/>
                  <a:gd name="T42" fmla="*/ 345 w 358"/>
                  <a:gd name="T43" fmla="*/ 41 h 80"/>
                  <a:gd name="T44" fmla="*/ 349 w 358"/>
                  <a:gd name="T45" fmla="*/ 42 h 80"/>
                  <a:gd name="T46" fmla="*/ 352 w 358"/>
                  <a:gd name="T47" fmla="*/ 45 h 80"/>
                  <a:gd name="T48" fmla="*/ 355 w 358"/>
                  <a:gd name="T49" fmla="*/ 47 h 80"/>
                  <a:gd name="T50" fmla="*/ 357 w 358"/>
                  <a:gd name="T51" fmla="*/ 51 h 80"/>
                  <a:gd name="T52" fmla="*/ 358 w 358"/>
                  <a:gd name="T53" fmla="*/ 55 h 80"/>
                  <a:gd name="T54" fmla="*/ 358 w 358"/>
                  <a:gd name="T55" fmla="*/ 59 h 80"/>
                  <a:gd name="T56" fmla="*/ 358 w 358"/>
                  <a:gd name="T57" fmla="*/ 62 h 80"/>
                  <a:gd name="T58" fmla="*/ 357 w 358"/>
                  <a:gd name="T59" fmla="*/ 66 h 80"/>
                  <a:gd name="T60" fmla="*/ 356 w 358"/>
                  <a:gd name="T61" fmla="*/ 70 h 80"/>
                  <a:gd name="T62" fmla="*/ 355 w 358"/>
                  <a:gd name="T63" fmla="*/ 72 h 80"/>
                  <a:gd name="T64" fmla="*/ 352 w 358"/>
                  <a:gd name="T65" fmla="*/ 75 h 80"/>
                  <a:gd name="T66" fmla="*/ 349 w 358"/>
                  <a:gd name="T67" fmla="*/ 77 h 80"/>
                  <a:gd name="T68" fmla="*/ 346 w 358"/>
                  <a:gd name="T69" fmla="*/ 78 h 80"/>
                  <a:gd name="T70" fmla="*/ 342 w 358"/>
                  <a:gd name="T71" fmla="*/ 80 h 80"/>
                  <a:gd name="T72" fmla="*/ 339 w 358"/>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0">
                    <a:moveTo>
                      <a:pt x="339" y="80"/>
                    </a:moveTo>
                    <a:lnTo>
                      <a:pt x="337" y="80"/>
                    </a:lnTo>
                    <a:lnTo>
                      <a:pt x="336" y="80"/>
                    </a:lnTo>
                    <a:lnTo>
                      <a:pt x="17" y="40"/>
                    </a:lnTo>
                    <a:lnTo>
                      <a:pt x="12" y="39"/>
                    </a:lnTo>
                    <a:lnTo>
                      <a:pt x="9" y="37"/>
                    </a:lnTo>
                    <a:lnTo>
                      <a:pt x="6" y="35"/>
                    </a:lnTo>
                    <a:lnTo>
                      <a:pt x="3" y="33"/>
                    </a:lnTo>
                    <a:lnTo>
                      <a:pt x="1" y="29"/>
                    </a:lnTo>
                    <a:lnTo>
                      <a:pt x="0" y="25"/>
                    </a:lnTo>
                    <a:lnTo>
                      <a:pt x="0" y="21"/>
                    </a:lnTo>
                    <a:lnTo>
                      <a:pt x="0" y="18"/>
                    </a:lnTo>
                    <a:lnTo>
                      <a:pt x="0" y="14"/>
                    </a:lnTo>
                    <a:lnTo>
                      <a:pt x="2" y="10"/>
                    </a:lnTo>
                    <a:lnTo>
                      <a:pt x="3" y="6"/>
                    </a:lnTo>
                    <a:lnTo>
                      <a:pt x="7" y="4"/>
                    </a:lnTo>
                    <a:lnTo>
                      <a:pt x="9" y="1"/>
                    </a:lnTo>
                    <a:lnTo>
                      <a:pt x="13" y="0"/>
                    </a:lnTo>
                    <a:lnTo>
                      <a:pt x="17" y="0"/>
                    </a:lnTo>
                    <a:lnTo>
                      <a:pt x="22" y="0"/>
                    </a:lnTo>
                    <a:lnTo>
                      <a:pt x="341" y="40"/>
                    </a:lnTo>
                    <a:lnTo>
                      <a:pt x="345" y="41"/>
                    </a:lnTo>
                    <a:lnTo>
                      <a:pt x="349" y="42"/>
                    </a:lnTo>
                    <a:lnTo>
                      <a:pt x="352" y="45"/>
                    </a:lnTo>
                    <a:lnTo>
                      <a:pt x="355" y="47"/>
                    </a:lnTo>
                    <a:lnTo>
                      <a:pt x="357" y="51"/>
                    </a:lnTo>
                    <a:lnTo>
                      <a:pt x="358" y="55"/>
                    </a:lnTo>
                    <a:lnTo>
                      <a:pt x="358" y="59"/>
                    </a:lnTo>
                    <a:lnTo>
                      <a:pt x="358" y="62"/>
                    </a:lnTo>
                    <a:lnTo>
                      <a:pt x="357" y="66"/>
                    </a:lnTo>
                    <a:lnTo>
                      <a:pt x="356" y="70"/>
                    </a:lnTo>
                    <a:lnTo>
                      <a:pt x="355" y="72"/>
                    </a:lnTo>
                    <a:lnTo>
                      <a:pt x="352" y="75"/>
                    </a:lnTo>
                    <a:lnTo>
                      <a:pt x="349" y="77"/>
                    </a:lnTo>
                    <a:lnTo>
                      <a:pt x="346" y="78"/>
                    </a:lnTo>
                    <a:lnTo>
                      <a:pt x="342" y="80"/>
                    </a:lnTo>
                    <a:lnTo>
                      <a:pt x="3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2"/>
              <p:cNvSpPr>
                <a:spLocks/>
              </p:cNvSpPr>
              <p:nvPr/>
            </p:nvSpPr>
            <p:spPr bwMode="auto">
              <a:xfrm>
                <a:off x="3009369" y="2758708"/>
                <a:ext cx="99628" cy="23985"/>
              </a:xfrm>
              <a:custGeom>
                <a:avLst/>
                <a:gdLst>
                  <a:gd name="T0" fmla="*/ 139 w 161"/>
                  <a:gd name="T1" fmla="*/ 40 h 40"/>
                  <a:gd name="T2" fmla="*/ 20 w 161"/>
                  <a:gd name="T3" fmla="*/ 40 h 40"/>
                  <a:gd name="T4" fmla="*/ 16 w 161"/>
                  <a:gd name="T5" fmla="*/ 40 h 40"/>
                  <a:gd name="T6" fmla="*/ 13 w 161"/>
                  <a:gd name="T7" fmla="*/ 39 h 40"/>
                  <a:gd name="T8" fmla="*/ 9 w 161"/>
                  <a:gd name="T9" fmla="*/ 38 h 40"/>
                  <a:gd name="T10" fmla="*/ 5 w 161"/>
                  <a:gd name="T11" fmla="*/ 35 h 40"/>
                  <a:gd name="T12" fmla="*/ 4 w 161"/>
                  <a:gd name="T13" fmla="*/ 31 h 40"/>
                  <a:gd name="T14" fmla="*/ 2 w 161"/>
                  <a:gd name="T15" fmla="*/ 29 h 40"/>
                  <a:gd name="T16" fmla="*/ 0 w 161"/>
                  <a:gd name="T17" fmla="*/ 25 h 40"/>
                  <a:gd name="T18" fmla="*/ 0 w 161"/>
                  <a:gd name="T19" fmla="*/ 20 h 40"/>
                  <a:gd name="T20" fmla="*/ 0 w 161"/>
                  <a:gd name="T21" fmla="*/ 17 h 40"/>
                  <a:gd name="T22" fmla="*/ 2 w 161"/>
                  <a:gd name="T23" fmla="*/ 13 h 40"/>
                  <a:gd name="T24" fmla="*/ 4 w 161"/>
                  <a:gd name="T25" fmla="*/ 9 h 40"/>
                  <a:gd name="T26" fmla="*/ 5 w 161"/>
                  <a:gd name="T27" fmla="*/ 7 h 40"/>
                  <a:gd name="T28" fmla="*/ 9 w 161"/>
                  <a:gd name="T29" fmla="*/ 4 h 40"/>
                  <a:gd name="T30" fmla="*/ 13 w 161"/>
                  <a:gd name="T31" fmla="*/ 3 h 40"/>
                  <a:gd name="T32" fmla="*/ 16 w 161"/>
                  <a:gd name="T33" fmla="*/ 2 h 40"/>
                  <a:gd name="T34" fmla="*/ 20 w 161"/>
                  <a:gd name="T35" fmla="*/ 0 h 40"/>
                  <a:gd name="T36" fmla="*/ 139 w 161"/>
                  <a:gd name="T37" fmla="*/ 0 h 40"/>
                  <a:gd name="T38" fmla="*/ 144 w 161"/>
                  <a:gd name="T39" fmla="*/ 2 h 40"/>
                  <a:gd name="T40" fmla="*/ 148 w 161"/>
                  <a:gd name="T41" fmla="*/ 3 h 40"/>
                  <a:gd name="T42" fmla="*/ 151 w 161"/>
                  <a:gd name="T43" fmla="*/ 4 h 40"/>
                  <a:gd name="T44" fmla="*/ 154 w 161"/>
                  <a:gd name="T45" fmla="*/ 7 h 40"/>
                  <a:gd name="T46" fmla="*/ 157 w 161"/>
                  <a:gd name="T47" fmla="*/ 9 h 40"/>
                  <a:gd name="T48" fmla="*/ 158 w 161"/>
                  <a:gd name="T49" fmla="*/ 13 h 40"/>
                  <a:gd name="T50" fmla="*/ 159 w 161"/>
                  <a:gd name="T51" fmla="*/ 17 h 40"/>
                  <a:gd name="T52" fmla="*/ 161 w 161"/>
                  <a:gd name="T53" fmla="*/ 20 h 40"/>
                  <a:gd name="T54" fmla="*/ 159 w 161"/>
                  <a:gd name="T55" fmla="*/ 25 h 40"/>
                  <a:gd name="T56" fmla="*/ 158 w 161"/>
                  <a:gd name="T57" fmla="*/ 29 h 40"/>
                  <a:gd name="T58" fmla="*/ 157 w 161"/>
                  <a:gd name="T59" fmla="*/ 31 h 40"/>
                  <a:gd name="T60" fmla="*/ 154 w 161"/>
                  <a:gd name="T61" fmla="*/ 35 h 40"/>
                  <a:gd name="T62" fmla="*/ 151 w 161"/>
                  <a:gd name="T63" fmla="*/ 38 h 40"/>
                  <a:gd name="T64" fmla="*/ 148 w 161"/>
                  <a:gd name="T65" fmla="*/ 39 h 40"/>
                  <a:gd name="T66" fmla="*/ 144 w 161"/>
                  <a:gd name="T67" fmla="*/ 40 h 40"/>
                  <a:gd name="T68" fmla="*/ 139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39" y="40"/>
                    </a:moveTo>
                    <a:lnTo>
                      <a:pt x="20" y="40"/>
                    </a:lnTo>
                    <a:lnTo>
                      <a:pt x="16" y="40"/>
                    </a:lnTo>
                    <a:lnTo>
                      <a:pt x="13" y="39"/>
                    </a:lnTo>
                    <a:lnTo>
                      <a:pt x="9" y="38"/>
                    </a:lnTo>
                    <a:lnTo>
                      <a:pt x="5" y="35"/>
                    </a:lnTo>
                    <a:lnTo>
                      <a:pt x="4" y="31"/>
                    </a:lnTo>
                    <a:lnTo>
                      <a:pt x="2" y="29"/>
                    </a:lnTo>
                    <a:lnTo>
                      <a:pt x="0" y="25"/>
                    </a:lnTo>
                    <a:lnTo>
                      <a:pt x="0" y="20"/>
                    </a:lnTo>
                    <a:lnTo>
                      <a:pt x="0" y="17"/>
                    </a:lnTo>
                    <a:lnTo>
                      <a:pt x="2" y="13"/>
                    </a:lnTo>
                    <a:lnTo>
                      <a:pt x="4" y="9"/>
                    </a:lnTo>
                    <a:lnTo>
                      <a:pt x="5" y="7"/>
                    </a:lnTo>
                    <a:lnTo>
                      <a:pt x="9" y="4"/>
                    </a:lnTo>
                    <a:lnTo>
                      <a:pt x="13" y="3"/>
                    </a:lnTo>
                    <a:lnTo>
                      <a:pt x="16" y="2"/>
                    </a:lnTo>
                    <a:lnTo>
                      <a:pt x="20" y="0"/>
                    </a:lnTo>
                    <a:lnTo>
                      <a:pt x="139" y="0"/>
                    </a:lnTo>
                    <a:lnTo>
                      <a:pt x="144" y="2"/>
                    </a:lnTo>
                    <a:lnTo>
                      <a:pt x="148" y="3"/>
                    </a:lnTo>
                    <a:lnTo>
                      <a:pt x="151" y="4"/>
                    </a:lnTo>
                    <a:lnTo>
                      <a:pt x="154" y="7"/>
                    </a:lnTo>
                    <a:lnTo>
                      <a:pt x="157" y="9"/>
                    </a:lnTo>
                    <a:lnTo>
                      <a:pt x="158" y="13"/>
                    </a:lnTo>
                    <a:lnTo>
                      <a:pt x="159" y="17"/>
                    </a:lnTo>
                    <a:lnTo>
                      <a:pt x="161" y="20"/>
                    </a:lnTo>
                    <a:lnTo>
                      <a:pt x="159" y="25"/>
                    </a:lnTo>
                    <a:lnTo>
                      <a:pt x="158" y="29"/>
                    </a:lnTo>
                    <a:lnTo>
                      <a:pt x="157" y="31"/>
                    </a:lnTo>
                    <a:lnTo>
                      <a:pt x="154" y="35"/>
                    </a:lnTo>
                    <a:lnTo>
                      <a:pt x="151" y="38"/>
                    </a:lnTo>
                    <a:lnTo>
                      <a:pt x="148" y="39"/>
                    </a:lnTo>
                    <a:lnTo>
                      <a:pt x="144" y="40"/>
                    </a:lnTo>
                    <a:lnTo>
                      <a:pt x="13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3"/>
              <p:cNvSpPr>
                <a:spLocks/>
              </p:cNvSpPr>
              <p:nvPr/>
            </p:nvSpPr>
            <p:spPr bwMode="auto">
              <a:xfrm>
                <a:off x="3575774" y="2758708"/>
                <a:ext cx="97783" cy="23985"/>
              </a:xfrm>
              <a:custGeom>
                <a:avLst/>
                <a:gdLst>
                  <a:gd name="T0" fmla="*/ 141 w 161"/>
                  <a:gd name="T1" fmla="*/ 40 h 40"/>
                  <a:gd name="T2" fmla="*/ 20 w 161"/>
                  <a:gd name="T3" fmla="*/ 40 h 40"/>
                  <a:gd name="T4" fmla="*/ 17 w 161"/>
                  <a:gd name="T5" fmla="*/ 40 h 40"/>
                  <a:gd name="T6" fmla="*/ 13 w 161"/>
                  <a:gd name="T7" fmla="*/ 39 h 40"/>
                  <a:gd name="T8" fmla="*/ 9 w 161"/>
                  <a:gd name="T9" fmla="*/ 38 h 40"/>
                  <a:gd name="T10" fmla="*/ 7 w 161"/>
                  <a:gd name="T11" fmla="*/ 35 h 40"/>
                  <a:gd name="T12" fmla="*/ 4 w 161"/>
                  <a:gd name="T13" fmla="*/ 31 h 40"/>
                  <a:gd name="T14" fmla="*/ 2 w 161"/>
                  <a:gd name="T15" fmla="*/ 29 h 40"/>
                  <a:gd name="T16" fmla="*/ 2 w 161"/>
                  <a:gd name="T17" fmla="*/ 25 h 40"/>
                  <a:gd name="T18" fmla="*/ 0 w 161"/>
                  <a:gd name="T19" fmla="*/ 20 h 40"/>
                  <a:gd name="T20" fmla="*/ 2 w 161"/>
                  <a:gd name="T21" fmla="*/ 17 h 40"/>
                  <a:gd name="T22" fmla="*/ 2 w 161"/>
                  <a:gd name="T23" fmla="*/ 13 h 40"/>
                  <a:gd name="T24" fmla="*/ 4 w 161"/>
                  <a:gd name="T25" fmla="*/ 9 h 40"/>
                  <a:gd name="T26" fmla="*/ 7 w 161"/>
                  <a:gd name="T27" fmla="*/ 7 h 40"/>
                  <a:gd name="T28" fmla="*/ 9 w 161"/>
                  <a:gd name="T29" fmla="*/ 4 h 40"/>
                  <a:gd name="T30" fmla="*/ 13 w 161"/>
                  <a:gd name="T31" fmla="*/ 3 h 40"/>
                  <a:gd name="T32" fmla="*/ 17 w 161"/>
                  <a:gd name="T33" fmla="*/ 2 h 40"/>
                  <a:gd name="T34" fmla="*/ 20 w 161"/>
                  <a:gd name="T35" fmla="*/ 0 h 40"/>
                  <a:gd name="T36" fmla="*/ 141 w 161"/>
                  <a:gd name="T37" fmla="*/ 0 h 40"/>
                  <a:gd name="T38" fmla="*/ 144 w 161"/>
                  <a:gd name="T39" fmla="*/ 2 h 40"/>
                  <a:gd name="T40" fmla="*/ 148 w 161"/>
                  <a:gd name="T41" fmla="*/ 3 h 40"/>
                  <a:gd name="T42" fmla="*/ 152 w 161"/>
                  <a:gd name="T43" fmla="*/ 4 h 40"/>
                  <a:gd name="T44" fmla="*/ 154 w 161"/>
                  <a:gd name="T45" fmla="*/ 7 h 40"/>
                  <a:gd name="T46" fmla="*/ 157 w 161"/>
                  <a:gd name="T47" fmla="*/ 9 h 40"/>
                  <a:gd name="T48" fmla="*/ 159 w 161"/>
                  <a:gd name="T49" fmla="*/ 13 h 40"/>
                  <a:gd name="T50" fmla="*/ 161 w 161"/>
                  <a:gd name="T51" fmla="*/ 17 h 40"/>
                  <a:gd name="T52" fmla="*/ 161 w 161"/>
                  <a:gd name="T53" fmla="*/ 20 h 40"/>
                  <a:gd name="T54" fmla="*/ 161 w 161"/>
                  <a:gd name="T55" fmla="*/ 25 h 40"/>
                  <a:gd name="T56" fmla="*/ 159 w 161"/>
                  <a:gd name="T57" fmla="*/ 29 h 40"/>
                  <a:gd name="T58" fmla="*/ 157 w 161"/>
                  <a:gd name="T59" fmla="*/ 31 h 40"/>
                  <a:gd name="T60" fmla="*/ 154 w 161"/>
                  <a:gd name="T61" fmla="*/ 35 h 40"/>
                  <a:gd name="T62" fmla="*/ 152 w 161"/>
                  <a:gd name="T63" fmla="*/ 38 h 40"/>
                  <a:gd name="T64" fmla="*/ 148 w 161"/>
                  <a:gd name="T65" fmla="*/ 39 h 40"/>
                  <a:gd name="T66" fmla="*/ 144 w 161"/>
                  <a:gd name="T67" fmla="*/ 40 h 40"/>
                  <a:gd name="T68" fmla="*/ 141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41" y="40"/>
                    </a:moveTo>
                    <a:lnTo>
                      <a:pt x="20" y="40"/>
                    </a:lnTo>
                    <a:lnTo>
                      <a:pt x="17" y="40"/>
                    </a:lnTo>
                    <a:lnTo>
                      <a:pt x="13" y="39"/>
                    </a:lnTo>
                    <a:lnTo>
                      <a:pt x="9" y="38"/>
                    </a:lnTo>
                    <a:lnTo>
                      <a:pt x="7" y="35"/>
                    </a:lnTo>
                    <a:lnTo>
                      <a:pt x="4" y="31"/>
                    </a:lnTo>
                    <a:lnTo>
                      <a:pt x="2" y="29"/>
                    </a:lnTo>
                    <a:lnTo>
                      <a:pt x="2" y="25"/>
                    </a:lnTo>
                    <a:lnTo>
                      <a:pt x="0" y="20"/>
                    </a:lnTo>
                    <a:lnTo>
                      <a:pt x="2" y="17"/>
                    </a:lnTo>
                    <a:lnTo>
                      <a:pt x="2" y="13"/>
                    </a:lnTo>
                    <a:lnTo>
                      <a:pt x="4" y="9"/>
                    </a:lnTo>
                    <a:lnTo>
                      <a:pt x="7" y="7"/>
                    </a:lnTo>
                    <a:lnTo>
                      <a:pt x="9" y="4"/>
                    </a:lnTo>
                    <a:lnTo>
                      <a:pt x="13" y="3"/>
                    </a:lnTo>
                    <a:lnTo>
                      <a:pt x="17" y="2"/>
                    </a:lnTo>
                    <a:lnTo>
                      <a:pt x="20" y="0"/>
                    </a:lnTo>
                    <a:lnTo>
                      <a:pt x="141" y="0"/>
                    </a:lnTo>
                    <a:lnTo>
                      <a:pt x="144" y="2"/>
                    </a:lnTo>
                    <a:lnTo>
                      <a:pt x="148" y="3"/>
                    </a:lnTo>
                    <a:lnTo>
                      <a:pt x="152" y="4"/>
                    </a:lnTo>
                    <a:lnTo>
                      <a:pt x="154" y="7"/>
                    </a:lnTo>
                    <a:lnTo>
                      <a:pt x="157" y="9"/>
                    </a:lnTo>
                    <a:lnTo>
                      <a:pt x="159" y="13"/>
                    </a:lnTo>
                    <a:lnTo>
                      <a:pt x="161" y="17"/>
                    </a:lnTo>
                    <a:lnTo>
                      <a:pt x="161" y="20"/>
                    </a:lnTo>
                    <a:lnTo>
                      <a:pt x="161" y="25"/>
                    </a:lnTo>
                    <a:lnTo>
                      <a:pt x="159" y="29"/>
                    </a:lnTo>
                    <a:lnTo>
                      <a:pt x="157" y="31"/>
                    </a:lnTo>
                    <a:lnTo>
                      <a:pt x="154" y="35"/>
                    </a:lnTo>
                    <a:lnTo>
                      <a:pt x="152" y="38"/>
                    </a:lnTo>
                    <a:lnTo>
                      <a:pt x="148" y="39"/>
                    </a:lnTo>
                    <a:lnTo>
                      <a:pt x="144" y="40"/>
                    </a:lnTo>
                    <a:lnTo>
                      <a:pt x="1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4"/>
              <p:cNvSpPr>
                <a:spLocks/>
              </p:cNvSpPr>
              <p:nvPr/>
            </p:nvSpPr>
            <p:spPr bwMode="auto">
              <a:xfrm>
                <a:off x="3103462" y="2533622"/>
                <a:ext cx="77489" cy="75644"/>
              </a:xfrm>
              <a:custGeom>
                <a:avLst/>
                <a:gdLst>
                  <a:gd name="T0" fmla="*/ 105 w 125"/>
                  <a:gd name="T1" fmla="*/ 125 h 125"/>
                  <a:gd name="T2" fmla="*/ 102 w 125"/>
                  <a:gd name="T3" fmla="*/ 125 h 125"/>
                  <a:gd name="T4" fmla="*/ 98 w 125"/>
                  <a:gd name="T5" fmla="*/ 124 h 125"/>
                  <a:gd name="T6" fmla="*/ 94 w 125"/>
                  <a:gd name="T7" fmla="*/ 121 h 125"/>
                  <a:gd name="T8" fmla="*/ 91 w 125"/>
                  <a:gd name="T9" fmla="*/ 119 h 125"/>
                  <a:gd name="T10" fmla="*/ 6 w 125"/>
                  <a:gd name="T11" fmla="*/ 34 h 125"/>
                  <a:gd name="T12" fmla="*/ 4 w 125"/>
                  <a:gd name="T13" fmla="*/ 31 h 125"/>
                  <a:gd name="T14" fmla="*/ 2 w 125"/>
                  <a:gd name="T15" fmla="*/ 28 h 125"/>
                  <a:gd name="T16" fmla="*/ 1 w 125"/>
                  <a:gd name="T17" fmla="*/ 25 h 125"/>
                  <a:gd name="T18" fmla="*/ 0 w 125"/>
                  <a:gd name="T19" fmla="*/ 20 h 125"/>
                  <a:gd name="T20" fmla="*/ 1 w 125"/>
                  <a:gd name="T21" fmla="*/ 16 h 125"/>
                  <a:gd name="T22" fmla="*/ 2 w 125"/>
                  <a:gd name="T23" fmla="*/ 12 h 125"/>
                  <a:gd name="T24" fmla="*/ 4 w 125"/>
                  <a:gd name="T25" fmla="*/ 10 h 125"/>
                  <a:gd name="T26" fmla="*/ 6 w 125"/>
                  <a:gd name="T27" fmla="*/ 6 h 125"/>
                  <a:gd name="T28" fmla="*/ 10 w 125"/>
                  <a:gd name="T29" fmla="*/ 3 h 125"/>
                  <a:gd name="T30" fmla="*/ 12 w 125"/>
                  <a:gd name="T31" fmla="*/ 2 h 125"/>
                  <a:gd name="T32" fmla="*/ 16 w 125"/>
                  <a:gd name="T33" fmla="*/ 1 h 125"/>
                  <a:gd name="T34" fmla="*/ 20 w 125"/>
                  <a:gd name="T35" fmla="*/ 0 h 125"/>
                  <a:gd name="T36" fmla="*/ 25 w 125"/>
                  <a:gd name="T37" fmla="*/ 1 h 125"/>
                  <a:gd name="T38" fmla="*/ 28 w 125"/>
                  <a:gd name="T39" fmla="*/ 2 h 125"/>
                  <a:gd name="T40" fmla="*/ 31 w 125"/>
                  <a:gd name="T41" fmla="*/ 3 h 125"/>
                  <a:gd name="T42" fmla="*/ 35 w 125"/>
                  <a:gd name="T43" fmla="*/ 6 h 125"/>
                  <a:gd name="T44" fmla="*/ 119 w 125"/>
                  <a:gd name="T45" fmla="*/ 90 h 125"/>
                  <a:gd name="T46" fmla="*/ 122 w 125"/>
                  <a:gd name="T47" fmla="*/ 94 h 125"/>
                  <a:gd name="T48" fmla="*/ 124 w 125"/>
                  <a:gd name="T49" fmla="*/ 98 h 125"/>
                  <a:gd name="T50" fmla="*/ 125 w 125"/>
                  <a:gd name="T51" fmla="*/ 102 h 125"/>
                  <a:gd name="T52" fmla="*/ 125 w 125"/>
                  <a:gd name="T53" fmla="*/ 105 h 125"/>
                  <a:gd name="T54" fmla="*/ 125 w 125"/>
                  <a:gd name="T55" fmla="*/ 109 h 125"/>
                  <a:gd name="T56" fmla="*/ 124 w 125"/>
                  <a:gd name="T57" fmla="*/ 113 h 125"/>
                  <a:gd name="T58" fmla="*/ 122 w 125"/>
                  <a:gd name="T59" fmla="*/ 116 h 125"/>
                  <a:gd name="T60" fmla="*/ 119 w 125"/>
                  <a:gd name="T61" fmla="*/ 119 h 125"/>
                  <a:gd name="T62" fmla="*/ 117 w 125"/>
                  <a:gd name="T63" fmla="*/ 121 h 125"/>
                  <a:gd name="T64" fmla="*/ 113 w 125"/>
                  <a:gd name="T65" fmla="*/ 124 h 125"/>
                  <a:gd name="T66" fmla="*/ 109 w 125"/>
                  <a:gd name="T67" fmla="*/ 125 h 125"/>
                  <a:gd name="T68" fmla="*/ 105 w 125"/>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105" y="125"/>
                    </a:moveTo>
                    <a:lnTo>
                      <a:pt x="102" y="125"/>
                    </a:lnTo>
                    <a:lnTo>
                      <a:pt x="98" y="124"/>
                    </a:lnTo>
                    <a:lnTo>
                      <a:pt x="94" y="121"/>
                    </a:lnTo>
                    <a:lnTo>
                      <a:pt x="91" y="119"/>
                    </a:lnTo>
                    <a:lnTo>
                      <a:pt x="6" y="34"/>
                    </a:lnTo>
                    <a:lnTo>
                      <a:pt x="4" y="31"/>
                    </a:lnTo>
                    <a:lnTo>
                      <a:pt x="2" y="28"/>
                    </a:lnTo>
                    <a:lnTo>
                      <a:pt x="1" y="25"/>
                    </a:lnTo>
                    <a:lnTo>
                      <a:pt x="0" y="20"/>
                    </a:lnTo>
                    <a:lnTo>
                      <a:pt x="1" y="16"/>
                    </a:lnTo>
                    <a:lnTo>
                      <a:pt x="2" y="12"/>
                    </a:lnTo>
                    <a:lnTo>
                      <a:pt x="4" y="10"/>
                    </a:lnTo>
                    <a:lnTo>
                      <a:pt x="6" y="6"/>
                    </a:lnTo>
                    <a:lnTo>
                      <a:pt x="10" y="3"/>
                    </a:lnTo>
                    <a:lnTo>
                      <a:pt x="12" y="2"/>
                    </a:lnTo>
                    <a:lnTo>
                      <a:pt x="16" y="1"/>
                    </a:lnTo>
                    <a:lnTo>
                      <a:pt x="20" y="0"/>
                    </a:lnTo>
                    <a:lnTo>
                      <a:pt x="25" y="1"/>
                    </a:lnTo>
                    <a:lnTo>
                      <a:pt x="28" y="2"/>
                    </a:lnTo>
                    <a:lnTo>
                      <a:pt x="31" y="3"/>
                    </a:lnTo>
                    <a:lnTo>
                      <a:pt x="35" y="6"/>
                    </a:lnTo>
                    <a:lnTo>
                      <a:pt x="119" y="90"/>
                    </a:lnTo>
                    <a:lnTo>
                      <a:pt x="122" y="94"/>
                    </a:lnTo>
                    <a:lnTo>
                      <a:pt x="124" y="98"/>
                    </a:lnTo>
                    <a:lnTo>
                      <a:pt x="125" y="102"/>
                    </a:lnTo>
                    <a:lnTo>
                      <a:pt x="125" y="105"/>
                    </a:lnTo>
                    <a:lnTo>
                      <a:pt x="125" y="109"/>
                    </a:lnTo>
                    <a:lnTo>
                      <a:pt x="124" y="113"/>
                    </a:lnTo>
                    <a:lnTo>
                      <a:pt x="122" y="116"/>
                    </a:lnTo>
                    <a:lnTo>
                      <a:pt x="119" y="119"/>
                    </a:lnTo>
                    <a:lnTo>
                      <a:pt x="117" y="121"/>
                    </a:lnTo>
                    <a:lnTo>
                      <a:pt x="113" y="124"/>
                    </a:lnTo>
                    <a:lnTo>
                      <a:pt x="109" y="125"/>
                    </a:lnTo>
                    <a:lnTo>
                      <a:pt x="105"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5"/>
              <p:cNvSpPr>
                <a:spLocks/>
              </p:cNvSpPr>
              <p:nvPr/>
            </p:nvSpPr>
            <p:spPr bwMode="auto">
              <a:xfrm>
                <a:off x="3503820" y="2933980"/>
                <a:ext cx="75644" cy="75644"/>
              </a:xfrm>
              <a:custGeom>
                <a:avLst/>
                <a:gdLst>
                  <a:gd name="T0" fmla="*/ 104 w 124"/>
                  <a:gd name="T1" fmla="*/ 124 h 124"/>
                  <a:gd name="T2" fmla="*/ 100 w 124"/>
                  <a:gd name="T3" fmla="*/ 124 h 124"/>
                  <a:gd name="T4" fmla="*/ 97 w 124"/>
                  <a:gd name="T5" fmla="*/ 123 h 124"/>
                  <a:gd name="T6" fmla="*/ 93 w 124"/>
                  <a:gd name="T7" fmla="*/ 121 h 124"/>
                  <a:gd name="T8" fmla="*/ 90 w 124"/>
                  <a:gd name="T9" fmla="*/ 119 h 124"/>
                  <a:gd name="T10" fmla="*/ 6 w 124"/>
                  <a:gd name="T11" fmla="*/ 33 h 124"/>
                  <a:gd name="T12" fmla="*/ 3 w 124"/>
                  <a:gd name="T13" fmla="*/ 31 h 124"/>
                  <a:gd name="T14" fmla="*/ 1 w 124"/>
                  <a:gd name="T15" fmla="*/ 27 h 124"/>
                  <a:gd name="T16" fmla="*/ 0 w 124"/>
                  <a:gd name="T17" fmla="*/ 23 h 124"/>
                  <a:gd name="T18" fmla="*/ 0 w 124"/>
                  <a:gd name="T19" fmla="*/ 20 h 124"/>
                  <a:gd name="T20" fmla="*/ 0 w 124"/>
                  <a:gd name="T21" fmla="*/ 16 h 124"/>
                  <a:gd name="T22" fmla="*/ 1 w 124"/>
                  <a:gd name="T23" fmla="*/ 12 h 124"/>
                  <a:gd name="T24" fmla="*/ 3 w 124"/>
                  <a:gd name="T25" fmla="*/ 8 h 124"/>
                  <a:gd name="T26" fmla="*/ 6 w 124"/>
                  <a:gd name="T27" fmla="*/ 6 h 124"/>
                  <a:gd name="T28" fmla="*/ 8 w 124"/>
                  <a:gd name="T29" fmla="*/ 3 h 124"/>
                  <a:gd name="T30" fmla="*/ 12 w 124"/>
                  <a:gd name="T31" fmla="*/ 1 h 124"/>
                  <a:gd name="T32" fmla="*/ 16 w 124"/>
                  <a:gd name="T33" fmla="*/ 0 h 124"/>
                  <a:gd name="T34" fmla="*/ 20 w 124"/>
                  <a:gd name="T35" fmla="*/ 0 h 124"/>
                  <a:gd name="T36" fmla="*/ 23 w 124"/>
                  <a:gd name="T37" fmla="*/ 0 h 124"/>
                  <a:gd name="T38" fmla="*/ 27 w 124"/>
                  <a:gd name="T39" fmla="*/ 1 h 124"/>
                  <a:gd name="T40" fmla="*/ 31 w 124"/>
                  <a:gd name="T41" fmla="*/ 3 h 124"/>
                  <a:gd name="T42" fmla="*/ 33 w 124"/>
                  <a:gd name="T43" fmla="*/ 6 h 124"/>
                  <a:gd name="T44" fmla="*/ 119 w 124"/>
                  <a:gd name="T45" fmla="*/ 90 h 124"/>
                  <a:gd name="T46" fmla="*/ 121 w 124"/>
                  <a:gd name="T47" fmla="*/ 93 h 124"/>
                  <a:gd name="T48" fmla="*/ 123 w 124"/>
                  <a:gd name="T49" fmla="*/ 97 h 124"/>
                  <a:gd name="T50" fmla="*/ 124 w 124"/>
                  <a:gd name="T51" fmla="*/ 100 h 124"/>
                  <a:gd name="T52" fmla="*/ 124 w 124"/>
                  <a:gd name="T53" fmla="*/ 104 h 124"/>
                  <a:gd name="T54" fmla="*/ 124 w 124"/>
                  <a:gd name="T55" fmla="*/ 108 h 124"/>
                  <a:gd name="T56" fmla="*/ 123 w 124"/>
                  <a:gd name="T57" fmla="*/ 111 h 124"/>
                  <a:gd name="T58" fmla="*/ 121 w 124"/>
                  <a:gd name="T59" fmla="*/ 115 h 124"/>
                  <a:gd name="T60" fmla="*/ 119 w 124"/>
                  <a:gd name="T61" fmla="*/ 119 h 124"/>
                  <a:gd name="T62" fmla="*/ 115 w 124"/>
                  <a:gd name="T63" fmla="*/ 121 h 124"/>
                  <a:gd name="T64" fmla="*/ 111 w 124"/>
                  <a:gd name="T65" fmla="*/ 123 h 124"/>
                  <a:gd name="T66" fmla="*/ 108 w 124"/>
                  <a:gd name="T67" fmla="*/ 124 h 124"/>
                  <a:gd name="T68" fmla="*/ 104 w 124"/>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4">
                    <a:moveTo>
                      <a:pt x="104" y="124"/>
                    </a:moveTo>
                    <a:lnTo>
                      <a:pt x="100" y="124"/>
                    </a:lnTo>
                    <a:lnTo>
                      <a:pt x="97" y="123"/>
                    </a:lnTo>
                    <a:lnTo>
                      <a:pt x="93" y="121"/>
                    </a:lnTo>
                    <a:lnTo>
                      <a:pt x="90" y="119"/>
                    </a:lnTo>
                    <a:lnTo>
                      <a:pt x="6" y="33"/>
                    </a:lnTo>
                    <a:lnTo>
                      <a:pt x="3" y="31"/>
                    </a:lnTo>
                    <a:lnTo>
                      <a:pt x="1" y="27"/>
                    </a:lnTo>
                    <a:lnTo>
                      <a:pt x="0" y="23"/>
                    </a:lnTo>
                    <a:lnTo>
                      <a:pt x="0" y="20"/>
                    </a:lnTo>
                    <a:lnTo>
                      <a:pt x="0" y="16"/>
                    </a:lnTo>
                    <a:lnTo>
                      <a:pt x="1" y="12"/>
                    </a:lnTo>
                    <a:lnTo>
                      <a:pt x="3" y="8"/>
                    </a:lnTo>
                    <a:lnTo>
                      <a:pt x="6" y="6"/>
                    </a:lnTo>
                    <a:lnTo>
                      <a:pt x="8" y="3"/>
                    </a:lnTo>
                    <a:lnTo>
                      <a:pt x="12" y="1"/>
                    </a:lnTo>
                    <a:lnTo>
                      <a:pt x="16" y="0"/>
                    </a:lnTo>
                    <a:lnTo>
                      <a:pt x="20" y="0"/>
                    </a:lnTo>
                    <a:lnTo>
                      <a:pt x="23" y="0"/>
                    </a:lnTo>
                    <a:lnTo>
                      <a:pt x="27" y="1"/>
                    </a:lnTo>
                    <a:lnTo>
                      <a:pt x="31" y="3"/>
                    </a:lnTo>
                    <a:lnTo>
                      <a:pt x="33" y="6"/>
                    </a:lnTo>
                    <a:lnTo>
                      <a:pt x="119" y="90"/>
                    </a:lnTo>
                    <a:lnTo>
                      <a:pt x="121" y="93"/>
                    </a:lnTo>
                    <a:lnTo>
                      <a:pt x="123" y="97"/>
                    </a:lnTo>
                    <a:lnTo>
                      <a:pt x="124" y="100"/>
                    </a:lnTo>
                    <a:lnTo>
                      <a:pt x="124" y="104"/>
                    </a:lnTo>
                    <a:lnTo>
                      <a:pt x="124" y="108"/>
                    </a:lnTo>
                    <a:lnTo>
                      <a:pt x="123" y="111"/>
                    </a:lnTo>
                    <a:lnTo>
                      <a:pt x="121" y="115"/>
                    </a:lnTo>
                    <a:lnTo>
                      <a:pt x="119" y="119"/>
                    </a:lnTo>
                    <a:lnTo>
                      <a:pt x="115" y="121"/>
                    </a:lnTo>
                    <a:lnTo>
                      <a:pt x="111" y="123"/>
                    </a:lnTo>
                    <a:lnTo>
                      <a:pt x="108" y="124"/>
                    </a:lnTo>
                    <a:lnTo>
                      <a:pt x="104"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6"/>
              <p:cNvSpPr>
                <a:spLocks/>
              </p:cNvSpPr>
              <p:nvPr/>
            </p:nvSpPr>
            <p:spPr bwMode="auto">
              <a:xfrm>
                <a:off x="3328548" y="2439528"/>
                <a:ext cx="25830" cy="97783"/>
              </a:xfrm>
              <a:custGeom>
                <a:avLst/>
                <a:gdLst>
                  <a:gd name="T0" fmla="*/ 20 w 40"/>
                  <a:gd name="T1" fmla="*/ 160 h 160"/>
                  <a:gd name="T2" fmla="*/ 17 w 40"/>
                  <a:gd name="T3" fmla="*/ 159 h 160"/>
                  <a:gd name="T4" fmla="*/ 13 w 40"/>
                  <a:gd name="T5" fmla="*/ 158 h 160"/>
                  <a:gd name="T6" fmla="*/ 9 w 40"/>
                  <a:gd name="T7" fmla="*/ 157 h 160"/>
                  <a:gd name="T8" fmla="*/ 7 w 40"/>
                  <a:gd name="T9" fmla="*/ 154 h 160"/>
                  <a:gd name="T10" fmla="*/ 4 w 40"/>
                  <a:gd name="T11" fmla="*/ 150 h 160"/>
                  <a:gd name="T12" fmla="*/ 3 w 40"/>
                  <a:gd name="T13" fmla="*/ 148 h 160"/>
                  <a:gd name="T14" fmla="*/ 2 w 40"/>
                  <a:gd name="T15" fmla="*/ 144 h 160"/>
                  <a:gd name="T16" fmla="*/ 0 w 40"/>
                  <a:gd name="T17" fmla="*/ 139 h 160"/>
                  <a:gd name="T18" fmla="*/ 0 w 40"/>
                  <a:gd name="T19" fmla="*/ 20 h 160"/>
                  <a:gd name="T20" fmla="*/ 2 w 40"/>
                  <a:gd name="T21" fmla="*/ 16 h 160"/>
                  <a:gd name="T22" fmla="*/ 3 w 40"/>
                  <a:gd name="T23" fmla="*/ 13 h 160"/>
                  <a:gd name="T24" fmla="*/ 4 w 40"/>
                  <a:gd name="T25" fmla="*/ 9 h 160"/>
                  <a:gd name="T26" fmla="*/ 7 w 40"/>
                  <a:gd name="T27" fmla="*/ 5 h 160"/>
                  <a:gd name="T28" fmla="*/ 9 w 40"/>
                  <a:gd name="T29" fmla="*/ 4 h 160"/>
                  <a:gd name="T30" fmla="*/ 13 w 40"/>
                  <a:gd name="T31" fmla="*/ 1 h 160"/>
                  <a:gd name="T32" fmla="*/ 17 w 40"/>
                  <a:gd name="T33" fmla="*/ 0 h 160"/>
                  <a:gd name="T34" fmla="*/ 20 w 40"/>
                  <a:gd name="T35" fmla="*/ 0 h 160"/>
                  <a:gd name="T36" fmla="*/ 25 w 40"/>
                  <a:gd name="T37" fmla="*/ 0 h 160"/>
                  <a:gd name="T38" fmla="*/ 29 w 40"/>
                  <a:gd name="T39" fmla="*/ 1 h 160"/>
                  <a:gd name="T40" fmla="*/ 32 w 40"/>
                  <a:gd name="T41" fmla="*/ 4 h 160"/>
                  <a:gd name="T42" fmla="*/ 35 w 40"/>
                  <a:gd name="T43" fmla="*/ 5 h 160"/>
                  <a:gd name="T44" fmla="*/ 38 w 40"/>
                  <a:gd name="T45" fmla="*/ 9 h 160"/>
                  <a:gd name="T46" fmla="*/ 39 w 40"/>
                  <a:gd name="T47" fmla="*/ 13 h 160"/>
                  <a:gd name="T48" fmla="*/ 40 w 40"/>
                  <a:gd name="T49" fmla="*/ 16 h 160"/>
                  <a:gd name="T50" fmla="*/ 40 w 40"/>
                  <a:gd name="T51" fmla="*/ 20 h 160"/>
                  <a:gd name="T52" fmla="*/ 40 w 40"/>
                  <a:gd name="T53" fmla="*/ 139 h 160"/>
                  <a:gd name="T54" fmla="*/ 40 w 40"/>
                  <a:gd name="T55" fmla="*/ 144 h 160"/>
                  <a:gd name="T56" fmla="*/ 39 w 40"/>
                  <a:gd name="T57" fmla="*/ 148 h 160"/>
                  <a:gd name="T58" fmla="*/ 38 w 40"/>
                  <a:gd name="T59" fmla="*/ 150 h 160"/>
                  <a:gd name="T60" fmla="*/ 35 w 40"/>
                  <a:gd name="T61" fmla="*/ 154 h 160"/>
                  <a:gd name="T62" fmla="*/ 32 w 40"/>
                  <a:gd name="T63" fmla="*/ 157 h 160"/>
                  <a:gd name="T64" fmla="*/ 29 w 40"/>
                  <a:gd name="T65" fmla="*/ 158 h 160"/>
                  <a:gd name="T66" fmla="*/ 25 w 40"/>
                  <a:gd name="T67" fmla="*/ 159 h 160"/>
                  <a:gd name="T68" fmla="*/ 20 w 40"/>
                  <a:gd name="T69"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160">
                    <a:moveTo>
                      <a:pt x="20" y="160"/>
                    </a:moveTo>
                    <a:lnTo>
                      <a:pt x="17" y="159"/>
                    </a:lnTo>
                    <a:lnTo>
                      <a:pt x="13" y="158"/>
                    </a:lnTo>
                    <a:lnTo>
                      <a:pt x="9" y="157"/>
                    </a:lnTo>
                    <a:lnTo>
                      <a:pt x="7" y="154"/>
                    </a:lnTo>
                    <a:lnTo>
                      <a:pt x="4" y="150"/>
                    </a:lnTo>
                    <a:lnTo>
                      <a:pt x="3" y="148"/>
                    </a:lnTo>
                    <a:lnTo>
                      <a:pt x="2" y="144"/>
                    </a:lnTo>
                    <a:lnTo>
                      <a:pt x="0" y="139"/>
                    </a:lnTo>
                    <a:lnTo>
                      <a:pt x="0" y="20"/>
                    </a:lnTo>
                    <a:lnTo>
                      <a:pt x="2" y="16"/>
                    </a:lnTo>
                    <a:lnTo>
                      <a:pt x="3" y="13"/>
                    </a:lnTo>
                    <a:lnTo>
                      <a:pt x="4" y="9"/>
                    </a:lnTo>
                    <a:lnTo>
                      <a:pt x="7" y="5"/>
                    </a:lnTo>
                    <a:lnTo>
                      <a:pt x="9" y="4"/>
                    </a:lnTo>
                    <a:lnTo>
                      <a:pt x="13" y="1"/>
                    </a:lnTo>
                    <a:lnTo>
                      <a:pt x="17" y="0"/>
                    </a:lnTo>
                    <a:lnTo>
                      <a:pt x="20" y="0"/>
                    </a:lnTo>
                    <a:lnTo>
                      <a:pt x="25" y="0"/>
                    </a:lnTo>
                    <a:lnTo>
                      <a:pt x="29" y="1"/>
                    </a:lnTo>
                    <a:lnTo>
                      <a:pt x="32" y="4"/>
                    </a:lnTo>
                    <a:lnTo>
                      <a:pt x="35" y="5"/>
                    </a:lnTo>
                    <a:lnTo>
                      <a:pt x="38" y="9"/>
                    </a:lnTo>
                    <a:lnTo>
                      <a:pt x="39" y="13"/>
                    </a:lnTo>
                    <a:lnTo>
                      <a:pt x="40" y="16"/>
                    </a:lnTo>
                    <a:lnTo>
                      <a:pt x="40" y="20"/>
                    </a:lnTo>
                    <a:lnTo>
                      <a:pt x="40" y="139"/>
                    </a:lnTo>
                    <a:lnTo>
                      <a:pt x="40" y="144"/>
                    </a:lnTo>
                    <a:lnTo>
                      <a:pt x="39" y="148"/>
                    </a:lnTo>
                    <a:lnTo>
                      <a:pt x="38" y="150"/>
                    </a:lnTo>
                    <a:lnTo>
                      <a:pt x="35" y="154"/>
                    </a:lnTo>
                    <a:lnTo>
                      <a:pt x="32" y="157"/>
                    </a:lnTo>
                    <a:lnTo>
                      <a:pt x="29" y="158"/>
                    </a:lnTo>
                    <a:lnTo>
                      <a:pt x="25" y="159"/>
                    </a:lnTo>
                    <a:lnTo>
                      <a:pt x="2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7"/>
              <p:cNvSpPr>
                <a:spLocks/>
              </p:cNvSpPr>
              <p:nvPr/>
            </p:nvSpPr>
            <p:spPr bwMode="auto">
              <a:xfrm>
                <a:off x="3503820" y="2533622"/>
                <a:ext cx="75644" cy="75644"/>
              </a:xfrm>
              <a:custGeom>
                <a:avLst/>
                <a:gdLst>
                  <a:gd name="T0" fmla="*/ 20 w 124"/>
                  <a:gd name="T1" fmla="*/ 125 h 125"/>
                  <a:gd name="T2" fmla="*/ 16 w 124"/>
                  <a:gd name="T3" fmla="*/ 125 h 125"/>
                  <a:gd name="T4" fmla="*/ 12 w 124"/>
                  <a:gd name="T5" fmla="*/ 124 h 125"/>
                  <a:gd name="T6" fmla="*/ 8 w 124"/>
                  <a:gd name="T7" fmla="*/ 121 h 125"/>
                  <a:gd name="T8" fmla="*/ 6 w 124"/>
                  <a:gd name="T9" fmla="*/ 119 h 125"/>
                  <a:gd name="T10" fmla="*/ 3 w 124"/>
                  <a:gd name="T11" fmla="*/ 116 h 125"/>
                  <a:gd name="T12" fmla="*/ 1 w 124"/>
                  <a:gd name="T13" fmla="*/ 113 h 125"/>
                  <a:gd name="T14" fmla="*/ 0 w 124"/>
                  <a:gd name="T15" fmla="*/ 109 h 125"/>
                  <a:gd name="T16" fmla="*/ 0 w 124"/>
                  <a:gd name="T17" fmla="*/ 105 h 125"/>
                  <a:gd name="T18" fmla="*/ 0 w 124"/>
                  <a:gd name="T19" fmla="*/ 102 h 125"/>
                  <a:gd name="T20" fmla="*/ 1 w 124"/>
                  <a:gd name="T21" fmla="*/ 98 h 125"/>
                  <a:gd name="T22" fmla="*/ 3 w 124"/>
                  <a:gd name="T23" fmla="*/ 94 h 125"/>
                  <a:gd name="T24" fmla="*/ 6 w 124"/>
                  <a:gd name="T25" fmla="*/ 90 h 125"/>
                  <a:gd name="T26" fmla="*/ 90 w 124"/>
                  <a:gd name="T27" fmla="*/ 6 h 125"/>
                  <a:gd name="T28" fmla="*/ 93 w 124"/>
                  <a:gd name="T29" fmla="*/ 3 h 125"/>
                  <a:gd name="T30" fmla="*/ 97 w 124"/>
                  <a:gd name="T31" fmla="*/ 2 h 125"/>
                  <a:gd name="T32" fmla="*/ 100 w 124"/>
                  <a:gd name="T33" fmla="*/ 1 h 125"/>
                  <a:gd name="T34" fmla="*/ 104 w 124"/>
                  <a:gd name="T35" fmla="*/ 0 h 125"/>
                  <a:gd name="T36" fmla="*/ 108 w 124"/>
                  <a:gd name="T37" fmla="*/ 1 h 125"/>
                  <a:gd name="T38" fmla="*/ 111 w 124"/>
                  <a:gd name="T39" fmla="*/ 2 h 125"/>
                  <a:gd name="T40" fmla="*/ 115 w 124"/>
                  <a:gd name="T41" fmla="*/ 3 h 125"/>
                  <a:gd name="T42" fmla="*/ 119 w 124"/>
                  <a:gd name="T43" fmla="*/ 6 h 125"/>
                  <a:gd name="T44" fmla="*/ 121 w 124"/>
                  <a:gd name="T45" fmla="*/ 10 h 125"/>
                  <a:gd name="T46" fmla="*/ 123 w 124"/>
                  <a:gd name="T47" fmla="*/ 12 h 125"/>
                  <a:gd name="T48" fmla="*/ 124 w 124"/>
                  <a:gd name="T49" fmla="*/ 16 h 125"/>
                  <a:gd name="T50" fmla="*/ 124 w 124"/>
                  <a:gd name="T51" fmla="*/ 20 h 125"/>
                  <a:gd name="T52" fmla="*/ 124 w 124"/>
                  <a:gd name="T53" fmla="*/ 25 h 125"/>
                  <a:gd name="T54" fmla="*/ 123 w 124"/>
                  <a:gd name="T55" fmla="*/ 28 h 125"/>
                  <a:gd name="T56" fmla="*/ 121 w 124"/>
                  <a:gd name="T57" fmla="*/ 31 h 125"/>
                  <a:gd name="T58" fmla="*/ 119 w 124"/>
                  <a:gd name="T59" fmla="*/ 34 h 125"/>
                  <a:gd name="T60" fmla="*/ 33 w 124"/>
                  <a:gd name="T61" fmla="*/ 119 h 125"/>
                  <a:gd name="T62" fmla="*/ 31 w 124"/>
                  <a:gd name="T63" fmla="*/ 121 h 125"/>
                  <a:gd name="T64" fmla="*/ 27 w 124"/>
                  <a:gd name="T65" fmla="*/ 124 h 125"/>
                  <a:gd name="T66" fmla="*/ 23 w 124"/>
                  <a:gd name="T67" fmla="*/ 125 h 125"/>
                  <a:gd name="T68" fmla="*/ 20 w 124"/>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20" y="125"/>
                    </a:moveTo>
                    <a:lnTo>
                      <a:pt x="16" y="125"/>
                    </a:lnTo>
                    <a:lnTo>
                      <a:pt x="12" y="124"/>
                    </a:lnTo>
                    <a:lnTo>
                      <a:pt x="8" y="121"/>
                    </a:lnTo>
                    <a:lnTo>
                      <a:pt x="6" y="119"/>
                    </a:lnTo>
                    <a:lnTo>
                      <a:pt x="3" y="116"/>
                    </a:lnTo>
                    <a:lnTo>
                      <a:pt x="1" y="113"/>
                    </a:lnTo>
                    <a:lnTo>
                      <a:pt x="0" y="109"/>
                    </a:lnTo>
                    <a:lnTo>
                      <a:pt x="0" y="105"/>
                    </a:lnTo>
                    <a:lnTo>
                      <a:pt x="0" y="102"/>
                    </a:lnTo>
                    <a:lnTo>
                      <a:pt x="1" y="98"/>
                    </a:lnTo>
                    <a:lnTo>
                      <a:pt x="3" y="94"/>
                    </a:lnTo>
                    <a:lnTo>
                      <a:pt x="6" y="90"/>
                    </a:lnTo>
                    <a:lnTo>
                      <a:pt x="90" y="6"/>
                    </a:lnTo>
                    <a:lnTo>
                      <a:pt x="93" y="3"/>
                    </a:lnTo>
                    <a:lnTo>
                      <a:pt x="97" y="2"/>
                    </a:lnTo>
                    <a:lnTo>
                      <a:pt x="100" y="1"/>
                    </a:lnTo>
                    <a:lnTo>
                      <a:pt x="104" y="0"/>
                    </a:lnTo>
                    <a:lnTo>
                      <a:pt x="108" y="1"/>
                    </a:lnTo>
                    <a:lnTo>
                      <a:pt x="111" y="2"/>
                    </a:lnTo>
                    <a:lnTo>
                      <a:pt x="115" y="3"/>
                    </a:lnTo>
                    <a:lnTo>
                      <a:pt x="119" y="6"/>
                    </a:lnTo>
                    <a:lnTo>
                      <a:pt x="121" y="10"/>
                    </a:lnTo>
                    <a:lnTo>
                      <a:pt x="123" y="12"/>
                    </a:lnTo>
                    <a:lnTo>
                      <a:pt x="124" y="16"/>
                    </a:lnTo>
                    <a:lnTo>
                      <a:pt x="124" y="20"/>
                    </a:lnTo>
                    <a:lnTo>
                      <a:pt x="124" y="25"/>
                    </a:lnTo>
                    <a:lnTo>
                      <a:pt x="123" y="28"/>
                    </a:lnTo>
                    <a:lnTo>
                      <a:pt x="121" y="31"/>
                    </a:lnTo>
                    <a:lnTo>
                      <a:pt x="119" y="34"/>
                    </a:lnTo>
                    <a:lnTo>
                      <a:pt x="33" y="119"/>
                    </a:lnTo>
                    <a:lnTo>
                      <a:pt x="31" y="121"/>
                    </a:lnTo>
                    <a:lnTo>
                      <a:pt x="27" y="124"/>
                    </a:lnTo>
                    <a:lnTo>
                      <a:pt x="23" y="125"/>
                    </a:lnTo>
                    <a:lnTo>
                      <a:pt x="20"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8"/>
              <p:cNvSpPr>
                <a:spLocks/>
              </p:cNvSpPr>
              <p:nvPr/>
            </p:nvSpPr>
            <p:spPr bwMode="auto">
              <a:xfrm>
                <a:off x="3103462" y="2933980"/>
                <a:ext cx="77489" cy="75644"/>
              </a:xfrm>
              <a:custGeom>
                <a:avLst/>
                <a:gdLst>
                  <a:gd name="T0" fmla="*/ 20 w 125"/>
                  <a:gd name="T1" fmla="*/ 124 h 124"/>
                  <a:gd name="T2" fmla="*/ 16 w 125"/>
                  <a:gd name="T3" fmla="*/ 124 h 124"/>
                  <a:gd name="T4" fmla="*/ 12 w 125"/>
                  <a:gd name="T5" fmla="*/ 123 h 124"/>
                  <a:gd name="T6" fmla="*/ 10 w 125"/>
                  <a:gd name="T7" fmla="*/ 121 h 124"/>
                  <a:gd name="T8" fmla="*/ 6 w 125"/>
                  <a:gd name="T9" fmla="*/ 119 h 124"/>
                  <a:gd name="T10" fmla="*/ 4 w 125"/>
                  <a:gd name="T11" fmla="*/ 115 h 124"/>
                  <a:gd name="T12" fmla="*/ 2 w 125"/>
                  <a:gd name="T13" fmla="*/ 111 h 124"/>
                  <a:gd name="T14" fmla="*/ 1 w 125"/>
                  <a:gd name="T15" fmla="*/ 108 h 124"/>
                  <a:gd name="T16" fmla="*/ 0 w 125"/>
                  <a:gd name="T17" fmla="*/ 104 h 124"/>
                  <a:gd name="T18" fmla="*/ 1 w 125"/>
                  <a:gd name="T19" fmla="*/ 100 h 124"/>
                  <a:gd name="T20" fmla="*/ 2 w 125"/>
                  <a:gd name="T21" fmla="*/ 97 h 124"/>
                  <a:gd name="T22" fmla="*/ 4 w 125"/>
                  <a:gd name="T23" fmla="*/ 93 h 124"/>
                  <a:gd name="T24" fmla="*/ 6 w 125"/>
                  <a:gd name="T25" fmla="*/ 90 h 124"/>
                  <a:gd name="T26" fmla="*/ 91 w 125"/>
                  <a:gd name="T27" fmla="*/ 6 h 124"/>
                  <a:gd name="T28" fmla="*/ 94 w 125"/>
                  <a:gd name="T29" fmla="*/ 3 h 124"/>
                  <a:gd name="T30" fmla="*/ 98 w 125"/>
                  <a:gd name="T31" fmla="*/ 1 h 124"/>
                  <a:gd name="T32" fmla="*/ 102 w 125"/>
                  <a:gd name="T33" fmla="*/ 0 h 124"/>
                  <a:gd name="T34" fmla="*/ 105 w 125"/>
                  <a:gd name="T35" fmla="*/ 0 h 124"/>
                  <a:gd name="T36" fmla="*/ 109 w 125"/>
                  <a:gd name="T37" fmla="*/ 0 h 124"/>
                  <a:gd name="T38" fmla="*/ 113 w 125"/>
                  <a:gd name="T39" fmla="*/ 1 h 124"/>
                  <a:gd name="T40" fmla="*/ 117 w 125"/>
                  <a:gd name="T41" fmla="*/ 3 h 124"/>
                  <a:gd name="T42" fmla="*/ 119 w 125"/>
                  <a:gd name="T43" fmla="*/ 6 h 124"/>
                  <a:gd name="T44" fmla="*/ 122 w 125"/>
                  <a:gd name="T45" fmla="*/ 8 h 124"/>
                  <a:gd name="T46" fmla="*/ 124 w 125"/>
                  <a:gd name="T47" fmla="*/ 12 h 124"/>
                  <a:gd name="T48" fmla="*/ 125 w 125"/>
                  <a:gd name="T49" fmla="*/ 16 h 124"/>
                  <a:gd name="T50" fmla="*/ 125 w 125"/>
                  <a:gd name="T51" fmla="*/ 20 h 124"/>
                  <a:gd name="T52" fmla="*/ 125 w 125"/>
                  <a:gd name="T53" fmla="*/ 23 h 124"/>
                  <a:gd name="T54" fmla="*/ 124 w 125"/>
                  <a:gd name="T55" fmla="*/ 27 h 124"/>
                  <a:gd name="T56" fmla="*/ 122 w 125"/>
                  <a:gd name="T57" fmla="*/ 31 h 124"/>
                  <a:gd name="T58" fmla="*/ 119 w 125"/>
                  <a:gd name="T59" fmla="*/ 33 h 124"/>
                  <a:gd name="T60" fmla="*/ 35 w 125"/>
                  <a:gd name="T61" fmla="*/ 119 h 124"/>
                  <a:gd name="T62" fmla="*/ 31 w 125"/>
                  <a:gd name="T63" fmla="*/ 121 h 124"/>
                  <a:gd name="T64" fmla="*/ 28 w 125"/>
                  <a:gd name="T65" fmla="*/ 123 h 124"/>
                  <a:gd name="T66" fmla="*/ 25 w 125"/>
                  <a:gd name="T67" fmla="*/ 124 h 124"/>
                  <a:gd name="T68" fmla="*/ 20 w 125"/>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4">
                    <a:moveTo>
                      <a:pt x="20" y="124"/>
                    </a:moveTo>
                    <a:lnTo>
                      <a:pt x="16" y="124"/>
                    </a:lnTo>
                    <a:lnTo>
                      <a:pt x="12" y="123"/>
                    </a:lnTo>
                    <a:lnTo>
                      <a:pt x="10" y="121"/>
                    </a:lnTo>
                    <a:lnTo>
                      <a:pt x="6" y="119"/>
                    </a:lnTo>
                    <a:lnTo>
                      <a:pt x="4" y="115"/>
                    </a:lnTo>
                    <a:lnTo>
                      <a:pt x="2" y="111"/>
                    </a:lnTo>
                    <a:lnTo>
                      <a:pt x="1" y="108"/>
                    </a:lnTo>
                    <a:lnTo>
                      <a:pt x="0" y="104"/>
                    </a:lnTo>
                    <a:lnTo>
                      <a:pt x="1" y="100"/>
                    </a:lnTo>
                    <a:lnTo>
                      <a:pt x="2" y="97"/>
                    </a:lnTo>
                    <a:lnTo>
                      <a:pt x="4" y="93"/>
                    </a:lnTo>
                    <a:lnTo>
                      <a:pt x="6" y="90"/>
                    </a:lnTo>
                    <a:lnTo>
                      <a:pt x="91" y="6"/>
                    </a:lnTo>
                    <a:lnTo>
                      <a:pt x="94" y="3"/>
                    </a:lnTo>
                    <a:lnTo>
                      <a:pt x="98" y="1"/>
                    </a:lnTo>
                    <a:lnTo>
                      <a:pt x="102" y="0"/>
                    </a:lnTo>
                    <a:lnTo>
                      <a:pt x="105" y="0"/>
                    </a:lnTo>
                    <a:lnTo>
                      <a:pt x="109" y="0"/>
                    </a:lnTo>
                    <a:lnTo>
                      <a:pt x="113" y="1"/>
                    </a:lnTo>
                    <a:lnTo>
                      <a:pt x="117" y="3"/>
                    </a:lnTo>
                    <a:lnTo>
                      <a:pt x="119" y="6"/>
                    </a:lnTo>
                    <a:lnTo>
                      <a:pt x="122" y="8"/>
                    </a:lnTo>
                    <a:lnTo>
                      <a:pt x="124" y="12"/>
                    </a:lnTo>
                    <a:lnTo>
                      <a:pt x="125" y="16"/>
                    </a:lnTo>
                    <a:lnTo>
                      <a:pt x="125" y="20"/>
                    </a:lnTo>
                    <a:lnTo>
                      <a:pt x="125" y="23"/>
                    </a:lnTo>
                    <a:lnTo>
                      <a:pt x="124" y="27"/>
                    </a:lnTo>
                    <a:lnTo>
                      <a:pt x="122" y="31"/>
                    </a:lnTo>
                    <a:lnTo>
                      <a:pt x="119" y="33"/>
                    </a:lnTo>
                    <a:lnTo>
                      <a:pt x="35" y="119"/>
                    </a:lnTo>
                    <a:lnTo>
                      <a:pt x="31" y="121"/>
                    </a:lnTo>
                    <a:lnTo>
                      <a:pt x="28" y="123"/>
                    </a:lnTo>
                    <a:lnTo>
                      <a:pt x="25" y="124"/>
                    </a:lnTo>
                    <a:lnTo>
                      <a:pt x="2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1" name="Group 90"/>
            <p:cNvGrpSpPr/>
            <p:nvPr/>
          </p:nvGrpSpPr>
          <p:grpSpPr>
            <a:xfrm>
              <a:off x="5387884" y="4514619"/>
              <a:ext cx="303265" cy="331186"/>
              <a:chOff x="4502150" y="1790701"/>
              <a:chExt cx="620713" cy="677863"/>
            </a:xfrm>
            <a:solidFill>
              <a:schemeClr val="bg1"/>
            </a:solidFill>
          </p:grpSpPr>
          <p:sp>
            <p:nvSpPr>
              <p:cNvPr id="92" name="Freeform 92"/>
              <p:cNvSpPr>
                <a:spLocks/>
              </p:cNvSpPr>
              <p:nvPr/>
            </p:nvSpPr>
            <p:spPr bwMode="auto">
              <a:xfrm>
                <a:off x="4532313" y="1790701"/>
                <a:ext cx="471488" cy="677863"/>
              </a:xfrm>
              <a:custGeom>
                <a:avLst/>
                <a:gdLst>
                  <a:gd name="T0" fmla="*/ 26 w 892"/>
                  <a:gd name="T1" fmla="*/ 1281 h 1281"/>
                  <a:gd name="T2" fmla="*/ 16 w 892"/>
                  <a:gd name="T3" fmla="*/ 1278 h 1281"/>
                  <a:gd name="T4" fmla="*/ 7 w 892"/>
                  <a:gd name="T5" fmla="*/ 1273 h 1281"/>
                  <a:gd name="T6" fmla="*/ 1 w 892"/>
                  <a:gd name="T7" fmla="*/ 1264 h 1281"/>
                  <a:gd name="T8" fmla="*/ 0 w 892"/>
                  <a:gd name="T9" fmla="*/ 1254 h 1281"/>
                  <a:gd name="T10" fmla="*/ 0 w 892"/>
                  <a:gd name="T11" fmla="*/ 21 h 1281"/>
                  <a:gd name="T12" fmla="*/ 4 w 892"/>
                  <a:gd name="T13" fmla="*/ 11 h 1281"/>
                  <a:gd name="T14" fmla="*/ 11 w 892"/>
                  <a:gd name="T15" fmla="*/ 4 h 1281"/>
                  <a:gd name="T16" fmla="*/ 20 w 892"/>
                  <a:gd name="T17" fmla="*/ 0 h 1281"/>
                  <a:gd name="T18" fmla="*/ 867 w 892"/>
                  <a:gd name="T19" fmla="*/ 0 h 1281"/>
                  <a:gd name="T20" fmla="*/ 877 w 892"/>
                  <a:gd name="T21" fmla="*/ 1 h 1281"/>
                  <a:gd name="T22" fmla="*/ 885 w 892"/>
                  <a:gd name="T23" fmla="*/ 7 h 1281"/>
                  <a:gd name="T24" fmla="*/ 891 w 892"/>
                  <a:gd name="T25" fmla="*/ 15 h 1281"/>
                  <a:gd name="T26" fmla="*/ 892 w 892"/>
                  <a:gd name="T27" fmla="*/ 26 h 1281"/>
                  <a:gd name="T28" fmla="*/ 892 w 892"/>
                  <a:gd name="T29" fmla="*/ 737 h 1281"/>
                  <a:gd name="T30" fmla="*/ 888 w 892"/>
                  <a:gd name="T31" fmla="*/ 747 h 1281"/>
                  <a:gd name="T32" fmla="*/ 881 w 892"/>
                  <a:gd name="T33" fmla="*/ 754 h 1281"/>
                  <a:gd name="T34" fmla="*/ 872 w 892"/>
                  <a:gd name="T35" fmla="*/ 757 h 1281"/>
                  <a:gd name="T36" fmla="*/ 861 w 892"/>
                  <a:gd name="T37" fmla="*/ 757 h 1281"/>
                  <a:gd name="T38" fmla="*/ 852 w 892"/>
                  <a:gd name="T39" fmla="*/ 754 h 1281"/>
                  <a:gd name="T40" fmla="*/ 845 w 892"/>
                  <a:gd name="T41" fmla="*/ 747 h 1281"/>
                  <a:gd name="T42" fmla="*/ 841 w 892"/>
                  <a:gd name="T43" fmla="*/ 737 h 1281"/>
                  <a:gd name="T44" fmla="*/ 841 w 892"/>
                  <a:gd name="T45" fmla="*/ 51 h 1281"/>
                  <a:gd name="T46" fmla="*/ 52 w 892"/>
                  <a:gd name="T47" fmla="*/ 1228 h 1281"/>
                  <a:gd name="T48" fmla="*/ 841 w 892"/>
                  <a:gd name="T49" fmla="*/ 996 h 1281"/>
                  <a:gd name="T50" fmla="*/ 842 w 892"/>
                  <a:gd name="T51" fmla="*/ 986 h 1281"/>
                  <a:gd name="T52" fmla="*/ 848 w 892"/>
                  <a:gd name="T53" fmla="*/ 977 h 1281"/>
                  <a:gd name="T54" fmla="*/ 856 w 892"/>
                  <a:gd name="T55" fmla="*/ 972 h 1281"/>
                  <a:gd name="T56" fmla="*/ 867 w 892"/>
                  <a:gd name="T57" fmla="*/ 970 h 1281"/>
                  <a:gd name="T58" fmla="*/ 877 w 892"/>
                  <a:gd name="T59" fmla="*/ 972 h 1281"/>
                  <a:gd name="T60" fmla="*/ 885 w 892"/>
                  <a:gd name="T61" fmla="*/ 977 h 1281"/>
                  <a:gd name="T62" fmla="*/ 891 w 892"/>
                  <a:gd name="T63" fmla="*/ 986 h 1281"/>
                  <a:gd name="T64" fmla="*/ 892 w 892"/>
                  <a:gd name="T65" fmla="*/ 996 h 1281"/>
                  <a:gd name="T66" fmla="*/ 892 w 892"/>
                  <a:gd name="T67" fmla="*/ 1260 h 1281"/>
                  <a:gd name="T68" fmla="*/ 888 w 892"/>
                  <a:gd name="T69" fmla="*/ 1270 h 1281"/>
                  <a:gd name="T70" fmla="*/ 881 w 892"/>
                  <a:gd name="T71" fmla="*/ 1275 h 1281"/>
                  <a:gd name="T72" fmla="*/ 872 w 892"/>
                  <a:gd name="T73" fmla="*/ 128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2" h="1281">
                    <a:moveTo>
                      <a:pt x="867" y="1281"/>
                    </a:moveTo>
                    <a:lnTo>
                      <a:pt x="26" y="1281"/>
                    </a:lnTo>
                    <a:lnTo>
                      <a:pt x="20" y="1280"/>
                    </a:lnTo>
                    <a:lnTo>
                      <a:pt x="16" y="1278"/>
                    </a:lnTo>
                    <a:lnTo>
                      <a:pt x="11" y="1275"/>
                    </a:lnTo>
                    <a:lnTo>
                      <a:pt x="7" y="1273"/>
                    </a:lnTo>
                    <a:lnTo>
                      <a:pt x="4" y="1270"/>
                    </a:lnTo>
                    <a:lnTo>
                      <a:pt x="1" y="1264"/>
                    </a:lnTo>
                    <a:lnTo>
                      <a:pt x="0" y="1260"/>
                    </a:lnTo>
                    <a:lnTo>
                      <a:pt x="0" y="1254"/>
                    </a:lnTo>
                    <a:lnTo>
                      <a:pt x="0" y="26"/>
                    </a:lnTo>
                    <a:lnTo>
                      <a:pt x="0" y="21"/>
                    </a:lnTo>
                    <a:lnTo>
                      <a:pt x="1" y="15"/>
                    </a:lnTo>
                    <a:lnTo>
                      <a:pt x="4" y="11"/>
                    </a:lnTo>
                    <a:lnTo>
                      <a:pt x="7" y="7"/>
                    </a:lnTo>
                    <a:lnTo>
                      <a:pt x="11" y="4"/>
                    </a:lnTo>
                    <a:lnTo>
                      <a:pt x="16" y="1"/>
                    </a:lnTo>
                    <a:lnTo>
                      <a:pt x="20" y="0"/>
                    </a:lnTo>
                    <a:lnTo>
                      <a:pt x="26" y="0"/>
                    </a:lnTo>
                    <a:lnTo>
                      <a:pt x="867" y="0"/>
                    </a:lnTo>
                    <a:lnTo>
                      <a:pt x="872" y="0"/>
                    </a:lnTo>
                    <a:lnTo>
                      <a:pt x="877" y="1"/>
                    </a:lnTo>
                    <a:lnTo>
                      <a:pt x="881" y="4"/>
                    </a:lnTo>
                    <a:lnTo>
                      <a:pt x="885" y="7"/>
                    </a:lnTo>
                    <a:lnTo>
                      <a:pt x="888" y="11"/>
                    </a:lnTo>
                    <a:lnTo>
                      <a:pt x="891" y="15"/>
                    </a:lnTo>
                    <a:lnTo>
                      <a:pt x="892" y="21"/>
                    </a:lnTo>
                    <a:lnTo>
                      <a:pt x="892" y="26"/>
                    </a:lnTo>
                    <a:lnTo>
                      <a:pt x="892" y="733"/>
                    </a:lnTo>
                    <a:lnTo>
                      <a:pt x="892" y="737"/>
                    </a:lnTo>
                    <a:lnTo>
                      <a:pt x="891" y="743"/>
                    </a:lnTo>
                    <a:lnTo>
                      <a:pt x="888" y="747"/>
                    </a:lnTo>
                    <a:lnTo>
                      <a:pt x="885" y="750"/>
                    </a:lnTo>
                    <a:lnTo>
                      <a:pt x="881" y="754"/>
                    </a:lnTo>
                    <a:lnTo>
                      <a:pt x="877" y="756"/>
                    </a:lnTo>
                    <a:lnTo>
                      <a:pt x="872" y="757"/>
                    </a:lnTo>
                    <a:lnTo>
                      <a:pt x="867" y="758"/>
                    </a:lnTo>
                    <a:lnTo>
                      <a:pt x="861" y="757"/>
                    </a:lnTo>
                    <a:lnTo>
                      <a:pt x="856" y="756"/>
                    </a:lnTo>
                    <a:lnTo>
                      <a:pt x="852" y="754"/>
                    </a:lnTo>
                    <a:lnTo>
                      <a:pt x="848" y="750"/>
                    </a:lnTo>
                    <a:lnTo>
                      <a:pt x="845" y="747"/>
                    </a:lnTo>
                    <a:lnTo>
                      <a:pt x="842" y="743"/>
                    </a:lnTo>
                    <a:lnTo>
                      <a:pt x="841" y="737"/>
                    </a:lnTo>
                    <a:lnTo>
                      <a:pt x="841" y="733"/>
                    </a:lnTo>
                    <a:lnTo>
                      <a:pt x="841" y="51"/>
                    </a:lnTo>
                    <a:lnTo>
                      <a:pt x="52" y="51"/>
                    </a:lnTo>
                    <a:lnTo>
                      <a:pt x="52" y="1228"/>
                    </a:lnTo>
                    <a:lnTo>
                      <a:pt x="841" y="1228"/>
                    </a:lnTo>
                    <a:lnTo>
                      <a:pt x="841" y="996"/>
                    </a:lnTo>
                    <a:lnTo>
                      <a:pt x="841" y="990"/>
                    </a:lnTo>
                    <a:lnTo>
                      <a:pt x="842" y="986"/>
                    </a:lnTo>
                    <a:lnTo>
                      <a:pt x="845" y="982"/>
                    </a:lnTo>
                    <a:lnTo>
                      <a:pt x="848" y="977"/>
                    </a:lnTo>
                    <a:lnTo>
                      <a:pt x="852" y="974"/>
                    </a:lnTo>
                    <a:lnTo>
                      <a:pt x="856" y="972"/>
                    </a:lnTo>
                    <a:lnTo>
                      <a:pt x="861" y="970"/>
                    </a:lnTo>
                    <a:lnTo>
                      <a:pt x="867" y="970"/>
                    </a:lnTo>
                    <a:lnTo>
                      <a:pt x="872" y="970"/>
                    </a:lnTo>
                    <a:lnTo>
                      <a:pt x="877" y="972"/>
                    </a:lnTo>
                    <a:lnTo>
                      <a:pt x="881" y="974"/>
                    </a:lnTo>
                    <a:lnTo>
                      <a:pt x="885" y="977"/>
                    </a:lnTo>
                    <a:lnTo>
                      <a:pt x="888" y="982"/>
                    </a:lnTo>
                    <a:lnTo>
                      <a:pt x="891" y="986"/>
                    </a:lnTo>
                    <a:lnTo>
                      <a:pt x="892" y="990"/>
                    </a:lnTo>
                    <a:lnTo>
                      <a:pt x="892" y="996"/>
                    </a:lnTo>
                    <a:lnTo>
                      <a:pt x="892" y="1254"/>
                    </a:lnTo>
                    <a:lnTo>
                      <a:pt x="892" y="1260"/>
                    </a:lnTo>
                    <a:lnTo>
                      <a:pt x="891" y="1264"/>
                    </a:lnTo>
                    <a:lnTo>
                      <a:pt x="888" y="1270"/>
                    </a:lnTo>
                    <a:lnTo>
                      <a:pt x="885" y="1273"/>
                    </a:lnTo>
                    <a:lnTo>
                      <a:pt x="881" y="1275"/>
                    </a:lnTo>
                    <a:lnTo>
                      <a:pt x="877" y="1278"/>
                    </a:lnTo>
                    <a:lnTo>
                      <a:pt x="872" y="1280"/>
                    </a:lnTo>
                    <a:lnTo>
                      <a:pt x="867" y="1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3"/>
              <p:cNvSpPr>
                <a:spLocks/>
              </p:cNvSpPr>
              <p:nvPr/>
            </p:nvSpPr>
            <p:spPr bwMode="auto">
              <a:xfrm>
                <a:off x="4502150" y="1878013"/>
                <a:ext cx="87313" cy="28575"/>
              </a:xfrm>
              <a:custGeom>
                <a:avLst/>
                <a:gdLst>
                  <a:gd name="T0" fmla="*/ 138 w 164"/>
                  <a:gd name="T1" fmla="*/ 53 h 53"/>
                  <a:gd name="T2" fmla="*/ 25 w 164"/>
                  <a:gd name="T3" fmla="*/ 53 h 53"/>
                  <a:gd name="T4" fmla="*/ 20 w 164"/>
                  <a:gd name="T5" fmla="*/ 52 h 53"/>
                  <a:gd name="T6" fmla="*/ 15 w 164"/>
                  <a:gd name="T7" fmla="*/ 50 h 53"/>
                  <a:gd name="T8" fmla="*/ 11 w 164"/>
                  <a:gd name="T9" fmla="*/ 49 h 53"/>
                  <a:gd name="T10" fmla="*/ 7 w 164"/>
                  <a:gd name="T11" fmla="*/ 44 h 53"/>
                  <a:gd name="T12" fmla="*/ 4 w 164"/>
                  <a:gd name="T13" fmla="*/ 41 h 53"/>
                  <a:gd name="T14" fmla="*/ 1 w 164"/>
                  <a:gd name="T15" fmla="*/ 37 h 53"/>
                  <a:gd name="T16" fmla="*/ 0 w 164"/>
                  <a:gd name="T17" fmla="*/ 31 h 53"/>
                  <a:gd name="T18" fmla="*/ 0 w 164"/>
                  <a:gd name="T19" fmla="*/ 27 h 53"/>
                  <a:gd name="T20" fmla="*/ 0 w 164"/>
                  <a:gd name="T21" fmla="*/ 21 h 53"/>
                  <a:gd name="T22" fmla="*/ 1 w 164"/>
                  <a:gd name="T23" fmla="*/ 16 h 53"/>
                  <a:gd name="T24" fmla="*/ 4 w 164"/>
                  <a:gd name="T25" fmla="*/ 11 h 53"/>
                  <a:gd name="T26" fmla="*/ 7 w 164"/>
                  <a:gd name="T27" fmla="*/ 8 h 53"/>
                  <a:gd name="T28" fmla="*/ 11 w 164"/>
                  <a:gd name="T29" fmla="*/ 4 h 53"/>
                  <a:gd name="T30" fmla="*/ 15 w 164"/>
                  <a:gd name="T31" fmla="*/ 3 h 53"/>
                  <a:gd name="T32" fmla="*/ 20 w 164"/>
                  <a:gd name="T33" fmla="*/ 1 h 53"/>
                  <a:gd name="T34" fmla="*/ 25 w 164"/>
                  <a:gd name="T35" fmla="*/ 0 h 53"/>
                  <a:gd name="T36" fmla="*/ 138 w 164"/>
                  <a:gd name="T37" fmla="*/ 0 h 53"/>
                  <a:gd name="T38" fmla="*/ 142 w 164"/>
                  <a:gd name="T39" fmla="*/ 1 h 53"/>
                  <a:gd name="T40" fmla="*/ 148 w 164"/>
                  <a:gd name="T41" fmla="*/ 3 h 53"/>
                  <a:gd name="T42" fmla="*/ 152 w 164"/>
                  <a:gd name="T43" fmla="*/ 4 h 53"/>
                  <a:gd name="T44" fmla="*/ 156 w 164"/>
                  <a:gd name="T45" fmla="*/ 8 h 53"/>
                  <a:gd name="T46" fmla="*/ 159 w 164"/>
                  <a:gd name="T47" fmla="*/ 11 h 53"/>
                  <a:gd name="T48" fmla="*/ 161 w 164"/>
                  <a:gd name="T49" fmla="*/ 16 h 53"/>
                  <a:gd name="T50" fmla="*/ 162 w 164"/>
                  <a:gd name="T51" fmla="*/ 21 h 53"/>
                  <a:gd name="T52" fmla="*/ 164 w 164"/>
                  <a:gd name="T53" fmla="*/ 27 h 53"/>
                  <a:gd name="T54" fmla="*/ 162 w 164"/>
                  <a:gd name="T55" fmla="*/ 31 h 53"/>
                  <a:gd name="T56" fmla="*/ 161 w 164"/>
                  <a:gd name="T57" fmla="*/ 37 h 53"/>
                  <a:gd name="T58" fmla="*/ 159 w 164"/>
                  <a:gd name="T59" fmla="*/ 41 h 53"/>
                  <a:gd name="T60" fmla="*/ 156 w 164"/>
                  <a:gd name="T61" fmla="*/ 44 h 53"/>
                  <a:gd name="T62" fmla="*/ 152 w 164"/>
                  <a:gd name="T63" fmla="*/ 49 h 53"/>
                  <a:gd name="T64" fmla="*/ 148 w 164"/>
                  <a:gd name="T65" fmla="*/ 50 h 53"/>
                  <a:gd name="T66" fmla="*/ 142 w 164"/>
                  <a:gd name="T67" fmla="*/ 52 h 53"/>
                  <a:gd name="T68" fmla="*/ 138 w 164"/>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3">
                    <a:moveTo>
                      <a:pt x="138" y="53"/>
                    </a:moveTo>
                    <a:lnTo>
                      <a:pt x="25" y="53"/>
                    </a:lnTo>
                    <a:lnTo>
                      <a:pt x="20" y="52"/>
                    </a:lnTo>
                    <a:lnTo>
                      <a:pt x="15" y="50"/>
                    </a:lnTo>
                    <a:lnTo>
                      <a:pt x="11" y="49"/>
                    </a:lnTo>
                    <a:lnTo>
                      <a:pt x="7" y="44"/>
                    </a:lnTo>
                    <a:lnTo>
                      <a:pt x="4" y="41"/>
                    </a:lnTo>
                    <a:lnTo>
                      <a:pt x="1" y="37"/>
                    </a:lnTo>
                    <a:lnTo>
                      <a:pt x="0" y="31"/>
                    </a:lnTo>
                    <a:lnTo>
                      <a:pt x="0" y="27"/>
                    </a:lnTo>
                    <a:lnTo>
                      <a:pt x="0" y="21"/>
                    </a:lnTo>
                    <a:lnTo>
                      <a:pt x="1" y="16"/>
                    </a:lnTo>
                    <a:lnTo>
                      <a:pt x="4" y="11"/>
                    </a:lnTo>
                    <a:lnTo>
                      <a:pt x="7" y="8"/>
                    </a:lnTo>
                    <a:lnTo>
                      <a:pt x="11" y="4"/>
                    </a:lnTo>
                    <a:lnTo>
                      <a:pt x="15" y="3"/>
                    </a:lnTo>
                    <a:lnTo>
                      <a:pt x="20" y="1"/>
                    </a:lnTo>
                    <a:lnTo>
                      <a:pt x="25" y="0"/>
                    </a:lnTo>
                    <a:lnTo>
                      <a:pt x="138" y="0"/>
                    </a:lnTo>
                    <a:lnTo>
                      <a:pt x="142" y="1"/>
                    </a:lnTo>
                    <a:lnTo>
                      <a:pt x="148" y="3"/>
                    </a:lnTo>
                    <a:lnTo>
                      <a:pt x="152" y="4"/>
                    </a:lnTo>
                    <a:lnTo>
                      <a:pt x="156" y="8"/>
                    </a:lnTo>
                    <a:lnTo>
                      <a:pt x="159" y="11"/>
                    </a:lnTo>
                    <a:lnTo>
                      <a:pt x="161" y="16"/>
                    </a:lnTo>
                    <a:lnTo>
                      <a:pt x="162" y="21"/>
                    </a:lnTo>
                    <a:lnTo>
                      <a:pt x="164" y="27"/>
                    </a:lnTo>
                    <a:lnTo>
                      <a:pt x="162" y="31"/>
                    </a:lnTo>
                    <a:lnTo>
                      <a:pt x="161" y="37"/>
                    </a:lnTo>
                    <a:lnTo>
                      <a:pt x="159" y="41"/>
                    </a:lnTo>
                    <a:lnTo>
                      <a:pt x="156" y="44"/>
                    </a:lnTo>
                    <a:lnTo>
                      <a:pt x="152" y="49"/>
                    </a:lnTo>
                    <a:lnTo>
                      <a:pt x="148" y="50"/>
                    </a:lnTo>
                    <a:lnTo>
                      <a:pt x="142" y="52"/>
                    </a:lnTo>
                    <a:lnTo>
                      <a:pt x="138"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4"/>
              <p:cNvSpPr>
                <a:spLocks/>
              </p:cNvSpPr>
              <p:nvPr/>
            </p:nvSpPr>
            <p:spPr bwMode="auto">
              <a:xfrm>
                <a:off x="4502150" y="1997076"/>
                <a:ext cx="87313" cy="26988"/>
              </a:xfrm>
              <a:custGeom>
                <a:avLst/>
                <a:gdLst>
                  <a:gd name="T0" fmla="*/ 138 w 164"/>
                  <a:gd name="T1" fmla="*/ 52 h 52"/>
                  <a:gd name="T2" fmla="*/ 25 w 164"/>
                  <a:gd name="T3" fmla="*/ 52 h 52"/>
                  <a:gd name="T4" fmla="*/ 20 w 164"/>
                  <a:gd name="T5" fmla="*/ 51 h 52"/>
                  <a:gd name="T6" fmla="*/ 15 w 164"/>
                  <a:gd name="T7" fmla="*/ 49 h 52"/>
                  <a:gd name="T8" fmla="*/ 11 w 164"/>
                  <a:gd name="T9" fmla="*/ 48 h 52"/>
                  <a:gd name="T10" fmla="*/ 7 w 164"/>
                  <a:gd name="T11" fmla="*/ 44 h 52"/>
                  <a:gd name="T12" fmla="*/ 4 w 164"/>
                  <a:gd name="T13" fmla="*/ 41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2 h 52"/>
                  <a:gd name="T26" fmla="*/ 7 w 164"/>
                  <a:gd name="T27" fmla="*/ 8 h 52"/>
                  <a:gd name="T28" fmla="*/ 11 w 164"/>
                  <a:gd name="T29" fmla="*/ 5 h 52"/>
                  <a:gd name="T30" fmla="*/ 15 w 164"/>
                  <a:gd name="T31" fmla="*/ 2 h 52"/>
                  <a:gd name="T32" fmla="*/ 20 w 164"/>
                  <a:gd name="T33" fmla="*/ 0 h 52"/>
                  <a:gd name="T34" fmla="*/ 25 w 164"/>
                  <a:gd name="T35" fmla="*/ 0 h 52"/>
                  <a:gd name="T36" fmla="*/ 138 w 164"/>
                  <a:gd name="T37" fmla="*/ 0 h 52"/>
                  <a:gd name="T38" fmla="*/ 142 w 164"/>
                  <a:gd name="T39" fmla="*/ 0 h 52"/>
                  <a:gd name="T40" fmla="*/ 148 w 164"/>
                  <a:gd name="T41" fmla="*/ 2 h 52"/>
                  <a:gd name="T42" fmla="*/ 152 w 164"/>
                  <a:gd name="T43" fmla="*/ 5 h 52"/>
                  <a:gd name="T44" fmla="*/ 156 w 164"/>
                  <a:gd name="T45" fmla="*/ 8 h 52"/>
                  <a:gd name="T46" fmla="*/ 159 w 164"/>
                  <a:gd name="T47" fmla="*/ 12 h 52"/>
                  <a:gd name="T48" fmla="*/ 161 w 164"/>
                  <a:gd name="T49" fmla="*/ 16 h 52"/>
                  <a:gd name="T50" fmla="*/ 162 w 164"/>
                  <a:gd name="T51" fmla="*/ 20 h 52"/>
                  <a:gd name="T52" fmla="*/ 164 w 164"/>
                  <a:gd name="T53" fmla="*/ 26 h 52"/>
                  <a:gd name="T54" fmla="*/ 162 w 164"/>
                  <a:gd name="T55" fmla="*/ 31 h 52"/>
                  <a:gd name="T56" fmla="*/ 161 w 164"/>
                  <a:gd name="T57" fmla="*/ 36 h 52"/>
                  <a:gd name="T58" fmla="*/ 159 w 164"/>
                  <a:gd name="T59" fmla="*/ 41 h 52"/>
                  <a:gd name="T60" fmla="*/ 156 w 164"/>
                  <a:gd name="T61" fmla="*/ 44 h 52"/>
                  <a:gd name="T62" fmla="*/ 152 w 164"/>
                  <a:gd name="T63" fmla="*/ 48 h 52"/>
                  <a:gd name="T64" fmla="*/ 148 w 164"/>
                  <a:gd name="T65" fmla="*/ 49 h 52"/>
                  <a:gd name="T66" fmla="*/ 142 w 164"/>
                  <a:gd name="T67" fmla="*/ 51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1"/>
                    </a:lnTo>
                    <a:lnTo>
                      <a:pt x="15" y="49"/>
                    </a:lnTo>
                    <a:lnTo>
                      <a:pt x="11" y="48"/>
                    </a:lnTo>
                    <a:lnTo>
                      <a:pt x="7" y="44"/>
                    </a:lnTo>
                    <a:lnTo>
                      <a:pt x="4" y="41"/>
                    </a:lnTo>
                    <a:lnTo>
                      <a:pt x="1" y="36"/>
                    </a:lnTo>
                    <a:lnTo>
                      <a:pt x="0" y="31"/>
                    </a:lnTo>
                    <a:lnTo>
                      <a:pt x="0" y="26"/>
                    </a:lnTo>
                    <a:lnTo>
                      <a:pt x="0" y="20"/>
                    </a:lnTo>
                    <a:lnTo>
                      <a:pt x="1" y="16"/>
                    </a:lnTo>
                    <a:lnTo>
                      <a:pt x="4" y="12"/>
                    </a:lnTo>
                    <a:lnTo>
                      <a:pt x="7" y="8"/>
                    </a:lnTo>
                    <a:lnTo>
                      <a:pt x="11" y="5"/>
                    </a:lnTo>
                    <a:lnTo>
                      <a:pt x="15" y="2"/>
                    </a:lnTo>
                    <a:lnTo>
                      <a:pt x="20" y="0"/>
                    </a:lnTo>
                    <a:lnTo>
                      <a:pt x="25" y="0"/>
                    </a:lnTo>
                    <a:lnTo>
                      <a:pt x="138" y="0"/>
                    </a:lnTo>
                    <a:lnTo>
                      <a:pt x="142" y="0"/>
                    </a:lnTo>
                    <a:lnTo>
                      <a:pt x="148" y="2"/>
                    </a:lnTo>
                    <a:lnTo>
                      <a:pt x="152" y="5"/>
                    </a:lnTo>
                    <a:lnTo>
                      <a:pt x="156" y="8"/>
                    </a:lnTo>
                    <a:lnTo>
                      <a:pt x="159" y="12"/>
                    </a:lnTo>
                    <a:lnTo>
                      <a:pt x="161" y="16"/>
                    </a:lnTo>
                    <a:lnTo>
                      <a:pt x="162" y="20"/>
                    </a:lnTo>
                    <a:lnTo>
                      <a:pt x="164" y="26"/>
                    </a:lnTo>
                    <a:lnTo>
                      <a:pt x="162" y="31"/>
                    </a:lnTo>
                    <a:lnTo>
                      <a:pt x="161" y="36"/>
                    </a:lnTo>
                    <a:lnTo>
                      <a:pt x="159" y="41"/>
                    </a:lnTo>
                    <a:lnTo>
                      <a:pt x="156" y="44"/>
                    </a:lnTo>
                    <a:lnTo>
                      <a:pt x="152" y="48"/>
                    </a:lnTo>
                    <a:lnTo>
                      <a:pt x="148" y="49"/>
                    </a:lnTo>
                    <a:lnTo>
                      <a:pt x="142" y="51"/>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5"/>
              <p:cNvSpPr>
                <a:spLocks/>
              </p:cNvSpPr>
              <p:nvPr/>
            </p:nvSpPr>
            <p:spPr bwMode="auto">
              <a:xfrm>
                <a:off x="4502150" y="2116138"/>
                <a:ext cx="87313" cy="26988"/>
              </a:xfrm>
              <a:custGeom>
                <a:avLst/>
                <a:gdLst>
                  <a:gd name="T0" fmla="*/ 138 w 164"/>
                  <a:gd name="T1" fmla="*/ 51 h 51"/>
                  <a:gd name="T2" fmla="*/ 25 w 164"/>
                  <a:gd name="T3" fmla="*/ 51 h 51"/>
                  <a:gd name="T4" fmla="*/ 20 w 164"/>
                  <a:gd name="T5" fmla="*/ 51 h 51"/>
                  <a:gd name="T6" fmla="*/ 15 w 164"/>
                  <a:gd name="T7" fmla="*/ 50 h 51"/>
                  <a:gd name="T8" fmla="*/ 11 w 164"/>
                  <a:gd name="T9" fmla="*/ 47 h 51"/>
                  <a:gd name="T10" fmla="*/ 7 w 164"/>
                  <a:gd name="T11" fmla="*/ 44 h 51"/>
                  <a:gd name="T12" fmla="*/ 4 w 164"/>
                  <a:gd name="T13" fmla="*/ 40 h 51"/>
                  <a:gd name="T14" fmla="*/ 1 w 164"/>
                  <a:gd name="T15" fmla="*/ 36 h 51"/>
                  <a:gd name="T16" fmla="*/ 0 w 164"/>
                  <a:gd name="T17" fmla="*/ 30 h 51"/>
                  <a:gd name="T18" fmla="*/ 0 w 164"/>
                  <a:gd name="T19" fmla="*/ 25 h 51"/>
                  <a:gd name="T20" fmla="*/ 0 w 164"/>
                  <a:gd name="T21" fmla="*/ 20 h 51"/>
                  <a:gd name="T22" fmla="*/ 1 w 164"/>
                  <a:gd name="T23" fmla="*/ 15 h 51"/>
                  <a:gd name="T24" fmla="*/ 4 w 164"/>
                  <a:gd name="T25" fmla="*/ 11 h 51"/>
                  <a:gd name="T26" fmla="*/ 7 w 164"/>
                  <a:gd name="T27" fmla="*/ 7 h 51"/>
                  <a:gd name="T28" fmla="*/ 11 w 164"/>
                  <a:gd name="T29" fmla="*/ 4 h 51"/>
                  <a:gd name="T30" fmla="*/ 15 w 164"/>
                  <a:gd name="T31" fmla="*/ 1 h 51"/>
                  <a:gd name="T32" fmla="*/ 20 w 164"/>
                  <a:gd name="T33" fmla="*/ 0 h 51"/>
                  <a:gd name="T34" fmla="*/ 25 w 164"/>
                  <a:gd name="T35" fmla="*/ 0 h 51"/>
                  <a:gd name="T36" fmla="*/ 138 w 164"/>
                  <a:gd name="T37" fmla="*/ 0 h 51"/>
                  <a:gd name="T38" fmla="*/ 142 w 164"/>
                  <a:gd name="T39" fmla="*/ 0 h 51"/>
                  <a:gd name="T40" fmla="*/ 148 w 164"/>
                  <a:gd name="T41" fmla="*/ 1 h 51"/>
                  <a:gd name="T42" fmla="*/ 152 w 164"/>
                  <a:gd name="T43" fmla="*/ 4 h 51"/>
                  <a:gd name="T44" fmla="*/ 156 w 164"/>
                  <a:gd name="T45" fmla="*/ 7 h 51"/>
                  <a:gd name="T46" fmla="*/ 159 w 164"/>
                  <a:gd name="T47" fmla="*/ 11 h 51"/>
                  <a:gd name="T48" fmla="*/ 161 w 164"/>
                  <a:gd name="T49" fmla="*/ 15 h 51"/>
                  <a:gd name="T50" fmla="*/ 162 w 164"/>
                  <a:gd name="T51" fmla="*/ 20 h 51"/>
                  <a:gd name="T52" fmla="*/ 164 w 164"/>
                  <a:gd name="T53" fmla="*/ 25 h 51"/>
                  <a:gd name="T54" fmla="*/ 162 w 164"/>
                  <a:gd name="T55" fmla="*/ 30 h 51"/>
                  <a:gd name="T56" fmla="*/ 161 w 164"/>
                  <a:gd name="T57" fmla="*/ 36 h 51"/>
                  <a:gd name="T58" fmla="*/ 159 w 164"/>
                  <a:gd name="T59" fmla="*/ 40 h 51"/>
                  <a:gd name="T60" fmla="*/ 156 w 164"/>
                  <a:gd name="T61" fmla="*/ 44 h 51"/>
                  <a:gd name="T62" fmla="*/ 152 w 164"/>
                  <a:gd name="T63" fmla="*/ 47 h 51"/>
                  <a:gd name="T64" fmla="*/ 148 w 164"/>
                  <a:gd name="T65" fmla="*/ 50 h 51"/>
                  <a:gd name="T66" fmla="*/ 142 w 164"/>
                  <a:gd name="T67" fmla="*/ 51 h 51"/>
                  <a:gd name="T68" fmla="*/ 138 w 164"/>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1">
                    <a:moveTo>
                      <a:pt x="138" y="51"/>
                    </a:moveTo>
                    <a:lnTo>
                      <a:pt x="25" y="51"/>
                    </a:lnTo>
                    <a:lnTo>
                      <a:pt x="20" y="51"/>
                    </a:lnTo>
                    <a:lnTo>
                      <a:pt x="15" y="50"/>
                    </a:lnTo>
                    <a:lnTo>
                      <a:pt x="11" y="47"/>
                    </a:lnTo>
                    <a:lnTo>
                      <a:pt x="7" y="44"/>
                    </a:lnTo>
                    <a:lnTo>
                      <a:pt x="4" y="40"/>
                    </a:lnTo>
                    <a:lnTo>
                      <a:pt x="1" y="36"/>
                    </a:lnTo>
                    <a:lnTo>
                      <a:pt x="0" y="30"/>
                    </a:lnTo>
                    <a:lnTo>
                      <a:pt x="0" y="25"/>
                    </a:lnTo>
                    <a:lnTo>
                      <a:pt x="0" y="20"/>
                    </a:lnTo>
                    <a:lnTo>
                      <a:pt x="1" y="15"/>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5"/>
                    </a:lnTo>
                    <a:lnTo>
                      <a:pt x="162" y="20"/>
                    </a:lnTo>
                    <a:lnTo>
                      <a:pt x="164" y="25"/>
                    </a:lnTo>
                    <a:lnTo>
                      <a:pt x="162" y="30"/>
                    </a:lnTo>
                    <a:lnTo>
                      <a:pt x="161" y="36"/>
                    </a:lnTo>
                    <a:lnTo>
                      <a:pt x="159" y="40"/>
                    </a:lnTo>
                    <a:lnTo>
                      <a:pt x="156" y="44"/>
                    </a:lnTo>
                    <a:lnTo>
                      <a:pt x="152" y="47"/>
                    </a:lnTo>
                    <a:lnTo>
                      <a:pt x="148" y="50"/>
                    </a:lnTo>
                    <a:lnTo>
                      <a:pt x="142" y="51"/>
                    </a:lnTo>
                    <a:lnTo>
                      <a:pt x="1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6"/>
              <p:cNvSpPr>
                <a:spLocks/>
              </p:cNvSpPr>
              <p:nvPr/>
            </p:nvSpPr>
            <p:spPr bwMode="auto">
              <a:xfrm>
                <a:off x="4502150" y="2233613"/>
                <a:ext cx="87313" cy="26988"/>
              </a:xfrm>
              <a:custGeom>
                <a:avLst/>
                <a:gdLst>
                  <a:gd name="T0" fmla="*/ 138 w 164"/>
                  <a:gd name="T1" fmla="*/ 52 h 52"/>
                  <a:gd name="T2" fmla="*/ 25 w 164"/>
                  <a:gd name="T3" fmla="*/ 52 h 52"/>
                  <a:gd name="T4" fmla="*/ 20 w 164"/>
                  <a:gd name="T5" fmla="*/ 52 h 52"/>
                  <a:gd name="T6" fmla="*/ 15 w 164"/>
                  <a:gd name="T7" fmla="*/ 50 h 52"/>
                  <a:gd name="T8" fmla="*/ 11 w 164"/>
                  <a:gd name="T9" fmla="*/ 47 h 52"/>
                  <a:gd name="T10" fmla="*/ 7 w 164"/>
                  <a:gd name="T11" fmla="*/ 44 h 52"/>
                  <a:gd name="T12" fmla="*/ 4 w 164"/>
                  <a:gd name="T13" fmla="*/ 40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5 w 164"/>
                  <a:gd name="T31" fmla="*/ 1 h 52"/>
                  <a:gd name="T32" fmla="*/ 20 w 164"/>
                  <a:gd name="T33" fmla="*/ 0 h 52"/>
                  <a:gd name="T34" fmla="*/ 25 w 164"/>
                  <a:gd name="T35" fmla="*/ 0 h 52"/>
                  <a:gd name="T36" fmla="*/ 138 w 164"/>
                  <a:gd name="T37" fmla="*/ 0 h 52"/>
                  <a:gd name="T38" fmla="*/ 142 w 164"/>
                  <a:gd name="T39" fmla="*/ 0 h 52"/>
                  <a:gd name="T40" fmla="*/ 148 w 164"/>
                  <a:gd name="T41" fmla="*/ 1 h 52"/>
                  <a:gd name="T42" fmla="*/ 152 w 164"/>
                  <a:gd name="T43" fmla="*/ 4 h 52"/>
                  <a:gd name="T44" fmla="*/ 156 w 164"/>
                  <a:gd name="T45" fmla="*/ 7 h 52"/>
                  <a:gd name="T46" fmla="*/ 159 w 164"/>
                  <a:gd name="T47" fmla="*/ 11 h 52"/>
                  <a:gd name="T48" fmla="*/ 161 w 164"/>
                  <a:gd name="T49" fmla="*/ 16 h 52"/>
                  <a:gd name="T50" fmla="*/ 162 w 164"/>
                  <a:gd name="T51" fmla="*/ 20 h 52"/>
                  <a:gd name="T52" fmla="*/ 164 w 164"/>
                  <a:gd name="T53" fmla="*/ 26 h 52"/>
                  <a:gd name="T54" fmla="*/ 162 w 164"/>
                  <a:gd name="T55" fmla="*/ 31 h 52"/>
                  <a:gd name="T56" fmla="*/ 161 w 164"/>
                  <a:gd name="T57" fmla="*/ 36 h 52"/>
                  <a:gd name="T58" fmla="*/ 159 w 164"/>
                  <a:gd name="T59" fmla="*/ 40 h 52"/>
                  <a:gd name="T60" fmla="*/ 156 w 164"/>
                  <a:gd name="T61" fmla="*/ 44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2"/>
                    </a:lnTo>
                    <a:lnTo>
                      <a:pt x="15" y="50"/>
                    </a:lnTo>
                    <a:lnTo>
                      <a:pt x="11" y="47"/>
                    </a:lnTo>
                    <a:lnTo>
                      <a:pt x="7" y="44"/>
                    </a:lnTo>
                    <a:lnTo>
                      <a:pt x="4" y="40"/>
                    </a:lnTo>
                    <a:lnTo>
                      <a:pt x="1" y="36"/>
                    </a:lnTo>
                    <a:lnTo>
                      <a:pt x="0" y="31"/>
                    </a:lnTo>
                    <a:lnTo>
                      <a:pt x="0" y="26"/>
                    </a:lnTo>
                    <a:lnTo>
                      <a:pt x="0" y="20"/>
                    </a:lnTo>
                    <a:lnTo>
                      <a:pt x="1" y="16"/>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6"/>
                    </a:lnTo>
                    <a:lnTo>
                      <a:pt x="162" y="20"/>
                    </a:lnTo>
                    <a:lnTo>
                      <a:pt x="164" y="26"/>
                    </a:lnTo>
                    <a:lnTo>
                      <a:pt x="162" y="31"/>
                    </a:lnTo>
                    <a:lnTo>
                      <a:pt x="161" y="36"/>
                    </a:lnTo>
                    <a:lnTo>
                      <a:pt x="159" y="40"/>
                    </a:lnTo>
                    <a:lnTo>
                      <a:pt x="156" y="44"/>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7"/>
              <p:cNvSpPr>
                <a:spLocks/>
              </p:cNvSpPr>
              <p:nvPr/>
            </p:nvSpPr>
            <p:spPr bwMode="auto">
              <a:xfrm>
                <a:off x="4502150" y="2351088"/>
                <a:ext cx="87313" cy="28575"/>
              </a:xfrm>
              <a:custGeom>
                <a:avLst/>
                <a:gdLst>
                  <a:gd name="T0" fmla="*/ 138 w 164"/>
                  <a:gd name="T1" fmla="*/ 52 h 52"/>
                  <a:gd name="T2" fmla="*/ 25 w 164"/>
                  <a:gd name="T3" fmla="*/ 52 h 52"/>
                  <a:gd name="T4" fmla="*/ 20 w 164"/>
                  <a:gd name="T5" fmla="*/ 52 h 52"/>
                  <a:gd name="T6" fmla="*/ 15 w 164"/>
                  <a:gd name="T7" fmla="*/ 50 h 52"/>
                  <a:gd name="T8" fmla="*/ 11 w 164"/>
                  <a:gd name="T9" fmla="*/ 47 h 52"/>
                  <a:gd name="T10" fmla="*/ 7 w 164"/>
                  <a:gd name="T11" fmla="*/ 45 h 52"/>
                  <a:gd name="T12" fmla="*/ 4 w 164"/>
                  <a:gd name="T13" fmla="*/ 40 h 52"/>
                  <a:gd name="T14" fmla="*/ 1 w 164"/>
                  <a:gd name="T15" fmla="*/ 36 h 52"/>
                  <a:gd name="T16" fmla="*/ 0 w 164"/>
                  <a:gd name="T17" fmla="*/ 32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5 w 164"/>
                  <a:gd name="T31" fmla="*/ 1 h 52"/>
                  <a:gd name="T32" fmla="*/ 20 w 164"/>
                  <a:gd name="T33" fmla="*/ 0 h 52"/>
                  <a:gd name="T34" fmla="*/ 25 w 164"/>
                  <a:gd name="T35" fmla="*/ 0 h 52"/>
                  <a:gd name="T36" fmla="*/ 138 w 164"/>
                  <a:gd name="T37" fmla="*/ 0 h 52"/>
                  <a:gd name="T38" fmla="*/ 142 w 164"/>
                  <a:gd name="T39" fmla="*/ 0 h 52"/>
                  <a:gd name="T40" fmla="*/ 148 w 164"/>
                  <a:gd name="T41" fmla="*/ 1 h 52"/>
                  <a:gd name="T42" fmla="*/ 152 w 164"/>
                  <a:gd name="T43" fmla="*/ 4 h 52"/>
                  <a:gd name="T44" fmla="*/ 156 w 164"/>
                  <a:gd name="T45" fmla="*/ 7 h 52"/>
                  <a:gd name="T46" fmla="*/ 159 w 164"/>
                  <a:gd name="T47" fmla="*/ 11 h 52"/>
                  <a:gd name="T48" fmla="*/ 161 w 164"/>
                  <a:gd name="T49" fmla="*/ 16 h 52"/>
                  <a:gd name="T50" fmla="*/ 162 w 164"/>
                  <a:gd name="T51" fmla="*/ 20 h 52"/>
                  <a:gd name="T52" fmla="*/ 164 w 164"/>
                  <a:gd name="T53" fmla="*/ 26 h 52"/>
                  <a:gd name="T54" fmla="*/ 162 w 164"/>
                  <a:gd name="T55" fmla="*/ 32 h 52"/>
                  <a:gd name="T56" fmla="*/ 161 w 164"/>
                  <a:gd name="T57" fmla="*/ 36 h 52"/>
                  <a:gd name="T58" fmla="*/ 159 w 164"/>
                  <a:gd name="T59" fmla="*/ 40 h 52"/>
                  <a:gd name="T60" fmla="*/ 156 w 164"/>
                  <a:gd name="T61" fmla="*/ 45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2"/>
                    </a:lnTo>
                    <a:lnTo>
                      <a:pt x="15" y="50"/>
                    </a:lnTo>
                    <a:lnTo>
                      <a:pt x="11" y="47"/>
                    </a:lnTo>
                    <a:lnTo>
                      <a:pt x="7" y="45"/>
                    </a:lnTo>
                    <a:lnTo>
                      <a:pt x="4" y="40"/>
                    </a:lnTo>
                    <a:lnTo>
                      <a:pt x="1" y="36"/>
                    </a:lnTo>
                    <a:lnTo>
                      <a:pt x="0" y="32"/>
                    </a:lnTo>
                    <a:lnTo>
                      <a:pt x="0" y="26"/>
                    </a:lnTo>
                    <a:lnTo>
                      <a:pt x="0" y="20"/>
                    </a:lnTo>
                    <a:lnTo>
                      <a:pt x="1" y="16"/>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6"/>
                    </a:lnTo>
                    <a:lnTo>
                      <a:pt x="162" y="20"/>
                    </a:lnTo>
                    <a:lnTo>
                      <a:pt x="164" y="26"/>
                    </a:lnTo>
                    <a:lnTo>
                      <a:pt x="162" y="32"/>
                    </a:lnTo>
                    <a:lnTo>
                      <a:pt x="161" y="36"/>
                    </a:lnTo>
                    <a:lnTo>
                      <a:pt x="159" y="40"/>
                    </a:lnTo>
                    <a:lnTo>
                      <a:pt x="156" y="45"/>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6"/>
              <p:cNvSpPr>
                <a:spLocks/>
              </p:cNvSpPr>
              <p:nvPr/>
            </p:nvSpPr>
            <p:spPr bwMode="auto">
              <a:xfrm>
                <a:off x="4673600" y="1954213"/>
                <a:ext cx="236538" cy="169863"/>
              </a:xfrm>
              <a:custGeom>
                <a:avLst/>
                <a:gdLst>
                  <a:gd name="T0" fmla="*/ 153 w 446"/>
                  <a:gd name="T1" fmla="*/ 319 h 319"/>
                  <a:gd name="T2" fmla="*/ 147 w 446"/>
                  <a:gd name="T3" fmla="*/ 318 h 319"/>
                  <a:gd name="T4" fmla="*/ 143 w 446"/>
                  <a:gd name="T5" fmla="*/ 316 h 319"/>
                  <a:gd name="T6" fmla="*/ 138 w 446"/>
                  <a:gd name="T7" fmla="*/ 315 h 319"/>
                  <a:gd name="T8" fmla="*/ 134 w 446"/>
                  <a:gd name="T9" fmla="*/ 311 h 319"/>
                  <a:gd name="T10" fmla="*/ 7 w 446"/>
                  <a:gd name="T11" fmla="*/ 184 h 319"/>
                  <a:gd name="T12" fmla="*/ 4 w 446"/>
                  <a:gd name="T13" fmla="*/ 180 h 319"/>
                  <a:gd name="T14" fmla="*/ 1 w 446"/>
                  <a:gd name="T15" fmla="*/ 175 h 319"/>
                  <a:gd name="T16" fmla="*/ 0 w 446"/>
                  <a:gd name="T17" fmla="*/ 171 h 319"/>
                  <a:gd name="T18" fmla="*/ 0 w 446"/>
                  <a:gd name="T19" fmla="*/ 165 h 319"/>
                  <a:gd name="T20" fmla="*/ 0 w 446"/>
                  <a:gd name="T21" fmla="*/ 161 h 319"/>
                  <a:gd name="T22" fmla="*/ 1 w 446"/>
                  <a:gd name="T23" fmla="*/ 157 h 319"/>
                  <a:gd name="T24" fmla="*/ 4 w 446"/>
                  <a:gd name="T25" fmla="*/ 151 h 319"/>
                  <a:gd name="T26" fmla="*/ 7 w 446"/>
                  <a:gd name="T27" fmla="*/ 148 h 319"/>
                  <a:gd name="T28" fmla="*/ 11 w 446"/>
                  <a:gd name="T29" fmla="*/ 144 h 319"/>
                  <a:gd name="T30" fmla="*/ 16 w 446"/>
                  <a:gd name="T31" fmla="*/ 142 h 319"/>
                  <a:gd name="T32" fmla="*/ 20 w 446"/>
                  <a:gd name="T33" fmla="*/ 141 h 319"/>
                  <a:gd name="T34" fmla="*/ 26 w 446"/>
                  <a:gd name="T35" fmla="*/ 139 h 319"/>
                  <a:gd name="T36" fmla="*/ 30 w 446"/>
                  <a:gd name="T37" fmla="*/ 141 h 319"/>
                  <a:gd name="T38" fmla="*/ 36 w 446"/>
                  <a:gd name="T39" fmla="*/ 142 h 319"/>
                  <a:gd name="T40" fmla="*/ 40 w 446"/>
                  <a:gd name="T41" fmla="*/ 144 h 319"/>
                  <a:gd name="T42" fmla="*/ 45 w 446"/>
                  <a:gd name="T43" fmla="*/ 148 h 319"/>
                  <a:gd name="T44" fmla="*/ 153 w 446"/>
                  <a:gd name="T45" fmla="*/ 256 h 319"/>
                  <a:gd name="T46" fmla="*/ 402 w 446"/>
                  <a:gd name="T47" fmla="*/ 7 h 319"/>
                  <a:gd name="T48" fmla="*/ 406 w 446"/>
                  <a:gd name="T49" fmla="*/ 4 h 319"/>
                  <a:gd name="T50" fmla="*/ 410 w 446"/>
                  <a:gd name="T51" fmla="*/ 1 h 319"/>
                  <a:gd name="T52" fmla="*/ 415 w 446"/>
                  <a:gd name="T53" fmla="*/ 0 h 319"/>
                  <a:gd name="T54" fmla="*/ 420 w 446"/>
                  <a:gd name="T55" fmla="*/ 0 h 319"/>
                  <a:gd name="T56" fmla="*/ 425 w 446"/>
                  <a:gd name="T57" fmla="*/ 0 h 319"/>
                  <a:gd name="T58" fmla="*/ 429 w 446"/>
                  <a:gd name="T59" fmla="*/ 1 h 319"/>
                  <a:gd name="T60" fmla="*/ 435 w 446"/>
                  <a:gd name="T61" fmla="*/ 4 h 319"/>
                  <a:gd name="T62" fmla="*/ 438 w 446"/>
                  <a:gd name="T63" fmla="*/ 7 h 319"/>
                  <a:gd name="T64" fmla="*/ 442 w 446"/>
                  <a:gd name="T65" fmla="*/ 11 h 319"/>
                  <a:gd name="T66" fmla="*/ 443 w 446"/>
                  <a:gd name="T67" fmla="*/ 16 h 319"/>
                  <a:gd name="T68" fmla="*/ 445 w 446"/>
                  <a:gd name="T69" fmla="*/ 20 h 319"/>
                  <a:gd name="T70" fmla="*/ 446 w 446"/>
                  <a:gd name="T71" fmla="*/ 26 h 319"/>
                  <a:gd name="T72" fmla="*/ 445 w 446"/>
                  <a:gd name="T73" fmla="*/ 30 h 319"/>
                  <a:gd name="T74" fmla="*/ 443 w 446"/>
                  <a:gd name="T75" fmla="*/ 36 h 319"/>
                  <a:gd name="T76" fmla="*/ 442 w 446"/>
                  <a:gd name="T77" fmla="*/ 40 h 319"/>
                  <a:gd name="T78" fmla="*/ 438 w 446"/>
                  <a:gd name="T79" fmla="*/ 44 h 319"/>
                  <a:gd name="T80" fmla="*/ 171 w 446"/>
                  <a:gd name="T81" fmla="*/ 311 h 319"/>
                  <a:gd name="T82" fmla="*/ 167 w 446"/>
                  <a:gd name="T83" fmla="*/ 315 h 319"/>
                  <a:gd name="T84" fmla="*/ 163 w 446"/>
                  <a:gd name="T85" fmla="*/ 316 h 319"/>
                  <a:gd name="T86" fmla="*/ 157 w 446"/>
                  <a:gd name="T87" fmla="*/ 318 h 319"/>
                  <a:gd name="T88" fmla="*/ 153 w 446"/>
                  <a:gd name="T8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319">
                    <a:moveTo>
                      <a:pt x="153" y="319"/>
                    </a:moveTo>
                    <a:lnTo>
                      <a:pt x="147" y="318"/>
                    </a:lnTo>
                    <a:lnTo>
                      <a:pt x="143" y="316"/>
                    </a:lnTo>
                    <a:lnTo>
                      <a:pt x="138" y="315"/>
                    </a:lnTo>
                    <a:lnTo>
                      <a:pt x="134" y="311"/>
                    </a:lnTo>
                    <a:lnTo>
                      <a:pt x="7" y="184"/>
                    </a:lnTo>
                    <a:lnTo>
                      <a:pt x="4" y="180"/>
                    </a:lnTo>
                    <a:lnTo>
                      <a:pt x="1" y="175"/>
                    </a:lnTo>
                    <a:lnTo>
                      <a:pt x="0" y="171"/>
                    </a:lnTo>
                    <a:lnTo>
                      <a:pt x="0" y="165"/>
                    </a:lnTo>
                    <a:lnTo>
                      <a:pt x="0" y="161"/>
                    </a:lnTo>
                    <a:lnTo>
                      <a:pt x="1" y="157"/>
                    </a:lnTo>
                    <a:lnTo>
                      <a:pt x="4" y="151"/>
                    </a:lnTo>
                    <a:lnTo>
                      <a:pt x="7" y="148"/>
                    </a:lnTo>
                    <a:lnTo>
                      <a:pt x="11" y="144"/>
                    </a:lnTo>
                    <a:lnTo>
                      <a:pt x="16" y="142"/>
                    </a:lnTo>
                    <a:lnTo>
                      <a:pt x="20" y="141"/>
                    </a:lnTo>
                    <a:lnTo>
                      <a:pt x="26" y="139"/>
                    </a:lnTo>
                    <a:lnTo>
                      <a:pt x="30" y="141"/>
                    </a:lnTo>
                    <a:lnTo>
                      <a:pt x="36" y="142"/>
                    </a:lnTo>
                    <a:lnTo>
                      <a:pt x="40" y="144"/>
                    </a:lnTo>
                    <a:lnTo>
                      <a:pt x="45" y="148"/>
                    </a:lnTo>
                    <a:lnTo>
                      <a:pt x="153" y="256"/>
                    </a:lnTo>
                    <a:lnTo>
                      <a:pt x="402" y="7"/>
                    </a:lnTo>
                    <a:lnTo>
                      <a:pt x="406" y="4"/>
                    </a:lnTo>
                    <a:lnTo>
                      <a:pt x="410" y="1"/>
                    </a:lnTo>
                    <a:lnTo>
                      <a:pt x="415" y="0"/>
                    </a:lnTo>
                    <a:lnTo>
                      <a:pt x="420" y="0"/>
                    </a:lnTo>
                    <a:lnTo>
                      <a:pt x="425" y="0"/>
                    </a:lnTo>
                    <a:lnTo>
                      <a:pt x="429" y="1"/>
                    </a:lnTo>
                    <a:lnTo>
                      <a:pt x="435" y="4"/>
                    </a:lnTo>
                    <a:lnTo>
                      <a:pt x="438" y="7"/>
                    </a:lnTo>
                    <a:lnTo>
                      <a:pt x="442" y="11"/>
                    </a:lnTo>
                    <a:lnTo>
                      <a:pt x="443" y="16"/>
                    </a:lnTo>
                    <a:lnTo>
                      <a:pt x="445" y="20"/>
                    </a:lnTo>
                    <a:lnTo>
                      <a:pt x="446" y="26"/>
                    </a:lnTo>
                    <a:lnTo>
                      <a:pt x="445" y="30"/>
                    </a:lnTo>
                    <a:lnTo>
                      <a:pt x="443" y="36"/>
                    </a:lnTo>
                    <a:lnTo>
                      <a:pt x="442" y="40"/>
                    </a:lnTo>
                    <a:lnTo>
                      <a:pt x="438" y="44"/>
                    </a:lnTo>
                    <a:lnTo>
                      <a:pt x="171" y="311"/>
                    </a:lnTo>
                    <a:lnTo>
                      <a:pt x="167" y="315"/>
                    </a:lnTo>
                    <a:lnTo>
                      <a:pt x="163" y="316"/>
                    </a:lnTo>
                    <a:lnTo>
                      <a:pt x="157" y="318"/>
                    </a:lnTo>
                    <a:lnTo>
                      <a:pt x="15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14"/>
              <p:cNvSpPr>
                <a:spLocks noEditPoints="1"/>
              </p:cNvSpPr>
              <p:nvPr/>
            </p:nvSpPr>
            <p:spPr bwMode="auto">
              <a:xfrm>
                <a:off x="4614863" y="1887538"/>
                <a:ext cx="328613" cy="327025"/>
              </a:xfrm>
              <a:custGeom>
                <a:avLst/>
                <a:gdLst>
                  <a:gd name="T0" fmla="*/ 257 w 620"/>
                  <a:gd name="T1" fmla="*/ 57 h 620"/>
                  <a:gd name="T2" fmla="*/ 187 w 620"/>
                  <a:gd name="T3" fmla="*/ 83 h 620"/>
                  <a:gd name="T4" fmla="*/ 128 w 620"/>
                  <a:gd name="T5" fmla="*/ 128 h 620"/>
                  <a:gd name="T6" fmla="*/ 83 w 620"/>
                  <a:gd name="T7" fmla="*/ 187 h 620"/>
                  <a:gd name="T8" fmla="*/ 57 w 620"/>
                  <a:gd name="T9" fmla="*/ 259 h 620"/>
                  <a:gd name="T10" fmla="*/ 53 w 620"/>
                  <a:gd name="T11" fmla="*/ 336 h 620"/>
                  <a:gd name="T12" fmla="*/ 72 w 620"/>
                  <a:gd name="T13" fmla="*/ 410 h 620"/>
                  <a:gd name="T14" fmla="*/ 111 w 620"/>
                  <a:gd name="T15" fmla="*/ 473 h 620"/>
                  <a:gd name="T16" fmla="*/ 165 w 620"/>
                  <a:gd name="T17" fmla="*/ 524 h 620"/>
                  <a:gd name="T18" fmla="*/ 233 w 620"/>
                  <a:gd name="T19" fmla="*/ 557 h 620"/>
                  <a:gd name="T20" fmla="*/ 309 w 620"/>
                  <a:gd name="T21" fmla="*/ 568 h 620"/>
                  <a:gd name="T22" fmla="*/ 386 w 620"/>
                  <a:gd name="T23" fmla="*/ 557 h 620"/>
                  <a:gd name="T24" fmla="*/ 453 w 620"/>
                  <a:gd name="T25" fmla="*/ 524 h 620"/>
                  <a:gd name="T26" fmla="*/ 508 w 620"/>
                  <a:gd name="T27" fmla="*/ 473 h 620"/>
                  <a:gd name="T28" fmla="*/ 547 w 620"/>
                  <a:gd name="T29" fmla="*/ 410 h 620"/>
                  <a:gd name="T30" fmla="*/ 566 w 620"/>
                  <a:gd name="T31" fmla="*/ 336 h 620"/>
                  <a:gd name="T32" fmla="*/ 563 w 620"/>
                  <a:gd name="T33" fmla="*/ 259 h 620"/>
                  <a:gd name="T34" fmla="*/ 537 w 620"/>
                  <a:gd name="T35" fmla="*/ 187 h 620"/>
                  <a:gd name="T36" fmla="*/ 492 w 620"/>
                  <a:gd name="T37" fmla="*/ 128 h 620"/>
                  <a:gd name="T38" fmla="*/ 432 w 620"/>
                  <a:gd name="T39" fmla="*/ 83 h 620"/>
                  <a:gd name="T40" fmla="*/ 361 w 620"/>
                  <a:gd name="T41" fmla="*/ 57 h 620"/>
                  <a:gd name="T42" fmla="*/ 309 w 620"/>
                  <a:gd name="T43" fmla="*/ 620 h 620"/>
                  <a:gd name="T44" fmla="*/ 262 w 620"/>
                  <a:gd name="T45" fmla="*/ 616 h 620"/>
                  <a:gd name="T46" fmla="*/ 217 w 620"/>
                  <a:gd name="T47" fmla="*/ 606 h 620"/>
                  <a:gd name="T48" fmla="*/ 175 w 620"/>
                  <a:gd name="T49" fmla="*/ 590 h 620"/>
                  <a:gd name="T50" fmla="*/ 136 w 620"/>
                  <a:gd name="T51" fmla="*/ 567 h 620"/>
                  <a:gd name="T52" fmla="*/ 70 w 620"/>
                  <a:gd name="T53" fmla="*/ 508 h 620"/>
                  <a:gd name="T54" fmla="*/ 37 w 620"/>
                  <a:gd name="T55" fmla="*/ 457 h 620"/>
                  <a:gd name="T56" fmla="*/ 18 w 620"/>
                  <a:gd name="T57" fmla="*/ 417 h 620"/>
                  <a:gd name="T58" fmla="*/ 5 w 620"/>
                  <a:gd name="T59" fmla="*/ 372 h 620"/>
                  <a:gd name="T60" fmla="*/ 0 w 620"/>
                  <a:gd name="T61" fmla="*/ 326 h 620"/>
                  <a:gd name="T62" fmla="*/ 1 w 620"/>
                  <a:gd name="T63" fmla="*/ 279 h 620"/>
                  <a:gd name="T64" fmla="*/ 10 w 620"/>
                  <a:gd name="T65" fmla="*/ 233 h 620"/>
                  <a:gd name="T66" fmla="*/ 24 w 620"/>
                  <a:gd name="T67" fmla="*/ 190 h 620"/>
                  <a:gd name="T68" fmla="*/ 44 w 620"/>
                  <a:gd name="T69" fmla="*/ 149 h 620"/>
                  <a:gd name="T70" fmla="*/ 90 w 620"/>
                  <a:gd name="T71" fmla="*/ 90 h 620"/>
                  <a:gd name="T72" fmla="*/ 149 w 620"/>
                  <a:gd name="T73" fmla="*/ 46 h 620"/>
                  <a:gd name="T74" fmla="*/ 188 w 620"/>
                  <a:gd name="T75" fmla="*/ 24 h 620"/>
                  <a:gd name="T76" fmla="*/ 231 w 620"/>
                  <a:gd name="T77" fmla="*/ 10 h 620"/>
                  <a:gd name="T78" fmla="*/ 278 w 620"/>
                  <a:gd name="T79" fmla="*/ 1 h 620"/>
                  <a:gd name="T80" fmla="*/ 325 w 620"/>
                  <a:gd name="T81" fmla="*/ 1 h 620"/>
                  <a:gd name="T82" fmla="*/ 373 w 620"/>
                  <a:gd name="T83" fmla="*/ 7 h 620"/>
                  <a:gd name="T84" fmla="*/ 416 w 620"/>
                  <a:gd name="T85" fmla="*/ 18 h 620"/>
                  <a:gd name="T86" fmla="*/ 458 w 620"/>
                  <a:gd name="T87" fmla="*/ 37 h 620"/>
                  <a:gd name="T88" fmla="*/ 507 w 620"/>
                  <a:gd name="T89" fmla="*/ 72 h 620"/>
                  <a:gd name="T90" fmla="*/ 567 w 620"/>
                  <a:gd name="T91" fmla="*/ 136 h 620"/>
                  <a:gd name="T92" fmla="*/ 589 w 620"/>
                  <a:gd name="T93" fmla="*/ 175 h 620"/>
                  <a:gd name="T94" fmla="*/ 606 w 620"/>
                  <a:gd name="T95" fmla="*/ 218 h 620"/>
                  <a:gd name="T96" fmla="*/ 616 w 620"/>
                  <a:gd name="T97" fmla="*/ 263 h 620"/>
                  <a:gd name="T98" fmla="*/ 620 w 620"/>
                  <a:gd name="T99" fmla="*/ 311 h 620"/>
                  <a:gd name="T100" fmla="*/ 616 w 620"/>
                  <a:gd name="T101" fmla="*/ 357 h 620"/>
                  <a:gd name="T102" fmla="*/ 606 w 620"/>
                  <a:gd name="T103" fmla="*/ 403 h 620"/>
                  <a:gd name="T104" fmla="*/ 589 w 620"/>
                  <a:gd name="T105" fmla="*/ 444 h 620"/>
                  <a:gd name="T106" fmla="*/ 567 w 620"/>
                  <a:gd name="T107" fmla="*/ 483 h 620"/>
                  <a:gd name="T108" fmla="*/ 507 w 620"/>
                  <a:gd name="T109" fmla="*/ 550 h 620"/>
                  <a:gd name="T110" fmla="*/ 458 w 620"/>
                  <a:gd name="T111" fmla="*/ 583 h 620"/>
                  <a:gd name="T112" fmla="*/ 416 w 620"/>
                  <a:gd name="T113" fmla="*/ 601 h 620"/>
                  <a:gd name="T114" fmla="*/ 373 w 620"/>
                  <a:gd name="T115" fmla="*/ 614 h 620"/>
                  <a:gd name="T116" fmla="*/ 325 w 620"/>
                  <a:gd name="T117" fmla="*/ 62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0" h="620">
                    <a:moveTo>
                      <a:pt x="309" y="53"/>
                    </a:moveTo>
                    <a:lnTo>
                      <a:pt x="283" y="53"/>
                    </a:lnTo>
                    <a:lnTo>
                      <a:pt x="257" y="57"/>
                    </a:lnTo>
                    <a:lnTo>
                      <a:pt x="233" y="64"/>
                    </a:lnTo>
                    <a:lnTo>
                      <a:pt x="210" y="73"/>
                    </a:lnTo>
                    <a:lnTo>
                      <a:pt x="187" y="83"/>
                    </a:lnTo>
                    <a:lnTo>
                      <a:pt x="165" y="96"/>
                    </a:lnTo>
                    <a:lnTo>
                      <a:pt x="145" y="112"/>
                    </a:lnTo>
                    <a:lnTo>
                      <a:pt x="128" y="128"/>
                    </a:lnTo>
                    <a:lnTo>
                      <a:pt x="111" y="146"/>
                    </a:lnTo>
                    <a:lnTo>
                      <a:pt x="96" y="167"/>
                    </a:lnTo>
                    <a:lnTo>
                      <a:pt x="83" y="187"/>
                    </a:lnTo>
                    <a:lnTo>
                      <a:pt x="72" y="210"/>
                    </a:lnTo>
                    <a:lnTo>
                      <a:pt x="63" y="233"/>
                    </a:lnTo>
                    <a:lnTo>
                      <a:pt x="57" y="259"/>
                    </a:lnTo>
                    <a:lnTo>
                      <a:pt x="53" y="283"/>
                    </a:lnTo>
                    <a:lnTo>
                      <a:pt x="51" y="311"/>
                    </a:lnTo>
                    <a:lnTo>
                      <a:pt x="53" y="336"/>
                    </a:lnTo>
                    <a:lnTo>
                      <a:pt x="57" y="362"/>
                    </a:lnTo>
                    <a:lnTo>
                      <a:pt x="63" y="387"/>
                    </a:lnTo>
                    <a:lnTo>
                      <a:pt x="72" y="410"/>
                    </a:lnTo>
                    <a:lnTo>
                      <a:pt x="83" y="433"/>
                    </a:lnTo>
                    <a:lnTo>
                      <a:pt x="96" y="455"/>
                    </a:lnTo>
                    <a:lnTo>
                      <a:pt x="111" y="473"/>
                    </a:lnTo>
                    <a:lnTo>
                      <a:pt x="128" y="492"/>
                    </a:lnTo>
                    <a:lnTo>
                      <a:pt x="145" y="509"/>
                    </a:lnTo>
                    <a:lnTo>
                      <a:pt x="165" y="524"/>
                    </a:lnTo>
                    <a:lnTo>
                      <a:pt x="187" y="537"/>
                    </a:lnTo>
                    <a:lnTo>
                      <a:pt x="210" y="548"/>
                    </a:lnTo>
                    <a:lnTo>
                      <a:pt x="233" y="557"/>
                    </a:lnTo>
                    <a:lnTo>
                      <a:pt x="257" y="563"/>
                    </a:lnTo>
                    <a:lnTo>
                      <a:pt x="283" y="567"/>
                    </a:lnTo>
                    <a:lnTo>
                      <a:pt x="309" y="568"/>
                    </a:lnTo>
                    <a:lnTo>
                      <a:pt x="335" y="567"/>
                    </a:lnTo>
                    <a:lnTo>
                      <a:pt x="361" y="563"/>
                    </a:lnTo>
                    <a:lnTo>
                      <a:pt x="386" y="557"/>
                    </a:lnTo>
                    <a:lnTo>
                      <a:pt x="410" y="548"/>
                    </a:lnTo>
                    <a:lnTo>
                      <a:pt x="432" y="537"/>
                    </a:lnTo>
                    <a:lnTo>
                      <a:pt x="453" y="524"/>
                    </a:lnTo>
                    <a:lnTo>
                      <a:pt x="473" y="509"/>
                    </a:lnTo>
                    <a:lnTo>
                      <a:pt x="492" y="492"/>
                    </a:lnTo>
                    <a:lnTo>
                      <a:pt x="508" y="473"/>
                    </a:lnTo>
                    <a:lnTo>
                      <a:pt x="524" y="455"/>
                    </a:lnTo>
                    <a:lnTo>
                      <a:pt x="537" y="433"/>
                    </a:lnTo>
                    <a:lnTo>
                      <a:pt x="547" y="410"/>
                    </a:lnTo>
                    <a:lnTo>
                      <a:pt x="555" y="387"/>
                    </a:lnTo>
                    <a:lnTo>
                      <a:pt x="563" y="362"/>
                    </a:lnTo>
                    <a:lnTo>
                      <a:pt x="566" y="336"/>
                    </a:lnTo>
                    <a:lnTo>
                      <a:pt x="567" y="311"/>
                    </a:lnTo>
                    <a:lnTo>
                      <a:pt x="566" y="283"/>
                    </a:lnTo>
                    <a:lnTo>
                      <a:pt x="563" y="259"/>
                    </a:lnTo>
                    <a:lnTo>
                      <a:pt x="555" y="233"/>
                    </a:lnTo>
                    <a:lnTo>
                      <a:pt x="547" y="210"/>
                    </a:lnTo>
                    <a:lnTo>
                      <a:pt x="537" y="187"/>
                    </a:lnTo>
                    <a:lnTo>
                      <a:pt x="524" y="167"/>
                    </a:lnTo>
                    <a:lnTo>
                      <a:pt x="508" y="146"/>
                    </a:lnTo>
                    <a:lnTo>
                      <a:pt x="492" y="128"/>
                    </a:lnTo>
                    <a:lnTo>
                      <a:pt x="473" y="112"/>
                    </a:lnTo>
                    <a:lnTo>
                      <a:pt x="453" y="96"/>
                    </a:lnTo>
                    <a:lnTo>
                      <a:pt x="432" y="83"/>
                    </a:lnTo>
                    <a:lnTo>
                      <a:pt x="410" y="73"/>
                    </a:lnTo>
                    <a:lnTo>
                      <a:pt x="386" y="64"/>
                    </a:lnTo>
                    <a:lnTo>
                      <a:pt x="361" y="57"/>
                    </a:lnTo>
                    <a:lnTo>
                      <a:pt x="335" y="53"/>
                    </a:lnTo>
                    <a:lnTo>
                      <a:pt x="309" y="53"/>
                    </a:lnTo>
                    <a:close/>
                    <a:moveTo>
                      <a:pt x="309" y="620"/>
                    </a:moveTo>
                    <a:lnTo>
                      <a:pt x="293" y="620"/>
                    </a:lnTo>
                    <a:lnTo>
                      <a:pt x="278" y="619"/>
                    </a:lnTo>
                    <a:lnTo>
                      <a:pt x="262" y="616"/>
                    </a:lnTo>
                    <a:lnTo>
                      <a:pt x="247" y="614"/>
                    </a:lnTo>
                    <a:lnTo>
                      <a:pt x="231" y="610"/>
                    </a:lnTo>
                    <a:lnTo>
                      <a:pt x="217" y="606"/>
                    </a:lnTo>
                    <a:lnTo>
                      <a:pt x="203" y="601"/>
                    </a:lnTo>
                    <a:lnTo>
                      <a:pt x="188" y="596"/>
                    </a:lnTo>
                    <a:lnTo>
                      <a:pt x="175" y="590"/>
                    </a:lnTo>
                    <a:lnTo>
                      <a:pt x="162" y="583"/>
                    </a:lnTo>
                    <a:lnTo>
                      <a:pt x="149" y="575"/>
                    </a:lnTo>
                    <a:lnTo>
                      <a:pt x="136" y="567"/>
                    </a:lnTo>
                    <a:lnTo>
                      <a:pt x="112" y="550"/>
                    </a:lnTo>
                    <a:lnTo>
                      <a:pt x="90" y="529"/>
                    </a:lnTo>
                    <a:lnTo>
                      <a:pt x="70" y="508"/>
                    </a:lnTo>
                    <a:lnTo>
                      <a:pt x="53" y="483"/>
                    </a:lnTo>
                    <a:lnTo>
                      <a:pt x="44" y="470"/>
                    </a:lnTo>
                    <a:lnTo>
                      <a:pt x="37" y="457"/>
                    </a:lnTo>
                    <a:lnTo>
                      <a:pt x="30" y="444"/>
                    </a:lnTo>
                    <a:lnTo>
                      <a:pt x="24" y="430"/>
                    </a:lnTo>
                    <a:lnTo>
                      <a:pt x="18" y="417"/>
                    </a:lnTo>
                    <a:lnTo>
                      <a:pt x="14" y="403"/>
                    </a:lnTo>
                    <a:lnTo>
                      <a:pt x="10" y="387"/>
                    </a:lnTo>
                    <a:lnTo>
                      <a:pt x="5" y="372"/>
                    </a:lnTo>
                    <a:lnTo>
                      <a:pt x="3" y="357"/>
                    </a:lnTo>
                    <a:lnTo>
                      <a:pt x="1" y="342"/>
                    </a:lnTo>
                    <a:lnTo>
                      <a:pt x="0" y="326"/>
                    </a:lnTo>
                    <a:lnTo>
                      <a:pt x="0" y="311"/>
                    </a:lnTo>
                    <a:lnTo>
                      <a:pt x="0" y="295"/>
                    </a:lnTo>
                    <a:lnTo>
                      <a:pt x="1" y="279"/>
                    </a:lnTo>
                    <a:lnTo>
                      <a:pt x="3" y="263"/>
                    </a:lnTo>
                    <a:lnTo>
                      <a:pt x="5" y="247"/>
                    </a:lnTo>
                    <a:lnTo>
                      <a:pt x="10" y="233"/>
                    </a:lnTo>
                    <a:lnTo>
                      <a:pt x="14" y="218"/>
                    </a:lnTo>
                    <a:lnTo>
                      <a:pt x="18" y="204"/>
                    </a:lnTo>
                    <a:lnTo>
                      <a:pt x="24" y="190"/>
                    </a:lnTo>
                    <a:lnTo>
                      <a:pt x="30" y="175"/>
                    </a:lnTo>
                    <a:lnTo>
                      <a:pt x="37" y="162"/>
                    </a:lnTo>
                    <a:lnTo>
                      <a:pt x="44" y="149"/>
                    </a:lnTo>
                    <a:lnTo>
                      <a:pt x="53" y="136"/>
                    </a:lnTo>
                    <a:lnTo>
                      <a:pt x="70" y="113"/>
                    </a:lnTo>
                    <a:lnTo>
                      <a:pt x="90" y="90"/>
                    </a:lnTo>
                    <a:lnTo>
                      <a:pt x="112" y="72"/>
                    </a:lnTo>
                    <a:lnTo>
                      <a:pt x="136" y="53"/>
                    </a:lnTo>
                    <a:lnTo>
                      <a:pt x="149" y="46"/>
                    </a:lnTo>
                    <a:lnTo>
                      <a:pt x="162" y="37"/>
                    </a:lnTo>
                    <a:lnTo>
                      <a:pt x="175" y="31"/>
                    </a:lnTo>
                    <a:lnTo>
                      <a:pt x="188" y="24"/>
                    </a:lnTo>
                    <a:lnTo>
                      <a:pt x="203" y="18"/>
                    </a:lnTo>
                    <a:lnTo>
                      <a:pt x="217" y="14"/>
                    </a:lnTo>
                    <a:lnTo>
                      <a:pt x="231" y="10"/>
                    </a:lnTo>
                    <a:lnTo>
                      <a:pt x="247" y="7"/>
                    </a:lnTo>
                    <a:lnTo>
                      <a:pt x="262" y="4"/>
                    </a:lnTo>
                    <a:lnTo>
                      <a:pt x="278" y="1"/>
                    </a:lnTo>
                    <a:lnTo>
                      <a:pt x="293" y="1"/>
                    </a:lnTo>
                    <a:lnTo>
                      <a:pt x="309" y="0"/>
                    </a:lnTo>
                    <a:lnTo>
                      <a:pt x="325" y="1"/>
                    </a:lnTo>
                    <a:lnTo>
                      <a:pt x="341" y="1"/>
                    </a:lnTo>
                    <a:lnTo>
                      <a:pt x="357" y="4"/>
                    </a:lnTo>
                    <a:lnTo>
                      <a:pt x="373" y="7"/>
                    </a:lnTo>
                    <a:lnTo>
                      <a:pt x="387" y="10"/>
                    </a:lnTo>
                    <a:lnTo>
                      <a:pt x="401" y="14"/>
                    </a:lnTo>
                    <a:lnTo>
                      <a:pt x="416" y="18"/>
                    </a:lnTo>
                    <a:lnTo>
                      <a:pt x="430" y="24"/>
                    </a:lnTo>
                    <a:lnTo>
                      <a:pt x="443" y="31"/>
                    </a:lnTo>
                    <a:lnTo>
                      <a:pt x="458" y="37"/>
                    </a:lnTo>
                    <a:lnTo>
                      <a:pt x="471" y="46"/>
                    </a:lnTo>
                    <a:lnTo>
                      <a:pt x="482" y="53"/>
                    </a:lnTo>
                    <a:lnTo>
                      <a:pt x="507" y="72"/>
                    </a:lnTo>
                    <a:lnTo>
                      <a:pt x="528" y="90"/>
                    </a:lnTo>
                    <a:lnTo>
                      <a:pt x="548" y="113"/>
                    </a:lnTo>
                    <a:lnTo>
                      <a:pt x="567" y="136"/>
                    </a:lnTo>
                    <a:lnTo>
                      <a:pt x="574" y="149"/>
                    </a:lnTo>
                    <a:lnTo>
                      <a:pt x="581" y="162"/>
                    </a:lnTo>
                    <a:lnTo>
                      <a:pt x="589" y="175"/>
                    </a:lnTo>
                    <a:lnTo>
                      <a:pt x="596" y="190"/>
                    </a:lnTo>
                    <a:lnTo>
                      <a:pt x="600" y="204"/>
                    </a:lnTo>
                    <a:lnTo>
                      <a:pt x="606" y="218"/>
                    </a:lnTo>
                    <a:lnTo>
                      <a:pt x="610" y="233"/>
                    </a:lnTo>
                    <a:lnTo>
                      <a:pt x="613" y="247"/>
                    </a:lnTo>
                    <a:lnTo>
                      <a:pt x="616" y="263"/>
                    </a:lnTo>
                    <a:lnTo>
                      <a:pt x="617" y="279"/>
                    </a:lnTo>
                    <a:lnTo>
                      <a:pt x="619" y="295"/>
                    </a:lnTo>
                    <a:lnTo>
                      <a:pt x="620" y="311"/>
                    </a:lnTo>
                    <a:lnTo>
                      <a:pt x="619" y="326"/>
                    </a:lnTo>
                    <a:lnTo>
                      <a:pt x="617" y="342"/>
                    </a:lnTo>
                    <a:lnTo>
                      <a:pt x="616" y="357"/>
                    </a:lnTo>
                    <a:lnTo>
                      <a:pt x="613" y="372"/>
                    </a:lnTo>
                    <a:lnTo>
                      <a:pt x="610" y="387"/>
                    </a:lnTo>
                    <a:lnTo>
                      <a:pt x="606" y="403"/>
                    </a:lnTo>
                    <a:lnTo>
                      <a:pt x="600" y="417"/>
                    </a:lnTo>
                    <a:lnTo>
                      <a:pt x="596" y="430"/>
                    </a:lnTo>
                    <a:lnTo>
                      <a:pt x="589" y="444"/>
                    </a:lnTo>
                    <a:lnTo>
                      <a:pt x="581" y="457"/>
                    </a:lnTo>
                    <a:lnTo>
                      <a:pt x="574" y="470"/>
                    </a:lnTo>
                    <a:lnTo>
                      <a:pt x="567" y="483"/>
                    </a:lnTo>
                    <a:lnTo>
                      <a:pt x="548" y="508"/>
                    </a:lnTo>
                    <a:lnTo>
                      <a:pt x="528" y="529"/>
                    </a:lnTo>
                    <a:lnTo>
                      <a:pt x="507" y="550"/>
                    </a:lnTo>
                    <a:lnTo>
                      <a:pt x="482" y="567"/>
                    </a:lnTo>
                    <a:lnTo>
                      <a:pt x="471" y="575"/>
                    </a:lnTo>
                    <a:lnTo>
                      <a:pt x="458" y="583"/>
                    </a:lnTo>
                    <a:lnTo>
                      <a:pt x="443" y="590"/>
                    </a:lnTo>
                    <a:lnTo>
                      <a:pt x="430" y="596"/>
                    </a:lnTo>
                    <a:lnTo>
                      <a:pt x="416" y="601"/>
                    </a:lnTo>
                    <a:lnTo>
                      <a:pt x="401" y="606"/>
                    </a:lnTo>
                    <a:lnTo>
                      <a:pt x="387" y="610"/>
                    </a:lnTo>
                    <a:lnTo>
                      <a:pt x="373" y="614"/>
                    </a:lnTo>
                    <a:lnTo>
                      <a:pt x="357" y="616"/>
                    </a:lnTo>
                    <a:lnTo>
                      <a:pt x="341" y="619"/>
                    </a:lnTo>
                    <a:lnTo>
                      <a:pt x="325" y="620"/>
                    </a:lnTo>
                    <a:lnTo>
                      <a:pt x="309"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15"/>
              <p:cNvSpPr>
                <a:spLocks/>
              </p:cNvSpPr>
              <p:nvPr/>
            </p:nvSpPr>
            <p:spPr bwMode="auto">
              <a:xfrm>
                <a:off x="4891088" y="2135188"/>
                <a:ext cx="231775" cy="231775"/>
              </a:xfrm>
              <a:custGeom>
                <a:avLst/>
                <a:gdLst>
                  <a:gd name="T0" fmla="*/ 412 w 438"/>
                  <a:gd name="T1" fmla="*/ 438 h 438"/>
                  <a:gd name="T2" fmla="*/ 407 w 438"/>
                  <a:gd name="T3" fmla="*/ 438 h 438"/>
                  <a:gd name="T4" fmla="*/ 402 w 438"/>
                  <a:gd name="T5" fmla="*/ 437 h 438"/>
                  <a:gd name="T6" fmla="*/ 397 w 438"/>
                  <a:gd name="T7" fmla="*/ 434 h 438"/>
                  <a:gd name="T8" fmla="*/ 393 w 438"/>
                  <a:gd name="T9" fmla="*/ 431 h 438"/>
                  <a:gd name="T10" fmla="*/ 7 w 438"/>
                  <a:gd name="T11" fmla="*/ 45 h 438"/>
                  <a:gd name="T12" fmla="*/ 4 w 438"/>
                  <a:gd name="T13" fmla="*/ 41 h 438"/>
                  <a:gd name="T14" fmla="*/ 1 w 438"/>
                  <a:gd name="T15" fmla="*/ 36 h 438"/>
                  <a:gd name="T16" fmla="*/ 0 w 438"/>
                  <a:gd name="T17" fmla="*/ 31 h 438"/>
                  <a:gd name="T18" fmla="*/ 0 w 438"/>
                  <a:gd name="T19" fmla="*/ 26 h 438"/>
                  <a:gd name="T20" fmla="*/ 0 w 438"/>
                  <a:gd name="T21" fmla="*/ 22 h 438"/>
                  <a:gd name="T22" fmla="*/ 1 w 438"/>
                  <a:gd name="T23" fmla="*/ 16 h 438"/>
                  <a:gd name="T24" fmla="*/ 4 w 438"/>
                  <a:gd name="T25" fmla="*/ 12 h 438"/>
                  <a:gd name="T26" fmla="*/ 7 w 438"/>
                  <a:gd name="T27" fmla="*/ 8 h 438"/>
                  <a:gd name="T28" fmla="*/ 11 w 438"/>
                  <a:gd name="T29" fmla="*/ 5 h 438"/>
                  <a:gd name="T30" fmla="*/ 16 w 438"/>
                  <a:gd name="T31" fmla="*/ 2 h 438"/>
                  <a:gd name="T32" fmla="*/ 22 w 438"/>
                  <a:gd name="T33" fmla="*/ 0 h 438"/>
                  <a:gd name="T34" fmla="*/ 26 w 438"/>
                  <a:gd name="T35" fmla="*/ 0 h 438"/>
                  <a:gd name="T36" fmla="*/ 30 w 438"/>
                  <a:gd name="T37" fmla="*/ 0 h 438"/>
                  <a:gd name="T38" fmla="*/ 36 w 438"/>
                  <a:gd name="T39" fmla="*/ 2 h 438"/>
                  <a:gd name="T40" fmla="*/ 40 w 438"/>
                  <a:gd name="T41" fmla="*/ 5 h 438"/>
                  <a:gd name="T42" fmla="*/ 45 w 438"/>
                  <a:gd name="T43" fmla="*/ 8 h 438"/>
                  <a:gd name="T44" fmla="*/ 430 w 438"/>
                  <a:gd name="T45" fmla="*/ 393 h 438"/>
                  <a:gd name="T46" fmla="*/ 433 w 438"/>
                  <a:gd name="T47" fmla="*/ 398 h 438"/>
                  <a:gd name="T48" fmla="*/ 436 w 438"/>
                  <a:gd name="T49" fmla="*/ 402 h 438"/>
                  <a:gd name="T50" fmla="*/ 438 w 438"/>
                  <a:gd name="T51" fmla="*/ 408 h 438"/>
                  <a:gd name="T52" fmla="*/ 438 w 438"/>
                  <a:gd name="T53" fmla="*/ 412 h 438"/>
                  <a:gd name="T54" fmla="*/ 438 w 438"/>
                  <a:gd name="T55" fmla="*/ 418 h 438"/>
                  <a:gd name="T56" fmla="*/ 436 w 438"/>
                  <a:gd name="T57" fmla="*/ 422 h 438"/>
                  <a:gd name="T58" fmla="*/ 433 w 438"/>
                  <a:gd name="T59" fmla="*/ 427 h 438"/>
                  <a:gd name="T60" fmla="*/ 430 w 438"/>
                  <a:gd name="T61" fmla="*/ 431 h 438"/>
                  <a:gd name="T62" fmla="*/ 426 w 438"/>
                  <a:gd name="T63" fmla="*/ 434 h 438"/>
                  <a:gd name="T64" fmla="*/ 422 w 438"/>
                  <a:gd name="T65" fmla="*/ 437 h 438"/>
                  <a:gd name="T66" fmla="*/ 418 w 438"/>
                  <a:gd name="T67" fmla="*/ 438 h 438"/>
                  <a:gd name="T68" fmla="*/ 412 w 438"/>
                  <a:gd name="T69"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8" h="438">
                    <a:moveTo>
                      <a:pt x="412" y="438"/>
                    </a:moveTo>
                    <a:lnTo>
                      <a:pt x="407" y="438"/>
                    </a:lnTo>
                    <a:lnTo>
                      <a:pt x="402" y="437"/>
                    </a:lnTo>
                    <a:lnTo>
                      <a:pt x="397" y="434"/>
                    </a:lnTo>
                    <a:lnTo>
                      <a:pt x="393" y="431"/>
                    </a:lnTo>
                    <a:lnTo>
                      <a:pt x="7" y="45"/>
                    </a:lnTo>
                    <a:lnTo>
                      <a:pt x="4" y="41"/>
                    </a:lnTo>
                    <a:lnTo>
                      <a:pt x="1" y="36"/>
                    </a:lnTo>
                    <a:lnTo>
                      <a:pt x="0" y="31"/>
                    </a:lnTo>
                    <a:lnTo>
                      <a:pt x="0" y="26"/>
                    </a:lnTo>
                    <a:lnTo>
                      <a:pt x="0" y="22"/>
                    </a:lnTo>
                    <a:lnTo>
                      <a:pt x="1" y="16"/>
                    </a:lnTo>
                    <a:lnTo>
                      <a:pt x="4" y="12"/>
                    </a:lnTo>
                    <a:lnTo>
                      <a:pt x="7" y="8"/>
                    </a:lnTo>
                    <a:lnTo>
                      <a:pt x="11" y="5"/>
                    </a:lnTo>
                    <a:lnTo>
                      <a:pt x="16" y="2"/>
                    </a:lnTo>
                    <a:lnTo>
                      <a:pt x="22" y="0"/>
                    </a:lnTo>
                    <a:lnTo>
                      <a:pt x="26" y="0"/>
                    </a:lnTo>
                    <a:lnTo>
                      <a:pt x="30" y="0"/>
                    </a:lnTo>
                    <a:lnTo>
                      <a:pt x="36" y="2"/>
                    </a:lnTo>
                    <a:lnTo>
                      <a:pt x="40" y="5"/>
                    </a:lnTo>
                    <a:lnTo>
                      <a:pt x="45" y="8"/>
                    </a:lnTo>
                    <a:lnTo>
                      <a:pt x="430" y="393"/>
                    </a:lnTo>
                    <a:lnTo>
                      <a:pt x="433" y="398"/>
                    </a:lnTo>
                    <a:lnTo>
                      <a:pt x="436" y="402"/>
                    </a:lnTo>
                    <a:lnTo>
                      <a:pt x="438" y="408"/>
                    </a:lnTo>
                    <a:lnTo>
                      <a:pt x="438" y="412"/>
                    </a:lnTo>
                    <a:lnTo>
                      <a:pt x="438" y="418"/>
                    </a:lnTo>
                    <a:lnTo>
                      <a:pt x="436" y="422"/>
                    </a:lnTo>
                    <a:lnTo>
                      <a:pt x="433" y="427"/>
                    </a:lnTo>
                    <a:lnTo>
                      <a:pt x="430" y="431"/>
                    </a:lnTo>
                    <a:lnTo>
                      <a:pt x="426" y="434"/>
                    </a:lnTo>
                    <a:lnTo>
                      <a:pt x="422" y="437"/>
                    </a:lnTo>
                    <a:lnTo>
                      <a:pt x="418" y="438"/>
                    </a:lnTo>
                    <a:lnTo>
                      <a:pt x="412"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3" name="Group 102"/>
          <p:cNvGrpSpPr/>
          <p:nvPr/>
        </p:nvGrpSpPr>
        <p:grpSpPr>
          <a:xfrm>
            <a:off x="637196" y="2147643"/>
            <a:ext cx="4267200" cy="2279133"/>
            <a:chOff x="302089" y="2183225"/>
            <a:chExt cx="4267200" cy="2279133"/>
          </a:xfrm>
        </p:grpSpPr>
        <p:graphicFrame>
          <p:nvGraphicFramePr>
            <p:cNvPr id="6" name="Chart 5"/>
            <p:cNvGraphicFramePr/>
            <p:nvPr>
              <p:extLst>
                <p:ext uri="{D42A27DB-BD31-4B8C-83A1-F6EECF244321}">
                  <p14:modId xmlns:p14="http://schemas.microsoft.com/office/powerpoint/2010/main" val="907546516"/>
                </p:ext>
              </p:extLst>
            </p:nvPr>
          </p:nvGraphicFramePr>
          <p:xfrm>
            <a:off x="302089" y="2183225"/>
            <a:ext cx="4267200" cy="2279133"/>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6"/>
            <p:cNvSpPr/>
            <p:nvPr/>
          </p:nvSpPr>
          <p:spPr>
            <a:xfrm>
              <a:off x="1473215" y="3341247"/>
              <a:ext cx="434734" cy="338554"/>
            </a:xfrm>
            <a:prstGeom prst="rect">
              <a:avLst/>
            </a:prstGeom>
          </p:spPr>
          <p:txBody>
            <a:bodyPr wrap="none">
              <a:spAutoFit/>
            </a:bodyPr>
            <a:lstStyle/>
            <a:p>
              <a:r>
                <a:rPr lang="id-ID" sz="1600" dirty="0" smtClean="0">
                  <a:solidFill>
                    <a:schemeClr val="tx1">
                      <a:lumMod val="75000"/>
                      <a:lumOff val="25000"/>
                    </a:schemeClr>
                  </a:solidFill>
                  <a:latin typeface="Calibri Light" pitchFamily="34" charset="0"/>
                </a:rPr>
                <a:t>3%</a:t>
              </a:r>
              <a:endParaRPr lang="id-ID" sz="1600" dirty="0">
                <a:solidFill>
                  <a:schemeClr val="tx1">
                    <a:lumMod val="75000"/>
                    <a:lumOff val="25000"/>
                  </a:schemeClr>
                </a:solidFill>
                <a:latin typeface="Calibri Light" pitchFamily="34" charset="0"/>
              </a:endParaRPr>
            </a:p>
          </p:txBody>
        </p:sp>
        <p:sp>
          <p:nvSpPr>
            <p:cNvPr id="101" name="Rectangle 100"/>
            <p:cNvSpPr/>
            <p:nvPr/>
          </p:nvSpPr>
          <p:spPr>
            <a:xfrm>
              <a:off x="2302344" y="2971709"/>
              <a:ext cx="434734" cy="338554"/>
            </a:xfrm>
            <a:prstGeom prst="rect">
              <a:avLst/>
            </a:prstGeom>
          </p:spPr>
          <p:txBody>
            <a:bodyPr wrap="none">
              <a:spAutoFit/>
            </a:bodyPr>
            <a:lstStyle/>
            <a:p>
              <a:r>
                <a:rPr lang="id-ID" sz="1600" dirty="0" smtClean="0">
                  <a:solidFill>
                    <a:schemeClr val="tx1">
                      <a:lumMod val="75000"/>
                      <a:lumOff val="25000"/>
                    </a:schemeClr>
                  </a:solidFill>
                  <a:latin typeface="Calibri Light" pitchFamily="34" charset="0"/>
                </a:rPr>
                <a:t>6%</a:t>
              </a:r>
              <a:endParaRPr lang="id-ID" sz="1600" dirty="0">
                <a:solidFill>
                  <a:schemeClr val="tx1">
                    <a:lumMod val="75000"/>
                    <a:lumOff val="25000"/>
                  </a:schemeClr>
                </a:solidFill>
                <a:latin typeface="Calibri Light" pitchFamily="34" charset="0"/>
              </a:endParaRPr>
            </a:p>
          </p:txBody>
        </p:sp>
        <p:sp>
          <p:nvSpPr>
            <p:cNvPr id="102" name="Rectangle 101"/>
            <p:cNvSpPr/>
            <p:nvPr/>
          </p:nvSpPr>
          <p:spPr>
            <a:xfrm>
              <a:off x="3084053" y="2211479"/>
              <a:ext cx="538930" cy="338554"/>
            </a:xfrm>
            <a:prstGeom prst="rect">
              <a:avLst/>
            </a:prstGeom>
          </p:spPr>
          <p:txBody>
            <a:bodyPr wrap="none">
              <a:spAutoFit/>
            </a:bodyPr>
            <a:lstStyle/>
            <a:p>
              <a:r>
                <a:rPr lang="id-ID" sz="1600" dirty="0" smtClean="0">
                  <a:solidFill>
                    <a:schemeClr val="tx1">
                      <a:lumMod val="75000"/>
                      <a:lumOff val="25000"/>
                    </a:schemeClr>
                  </a:solidFill>
                  <a:latin typeface="Calibri Light" pitchFamily="34" charset="0"/>
                </a:rPr>
                <a:t>12%</a:t>
              </a:r>
              <a:endParaRPr lang="id-ID" sz="1600" dirty="0">
                <a:solidFill>
                  <a:schemeClr val="tx1">
                    <a:lumMod val="75000"/>
                    <a:lumOff val="25000"/>
                  </a:schemeClr>
                </a:solidFill>
                <a:latin typeface="Calibri Light" pitchFamily="34" charset="0"/>
              </a:endParaRPr>
            </a:p>
          </p:txBody>
        </p:sp>
      </p:grpSp>
      <p:cxnSp>
        <p:nvCxnSpPr>
          <p:cNvPr id="9" name="Straight Connector 8"/>
          <p:cNvCxnSpPr/>
          <p:nvPr/>
        </p:nvCxnSpPr>
        <p:spPr>
          <a:xfrm>
            <a:off x="5440507" y="1490872"/>
            <a:ext cx="0" cy="3592674"/>
          </a:xfrm>
          <a:prstGeom prst="line">
            <a:avLst/>
          </a:prstGeom>
          <a:ln w="12700">
            <a:solidFill>
              <a:srgbClr val="E74C3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6282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1" name="Straight Connector 220"/>
          <p:cNvCxnSpPr/>
          <p:nvPr/>
        </p:nvCxnSpPr>
        <p:spPr>
          <a:xfrm>
            <a:off x="3987800" y="2396692"/>
            <a:ext cx="1117600" cy="2726267"/>
          </a:xfrm>
          <a:prstGeom prst="line">
            <a:avLst/>
          </a:prstGeom>
          <a:ln w="12700">
            <a:solidFill>
              <a:srgbClr val="0D65AC"/>
            </a:solidFill>
            <a:prstDash val="sysDot"/>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flipH="1">
            <a:off x="3987800" y="2396692"/>
            <a:ext cx="1117600" cy="2726267"/>
          </a:xfrm>
          <a:prstGeom prst="line">
            <a:avLst/>
          </a:prstGeom>
          <a:ln w="12700">
            <a:solidFill>
              <a:srgbClr val="0D65AC"/>
            </a:solidFill>
            <a:prstDash val="sysDot"/>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3385585" y="3227298"/>
            <a:ext cx="2431327" cy="1134041"/>
          </a:xfrm>
          <a:prstGeom prst="line">
            <a:avLst/>
          </a:prstGeom>
          <a:ln w="12700">
            <a:solidFill>
              <a:srgbClr val="0D65AC"/>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flipH="1">
            <a:off x="3385585" y="3227298"/>
            <a:ext cx="2431327" cy="1134041"/>
          </a:xfrm>
          <a:prstGeom prst="line">
            <a:avLst/>
          </a:prstGeom>
          <a:ln w="12700">
            <a:solidFill>
              <a:srgbClr val="0D65AC"/>
            </a:solidFill>
            <a:prstDash val="sysDot"/>
          </a:ln>
        </p:spPr>
        <p:style>
          <a:lnRef idx="1">
            <a:schemeClr val="accent1"/>
          </a:lnRef>
          <a:fillRef idx="0">
            <a:schemeClr val="accent1"/>
          </a:fillRef>
          <a:effectRef idx="0">
            <a:schemeClr val="accent1"/>
          </a:effectRef>
          <a:fontRef idx="minor">
            <a:schemeClr val="tx1"/>
          </a:fontRef>
        </p:style>
      </p:cxnSp>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22</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smtClean="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201" name="Oval 200"/>
          <p:cNvSpPr/>
          <p:nvPr/>
        </p:nvSpPr>
        <p:spPr>
          <a:xfrm>
            <a:off x="2405304" y="2480308"/>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2" name="Oval 201"/>
          <p:cNvSpPr/>
          <p:nvPr/>
        </p:nvSpPr>
        <p:spPr>
          <a:xfrm>
            <a:off x="2405304" y="3876716"/>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3" name="Oval 202"/>
          <p:cNvSpPr/>
          <p:nvPr/>
        </p:nvSpPr>
        <p:spPr>
          <a:xfrm>
            <a:off x="5638800" y="2480308"/>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4" name="Oval 203"/>
          <p:cNvSpPr/>
          <p:nvPr/>
        </p:nvSpPr>
        <p:spPr>
          <a:xfrm>
            <a:off x="5638800" y="3876717"/>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5" name="Oval 204"/>
          <p:cNvSpPr/>
          <p:nvPr/>
        </p:nvSpPr>
        <p:spPr>
          <a:xfrm>
            <a:off x="3352800" y="1524000"/>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6" name="Oval 205"/>
          <p:cNvSpPr/>
          <p:nvPr/>
        </p:nvSpPr>
        <p:spPr>
          <a:xfrm>
            <a:off x="4648200" y="1524000"/>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7" name="Oval 206"/>
          <p:cNvSpPr/>
          <p:nvPr/>
        </p:nvSpPr>
        <p:spPr>
          <a:xfrm>
            <a:off x="3352800" y="4800600"/>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8" name="Oval 207"/>
          <p:cNvSpPr/>
          <p:nvPr/>
        </p:nvSpPr>
        <p:spPr>
          <a:xfrm>
            <a:off x="4648200" y="4800600"/>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9" name="Rectangle 208"/>
          <p:cNvSpPr/>
          <p:nvPr/>
        </p:nvSpPr>
        <p:spPr>
          <a:xfrm>
            <a:off x="3551111" y="1953464"/>
            <a:ext cx="739305" cy="276999"/>
          </a:xfrm>
          <a:prstGeom prst="rect">
            <a:avLst/>
          </a:prstGeom>
        </p:spPr>
        <p:txBody>
          <a:bodyPr wrap="none">
            <a:spAutoFit/>
          </a:bodyPr>
          <a:lstStyle/>
          <a:p>
            <a:pPr algn="ctr"/>
            <a:r>
              <a:rPr lang="en-US" sz="1200" b="1" dirty="0" smtClean="0">
                <a:solidFill>
                  <a:srgbClr val="000000"/>
                </a:solidFill>
              </a:rPr>
              <a:t>Timeline</a:t>
            </a:r>
            <a:endParaRPr lang="en-US" sz="1200" b="1" dirty="0">
              <a:solidFill>
                <a:srgbClr val="000000"/>
              </a:solidFill>
            </a:endParaRPr>
          </a:p>
        </p:txBody>
      </p:sp>
      <p:sp>
        <p:nvSpPr>
          <p:cNvPr id="210" name="Rectangle 209"/>
          <p:cNvSpPr/>
          <p:nvPr/>
        </p:nvSpPr>
        <p:spPr>
          <a:xfrm>
            <a:off x="4769567" y="1953464"/>
            <a:ext cx="893193" cy="276999"/>
          </a:xfrm>
          <a:prstGeom prst="rect">
            <a:avLst/>
          </a:prstGeom>
        </p:spPr>
        <p:txBody>
          <a:bodyPr wrap="none">
            <a:spAutoFit/>
          </a:bodyPr>
          <a:lstStyle/>
          <a:p>
            <a:pPr algn="ctr"/>
            <a:r>
              <a:rPr lang="en-US" sz="1200" b="1" dirty="0" smtClean="0">
                <a:solidFill>
                  <a:srgbClr val="000000"/>
                </a:solidFill>
              </a:rPr>
              <a:t>Operations</a:t>
            </a:r>
            <a:endParaRPr lang="en-US" sz="1200" b="1" dirty="0">
              <a:solidFill>
                <a:srgbClr val="000000"/>
              </a:solidFill>
            </a:endParaRPr>
          </a:p>
        </p:txBody>
      </p:sp>
      <p:sp>
        <p:nvSpPr>
          <p:cNvPr id="211" name="Rectangle 210"/>
          <p:cNvSpPr/>
          <p:nvPr/>
        </p:nvSpPr>
        <p:spPr>
          <a:xfrm>
            <a:off x="5719257" y="2817439"/>
            <a:ext cx="975012" cy="461665"/>
          </a:xfrm>
          <a:prstGeom prst="rect">
            <a:avLst/>
          </a:prstGeom>
        </p:spPr>
        <p:txBody>
          <a:bodyPr wrap="square">
            <a:spAutoFit/>
          </a:bodyPr>
          <a:lstStyle/>
          <a:p>
            <a:pPr algn="ctr"/>
            <a:r>
              <a:rPr lang="en-US" sz="1200" b="1" dirty="0" smtClean="0">
                <a:solidFill>
                  <a:srgbClr val="000000"/>
                </a:solidFill>
              </a:rPr>
              <a:t>Competitor Analysis</a:t>
            </a:r>
            <a:endParaRPr lang="en-US" sz="1200" b="1" dirty="0">
              <a:solidFill>
                <a:srgbClr val="000000"/>
              </a:solidFill>
            </a:endParaRPr>
          </a:p>
        </p:txBody>
      </p:sp>
      <p:sp>
        <p:nvSpPr>
          <p:cNvPr id="212" name="Rectangle 211"/>
          <p:cNvSpPr/>
          <p:nvPr/>
        </p:nvSpPr>
        <p:spPr>
          <a:xfrm>
            <a:off x="5719257" y="4213848"/>
            <a:ext cx="975012" cy="461665"/>
          </a:xfrm>
          <a:prstGeom prst="rect">
            <a:avLst/>
          </a:prstGeom>
        </p:spPr>
        <p:txBody>
          <a:bodyPr wrap="square">
            <a:spAutoFit/>
          </a:bodyPr>
          <a:lstStyle/>
          <a:p>
            <a:pPr algn="ctr"/>
            <a:r>
              <a:rPr lang="en-US" sz="1200" b="1" dirty="0" smtClean="0">
                <a:solidFill>
                  <a:srgbClr val="000000"/>
                </a:solidFill>
              </a:rPr>
              <a:t>SWOT Analysis</a:t>
            </a:r>
            <a:endParaRPr lang="en-US" sz="1200" b="1" dirty="0">
              <a:solidFill>
                <a:srgbClr val="000000"/>
              </a:solidFill>
            </a:endParaRPr>
          </a:p>
        </p:txBody>
      </p:sp>
      <p:sp>
        <p:nvSpPr>
          <p:cNvPr id="213" name="Rectangle 212"/>
          <p:cNvSpPr/>
          <p:nvPr/>
        </p:nvSpPr>
        <p:spPr>
          <a:xfrm>
            <a:off x="4728657" y="5137731"/>
            <a:ext cx="975012" cy="461665"/>
          </a:xfrm>
          <a:prstGeom prst="rect">
            <a:avLst/>
          </a:prstGeom>
        </p:spPr>
        <p:txBody>
          <a:bodyPr wrap="square">
            <a:spAutoFit/>
          </a:bodyPr>
          <a:lstStyle/>
          <a:p>
            <a:pPr algn="ctr"/>
            <a:r>
              <a:rPr lang="en-US" sz="1200" b="1" dirty="0" smtClean="0">
                <a:solidFill>
                  <a:srgbClr val="000000"/>
                </a:solidFill>
              </a:rPr>
              <a:t>Mission Statement</a:t>
            </a:r>
            <a:endParaRPr lang="en-US" sz="1200" b="1" dirty="0">
              <a:solidFill>
                <a:srgbClr val="000000"/>
              </a:solidFill>
            </a:endParaRPr>
          </a:p>
        </p:txBody>
      </p:sp>
      <p:sp>
        <p:nvSpPr>
          <p:cNvPr id="214" name="Rectangle 213"/>
          <p:cNvSpPr/>
          <p:nvPr/>
        </p:nvSpPr>
        <p:spPr>
          <a:xfrm>
            <a:off x="3429000" y="5181600"/>
            <a:ext cx="975012" cy="461665"/>
          </a:xfrm>
          <a:prstGeom prst="rect">
            <a:avLst/>
          </a:prstGeom>
        </p:spPr>
        <p:txBody>
          <a:bodyPr wrap="square">
            <a:spAutoFit/>
          </a:bodyPr>
          <a:lstStyle/>
          <a:p>
            <a:pPr algn="ctr"/>
            <a:r>
              <a:rPr lang="en-US" sz="1200" b="1" dirty="0" smtClean="0">
                <a:solidFill>
                  <a:srgbClr val="000000"/>
                </a:solidFill>
              </a:rPr>
              <a:t>Marketing Plan</a:t>
            </a:r>
            <a:endParaRPr lang="en-US" sz="1200" b="1" dirty="0">
              <a:solidFill>
                <a:srgbClr val="000000"/>
              </a:solidFill>
            </a:endParaRPr>
          </a:p>
        </p:txBody>
      </p:sp>
      <p:sp>
        <p:nvSpPr>
          <p:cNvPr id="215" name="Rectangle 214"/>
          <p:cNvSpPr/>
          <p:nvPr/>
        </p:nvSpPr>
        <p:spPr>
          <a:xfrm>
            <a:off x="2485761" y="4213847"/>
            <a:ext cx="975012" cy="461665"/>
          </a:xfrm>
          <a:prstGeom prst="rect">
            <a:avLst/>
          </a:prstGeom>
        </p:spPr>
        <p:txBody>
          <a:bodyPr wrap="square">
            <a:spAutoFit/>
          </a:bodyPr>
          <a:lstStyle/>
          <a:p>
            <a:pPr algn="ctr"/>
            <a:r>
              <a:rPr lang="en-US" sz="1200" b="1" dirty="0" smtClean="0">
                <a:solidFill>
                  <a:srgbClr val="000000"/>
                </a:solidFill>
              </a:rPr>
              <a:t>Product Description</a:t>
            </a:r>
            <a:endParaRPr lang="en-US" sz="1200" b="1" dirty="0">
              <a:solidFill>
                <a:srgbClr val="000000"/>
              </a:solidFill>
            </a:endParaRPr>
          </a:p>
        </p:txBody>
      </p:sp>
      <p:sp>
        <p:nvSpPr>
          <p:cNvPr id="216" name="Rectangle 215"/>
          <p:cNvSpPr/>
          <p:nvPr/>
        </p:nvSpPr>
        <p:spPr>
          <a:xfrm>
            <a:off x="2485761" y="2817439"/>
            <a:ext cx="975012" cy="461665"/>
          </a:xfrm>
          <a:prstGeom prst="rect">
            <a:avLst/>
          </a:prstGeom>
        </p:spPr>
        <p:txBody>
          <a:bodyPr wrap="square">
            <a:spAutoFit/>
          </a:bodyPr>
          <a:lstStyle/>
          <a:p>
            <a:pPr algn="ctr"/>
            <a:r>
              <a:rPr lang="en-US" sz="1200" b="1" dirty="0" smtClean="0">
                <a:solidFill>
                  <a:srgbClr val="000000"/>
                </a:solidFill>
              </a:rPr>
              <a:t>Financial Planning</a:t>
            </a:r>
            <a:endParaRPr lang="en-US" sz="1200" b="1" dirty="0">
              <a:solidFill>
                <a:srgbClr val="000000"/>
              </a:solidFill>
            </a:endParaRPr>
          </a:p>
        </p:txBody>
      </p:sp>
      <p:grpSp>
        <p:nvGrpSpPr>
          <p:cNvPr id="224" name="Group 223"/>
          <p:cNvGrpSpPr/>
          <p:nvPr/>
        </p:nvGrpSpPr>
        <p:grpSpPr>
          <a:xfrm>
            <a:off x="3541231" y="2716866"/>
            <a:ext cx="2061539" cy="2061539"/>
            <a:chOff x="3541231" y="2716866"/>
            <a:chExt cx="2061539" cy="2061539"/>
          </a:xfrm>
        </p:grpSpPr>
        <p:sp>
          <p:nvSpPr>
            <p:cNvPr id="200" name="Oval 199"/>
            <p:cNvSpPr/>
            <p:nvPr/>
          </p:nvSpPr>
          <p:spPr>
            <a:xfrm>
              <a:off x="3541231" y="2716866"/>
              <a:ext cx="2061539" cy="2061539"/>
            </a:xfrm>
            <a:prstGeom prst="ellipse">
              <a:avLst/>
            </a:prstGeom>
            <a:solidFill>
              <a:srgbClr val="0D65AC"/>
            </a:solidFill>
            <a:ln w="3175">
              <a:noFill/>
              <a:round/>
              <a:headEnd/>
              <a:tailEnd/>
            </a:ln>
            <a:effectLst>
              <a:innerShdw dist="38100" dir="5400000">
                <a:prstClr val="black">
                  <a:alpha val="20000"/>
                </a:prstClr>
              </a:innerShdw>
            </a:effectLst>
          </p:spPr>
          <p:txBody>
            <a:bodyPr rtlCol="0" anchor="ctr"/>
            <a:lstStyle/>
            <a:p>
              <a:pPr algn="ctr"/>
              <a:r>
                <a:rPr lang="en-US" sz="2400" b="1" dirty="0" smtClean="0">
                  <a:solidFill>
                    <a:schemeClr val="bg1"/>
                  </a:solidFill>
                </a:rPr>
                <a:t>Business Plan</a:t>
              </a:r>
              <a:endParaRPr lang="en-US" sz="2400" b="1" dirty="0">
                <a:solidFill>
                  <a:schemeClr val="bg1"/>
                </a:solidFill>
              </a:endParaRPr>
            </a:p>
          </p:txBody>
        </p:sp>
        <p:sp>
          <p:nvSpPr>
            <p:cNvPr id="223" name="Oval 222"/>
            <p:cNvSpPr/>
            <p:nvPr/>
          </p:nvSpPr>
          <p:spPr>
            <a:xfrm>
              <a:off x="3625702" y="2801337"/>
              <a:ext cx="1892597" cy="1892597"/>
            </a:xfrm>
            <a:prstGeom prst="ellipse">
              <a:avLst/>
            </a:prstGeom>
            <a:noFill/>
            <a:ln>
              <a:solidFill>
                <a:srgbClr val="D5D5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393404183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23</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smtClean="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84" name="Freeform 5"/>
          <p:cNvSpPr>
            <a:spLocks noEditPoints="1"/>
          </p:cNvSpPr>
          <p:nvPr/>
        </p:nvSpPr>
        <p:spPr bwMode="auto">
          <a:xfrm>
            <a:off x="1580224" y="2012047"/>
            <a:ext cx="1351394" cy="1352087"/>
          </a:xfrm>
          <a:custGeom>
            <a:avLst/>
            <a:gdLst>
              <a:gd name="T0" fmla="*/ 1722 w 1946"/>
              <a:gd name="T1" fmla="*/ 754 h 1947"/>
              <a:gd name="T2" fmla="*/ 1657 w 1946"/>
              <a:gd name="T3" fmla="*/ 597 h 1947"/>
              <a:gd name="T4" fmla="*/ 1593 w 1946"/>
              <a:gd name="T5" fmla="*/ 216 h 1947"/>
              <a:gd name="T6" fmla="*/ 1350 w 1946"/>
              <a:gd name="T7" fmla="*/ 289 h 1947"/>
              <a:gd name="T8" fmla="*/ 1193 w 1946"/>
              <a:gd name="T9" fmla="*/ 225 h 1947"/>
              <a:gd name="T10" fmla="*/ 877 w 1946"/>
              <a:gd name="T11" fmla="*/ 0 h 1947"/>
              <a:gd name="T12" fmla="*/ 753 w 1946"/>
              <a:gd name="T13" fmla="*/ 225 h 1947"/>
              <a:gd name="T14" fmla="*/ 596 w 1946"/>
              <a:gd name="T15" fmla="*/ 289 h 1947"/>
              <a:gd name="T16" fmla="*/ 218 w 1946"/>
              <a:gd name="T17" fmla="*/ 353 h 1947"/>
              <a:gd name="T18" fmla="*/ 289 w 1946"/>
              <a:gd name="T19" fmla="*/ 597 h 1947"/>
              <a:gd name="T20" fmla="*/ 224 w 1946"/>
              <a:gd name="T21" fmla="*/ 754 h 1947"/>
              <a:gd name="T22" fmla="*/ 0 w 1946"/>
              <a:gd name="T23" fmla="*/ 1069 h 1947"/>
              <a:gd name="T24" fmla="*/ 224 w 1946"/>
              <a:gd name="T25" fmla="*/ 1192 h 1947"/>
              <a:gd name="T26" fmla="*/ 289 w 1946"/>
              <a:gd name="T27" fmla="*/ 1350 h 1947"/>
              <a:gd name="T28" fmla="*/ 353 w 1946"/>
              <a:gd name="T29" fmla="*/ 1729 h 1947"/>
              <a:gd name="T30" fmla="*/ 596 w 1946"/>
              <a:gd name="T31" fmla="*/ 1656 h 1947"/>
              <a:gd name="T32" fmla="*/ 753 w 1946"/>
              <a:gd name="T33" fmla="*/ 1722 h 1947"/>
              <a:gd name="T34" fmla="*/ 1069 w 1946"/>
              <a:gd name="T35" fmla="*/ 1947 h 1947"/>
              <a:gd name="T36" fmla="*/ 1193 w 1946"/>
              <a:gd name="T37" fmla="*/ 1722 h 1947"/>
              <a:gd name="T38" fmla="*/ 1350 w 1946"/>
              <a:gd name="T39" fmla="*/ 1656 h 1947"/>
              <a:gd name="T40" fmla="*/ 1728 w 1946"/>
              <a:gd name="T41" fmla="*/ 1593 h 1947"/>
              <a:gd name="T42" fmla="*/ 1657 w 1946"/>
              <a:gd name="T43" fmla="*/ 1350 h 1947"/>
              <a:gd name="T44" fmla="*/ 1722 w 1946"/>
              <a:gd name="T45" fmla="*/ 1192 h 1947"/>
              <a:gd name="T46" fmla="*/ 1946 w 1946"/>
              <a:gd name="T47" fmla="*/ 876 h 1947"/>
              <a:gd name="T48" fmla="*/ 939 w 1946"/>
              <a:gd name="T49" fmla="*/ 1622 h 1947"/>
              <a:gd name="T50" fmla="*/ 811 w 1946"/>
              <a:gd name="T51" fmla="*/ 1603 h 1947"/>
              <a:gd name="T52" fmla="*/ 691 w 1946"/>
              <a:gd name="T53" fmla="*/ 1558 h 1947"/>
              <a:gd name="T54" fmla="*/ 585 w 1946"/>
              <a:gd name="T55" fmla="*/ 1494 h 1947"/>
              <a:gd name="T56" fmla="*/ 493 w 1946"/>
              <a:gd name="T57" fmla="*/ 1410 h 1947"/>
              <a:gd name="T58" fmla="*/ 419 w 1946"/>
              <a:gd name="T59" fmla="*/ 1309 h 1947"/>
              <a:gd name="T60" fmla="*/ 364 w 1946"/>
              <a:gd name="T61" fmla="*/ 1196 h 1947"/>
              <a:gd name="T62" fmla="*/ 332 w 1946"/>
              <a:gd name="T63" fmla="*/ 1072 h 1947"/>
              <a:gd name="T64" fmla="*/ 324 w 1946"/>
              <a:gd name="T65" fmla="*/ 973 h 1947"/>
              <a:gd name="T66" fmla="*/ 337 w 1946"/>
              <a:gd name="T67" fmla="*/ 842 h 1947"/>
              <a:gd name="T68" fmla="*/ 375 w 1946"/>
              <a:gd name="T69" fmla="*/ 721 h 1947"/>
              <a:gd name="T70" fmla="*/ 435 w 1946"/>
              <a:gd name="T71" fmla="*/ 610 h 1947"/>
              <a:gd name="T72" fmla="*/ 515 w 1946"/>
              <a:gd name="T73" fmla="*/ 514 h 1947"/>
              <a:gd name="T74" fmla="*/ 610 w 1946"/>
              <a:gd name="T75" fmla="*/ 435 h 1947"/>
              <a:gd name="T76" fmla="*/ 720 w 1946"/>
              <a:gd name="T77" fmla="*/ 375 h 1947"/>
              <a:gd name="T78" fmla="*/ 843 w 1946"/>
              <a:gd name="T79" fmla="*/ 338 h 1947"/>
              <a:gd name="T80" fmla="*/ 974 w 1946"/>
              <a:gd name="T81" fmla="*/ 324 h 1947"/>
              <a:gd name="T82" fmla="*/ 1071 w 1946"/>
              <a:gd name="T83" fmla="*/ 332 h 1947"/>
              <a:gd name="T84" fmla="*/ 1195 w 1946"/>
              <a:gd name="T85" fmla="*/ 364 h 1947"/>
              <a:gd name="T86" fmla="*/ 1310 w 1946"/>
              <a:gd name="T87" fmla="*/ 418 h 1947"/>
              <a:gd name="T88" fmla="*/ 1409 w 1946"/>
              <a:gd name="T89" fmla="*/ 493 h 1947"/>
              <a:gd name="T90" fmla="*/ 1493 w 1946"/>
              <a:gd name="T91" fmla="*/ 586 h 1947"/>
              <a:gd name="T92" fmla="*/ 1558 w 1946"/>
              <a:gd name="T93" fmla="*/ 692 h 1947"/>
              <a:gd name="T94" fmla="*/ 1602 w 1946"/>
              <a:gd name="T95" fmla="*/ 812 h 1947"/>
              <a:gd name="T96" fmla="*/ 1621 w 1946"/>
              <a:gd name="T97" fmla="*/ 940 h 1947"/>
              <a:gd name="T98" fmla="*/ 1618 w 1946"/>
              <a:gd name="T99" fmla="*/ 1039 h 1947"/>
              <a:gd name="T100" fmla="*/ 1592 w 1946"/>
              <a:gd name="T101" fmla="*/ 1166 h 1947"/>
              <a:gd name="T102" fmla="*/ 1544 w 1946"/>
              <a:gd name="T103" fmla="*/ 1283 h 1947"/>
              <a:gd name="T104" fmla="*/ 1474 w 1946"/>
              <a:gd name="T105" fmla="*/ 1386 h 1947"/>
              <a:gd name="T106" fmla="*/ 1385 w 1946"/>
              <a:gd name="T107" fmla="*/ 1474 h 1947"/>
              <a:gd name="T108" fmla="*/ 1282 w 1946"/>
              <a:gd name="T109" fmla="*/ 1543 h 1947"/>
              <a:gd name="T110" fmla="*/ 1165 w 1946"/>
              <a:gd name="T111" fmla="*/ 1593 h 1947"/>
              <a:gd name="T112" fmla="*/ 1040 w 1946"/>
              <a:gd name="T113" fmla="*/ 1619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6" h="1947">
                <a:moveTo>
                  <a:pt x="1741" y="839"/>
                </a:moveTo>
                <a:lnTo>
                  <a:pt x="1741" y="839"/>
                </a:lnTo>
                <a:lnTo>
                  <a:pt x="1733" y="796"/>
                </a:lnTo>
                <a:lnTo>
                  <a:pt x="1722" y="754"/>
                </a:lnTo>
                <a:lnTo>
                  <a:pt x="1709" y="712"/>
                </a:lnTo>
                <a:lnTo>
                  <a:pt x="1693" y="672"/>
                </a:lnTo>
                <a:lnTo>
                  <a:pt x="1676" y="634"/>
                </a:lnTo>
                <a:lnTo>
                  <a:pt x="1657" y="597"/>
                </a:lnTo>
                <a:lnTo>
                  <a:pt x="1635" y="559"/>
                </a:lnTo>
                <a:lnTo>
                  <a:pt x="1611" y="525"/>
                </a:lnTo>
                <a:lnTo>
                  <a:pt x="1728" y="353"/>
                </a:lnTo>
                <a:lnTo>
                  <a:pt x="1593" y="216"/>
                </a:lnTo>
                <a:lnTo>
                  <a:pt x="1421" y="335"/>
                </a:lnTo>
                <a:lnTo>
                  <a:pt x="1421" y="335"/>
                </a:lnTo>
                <a:lnTo>
                  <a:pt x="1385" y="311"/>
                </a:lnTo>
                <a:lnTo>
                  <a:pt x="1350" y="289"/>
                </a:lnTo>
                <a:lnTo>
                  <a:pt x="1312" y="270"/>
                </a:lnTo>
                <a:lnTo>
                  <a:pt x="1273" y="252"/>
                </a:lnTo>
                <a:lnTo>
                  <a:pt x="1233" y="237"/>
                </a:lnTo>
                <a:lnTo>
                  <a:pt x="1193" y="225"/>
                </a:lnTo>
                <a:lnTo>
                  <a:pt x="1150" y="214"/>
                </a:lnTo>
                <a:lnTo>
                  <a:pt x="1107" y="204"/>
                </a:lnTo>
                <a:lnTo>
                  <a:pt x="1069" y="0"/>
                </a:lnTo>
                <a:lnTo>
                  <a:pt x="877" y="0"/>
                </a:lnTo>
                <a:lnTo>
                  <a:pt x="839" y="204"/>
                </a:lnTo>
                <a:lnTo>
                  <a:pt x="839" y="204"/>
                </a:lnTo>
                <a:lnTo>
                  <a:pt x="796" y="214"/>
                </a:lnTo>
                <a:lnTo>
                  <a:pt x="753" y="225"/>
                </a:lnTo>
                <a:lnTo>
                  <a:pt x="713" y="237"/>
                </a:lnTo>
                <a:lnTo>
                  <a:pt x="673" y="252"/>
                </a:lnTo>
                <a:lnTo>
                  <a:pt x="634" y="270"/>
                </a:lnTo>
                <a:lnTo>
                  <a:pt x="596" y="289"/>
                </a:lnTo>
                <a:lnTo>
                  <a:pt x="561" y="311"/>
                </a:lnTo>
                <a:lnTo>
                  <a:pt x="525" y="335"/>
                </a:lnTo>
                <a:lnTo>
                  <a:pt x="353" y="216"/>
                </a:lnTo>
                <a:lnTo>
                  <a:pt x="218" y="353"/>
                </a:lnTo>
                <a:lnTo>
                  <a:pt x="335" y="525"/>
                </a:lnTo>
                <a:lnTo>
                  <a:pt x="335" y="525"/>
                </a:lnTo>
                <a:lnTo>
                  <a:pt x="311" y="559"/>
                </a:lnTo>
                <a:lnTo>
                  <a:pt x="289" y="597"/>
                </a:lnTo>
                <a:lnTo>
                  <a:pt x="270" y="634"/>
                </a:lnTo>
                <a:lnTo>
                  <a:pt x="253" y="672"/>
                </a:lnTo>
                <a:lnTo>
                  <a:pt x="237" y="712"/>
                </a:lnTo>
                <a:lnTo>
                  <a:pt x="224" y="754"/>
                </a:lnTo>
                <a:lnTo>
                  <a:pt x="213" y="796"/>
                </a:lnTo>
                <a:lnTo>
                  <a:pt x="205" y="839"/>
                </a:lnTo>
                <a:lnTo>
                  <a:pt x="0" y="876"/>
                </a:lnTo>
                <a:lnTo>
                  <a:pt x="0" y="1069"/>
                </a:lnTo>
                <a:lnTo>
                  <a:pt x="205" y="1108"/>
                </a:lnTo>
                <a:lnTo>
                  <a:pt x="205" y="1108"/>
                </a:lnTo>
                <a:lnTo>
                  <a:pt x="213" y="1151"/>
                </a:lnTo>
                <a:lnTo>
                  <a:pt x="224" y="1192"/>
                </a:lnTo>
                <a:lnTo>
                  <a:pt x="237" y="1233"/>
                </a:lnTo>
                <a:lnTo>
                  <a:pt x="253" y="1273"/>
                </a:lnTo>
                <a:lnTo>
                  <a:pt x="270" y="1312"/>
                </a:lnTo>
                <a:lnTo>
                  <a:pt x="289" y="1350"/>
                </a:lnTo>
                <a:lnTo>
                  <a:pt x="311" y="1386"/>
                </a:lnTo>
                <a:lnTo>
                  <a:pt x="335" y="1422"/>
                </a:lnTo>
                <a:lnTo>
                  <a:pt x="218" y="1593"/>
                </a:lnTo>
                <a:lnTo>
                  <a:pt x="353" y="1729"/>
                </a:lnTo>
                <a:lnTo>
                  <a:pt x="525" y="1612"/>
                </a:lnTo>
                <a:lnTo>
                  <a:pt x="525" y="1612"/>
                </a:lnTo>
                <a:lnTo>
                  <a:pt x="561" y="1636"/>
                </a:lnTo>
                <a:lnTo>
                  <a:pt x="596" y="1656"/>
                </a:lnTo>
                <a:lnTo>
                  <a:pt x="634" y="1676"/>
                </a:lnTo>
                <a:lnTo>
                  <a:pt x="673" y="1693"/>
                </a:lnTo>
                <a:lnTo>
                  <a:pt x="713" y="1709"/>
                </a:lnTo>
                <a:lnTo>
                  <a:pt x="753" y="1722"/>
                </a:lnTo>
                <a:lnTo>
                  <a:pt x="796" y="1733"/>
                </a:lnTo>
                <a:lnTo>
                  <a:pt x="839" y="1742"/>
                </a:lnTo>
                <a:lnTo>
                  <a:pt x="877" y="1947"/>
                </a:lnTo>
                <a:lnTo>
                  <a:pt x="1069" y="1947"/>
                </a:lnTo>
                <a:lnTo>
                  <a:pt x="1107" y="1742"/>
                </a:lnTo>
                <a:lnTo>
                  <a:pt x="1107" y="1742"/>
                </a:lnTo>
                <a:lnTo>
                  <a:pt x="1150" y="1733"/>
                </a:lnTo>
                <a:lnTo>
                  <a:pt x="1193" y="1722"/>
                </a:lnTo>
                <a:lnTo>
                  <a:pt x="1233" y="1709"/>
                </a:lnTo>
                <a:lnTo>
                  <a:pt x="1273" y="1693"/>
                </a:lnTo>
                <a:lnTo>
                  <a:pt x="1312" y="1676"/>
                </a:lnTo>
                <a:lnTo>
                  <a:pt x="1350" y="1656"/>
                </a:lnTo>
                <a:lnTo>
                  <a:pt x="1385" y="1636"/>
                </a:lnTo>
                <a:lnTo>
                  <a:pt x="1421" y="1612"/>
                </a:lnTo>
                <a:lnTo>
                  <a:pt x="1593" y="1729"/>
                </a:lnTo>
                <a:lnTo>
                  <a:pt x="1728" y="1593"/>
                </a:lnTo>
                <a:lnTo>
                  <a:pt x="1611" y="1422"/>
                </a:lnTo>
                <a:lnTo>
                  <a:pt x="1611" y="1422"/>
                </a:lnTo>
                <a:lnTo>
                  <a:pt x="1635" y="1386"/>
                </a:lnTo>
                <a:lnTo>
                  <a:pt x="1657" y="1350"/>
                </a:lnTo>
                <a:lnTo>
                  <a:pt x="1676" y="1312"/>
                </a:lnTo>
                <a:lnTo>
                  <a:pt x="1693" y="1273"/>
                </a:lnTo>
                <a:lnTo>
                  <a:pt x="1709" y="1233"/>
                </a:lnTo>
                <a:lnTo>
                  <a:pt x="1722" y="1192"/>
                </a:lnTo>
                <a:lnTo>
                  <a:pt x="1733" y="1151"/>
                </a:lnTo>
                <a:lnTo>
                  <a:pt x="1741" y="1108"/>
                </a:lnTo>
                <a:lnTo>
                  <a:pt x="1946" y="1069"/>
                </a:lnTo>
                <a:lnTo>
                  <a:pt x="1946" y="876"/>
                </a:lnTo>
                <a:lnTo>
                  <a:pt x="1741" y="839"/>
                </a:lnTo>
                <a:close/>
                <a:moveTo>
                  <a:pt x="974" y="1622"/>
                </a:moveTo>
                <a:lnTo>
                  <a:pt x="974" y="1622"/>
                </a:lnTo>
                <a:lnTo>
                  <a:pt x="939" y="1622"/>
                </a:lnTo>
                <a:lnTo>
                  <a:pt x="906" y="1619"/>
                </a:lnTo>
                <a:lnTo>
                  <a:pt x="875" y="1615"/>
                </a:lnTo>
                <a:lnTo>
                  <a:pt x="843" y="1609"/>
                </a:lnTo>
                <a:lnTo>
                  <a:pt x="811" y="1603"/>
                </a:lnTo>
                <a:lnTo>
                  <a:pt x="781" y="1593"/>
                </a:lnTo>
                <a:lnTo>
                  <a:pt x="751" y="1583"/>
                </a:lnTo>
                <a:lnTo>
                  <a:pt x="720" y="1571"/>
                </a:lnTo>
                <a:lnTo>
                  <a:pt x="691" y="1558"/>
                </a:lnTo>
                <a:lnTo>
                  <a:pt x="664" y="1543"/>
                </a:lnTo>
                <a:lnTo>
                  <a:pt x="636" y="1528"/>
                </a:lnTo>
                <a:lnTo>
                  <a:pt x="610" y="1512"/>
                </a:lnTo>
                <a:lnTo>
                  <a:pt x="585" y="1494"/>
                </a:lnTo>
                <a:lnTo>
                  <a:pt x="561" y="1474"/>
                </a:lnTo>
                <a:lnTo>
                  <a:pt x="537" y="1454"/>
                </a:lnTo>
                <a:lnTo>
                  <a:pt x="515" y="1432"/>
                </a:lnTo>
                <a:lnTo>
                  <a:pt x="493" y="1410"/>
                </a:lnTo>
                <a:lnTo>
                  <a:pt x="472" y="1386"/>
                </a:lnTo>
                <a:lnTo>
                  <a:pt x="453" y="1361"/>
                </a:lnTo>
                <a:lnTo>
                  <a:pt x="435" y="1335"/>
                </a:lnTo>
                <a:lnTo>
                  <a:pt x="419" y="1309"/>
                </a:lnTo>
                <a:lnTo>
                  <a:pt x="402" y="1283"/>
                </a:lnTo>
                <a:lnTo>
                  <a:pt x="388" y="1254"/>
                </a:lnTo>
                <a:lnTo>
                  <a:pt x="375" y="1225"/>
                </a:lnTo>
                <a:lnTo>
                  <a:pt x="364" y="1196"/>
                </a:lnTo>
                <a:lnTo>
                  <a:pt x="354" y="1166"/>
                </a:lnTo>
                <a:lnTo>
                  <a:pt x="344" y="1135"/>
                </a:lnTo>
                <a:lnTo>
                  <a:pt x="337" y="1104"/>
                </a:lnTo>
                <a:lnTo>
                  <a:pt x="332" y="1072"/>
                </a:lnTo>
                <a:lnTo>
                  <a:pt x="328" y="1039"/>
                </a:lnTo>
                <a:lnTo>
                  <a:pt x="325" y="1006"/>
                </a:lnTo>
                <a:lnTo>
                  <a:pt x="324" y="973"/>
                </a:lnTo>
                <a:lnTo>
                  <a:pt x="324" y="973"/>
                </a:lnTo>
                <a:lnTo>
                  <a:pt x="325" y="940"/>
                </a:lnTo>
                <a:lnTo>
                  <a:pt x="328" y="907"/>
                </a:lnTo>
                <a:lnTo>
                  <a:pt x="332" y="875"/>
                </a:lnTo>
                <a:lnTo>
                  <a:pt x="337" y="842"/>
                </a:lnTo>
                <a:lnTo>
                  <a:pt x="344" y="812"/>
                </a:lnTo>
                <a:lnTo>
                  <a:pt x="354" y="780"/>
                </a:lnTo>
                <a:lnTo>
                  <a:pt x="364" y="750"/>
                </a:lnTo>
                <a:lnTo>
                  <a:pt x="375" y="721"/>
                </a:lnTo>
                <a:lnTo>
                  <a:pt x="388" y="692"/>
                </a:lnTo>
                <a:lnTo>
                  <a:pt x="402" y="664"/>
                </a:lnTo>
                <a:lnTo>
                  <a:pt x="419" y="637"/>
                </a:lnTo>
                <a:lnTo>
                  <a:pt x="435" y="610"/>
                </a:lnTo>
                <a:lnTo>
                  <a:pt x="453" y="586"/>
                </a:lnTo>
                <a:lnTo>
                  <a:pt x="472" y="561"/>
                </a:lnTo>
                <a:lnTo>
                  <a:pt x="493" y="537"/>
                </a:lnTo>
                <a:lnTo>
                  <a:pt x="515" y="514"/>
                </a:lnTo>
                <a:lnTo>
                  <a:pt x="537" y="493"/>
                </a:lnTo>
                <a:lnTo>
                  <a:pt x="561" y="473"/>
                </a:lnTo>
                <a:lnTo>
                  <a:pt x="585" y="453"/>
                </a:lnTo>
                <a:lnTo>
                  <a:pt x="610" y="435"/>
                </a:lnTo>
                <a:lnTo>
                  <a:pt x="636" y="418"/>
                </a:lnTo>
                <a:lnTo>
                  <a:pt x="664" y="402"/>
                </a:lnTo>
                <a:lnTo>
                  <a:pt x="691" y="389"/>
                </a:lnTo>
                <a:lnTo>
                  <a:pt x="720" y="375"/>
                </a:lnTo>
                <a:lnTo>
                  <a:pt x="751" y="364"/>
                </a:lnTo>
                <a:lnTo>
                  <a:pt x="781" y="353"/>
                </a:lnTo>
                <a:lnTo>
                  <a:pt x="811" y="344"/>
                </a:lnTo>
                <a:lnTo>
                  <a:pt x="843" y="338"/>
                </a:lnTo>
                <a:lnTo>
                  <a:pt x="875" y="332"/>
                </a:lnTo>
                <a:lnTo>
                  <a:pt x="906" y="328"/>
                </a:lnTo>
                <a:lnTo>
                  <a:pt x="939" y="325"/>
                </a:lnTo>
                <a:lnTo>
                  <a:pt x="974" y="324"/>
                </a:lnTo>
                <a:lnTo>
                  <a:pt x="974" y="324"/>
                </a:lnTo>
                <a:lnTo>
                  <a:pt x="1007" y="325"/>
                </a:lnTo>
                <a:lnTo>
                  <a:pt x="1040" y="328"/>
                </a:lnTo>
                <a:lnTo>
                  <a:pt x="1071" y="332"/>
                </a:lnTo>
                <a:lnTo>
                  <a:pt x="1103" y="338"/>
                </a:lnTo>
                <a:lnTo>
                  <a:pt x="1135" y="344"/>
                </a:lnTo>
                <a:lnTo>
                  <a:pt x="1165" y="353"/>
                </a:lnTo>
                <a:lnTo>
                  <a:pt x="1195" y="364"/>
                </a:lnTo>
                <a:lnTo>
                  <a:pt x="1226" y="375"/>
                </a:lnTo>
                <a:lnTo>
                  <a:pt x="1255" y="389"/>
                </a:lnTo>
                <a:lnTo>
                  <a:pt x="1282" y="402"/>
                </a:lnTo>
                <a:lnTo>
                  <a:pt x="1310" y="418"/>
                </a:lnTo>
                <a:lnTo>
                  <a:pt x="1336" y="435"/>
                </a:lnTo>
                <a:lnTo>
                  <a:pt x="1361" y="453"/>
                </a:lnTo>
                <a:lnTo>
                  <a:pt x="1385" y="473"/>
                </a:lnTo>
                <a:lnTo>
                  <a:pt x="1409" y="493"/>
                </a:lnTo>
                <a:lnTo>
                  <a:pt x="1431" y="514"/>
                </a:lnTo>
                <a:lnTo>
                  <a:pt x="1453" y="537"/>
                </a:lnTo>
                <a:lnTo>
                  <a:pt x="1474" y="561"/>
                </a:lnTo>
                <a:lnTo>
                  <a:pt x="1493" y="586"/>
                </a:lnTo>
                <a:lnTo>
                  <a:pt x="1511" y="610"/>
                </a:lnTo>
                <a:lnTo>
                  <a:pt x="1527" y="637"/>
                </a:lnTo>
                <a:lnTo>
                  <a:pt x="1544" y="664"/>
                </a:lnTo>
                <a:lnTo>
                  <a:pt x="1558" y="692"/>
                </a:lnTo>
                <a:lnTo>
                  <a:pt x="1571" y="721"/>
                </a:lnTo>
                <a:lnTo>
                  <a:pt x="1582" y="750"/>
                </a:lnTo>
                <a:lnTo>
                  <a:pt x="1592" y="780"/>
                </a:lnTo>
                <a:lnTo>
                  <a:pt x="1602" y="812"/>
                </a:lnTo>
                <a:lnTo>
                  <a:pt x="1609" y="842"/>
                </a:lnTo>
                <a:lnTo>
                  <a:pt x="1614" y="875"/>
                </a:lnTo>
                <a:lnTo>
                  <a:pt x="1618" y="907"/>
                </a:lnTo>
                <a:lnTo>
                  <a:pt x="1621" y="940"/>
                </a:lnTo>
                <a:lnTo>
                  <a:pt x="1622" y="973"/>
                </a:lnTo>
                <a:lnTo>
                  <a:pt x="1622" y="973"/>
                </a:lnTo>
                <a:lnTo>
                  <a:pt x="1621" y="1006"/>
                </a:lnTo>
                <a:lnTo>
                  <a:pt x="1618" y="1039"/>
                </a:lnTo>
                <a:lnTo>
                  <a:pt x="1614" y="1072"/>
                </a:lnTo>
                <a:lnTo>
                  <a:pt x="1609" y="1104"/>
                </a:lnTo>
                <a:lnTo>
                  <a:pt x="1602" y="1135"/>
                </a:lnTo>
                <a:lnTo>
                  <a:pt x="1592" y="1166"/>
                </a:lnTo>
                <a:lnTo>
                  <a:pt x="1582" y="1196"/>
                </a:lnTo>
                <a:lnTo>
                  <a:pt x="1571" y="1225"/>
                </a:lnTo>
                <a:lnTo>
                  <a:pt x="1558" y="1254"/>
                </a:lnTo>
                <a:lnTo>
                  <a:pt x="1544" y="1283"/>
                </a:lnTo>
                <a:lnTo>
                  <a:pt x="1527" y="1309"/>
                </a:lnTo>
                <a:lnTo>
                  <a:pt x="1511" y="1335"/>
                </a:lnTo>
                <a:lnTo>
                  <a:pt x="1493" y="1361"/>
                </a:lnTo>
                <a:lnTo>
                  <a:pt x="1474" y="1386"/>
                </a:lnTo>
                <a:lnTo>
                  <a:pt x="1453" y="1410"/>
                </a:lnTo>
                <a:lnTo>
                  <a:pt x="1431" y="1432"/>
                </a:lnTo>
                <a:lnTo>
                  <a:pt x="1409" y="1454"/>
                </a:lnTo>
                <a:lnTo>
                  <a:pt x="1385" y="1474"/>
                </a:lnTo>
                <a:lnTo>
                  <a:pt x="1361" y="1494"/>
                </a:lnTo>
                <a:lnTo>
                  <a:pt x="1336" y="1512"/>
                </a:lnTo>
                <a:lnTo>
                  <a:pt x="1310" y="1528"/>
                </a:lnTo>
                <a:lnTo>
                  <a:pt x="1282" y="1543"/>
                </a:lnTo>
                <a:lnTo>
                  <a:pt x="1255" y="1558"/>
                </a:lnTo>
                <a:lnTo>
                  <a:pt x="1226" y="1571"/>
                </a:lnTo>
                <a:lnTo>
                  <a:pt x="1195" y="1583"/>
                </a:lnTo>
                <a:lnTo>
                  <a:pt x="1165" y="1593"/>
                </a:lnTo>
                <a:lnTo>
                  <a:pt x="1135" y="1603"/>
                </a:lnTo>
                <a:lnTo>
                  <a:pt x="1103" y="1609"/>
                </a:lnTo>
                <a:lnTo>
                  <a:pt x="1071" y="1615"/>
                </a:lnTo>
                <a:lnTo>
                  <a:pt x="1040" y="1619"/>
                </a:lnTo>
                <a:lnTo>
                  <a:pt x="1007" y="1622"/>
                </a:lnTo>
                <a:lnTo>
                  <a:pt x="974" y="1622"/>
                </a:lnTo>
                <a:lnTo>
                  <a:pt x="974" y="1622"/>
                </a:lnTo>
                <a:close/>
              </a:path>
            </a:pathLst>
          </a:custGeom>
          <a:solidFill>
            <a:srgbClr val="D5D5D5"/>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1" name="Group 60"/>
          <p:cNvGrpSpPr/>
          <p:nvPr/>
        </p:nvGrpSpPr>
        <p:grpSpPr>
          <a:xfrm>
            <a:off x="2782688" y="2912375"/>
            <a:ext cx="903054" cy="903518"/>
            <a:chOff x="2060575" y="1763713"/>
            <a:chExt cx="3089275" cy="3090862"/>
          </a:xfrm>
          <a:solidFill>
            <a:srgbClr val="2A9B18"/>
          </a:solidFill>
        </p:grpSpPr>
        <p:sp>
          <p:nvSpPr>
            <p:cNvPr id="82" name="Freeform 5"/>
            <p:cNvSpPr>
              <a:spLocks noEditPoints="1"/>
            </p:cNvSpPr>
            <p:nvPr/>
          </p:nvSpPr>
          <p:spPr bwMode="auto">
            <a:xfrm>
              <a:off x="2060575" y="1763713"/>
              <a:ext cx="3089275" cy="3090862"/>
            </a:xfrm>
            <a:custGeom>
              <a:avLst/>
              <a:gdLst>
                <a:gd name="T0" fmla="*/ 1722 w 1946"/>
                <a:gd name="T1" fmla="*/ 754 h 1947"/>
                <a:gd name="T2" fmla="*/ 1657 w 1946"/>
                <a:gd name="T3" fmla="*/ 597 h 1947"/>
                <a:gd name="T4" fmla="*/ 1593 w 1946"/>
                <a:gd name="T5" fmla="*/ 216 h 1947"/>
                <a:gd name="T6" fmla="*/ 1350 w 1946"/>
                <a:gd name="T7" fmla="*/ 289 h 1947"/>
                <a:gd name="T8" fmla="*/ 1193 w 1946"/>
                <a:gd name="T9" fmla="*/ 225 h 1947"/>
                <a:gd name="T10" fmla="*/ 877 w 1946"/>
                <a:gd name="T11" fmla="*/ 0 h 1947"/>
                <a:gd name="T12" fmla="*/ 753 w 1946"/>
                <a:gd name="T13" fmla="*/ 225 h 1947"/>
                <a:gd name="T14" fmla="*/ 596 w 1946"/>
                <a:gd name="T15" fmla="*/ 289 h 1947"/>
                <a:gd name="T16" fmla="*/ 218 w 1946"/>
                <a:gd name="T17" fmla="*/ 353 h 1947"/>
                <a:gd name="T18" fmla="*/ 289 w 1946"/>
                <a:gd name="T19" fmla="*/ 597 h 1947"/>
                <a:gd name="T20" fmla="*/ 224 w 1946"/>
                <a:gd name="T21" fmla="*/ 754 h 1947"/>
                <a:gd name="T22" fmla="*/ 0 w 1946"/>
                <a:gd name="T23" fmla="*/ 1069 h 1947"/>
                <a:gd name="T24" fmla="*/ 224 w 1946"/>
                <a:gd name="T25" fmla="*/ 1192 h 1947"/>
                <a:gd name="T26" fmla="*/ 289 w 1946"/>
                <a:gd name="T27" fmla="*/ 1350 h 1947"/>
                <a:gd name="T28" fmla="*/ 353 w 1946"/>
                <a:gd name="T29" fmla="*/ 1729 h 1947"/>
                <a:gd name="T30" fmla="*/ 596 w 1946"/>
                <a:gd name="T31" fmla="*/ 1656 h 1947"/>
                <a:gd name="T32" fmla="*/ 753 w 1946"/>
                <a:gd name="T33" fmla="*/ 1722 h 1947"/>
                <a:gd name="T34" fmla="*/ 1069 w 1946"/>
                <a:gd name="T35" fmla="*/ 1947 h 1947"/>
                <a:gd name="T36" fmla="*/ 1193 w 1946"/>
                <a:gd name="T37" fmla="*/ 1722 h 1947"/>
                <a:gd name="T38" fmla="*/ 1350 w 1946"/>
                <a:gd name="T39" fmla="*/ 1656 h 1947"/>
                <a:gd name="T40" fmla="*/ 1728 w 1946"/>
                <a:gd name="T41" fmla="*/ 1593 h 1947"/>
                <a:gd name="T42" fmla="*/ 1657 w 1946"/>
                <a:gd name="T43" fmla="*/ 1350 h 1947"/>
                <a:gd name="T44" fmla="*/ 1722 w 1946"/>
                <a:gd name="T45" fmla="*/ 1192 h 1947"/>
                <a:gd name="T46" fmla="*/ 1946 w 1946"/>
                <a:gd name="T47" fmla="*/ 876 h 1947"/>
                <a:gd name="T48" fmla="*/ 939 w 1946"/>
                <a:gd name="T49" fmla="*/ 1622 h 1947"/>
                <a:gd name="T50" fmla="*/ 811 w 1946"/>
                <a:gd name="T51" fmla="*/ 1603 h 1947"/>
                <a:gd name="T52" fmla="*/ 691 w 1946"/>
                <a:gd name="T53" fmla="*/ 1558 h 1947"/>
                <a:gd name="T54" fmla="*/ 585 w 1946"/>
                <a:gd name="T55" fmla="*/ 1494 h 1947"/>
                <a:gd name="T56" fmla="*/ 493 w 1946"/>
                <a:gd name="T57" fmla="*/ 1410 h 1947"/>
                <a:gd name="T58" fmla="*/ 419 w 1946"/>
                <a:gd name="T59" fmla="*/ 1309 h 1947"/>
                <a:gd name="T60" fmla="*/ 364 w 1946"/>
                <a:gd name="T61" fmla="*/ 1196 h 1947"/>
                <a:gd name="T62" fmla="*/ 332 w 1946"/>
                <a:gd name="T63" fmla="*/ 1072 h 1947"/>
                <a:gd name="T64" fmla="*/ 324 w 1946"/>
                <a:gd name="T65" fmla="*/ 973 h 1947"/>
                <a:gd name="T66" fmla="*/ 337 w 1946"/>
                <a:gd name="T67" fmla="*/ 842 h 1947"/>
                <a:gd name="T68" fmla="*/ 375 w 1946"/>
                <a:gd name="T69" fmla="*/ 721 h 1947"/>
                <a:gd name="T70" fmla="*/ 435 w 1946"/>
                <a:gd name="T71" fmla="*/ 610 h 1947"/>
                <a:gd name="T72" fmla="*/ 515 w 1946"/>
                <a:gd name="T73" fmla="*/ 514 h 1947"/>
                <a:gd name="T74" fmla="*/ 610 w 1946"/>
                <a:gd name="T75" fmla="*/ 435 h 1947"/>
                <a:gd name="T76" fmla="*/ 720 w 1946"/>
                <a:gd name="T77" fmla="*/ 375 h 1947"/>
                <a:gd name="T78" fmla="*/ 843 w 1946"/>
                <a:gd name="T79" fmla="*/ 338 h 1947"/>
                <a:gd name="T80" fmla="*/ 974 w 1946"/>
                <a:gd name="T81" fmla="*/ 324 h 1947"/>
                <a:gd name="T82" fmla="*/ 1071 w 1946"/>
                <a:gd name="T83" fmla="*/ 332 h 1947"/>
                <a:gd name="T84" fmla="*/ 1195 w 1946"/>
                <a:gd name="T85" fmla="*/ 364 h 1947"/>
                <a:gd name="T86" fmla="*/ 1310 w 1946"/>
                <a:gd name="T87" fmla="*/ 418 h 1947"/>
                <a:gd name="T88" fmla="*/ 1409 w 1946"/>
                <a:gd name="T89" fmla="*/ 493 h 1947"/>
                <a:gd name="T90" fmla="*/ 1493 w 1946"/>
                <a:gd name="T91" fmla="*/ 586 h 1947"/>
                <a:gd name="T92" fmla="*/ 1558 w 1946"/>
                <a:gd name="T93" fmla="*/ 692 h 1947"/>
                <a:gd name="T94" fmla="*/ 1602 w 1946"/>
                <a:gd name="T95" fmla="*/ 812 h 1947"/>
                <a:gd name="T96" fmla="*/ 1621 w 1946"/>
                <a:gd name="T97" fmla="*/ 940 h 1947"/>
                <a:gd name="T98" fmla="*/ 1618 w 1946"/>
                <a:gd name="T99" fmla="*/ 1039 h 1947"/>
                <a:gd name="T100" fmla="*/ 1592 w 1946"/>
                <a:gd name="T101" fmla="*/ 1166 h 1947"/>
                <a:gd name="T102" fmla="*/ 1544 w 1946"/>
                <a:gd name="T103" fmla="*/ 1283 h 1947"/>
                <a:gd name="T104" fmla="*/ 1474 w 1946"/>
                <a:gd name="T105" fmla="*/ 1386 h 1947"/>
                <a:gd name="T106" fmla="*/ 1385 w 1946"/>
                <a:gd name="T107" fmla="*/ 1474 h 1947"/>
                <a:gd name="T108" fmla="*/ 1282 w 1946"/>
                <a:gd name="T109" fmla="*/ 1543 h 1947"/>
                <a:gd name="T110" fmla="*/ 1165 w 1946"/>
                <a:gd name="T111" fmla="*/ 1593 h 1947"/>
                <a:gd name="T112" fmla="*/ 1040 w 1946"/>
                <a:gd name="T113" fmla="*/ 1619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6" h="1947">
                  <a:moveTo>
                    <a:pt x="1741" y="839"/>
                  </a:moveTo>
                  <a:lnTo>
                    <a:pt x="1741" y="839"/>
                  </a:lnTo>
                  <a:lnTo>
                    <a:pt x="1733" y="796"/>
                  </a:lnTo>
                  <a:lnTo>
                    <a:pt x="1722" y="754"/>
                  </a:lnTo>
                  <a:lnTo>
                    <a:pt x="1709" y="712"/>
                  </a:lnTo>
                  <a:lnTo>
                    <a:pt x="1693" y="672"/>
                  </a:lnTo>
                  <a:lnTo>
                    <a:pt x="1676" y="634"/>
                  </a:lnTo>
                  <a:lnTo>
                    <a:pt x="1657" y="597"/>
                  </a:lnTo>
                  <a:lnTo>
                    <a:pt x="1635" y="559"/>
                  </a:lnTo>
                  <a:lnTo>
                    <a:pt x="1611" y="525"/>
                  </a:lnTo>
                  <a:lnTo>
                    <a:pt x="1728" y="353"/>
                  </a:lnTo>
                  <a:lnTo>
                    <a:pt x="1593" y="216"/>
                  </a:lnTo>
                  <a:lnTo>
                    <a:pt x="1421" y="335"/>
                  </a:lnTo>
                  <a:lnTo>
                    <a:pt x="1421" y="335"/>
                  </a:lnTo>
                  <a:lnTo>
                    <a:pt x="1385" y="311"/>
                  </a:lnTo>
                  <a:lnTo>
                    <a:pt x="1350" y="289"/>
                  </a:lnTo>
                  <a:lnTo>
                    <a:pt x="1312" y="270"/>
                  </a:lnTo>
                  <a:lnTo>
                    <a:pt x="1273" y="252"/>
                  </a:lnTo>
                  <a:lnTo>
                    <a:pt x="1233" y="237"/>
                  </a:lnTo>
                  <a:lnTo>
                    <a:pt x="1193" y="225"/>
                  </a:lnTo>
                  <a:lnTo>
                    <a:pt x="1150" y="214"/>
                  </a:lnTo>
                  <a:lnTo>
                    <a:pt x="1107" y="204"/>
                  </a:lnTo>
                  <a:lnTo>
                    <a:pt x="1069" y="0"/>
                  </a:lnTo>
                  <a:lnTo>
                    <a:pt x="877" y="0"/>
                  </a:lnTo>
                  <a:lnTo>
                    <a:pt x="839" y="204"/>
                  </a:lnTo>
                  <a:lnTo>
                    <a:pt x="839" y="204"/>
                  </a:lnTo>
                  <a:lnTo>
                    <a:pt x="796" y="214"/>
                  </a:lnTo>
                  <a:lnTo>
                    <a:pt x="753" y="225"/>
                  </a:lnTo>
                  <a:lnTo>
                    <a:pt x="713" y="237"/>
                  </a:lnTo>
                  <a:lnTo>
                    <a:pt x="673" y="252"/>
                  </a:lnTo>
                  <a:lnTo>
                    <a:pt x="634" y="270"/>
                  </a:lnTo>
                  <a:lnTo>
                    <a:pt x="596" y="289"/>
                  </a:lnTo>
                  <a:lnTo>
                    <a:pt x="561" y="311"/>
                  </a:lnTo>
                  <a:lnTo>
                    <a:pt x="525" y="335"/>
                  </a:lnTo>
                  <a:lnTo>
                    <a:pt x="353" y="216"/>
                  </a:lnTo>
                  <a:lnTo>
                    <a:pt x="218" y="353"/>
                  </a:lnTo>
                  <a:lnTo>
                    <a:pt x="335" y="525"/>
                  </a:lnTo>
                  <a:lnTo>
                    <a:pt x="335" y="525"/>
                  </a:lnTo>
                  <a:lnTo>
                    <a:pt x="311" y="559"/>
                  </a:lnTo>
                  <a:lnTo>
                    <a:pt x="289" y="597"/>
                  </a:lnTo>
                  <a:lnTo>
                    <a:pt x="270" y="634"/>
                  </a:lnTo>
                  <a:lnTo>
                    <a:pt x="253" y="672"/>
                  </a:lnTo>
                  <a:lnTo>
                    <a:pt x="237" y="712"/>
                  </a:lnTo>
                  <a:lnTo>
                    <a:pt x="224" y="754"/>
                  </a:lnTo>
                  <a:lnTo>
                    <a:pt x="213" y="796"/>
                  </a:lnTo>
                  <a:lnTo>
                    <a:pt x="205" y="839"/>
                  </a:lnTo>
                  <a:lnTo>
                    <a:pt x="0" y="876"/>
                  </a:lnTo>
                  <a:lnTo>
                    <a:pt x="0" y="1069"/>
                  </a:lnTo>
                  <a:lnTo>
                    <a:pt x="205" y="1108"/>
                  </a:lnTo>
                  <a:lnTo>
                    <a:pt x="205" y="1108"/>
                  </a:lnTo>
                  <a:lnTo>
                    <a:pt x="213" y="1151"/>
                  </a:lnTo>
                  <a:lnTo>
                    <a:pt x="224" y="1192"/>
                  </a:lnTo>
                  <a:lnTo>
                    <a:pt x="237" y="1233"/>
                  </a:lnTo>
                  <a:lnTo>
                    <a:pt x="253" y="1273"/>
                  </a:lnTo>
                  <a:lnTo>
                    <a:pt x="270" y="1312"/>
                  </a:lnTo>
                  <a:lnTo>
                    <a:pt x="289" y="1350"/>
                  </a:lnTo>
                  <a:lnTo>
                    <a:pt x="311" y="1386"/>
                  </a:lnTo>
                  <a:lnTo>
                    <a:pt x="335" y="1422"/>
                  </a:lnTo>
                  <a:lnTo>
                    <a:pt x="218" y="1593"/>
                  </a:lnTo>
                  <a:lnTo>
                    <a:pt x="353" y="1729"/>
                  </a:lnTo>
                  <a:lnTo>
                    <a:pt x="525" y="1612"/>
                  </a:lnTo>
                  <a:lnTo>
                    <a:pt x="525" y="1612"/>
                  </a:lnTo>
                  <a:lnTo>
                    <a:pt x="561" y="1636"/>
                  </a:lnTo>
                  <a:lnTo>
                    <a:pt x="596" y="1656"/>
                  </a:lnTo>
                  <a:lnTo>
                    <a:pt x="634" y="1676"/>
                  </a:lnTo>
                  <a:lnTo>
                    <a:pt x="673" y="1693"/>
                  </a:lnTo>
                  <a:lnTo>
                    <a:pt x="713" y="1709"/>
                  </a:lnTo>
                  <a:lnTo>
                    <a:pt x="753" y="1722"/>
                  </a:lnTo>
                  <a:lnTo>
                    <a:pt x="796" y="1733"/>
                  </a:lnTo>
                  <a:lnTo>
                    <a:pt x="839" y="1742"/>
                  </a:lnTo>
                  <a:lnTo>
                    <a:pt x="877" y="1947"/>
                  </a:lnTo>
                  <a:lnTo>
                    <a:pt x="1069" y="1947"/>
                  </a:lnTo>
                  <a:lnTo>
                    <a:pt x="1107" y="1742"/>
                  </a:lnTo>
                  <a:lnTo>
                    <a:pt x="1107" y="1742"/>
                  </a:lnTo>
                  <a:lnTo>
                    <a:pt x="1150" y="1733"/>
                  </a:lnTo>
                  <a:lnTo>
                    <a:pt x="1193" y="1722"/>
                  </a:lnTo>
                  <a:lnTo>
                    <a:pt x="1233" y="1709"/>
                  </a:lnTo>
                  <a:lnTo>
                    <a:pt x="1273" y="1693"/>
                  </a:lnTo>
                  <a:lnTo>
                    <a:pt x="1312" y="1676"/>
                  </a:lnTo>
                  <a:lnTo>
                    <a:pt x="1350" y="1656"/>
                  </a:lnTo>
                  <a:lnTo>
                    <a:pt x="1385" y="1636"/>
                  </a:lnTo>
                  <a:lnTo>
                    <a:pt x="1421" y="1612"/>
                  </a:lnTo>
                  <a:lnTo>
                    <a:pt x="1593" y="1729"/>
                  </a:lnTo>
                  <a:lnTo>
                    <a:pt x="1728" y="1593"/>
                  </a:lnTo>
                  <a:lnTo>
                    <a:pt x="1611" y="1422"/>
                  </a:lnTo>
                  <a:lnTo>
                    <a:pt x="1611" y="1422"/>
                  </a:lnTo>
                  <a:lnTo>
                    <a:pt x="1635" y="1386"/>
                  </a:lnTo>
                  <a:lnTo>
                    <a:pt x="1657" y="1350"/>
                  </a:lnTo>
                  <a:lnTo>
                    <a:pt x="1676" y="1312"/>
                  </a:lnTo>
                  <a:lnTo>
                    <a:pt x="1693" y="1273"/>
                  </a:lnTo>
                  <a:lnTo>
                    <a:pt x="1709" y="1233"/>
                  </a:lnTo>
                  <a:lnTo>
                    <a:pt x="1722" y="1192"/>
                  </a:lnTo>
                  <a:lnTo>
                    <a:pt x="1733" y="1151"/>
                  </a:lnTo>
                  <a:lnTo>
                    <a:pt x="1741" y="1108"/>
                  </a:lnTo>
                  <a:lnTo>
                    <a:pt x="1946" y="1069"/>
                  </a:lnTo>
                  <a:lnTo>
                    <a:pt x="1946" y="876"/>
                  </a:lnTo>
                  <a:lnTo>
                    <a:pt x="1741" y="839"/>
                  </a:lnTo>
                  <a:close/>
                  <a:moveTo>
                    <a:pt x="974" y="1622"/>
                  </a:moveTo>
                  <a:lnTo>
                    <a:pt x="974" y="1622"/>
                  </a:lnTo>
                  <a:lnTo>
                    <a:pt x="939" y="1622"/>
                  </a:lnTo>
                  <a:lnTo>
                    <a:pt x="906" y="1619"/>
                  </a:lnTo>
                  <a:lnTo>
                    <a:pt x="875" y="1615"/>
                  </a:lnTo>
                  <a:lnTo>
                    <a:pt x="843" y="1609"/>
                  </a:lnTo>
                  <a:lnTo>
                    <a:pt x="811" y="1603"/>
                  </a:lnTo>
                  <a:lnTo>
                    <a:pt x="781" y="1593"/>
                  </a:lnTo>
                  <a:lnTo>
                    <a:pt x="751" y="1583"/>
                  </a:lnTo>
                  <a:lnTo>
                    <a:pt x="720" y="1571"/>
                  </a:lnTo>
                  <a:lnTo>
                    <a:pt x="691" y="1558"/>
                  </a:lnTo>
                  <a:lnTo>
                    <a:pt x="664" y="1543"/>
                  </a:lnTo>
                  <a:lnTo>
                    <a:pt x="636" y="1528"/>
                  </a:lnTo>
                  <a:lnTo>
                    <a:pt x="610" y="1512"/>
                  </a:lnTo>
                  <a:lnTo>
                    <a:pt x="585" y="1494"/>
                  </a:lnTo>
                  <a:lnTo>
                    <a:pt x="561" y="1474"/>
                  </a:lnTo>
                  <a:lnTo>
                    <a:pt x="537" y="1454"/>
                  </a:lnTo>
                  <a:lnTo>
                    <a:pt x="515" y="1432"/>
                  </a:lnTo>
                  <a:lnTo>
                    <a:pt x="493" y="1410"/>
                  </a:lnTo>
                  <a:lnTo>
                    <a:pt x="472" y="1386"/>
                  </a:lnTo>
                  <a:lnTo>
                    <a:pt x="453" y="1361"/>
                  </a:lnTo>
                  <a:lnTo>
                    <a:pt x="435" y="1335"/>
                  </a:lnTo>
                  <a:lnTo>
                    <a:pt x="419" y="1309"/>
                  </a:lnTo>
                  <a:lnTo>
                    <a:pt x="402" y="1283"/>
                  </a:lnTo>
                  <a:lnTo>
                    <a:pt x="388" y="1254"/>
                  </a:lnTo>
                  <a:lnTo>
                    <a:pt x="375" y="1225"/>
                  </a:lnTo>
                  <a:lnTo>
                    <a:pt x="364" y="1196"/>
                  </a:lnTo>
                  <a:lnTo>
                    <a:pt x="354" y="1166"/>
                  </a:lnTo>
                  <a:lnTo>
                    <a:pt x="344" y="1135"/>
                  </a:lnTo>
                  <a:lnTo>
                    <a:pt x="337" y="1104"/>
                  </a:lnTo>
                  <a:lnTo>
                    <a:pt x="332" y="1072"/>
                  </a:lnTo>
                  <a:lnTo>
                    <a:pt x="328" y="1039"/>
                  </a:lnTo>
                  <a:lnTo>
                    <a:pt x="325" y="1006"/>
                  </a:lnTo>
                  <a:lnTo>
                    <a:pt x="324" y="973"/>
                  </a:lnTo>
                  <a:lnTo>
                    <a:pt x="324" y="973"/>
                  </a:lnTo>
                  <a:lnTo>
                    <a:pt x="325" y="940"/>
                  </a:lnTo>
                  <a:lnTo>
                    <a:pt x="328" y="907"/>
                  </a:lnTo>
                  <a:lnTo>
                    <a:pt x="332" y="875"/>
                  </a:lnTo>
                  <a:lnTo>
                    <a:pt x="337" y="842"/>
                  </a:lnTo>
                  <a:lnTo>
                    <a:pt x="344" y="812"/>
                  </a:lnTo>
                  <a:lnTo>
                    <a:pt x="354" y="780"/>
                  </a:lnTo>
                  <a:lnTo>
                    <a:pt x="364" y="750"/>
                  </a:lnTo>
                  <a:lnTo>
                    <a:pt x="375" y="721"/>
                  </a:lnTo>
                  <a:lnTo>
                    <a:pt x="388" y="692"/>
                  </a:lnTo>
                  <a:lnTo>
                    <a:pt x="402" y="664"/>
                  </a:lnTo>
                  <a:lnTo>
                    <a:pt x="419" y="637"/>
                  </a:lnTo>
                  <a:lnTo>
                    <a:pt x="435" y="610"/>
                  </a:lnTo>
                  <a:lnTo>
                    <a:pt x="453" y="586"/>
                  </a:lnTo>
                  <a:lnTo>
                    <a:pt x="472" y="561"/>
                  </a:lnTo>
                  <a:lnTo>
                    <a:pt x="493" y="537"/>
                  </a:lnTo>
                  <a:lnTo>
                    <a:pt x="515" y="514"/>
                  </a:lnTo>
                  <a:lnTo>
                    <a:pt x="537" y="493"/>
                  </a:lnTo>
                  <a:lnTo>
                    <a:pt x="561" y="473"/>
                  </a:lnTo>
                  <a:lnTo>
                    <a:pt x="585" y="453"/>
                  </a:lnTo>
                  <a:lnTo>
                    <a:pt x="610" y="435"/>
                  </a:lnTo>
                  <a:lnTo>
                    <a:pt x="636" y="418"/>
                  </a:lnTo>
                  <a:lnTo>
                    <a:pt x="664" y="402"/>
                  </a:lnTo>
                  <a:lnTo>
                    <a:pt x="691" y="389"/>
                  </a:lnTo>
                  <a:lnTo>
                    <a:pt x="720" y="375"/>
                  </a:lnTo>
                  <a:lnTo>
                    <a:pt x="751" y="364"/>
                  </a:lnTo>
                  <a:lnTo>
                    <a:pt x="781" y="353"/>
                  </a:lnTo>
                  <a:lnTo>
                    <a:pt x="811" y="344"/>
                  </a:lnTo>
                  <a:lnTo>
                    <a:pt x="843" y="338"/>
                  </a:lnTo>
                  <a:lnTo>
                    <a:pt x="875" y="332"/>
                  </a:lnTo>
                  <a:lnTo>
                    <a:pt x="906" y="328"/>
                  </a:lnTo>
                  <a:lnTo>
                    <a:pt x="939" y="325"/>
                  </a:lnTo>
                  <a:lnTo>
                    <a:pt x="974" y="324"/>
                  </a:lnTo>
                  <a:lnTo>
                    <a:pt x="974" y="324"/>
                  </a:lnTo>
                  <a:lnTo>
                    <a:pt x="1007" y="325"/>
                  </a:lnTo>
                  <a:lnTo>
                    <a:pt x="1040" y="328"/>
                  </a:lnTo>
                  <a:lnTo>
                    <a:pt x="1071" y="332"/>
                  </a:lnTo>
                  <a:lnTo>
                    <a:pt x="1103" y="338"/>
                  </a:lnTo>
                  <a:lnTo>
                    <a:pt x="1135" y="344"/>
                  </a:lnTo>
                  <a:lnTo>
                    <a:pt x="1165" y="353"/>
                  </a:lnTo>
                  <a:lnTo>
                    <a:pt x="1195" y="364"/>
                  </a:lnTo>
                  <a:lnTo>
                    <a:pt x="1226" y="375"/>
                  </a:lnTo>
                  <a:lnTo>
                    <a:pt x="1255" y="389"/>
                  </a:lnTo>
                  <a:lnTo>
                    <a:pt x="1282" y="402"/>
                  </a:lnTo>
                  <a:lnTo>
                    <a:pt x="1310" y="418"/>
                  </a:lnTo>
                  <a:lnTo>
                    <a:pt x="1336" y="435"/>
                  </a:lnTo>
                  <a:lnTo>
                    <a:pt x="1361" y="453"/>
                  </a:lnTo>
                  <a:lnTo>
                    <a:pt x="1385" y="473"/>
                  </a:lnTo>
                  <a:lnTo>
                    <a:pt x="1409" y="493"/>
                  </a:lnTo>
                  <a:lnTo>
                    <a:pt x="1431" y="514"/>
                  </a:lnTo>
                  <a:lnTo>
                    <a:pt x="1453" y="537"/>
                  </a:lnTo>
                  <a:lnTo>
                    <a:pt x="1474" y="561"/>
                  </a:lnTo>
                  <a:lnTo>
                    <a:pt x="1493" y="586"/>
                  </a:lnTo>
                  <a:lnTo>
                    <a:pt x="1511" y="610"/>
                  </a:lnTo>
                  <a:lnTo>
                    <a:pt x="1527" y="637"/>
                  </a:lnTo>
                  <a:lnTo>
                    <a:pt x="1544" y="664"/>
                  </a:lnTo>
                  <a:lnTo>
                    <a:pt x="1558" y="692"/>
                  </a:lnTo>
                  <a:lnTo>
                    <a:pt x="1571" y="721"/>
                  </a:lnTo>
                  <a:lnTo>
                    <a:pt x="1582" y="750"/>
                  </a:lnTo>
                  <a:lnTo>
                    <a:pt x="1592" y="780"/>
                  </a:lnTo>
                  <a:lnTo>
                    <a:pt x="1602" y="812"/>
                  </a:lnTo>
                  <a:lnTo>
                    <a:pt x="1609" y="842"/>
                  </a:lnTo>
                  <a:lnTo>
                    <a:pt x="1614" y="875"/>
                  </a:lnTo>
                  <a:lnTo>
                    <a:pt x="1618" y="907"/>
                  </a:lnTo>
                  <a:lnTo>
                    <a:pt x="1621" y="940"/>
                  </a:lnTo>
                  <a:lnTo>
                    <a:pt x="1622" y="973"/>
                  </a:lnTo>
                  <a:lnTo>
                    <a:pt x="1622" y="973"/>
                  </a:lnTo>
                  <a:lnTo>
                    <a:pt x="1621" y="1006"/>
                  </a:lnTo>
                  <a:lnTo>
                    <a:pt x="1618" y="1039"/>
                  </a:lnTo>
                  <a:lnTo>
                    <a:pt x="1614" y="1072"/>
                  </a:lnTo>
                  <a:lnTo>
                    <a:pt x="1609" y="1104"/>
                  </a:lnTo>
                  <a:lnTo>
                    <a:pt x="1602" y="1135"/>
                  </a:lnTo>
                  <a:lnTo>
                    <a:pt x="1592" y="1166"/>
                  </a:lnTo>
                  <a:lnTo>
                    <a:pt x="1582" y="1196"/>
                  </a:lnTo>
                  <a:lnTo>
                    <a:pt x="1571" y="1225"/>
                  </a:lnTo>
                  <a:lnTo>
                    <a:pt x="1558" y="1254"/>
                  </a:lnTo>
                  <a:lnTo>
                    <a:pt x="1544" y="1283"/>
                  </a:lnTo>
                  <a:lnTo>
                    <a:pt x="1527" y="1309"/>
                  </a:lnTo>
                  <a:lnTo>
                    <a:pt x="1511" y="1335"/>
                  </a:lnTo>
                  <a:lnTo>
                    <a:pt x="1493" y="1361"/>
                  </a:lnTo>
                  <a:lnTo>
                    <a:pt x="1474" y="1386"/>
                  </a:lnTo>
                  <a:lnTo>
                    <a:pt x="1453" y="1410"/>
                  </a:lnTo>
                  <a:lnTo>
                    <a:pt x="1431" y="1432"/>
                  </a:lnTo>
                  <a:lnTo>
                    <a:pt x="1409" y="1454"/>
                  </a:lnTo>
                  <a:lnTo>
                    <a:pt x="1385" y="1474"/>
                  </a:lnTo>
                  <a:lnTo>
                    <a:pt x="1361" y="1494"/>
                  </a:lnTo>
                  <a:lnTo>
                    <a:pt x="1336" y="1512"/>
                  </a:lnTo>
                  <a:lnTo>
                    <a:pt x="1310" y="1528"/>
                  </a:lnTo>
                  <a:lnTo>
                    <a:pt x="1282" y="1543"/>
                  </a:lnTo>
                  <a:lnTo>
                    <a:pt x="1255" y="1558"/>
                  </a:lnTo>
                  <a:lnTo>
                    <a:pt x="1226" y="1571"/>
                  </a:lnTo>
                  <a:lnTo>
                    <a:pt x="1195" y="1583"/>
                  </a:lnTo>
                  <a:lnTo>
                    <a:pt x="1165" y="1593"/>
                  </a:lnTo>
                  <a:lnTo>
                    <a:pt x="1135" y="1603"/>
                  </a:lnTo>
                  <a:lnTo>
                    <a:pt x="1103" y="1609"/>
                  </a:lnTo>
                  <a:lnTo>
                    <a:pt x="1071" y="1615"/>
                  </a:lnTo>
                  <a:lnTo>
                    <a:pt x="1040" y="1619"/>
                  </a:lnTo>
                  <a:lnTo>
                    <a:pt x="1007" y="1622"/>
                  </a:lnTo>
                  <a:lnTo>
                    <a:pt x="974" y="1622"/>
                  </a:lnTo>
                  <a:lnTo>
                    <a:pt x="974" y="16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3" name="Freeform 8"/>
            <p:cNvSpPr>
              <a:spLocks/>
            </p:cNvSpPr>
            <p:nvPr/>
          </p:nvSpPr>
          <p:spPr bwMode="auto">
            <a:xfrm>
              <a:off x="2678873" y="2383860"/>
              <a:ext cx="1852679" cy="1850565"/>
            </a:xfrm>
            <a:custGeom>
              <a:avLst/>
              <a:gdLst>
                <a:gd name="T0" fmla="*/ 416 w 878"/>
                <a:gd name="T1" fmla="*/ 0 h 877"/>
                <a:gd name="T2" fmla="*/ 350 w 878"/>
                <a:gd name="T3" fmla="*/ 8 h 877"/>
                <a:gd name="T4" fmla="*/ 288 w 878"/>
                <a:gd name="T5" fmla="*/ 26 h 877"/>
                <a:gd name="T6" fmla="*/ 230 w 878"/>
                <a:gd name="T7" fmla="*/ 52 h 877"/>
                <a:gd name="T8" fmla="*/ 177 w 878"/>
                <a:gd name="T9" fmla="*/ 86 h 877"/>
                <a:gd name="T10" fmla="*/ 128 w 878"/>
                <a:gd name="T11" fmla="*/ 128 h 877"/>
                <a:gd name="T12" fmla="*/ 87 w 878"/>
                <a:gd name="T13" fmla="*/ 176 h 877"/>
                <a:gd name="T14" fmla="*/ 53 w 878"/>
                <a:gd name="T15" fmla="*/ 230 h 877"/>
                <a:gd name="T16" fmla="*/ 27 w 878"/>
                <a:gd name="T17" fmla="*/ 288 h 877"/>
                <a:gd name="T18" fmla="*/ 9 w 878"/>
                <a:gd name="T19" fmla="*/ 350 h 877"/>
                <a:gd name="T20" fmla="*/ 0 w 878"/>
                <a:gd name="T21" fmla="*/ 416 h 877"/>
                <a:gd name="T22" fmla="*/ 0 w 878"/>
                <a:gd name="T23" fmla="*/ 461 h 877"/>
                <a:gd name="T24" fmla="*/ 9 w 878"/>
                <a:gd name="T25" fmla="*/ 526 h 877"/>
                <a:gd name="T26" fmla="*/ 27 w 878"/>
                <a:gd name="T27" fmla="*/ 589 h 877"/>
                <a:gd name="T28" fmla="*/ 53 w 878"/>
                <a:gd name="T29" fmla="*/ 647 h 877"/>
                <a:gd name="T30" fmla="*/ 87 w 878"/>
                <a:gd name="T31" fmla="*/ 701 h 877"/>
                <a:gd name="T32" fmla="*/ 128 w 878"/>
                <a:gd name="T33" fmla="*/ 748 h 877"/>
                <a:gd name="T34" fmla="*/ 177 w 878"/>
                <a:gd name="T35" fmla="*/ 789 h 877"/>
                <a:gd name="T36" fmla="*/ 230 w 878"/>
                <a:gd name="T37" fmla="*/ 824 h 877"/>
                <a:gd name="T38" fmla="*/ 288 w 878"/>
                <a:gd name="T39" fmla="*/ 850 h 877"/>
                <a:gd name="T40" fmla="*/ 350 w 878"/>
                <a:gd name="T41" fmla="*/ 868 h 877"/>
                <a:gd name="T42" fmla="*/ 416 w 878"/>
                <a:gd name="T43" fmla="*/ 876 h 877"/>
                <a:gd name="T44" fmla="*/ 462 w 878"/>
                <a:gd name="T45" fmla="*/ 876 h 877"/>
                <a:gd name="T46" fmla="*/ 528 w 878"/>
                <a:gd name="T47" fmla="*/ 868 h 877"/>
                <a:gd name="T48" fmla="*/ 590 w 878"/>
                <a:gd name="T49" fmla="*/ 850 h 877"/>
                <a:gd name="T50" fmla="*/ 648 w 878"/>
                <a:gd name="T51" fmla="*/ 824 h 877"/>
                <a:gd name="T52" fmla="*/ 701 w 878"/>
                <a:gd name="T53" fmla="*/ 789 h 877"/>
                <a:gd name="T54" fmla="*/ 750 w 878"/>
                <a:gd name="T55" fmla="*/ 748 h 877"/>
                <a:gd name="T56" fmla="*/ 791 w 878"/>
                <a:gd name="T57" fmla="*/ 701 h 877"/>
                <a:gd name="T58" fmla="*/ 825 w 878"/>
                <a:gd name="T59" fmla="*/ 647 h 877"/>
                <a:gd name="T60" fmla="*/ 851 w 878"/>
                <a:gd name="T61" fmla="*/ 589 h 877"/>
                <a:gd name="T62" fmla="*/ 869 w 878"/>
                <a:gd name="T63" fmla="*/ 526 h 877"/>
                <a:gd name="T64" fmla="*/ 878 w 878"/>
                <a:gd name="T65" fmla="*/ 461 h 877"/>
                <a:gd name="T66" fmla="*/ 878 w 878"/>
                <a:gd name="T67" fmla="*/ 416 h 877"/>
                <a:gd name="T68" fmla="*/ 869 w 878"/>
                <a:gd name="T69" fmla="*/ 350 h 877"/>
                <a:gd name="T70" fmla="*/ 851 w 878"/>
                <a:gd name="T71" fmla="*/ 288 h 877"/>
                <a:gd name="T72" fmla="*/ 825 w 878"/>
                <a:gd name="T73" fmla="*/ 230 h 877"/>
                <a:gd name="T74" fmla="*/ 791 w 878"/>
                <a:gd name="T75" fmla="*/ 176 h 877"/>
                <a:gd name="T76" fmla="*/ 750 w 878"/>
                <a:gd name="T77" fmla="*/ 128 h 877"/>
                <a:gd name="T78" fmla="*/ 701 w 878"/>
                <a:gd name="T79" fmla="*/ 86 h 877"/>
                <a:gd name="T80" fmla="*/ 648 w 878"/>
                <a:gd name="T81" fmla="*/ 52 h 877"/>
                <a:gd name="T82" fmla="*/ 590 w 878"/>
                <a:gd name="T83" fmla="*/ 26 h 877"/>
                <a:gd name="T84" fmla="*/ 528 w 878"/>
                <a:gd name="T85" fmla="*/ 8 h 877"/>
                <a:gd name="T86" fmla="*/ 462 w 878"/>
                <a:gd name="T87" fmla="*/ 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877">
                  <a:moveTo>
                    <a:pt x="440" y="0"/>
                  </a:moveTo>
                  <a:lnTo>
                    <a:pt x="440" y="0"/>
                  </a:lnTo>
                  <a:lnTo>
                    <a:pt x="416" y="0"/>
                  </a:lnTo>
                  <a:lnTo>
                    <a:pt x="394" y="1"/>
                  </a:lnTo>
                  <a:lnTo>
                    <a:pt x="372" y="4"/>
                  </a:lnTo>
                  <a:lnTo>
                    <a:pt x="350" y="8"/>
                  </a:lnTo>
                  <a:lnTo>
                    <a:pt x="330" y="13"/>
                  </a:lnTo>
                  <a:lnTo>
                    <a:pt x="309" y="19"/>
                  </a:lnTo>
                  <a:lnTo>
                    <a:pt x="288" y="26"/>
                  </a:lnTo>
                  <a:lnTo>
                    <a:pt x="269" y="34"/>
                  </a:lnTo>
                  <a:lnTo>
                    <a:pt x="250" y="42"/>
                  </a:lnTo>
                  <a:lnTo>
                    <a:pt x="230" y="52"/>
                  </a:lnTo>
                  <a:lnTo>
                    <a:pt x="211" y="63"/>
                  </a:lnTo>
                  <a:lnTo>
                    <a:pt x="195" y="74"/>
                  </a:lnTo>
                  <a:lnTo>
                    <a:pt x="177" y="86"/>
                  </a:lnTo>
                  <a:lnTo>
                    <a:pt x="160" y="100"/>
                  </a:lnTo>
                  <a:lnTo>
                    <a:pt x="144" y="114"/>
                  </a:lnTo>
                  <a:lnTo>
                    <a:pt x="128" y="128"/>
                  </a:lnTo>
                  <a:lnTo>
                    <a:pt x="115" y="143"/>
                  </a:lnTo>
                  <a:lnTo>
                    <a:pt x="101" y="159"/>
                  </a:lnTo>
                  <a:lnTo>
                    <a:pt x="87" y="176"/>
                  </a:lnTo>
                  <a:lnTo>
                    <a:pt x="75" y="193"/>
                  </a:lnTo>
                  <a:lnTo>
                    <a:pt x="64" y="210"/>
                  </a:lnTo>
                  <a:lnTo>
                    <a:pt x="53" y="230"/>
                  </a:lnTo>
                  <a:lnTo>
                    <a:pt x="43" y="248"/>
                  </a:lnTo>
                  <a:lnTo>
                    <a:pt x="35" y="267"/>
                  </a:lnTo>
                  <a:lnTo>
                    <a:pt x="27" y="288"/>
                  </a:lnTo>
                  <a:lnTo>
                    <a:pt x="20" y="308"/>
                  </a:lnTo>
                  <a:lnTo>
                    <a:pt x="14" y="329"/>
                  </a:lnTo>
                  <a:lnTo>
                    <a:pt x="9" y="350"/>
                  </a:lnTo>
                  <a:lnTo>
                    <a:pt x="6" y="372"/>
                  </a:lnTo>
                  <a:lnTo>
                    <a:pt x="3" y="394"/>
                  </a:lnTo>
                  <a:lnTo>
                    <a:pt x="0" y="416"/>
                  </a:lnTo>
                  <a:lnTo>
                    <a:pt x="0" y="438"/>
                  </a:lnTo>
                  <a:lnTo>
                    <a:pt x="0" y="438"/>
                  </a:lnTo>
                  <a:lnTo>
                    <a:pt x="0" y="461"/>
                  </a:lnTo>
                  <a:lnTo>
                    <a:pt x="3" y="483"/>
                  </a:lnTo>
                  <a:lnTo>
                    <a:pt x="6" y="505"/>
                  </a:lnTo>
                  <a:lnTo>
                    <a:pt x="9" y="526"/>
                  </a:lnTo>
                  <a:lnTo>
                    <a:pt x="14" y="548"/>
                  </a:lnTo>
                  <a:lnTo>
                    <a:pt x="20" y="569"/>
                  </a:lnTo>
                  <a:lnTo>
                    <a:pt x="27" y="589"/>
                  </a:lnTo>
                  <a:lnTo>
                    <a:pt x="35" y="609"/>
                  </a:lnTo>
                  <a:lnTo>
                    <a:pt x="43" y="628"/>
                  </a:lnTo>
                  <a:lnTo>
                    <a:pt x="53" y="647"/>
                  </a:lnTo>
                  <a:lnTo>
                    <a:pt x="64" y="665"/>
                  </a:lnTo>
                  <a:lnTo>
                    <a:pt x="75" y="683"/>
                  </a:lnTo>
                  <a:lnTo>
                    <a:pt x="87" y="701"/>
                  </a:lnTo>
                  <a:lnTo>
                    <a:pt x="101" y="718"/>
                  </a:lnTo>
                  <a:lnTo>
                    <a:pt x="115" y="733"/>
                  </a:lnTo>
                  <a:lnTo>
                    <a:pt x="128" y="748"/>
                  </a:lnTo>
                  <a:lnTo>
                    <a:pt x="144" y="763"/>
                  </a:lnTo>
                  <a:lnTo>
                    <a:pt x="160" y="777"/>
                  </a:lnTo>
                  <a:lnTo>
                    <a:pt x="177" y="789"/>
                  </a:lnTo>
                  <a:lnTo>
                    <a:pt x="195" y="802"/>
                  </a:lnTo>
                  <a:lnTo>
                    <a:pt x="211" y="814"/>
                  </a:lnTo>
                  <a:lnTo>
                    <a:pt x="230" y="824"/>
                  </a:lnTo>
                  <a:lnTo>
                    <a:pt x="250" y="833"/>
                  </a:lnTo>
                  <a:lnTo>
                    <a:pt x="269" y="843"/>
                  </a:lnTo>
                  <a:lnTo>
                    <a:pt x="288" y="850"/>
                  </a:lnTo>
                  <a:lnTo>
                    <a:pt x="309" y="857"/>
                  </a:lnTo>
                  <a:lnTo>
                    <a:pt x="330" y="864"/>
                  </a:lnTo>
                  <a:lnTo>
                    <a:pt x="350" y="868"/>
                  </a:lnTo>
                  <a:lnTo>
                    <a:pt x="372" y="872"/>
                  </a:lnTo>
                  <a:lnTo>
                    <a:pt x="394" y="875"/>
                  </a:lnTo>
                  <a:lnTo>
                    <a:pt x="416" y="876"/>
                  </a:lnTo>
                  <a:lnTo>
                    <a:pt x="440" y="877"/>
                  </a:lnTo>
                  <a:lnTo>
                    <a:pt x="440" y="877"/>
                  </a:lnTo>
                  <a:lnTo>
                    <a:pt x="462" y="876"/>
                  </a:lnTo>
                  <a:lnTo>
                    <a:pt x="484" y="875"/>
                  </a:lnTo>
                  <a:lnTo>
                    <a:pt x="506" y="872"/>
                  </a:lnTo>
                  <a:lnTo>
                    <a:pt x="528" y="868"/>
                  </a:lnTo>
                  <a:lnTo>
                    <a:pt x="548" y="864"/>
                  </a:lnTo>
                  <a:lnTo>
                    <a:pt x="569" y="857"/>
                  </a:lnTo>
                  <a:lnTo>
                    <a:pt x="590" y="850"/>
                  </a:lnTo>
                  <a:lnTo>
                    <a:pt x="609" y="843"/>
                  </a:lnTo>
                  <a:lnTo>
                    <a:pt x="628" y="833"/>
                  </a:lnTo>
                  <a:lnTo>
                    <a:pt x="648" y="824"/>
                  </a:lnTo>
                  <a:lnTo>
                    <a:pt x="667" y="814"/>
                  </a:lnTo>
                  <a:lnTo>
                    <a:pt x="683" y="802"/>
                  </a:lnTo>
                  <a:lnTo>
                    <a:pt x="701" y="789"/>
                  </a:lnTo>
                  <a:lnTo>
                    <a:pt x="718" y="777"/>
                  </a:lnTo>
                  <a:lnTo>
                    <a:pt x="734" y="763"/>
                  </a:lnTo>
                  <a:lnTo>
                    <a:pt x="750" y="748"/>
                  </a:lnTo>
                  <a:lnTo>
                    <a:pt x="763" y="733"/>
                  </a:lnTo>
                  <a:lnTo>
                    <a:pt x="777" y="718"/>
                  </a:lnTo>
                  <a:lnTo>
                    <a:pt x="791" y="701"/>
                  </a:lnTo>
                  <a:lnTo>
                    <a:pt x="803" y="683"/>
                  </a:lnTo>
                  <a:lnTo>
                    <a:pt x="814" y="665"/>
                  </a:lnTo>
                  <a:lnTo>
                    <a:pt x="825" y="647"/>
                  </a:lnTo>
                  <a:lnTo>
                    <a:pt x="835" y="628"/>
                  </a:lnTo>
                  <a:lnTo>
                    <a:pt x="843" y="609"/>
                  </a:lnTo>
                  <a:lnTo>
                    <a:pt x="851" y="589"/>
                  </a:lnTo>
                  <a:lnTo>
                    <a:pt x="858" y="569"/>
                  </a:lnTo>
                  <a:lnTo>
                    <a:pt x="864" y="548"/>
                  </a:lnTo>
                  <a:lnTo>
                    <a:pt x="869" y="526"/>
                  </a:lnTo>
                  <a:lnTo>
                    <a:pt x="872" y="505"/>
                  </a:lnTo>
                  <a:lnTo>
                    <a:pt x="875" y="483"/>
                  </a:lnTo>
                  <a:lnTo>
                    <a:pt x="878" y="461"/>
                  </a:lnTo>
                  <a:lnTo>
                    <a:pt x="878" y="438"/>
                  </a:lnTo>
                  <a:lnTo>
                    <a:pt x="878" y="438"/>
                  </a:lnTo>
                  <a:lnTo>
                    <a:pt x="878" y="416"/>
                  </a:lnTo>
                  <a:lnTo>
                    <a:pt x="875" y="394"/>
                  </a:lnTo>
                  <a:lnTo>
                    <a:pt x="872" y="372"/>
                  </a:lnTo>
                  <a:lnTo>
                    <a:pt x="869" y="350"/>
                  </a:lnTo>
                  <a:lnTo>
                    <a:pt x="864" y="329"/>
                  </a:lnTo>
                  <a:lnTo>
                    <a:pt x="858" y="308"/>
                  </a:lnTo>
                  <a:lnTo>
                    <a:pt x="851" y="288"/>
                  </a:lnTo>
                  <a:lnTo>
                    <a:pt x="843" y="267"/>
                  </a:lnTo>
                  <a:lnTo>
                    <a:pt x="835" y="248"/>
                  </a:lnTo>
                  <a:lnTo>
                    <a:pt x="825" y="230"/>
                  </a:lnTo>
                  <a:lnTo>
                    <a:pt x="814" y="210"/>
                  </a:lnTo>
                  <a:lnTo>
                    <a:pt x="803" y="193"/>
                  </a:lnTo>
                  <a:lnTo>
                    <a:pt x="791" y="176"/>
                  </a:lnTo>
                  <a:lnTo>
                    <a:pt x="777" y="159"/>
                  </a:lnTo>
                  <a:lnTo>
                    <a:pt x="763" y="143"/>
                  </a:lnTo>
                  <a:lnTo>
                    <a:pt x="750" y="128"/>
                  </a:lnTo>
                  <a:lnTo>
                    <a:pt x="734" y="114"/>
                  </a:lnTo>
                  <a:lnTo>
                    <a:pt x="718" y="100"/>
                  </a:lnTo>
                  <a:lnTo>
                    <a:pt x="701" y="86"/>
                  </a:lnTo>
                  <a:lnTo>
                    <a:pt x="683" y="74"/>
                  </a:lnTo>
                  <a:lnTo>
                    <a:pt x="667" y="63"/>
                  </a:lnTo>
                  <a:lnTo>
                    <a:pt x="648" y="52"/>
                  </a:lnTo>
                  <a:lnTo>
                    <a:pt x="628" y="42"/>
                  </a:lnTo>
                  <a:lnTo>
                    <a:pt x="609" y="34"/>
                  </a:lnTo>
                  <a:lnTo>
                    <a:pt x="590" y="26"/>
                  </a:lnTo>
                  <a:lnTo>
                    <a:pt x="569" y="19"/>
                  </a:lnTo>
                  <a:lnTo>
                    <a:pt x="548" y="13"/>
                  </a:lnTo>
                  <a:lnTo>
                    <a:pt x="528" y="8"/>
                  </a:lnTo>
                  <a:lnTo>
                    <a:pt x="506" y="4"/>
                  </a:lnTo>
                  <a:lnTo>
                    <a:pt x="484" y="1"/>
                  </a:lnTo>
                  <a:lnTo>
                    <a:pt x="462" y="0"/>
                  </a:lnTo>
                  <a:lnTo>
                    <a:pt x="440" y="0"/>
                  </a:lnTo>
                  <a:lnTo>
                    <a:pt x="440" y="0"/>
                  </a:lnTo>
                  <a:close/>
                </a:path>
              </a:pathLst>
            </a:custGeom>
            <a:grpFill/>
            <a:ln>
              <a:noFill/>
            </a:ln>
          </p:spPr>
          <p:txBody>
            <a:bodyPr vert="horz" wrap="square" lIns="91440" tIns="45720" rIns="91440" bIns="45720" numCol="1" anchor="ctr" anchorCtr="0" compatLnSpc="1">
              <a:prstTxWarp prst="textNoShape">
                <a:avLst/>
              </a:prstTxWarp>
            </a:bodyPr>
            <a:lstStyle/>
            <a:p>
              <a:pPr algn="ctr"/>
              <a:r>
                <a:rPr lang="en-US" sz="1200" b="1" dirty="0" smtClean="0">
                  <a:solidFill>
                    <a:schemeClr val="bg1"/>
                  </a:solidFill>
                </a:rPr>
                <a:t>Team</a:t>
              </a:r>
              <a:endParaRPr lang="en-US" sz="1200" b="1" dirty="0">
                <a:solidFill>
                  <a:schemeClr val="bg1"/>
                </a:solidFill>
              </a:endParaRPr>
            </a:p>
          </p:txBody>
        </p:sp>
      </p:grpSp>
      <p:sp>
        <p:nvSpPr>
          <p:cNvPr id="79" name="Freeform 5"/>
          <p:cNvSpPr>
            <a:spLocks noEditPoints="1"/>
          </p:cNvSpPr>
          <p:nvPr/>
        </p:nvSpPr>
        <p:spPr bwMode="auto">
          <a:xfrm>
            <a:off x="3018600" y="1599458"/>
            <a:ext cx="1351394" cy="1352087"/>
          </a:xfrm>
          <a:custGeom>
            <a:avLst/>
            <a:gdLst>
              <a:gd name="T0" fmla="*/ 1722 w 1946"/>
              <a:gd name="T1" fmla="*/ 754 h 1947"/>
              <a:gd name="T2" fmla="*/ 1657 w 1946"/>
              <a:gd name="T3" fmla="*/ 597 h 1947"/>
              <a:gd name="T4" fmla="*/ 1593 w 1946"/>
              <a:gd name="T5" fmla="*/ 216 h 1947"/>
              <a:gd name="T6" fmla="*/ 1350 w 1946"/>
              <a:gd name="T7" fmla="*/ 289 h 1947"/>
              <a:gd name="T8" fmla="*/ 1193 w 1946"/>
              <a:gd name="T9" fmla="*/ 225 h 1947"/>
              <a:gd name="T10" fmla="*/ 877 w 1946"/>
              <a:gd name="T11" fmla="*/ 0 h 1947"/>
              <a:gd name="T12" fmla="*/ 753 w 1946"/>
              <a:gd name="T13" fmla="*/ 225 h 1947"/>
              <a:gd name="T14" fmla="*/ 596 w 1946"/>
              <a:gd name="T15" fmla="*/ 289 h 1947"/>
              <a:gd name="T16" fmla="*/ 218 w 1946"/>
              <a:gd name="T17" fmla="*/ 353 h 1947"/>
              <a:gd name="T18" fmla="*/ 289 w 1946"/>
              <a:gd name="T19" fmla="*/ 597 h 1947"/>
              <a:gd name="T20" fmla="*/ 224 w 1946"/>
              <a:gd name="T21" fmla="*/ 754 h 1947"/>
              <a:gd name="T22" fmla="*/ 0 w 1946"/>
              <a:gd name="T23" fmla="*/ 1069 h 1947"/>
              <a:gd name="T24" fmla="*/ 224 w 1946"/>
              <a:gd name="T25" fmla="*/ 1192 h 1947"/>
              <a:gd name="T26" fmla="*/ 289 w 1946"/>
              <a:gd name="T27" fmla="*/ 1350 h 1947"/>
              <a:gd name="T28" fmla="*/ 353 w 1946"/>
              <a:gd name="T29" fmla="*/ 1729 h 1947"/>
              <a:gd name="T30" fmla="*/ 596 w 1946"/>
              <a:gd name="T31" fmla="*/ 1656 h 1947"/>
              <a:gd name="T32" fmla="*/ 753 w 1946"/>
              <a:gd name="T33" fmla="*/ 1722 h 1947"/>
              <a:gd name="T34" fmla="*/ 1069 w 1946"/>
              <a:gd name="T35" fmla="*/ 1947 h 1947"/>
              <a:gd name="T36" fmla="*/ 1193 w 1946"/>
              <a:gd name="T37" fmla="*/ 1722 h 1947"/>
              <a:gd name="T38" fmla="*/ 1350 w 1946"/>
              <a:gd name="T39" fmla="*/ 1656 h 1947"/>
              <a:gd name="T40" fmla="*/ 1728 w 1946"/>
              <a:gd name="T41" fmla="*/ 1593 h 1947"/>
              <a:gd name="T42" fmla="*/ 1657 w 1946"/>
              <a:gd name="T43" fmla="*/ 1350 h 1947"/>
              <a:gd name="T44" fmla="*/ 1722 w 1946"/>
              <a:gd name="T45" fmla="*/ 1192 h 1947"/>
              <a:gd name="T46" fmla="*/ 1946 w 1946"/>
              <a:gd name="T47" fmla="*/ 876 h 1947"/>
              <a:gd name="T48" fmla="*/ 939 w 1946"/>
              <a:gd name="T49" fmla="*/ 1622 h 1947"/>
              <a:gd name="T50" fmla="*/ 811 w 1946"/>
              <a:gd name="T51" fmla="*/ 1603 h 1947"/>
              <a:gd name="T52" fmla="*/ 691 w 1946"/>
              <a:gd name="T53" fmla="*/ 1558 h 1947"/>
              <a:gd name="T54" fmla="*/ 585 w 1946"/>
              <a:gd name="T55" fmla="*/ 1494 h 1947"/>
              <a:gd name="T56" fmla="*/ 493 w 1946"/>
              <a:gd name="T57" fmla="*/ 1410 h 1947"/>
              <a:gd name="T58" fmla="*/ 419 w 1946"/>
              <a:gd name="T59" fmla="*/ 1309 h 1947"/>
              <a:gd name="T60" fmla="*/ 364 w 1946"/>
              <a:gd name="T61" fmla="*/ 1196 h 1947"/>
              <a:gd name="T62" fmla="*/ 332 w 1946"/>
              <a:gd name="T63" fmla="*/ 1072 h 1947"/>
              <a:gd name="T64" fmla="*/ 324 w 1946"/>
              <a:gd name="T65" fmla="*/ 973 h 1947"/>
              <a:gd name="T66" fmla="*/ 337 w 1946"/>
              <a:gd name="T67" fmla="*/ 842 h 1947"/>
              <a:gd name="T68" fmla="*/ 375 w 1946"/>
              <a:gd name="T69" fmla="*/ 721 h 1947"/>
              <a:gd name="T70" fmla="*/ 435 w 1946"/>
              <a:gd name="T71" fmla="*/ 610 h 1947"/>
              <a:gd name="T72" fmla="*/ 515 w 1946"/>
              <a:gd name="T73" fmla="*/ 514 h 1947"/>
              <a:gd name="T74" fmla="*/ 610 w 1946"/>
              <a:gd name="T75" fmla="*/ 435 h 1947"/>
              <a:gd name="T76" fmla="*/ 720 w 1946"/>
              <a:gd name="T77" fmla="*/ 375 h 1947"/>
              <a:gd name="T78" fmla="*/ 843 w 1946"/>
              <a:gd name="T79" fmla="*/ 338 h 1947"/>
              <a:gd name="T80" fmla="*/ 974 w 1946"/>
              <a:gd name="T81" fmla="*/ 324 h 1947"/>
              <a:gd name="T82" fmla="*/ 1071 w 1946"/>
              <a:gd name="T83" fmla="*/ 332 h 1947"/>
              <a:gd name="T84" fmla="*/ 1195 w 1946"/>
              <a:gd name="T85" fmla="*/ 364 h 1947"/>
              <a:gd name="T86" fmla="*/ 1310 w 1946"/>
              <a:gd name="T87" fmla="*/ 418 h 1947"/>
              <a:gd name="T88" fmla="*/ 1409 w 1946"/>
              <a:gd name="T89" fmla="*/ 493 h 1947"/>
              <a:gd name="T90" fmla="*/ 1493 w 1946"/>
              <a:gd name="T91" fmla="*/ 586 h 1947"/>
              <a:gd name="T92" fmla="*/ 1558 w 1946"/>
              <a:gd name="T93" fmla="*/ 692 h 1947"/>
              <a:gd name="T94" fmla="*/ 1602 w 1946"/>
              <a:gd name="T95" fmla="*/ 812 h 1947"/>
              <a:gd name="T96" fmla="*/ 1621 w 1946"/>
              <a:gd name="T97" fmla="*/ 940 h 1947"/>
              <a:gd name="T98" fmla="*/ 1618 w 1946"/>
              <a:gd name="T99" fmla="*/ 1039 h 1947"/>
              <a:gd name="T100" fmla="*/ 1592 w 1946"/>
              <a:gd name="T101" fmla="*/ 1166 h 1947"/>
              <a:gd name="T102" fmla="*/ 1544 w 1946"/>
              <a:gd name="T103" fmla="*/ 1283 h 1947"/>
              <a:gd name="T104" fmla="*/ 1474 w 1946"/>
              <a:gd name="T105" fmla="*/ 1386 h 1947"/>
              <a:gd name="T106" fmla="*/ 1385 w 1946"/>
              <a:gd name="T107" fmla="*/ 1474 h 1947"/>
              <a:gd name="T108" fmla="*/ 1282 w 1946"/>
              <a:gd name="T109" fmla="*/ 1543 h 1947"/>
              <a:gd name="T110" fmla="*/ 1165 w 1946"/>
              <a:gd name="T111" fmla="*/ 1593 h 1947"/>
              <a:gd name="T112" fmla="*/ 1040 w 1946"/>
              <a:gd name="T113" fmla="*/ 1619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6" h="1947">
                <a:moveTo>
                  <a:pt x="1741" y="839"/>
                </a:moveTo>
                <a:lnTo>
                  <a:pt x="1741" y="839"/>
                </a:lnTo>
                <a:lnTo>
                  <a:pt x="1733" y="796"/>
                </a:lnTo>
                <a:lnTo>
                  <a:pt x="1722" y="754"/>
                </a:lnTo>
                <a:lnTo>
                  <a:pt x="1709" y="712"/>
                </a:lnTo>
                <a:lnTo>
                  <a:pt x="1693" y="672"/>
                </a:lnTo>
                <a:lnTo>
                  <a:pt x="1676" y="634"/>
                </a:lnTo>
                <a:lnTo>
                  <a:pt x="1657" y="597"/>
                </a:lnTo>
                <a:lnTo>
                  <a:pt x="1635" y="559"/>
                </a:lnTo>
                <a:lnTo>
                  <a:pt x="1611" y="525"/>
                </a:lnTo>
                <a:lnTo>
                  <a:pt x="1728" y="353"/>
                </a:lnTo>
                <a:lnTo>
                  <a:pt x="1593" y="216"/>
                </a:lnTo>
                <a:lnTo>
                  <a:pt x="1421" y="335"/>
                </a:lnTo>
                <a:lnTo>
                  <a:pt x="1421" y="335"/>
                </a:lnTo>
                <a:lnTo>
                  <a:pt x="1385" y="311"/>
                </a:lnTo>
                <a:lnTo>
                  <a:pt x="1350" y="289"/>
                </a:lnTo>
                <a:lnTo>
                  <a:pt x="1312" y="270"/>
                </a:lnTo>
                <a:lnTo>
                  <a:pt x="1273" y="252"/>
                </a:lnTo>
                <a:lnTo>
                  <a:pt x="1233" y="237"/>
                </a:lnTo>
                <a:lnTo>
                  <a:pt x="1193" y="225"/>
                </a:lnTo>
                <a:lnTo>
                  <a:pt x="1150" y="214"/>
                </a:lnTo>
                <a:lnTo>
                  <a:pt x="1107" y="204"/>
                </a:lnTo>
                <a:lnTo>
                  <a:pt x="1069" y="0"/>
                </a:lnTo>
                <a:lnTo>
                  <a:pt x="877" y="0"/>
                </a:lnTo>
                <a:lnTo>
                  <a:pt x="839" y="204"/>
                </a:lnTo>
                <a:lnTo>
                  <a:pt x="839" y="204"/>
                </a:lnTo>
                <a:lnTo>
                  <a:pt x="796" y="214"/>
                </a:lnTo>
                <a:lnTo>
                  <a:pt x="753" y="225"/>
                </a:lnTo>
                <a:lnTo>
                  <a:pt x="713" y="237"/>
                </a:lnTo>
                <a:lnTo>
                  <a:pt x="673" y="252"/>
                </a:lnTo>
                <a:lnTo>
                  <a:pt x="634" y="270"/>
                </a:lnTo>
                <a:lnTo>
                  <a:pt x="596" y="289"/>
                </a:lnTo>
                <a:lnTo>
                  <a:pt x="561" y="311"/>
                </a:lnTo>
                <a:lnTo>
                  <a:pt x="525" y="335"/>
                </a:lnTo>
                <a:lnTo>
                  <a:pt x="353" y="216"/>
                </a:lnTo>
                <a:lnTo>
                  <a:pt x="218" y="353"/>
                </a:lnTo>
                <a:lnTo>
                  <a:pt x="335" y="525"/>
                </a:lnTo>
                <a:lnTo>
                  <a:pt x="335" y="525"/>
                </a:lnTo>
                <a:lnTo>
                  <a:pt x="311" y="559"/>
                </a:lnTo>
                <a:lnTo>
                  <a:pt x="289" y="597"/>
                </a:lnTo>
                <a:lnTo>
                  <a:pt x="270" y="634"/>
                </a:lnTo>
                <a:lnTo>
                  <a:pt x="253" y="672"/>
                </a:lnTo>
                <a:lnTo>
                  <a:pt x="237" y="712"/>
                </a:lnTo>
                <a:lnTo>
                  <a:pt x="224" y="754"/>
                </a:lnTo>
                <a:lnTo>
                  <a:pt x="213" y="796"/>
                </a:lnTo>
                <a:lnTo>
                  <a:pt x="205" y="839"/>
                </a:lnTo>
                <a:lnTo>
                  <a:pt x="0" y="876"/>
                </a:lnTo>
                <a:lnTo>
                  <a:pt x="0" y="1069"/>
                </a:lnTo>
                <a:lnTo>
                  <a:pt x="205" y="1108"/>
                </a:lnTo>
                <a:lnTo>
                  <a:pt x="205" y="1108"/>
                </a:lnTo>
                <a:lnTo>
                  <a:pt x="213" y="1151"/>
                </a:lnTo>
                <a:lnTo>
                  <a:pt x="224" y="1192"/>
                </a:lnTo>
                <a:lnTo>
                  <a:pt x="237" y="1233"/>
                </a:lnTo>
                <a:lnTo>
                  <a:pt x="253" y="1273"/>
                </a:lnTo>
                <a:lnTo>
                  <a:pt x="270" y="1312"/>
                </a:lnTo>
                <a:lnTo>
                  <a:pt x="289" y="1350"/>
                </a:lnTo>
                <a:lnTo>
                  <a:pt x="311" y="1386"/>
                </a:lnTo>
                <a:lnTo>
                  <a:pt x="335" y="1422"/>
                </a:lnTo>
                <a:lnTo>
                  <a:pt x="218" y="1593"/>
                </a:lnTo>
                <a:lnTo>
                  <a:pt x="353" y="1729"/>
                </a:lnTo>
                <a:lnTo>
                  <a:pt x="525" y="1612"/>
                </a:lnTo>
                <a:lnTo>
                  <a:pt x="525" y="1612"/>
                </a:lnTo>
                <a:lnTo>
                  <a:pt x="561" y="1636"/>
                </a:lnTo>
                <a:lnTo>
                  <a:pt x="596" y="1656"/>
                </a:lnTo>
                <a:lnTo>
                  <a:pt x="634" y="1676"/>
                </a:lnTo>
                <a:lnTo>
                  <a:pt x="673" y="1693"/>
                </a:lnTo>
                <a:lnTo>
                  <a:pt x="713" y="1709"/>
                </a:lnTo>
                <a:lnTo>
                  <a:pt x="753" y="1722"/>
                </a:lnTo>
                <a:lnTo>
                  <a:pt x="796" y="1733"/>
                </a:lnTo>
                <a:lnTo>
                  <a:pt x="839" y="1742"/>
                </a:lnTo>
                <a:lnTo>
                  <a:pt x="877" y="1947"/>
                </a:lnTo>
                <a:lnTo>
                  <a:pt x="1069" y="1947"/>
                </a:lnTo>
                <a:lnTo>
                  <a:pt x="1107" y="1742"/>
                </a:lnTo>
                <a:lnTo>
                  <a:pt x="1107" y="1742"/>
                </a:lnTo>
                <a:lnTo>
                  <a:pt x="1150" y="1733"/>
                </a:lnTo>
                <a:lnTo>
                  <a:pt x="1193" y="1722"/>
                </a:lnTo>
                <a:lnTo>
                  <a:pt x="1233" y="1709"/>
                </a:lnTo>
                <a:lnTo>
                  <a:pt x="1273" y="1693"/>
                </a:lnTo>
                <a:lnTo>
                  <a:pt x="1312" y="1676"/>
                </a:lnTo>
                <a:lnTo>
                  <a:pt x="1350" y="1656"/>
                </a:lnTo>
                <a:lnTo>
                  <a:pt x="1385" y="1636"/>
                </a:lnTo>
                <a:lnTo>
                  <a:pt x="1421" y="1612"/>
                </a:lnTo>
                <a:lnTo>
                  <a:pt x="1593" y="1729"/>
                </a:lnTo>
                <a:lnTo>
                  <a:pt x="1728" y="1593"/>
                </a:lnTo>
                <a:lnTo>
                  <a:pt x="1611" y="1422"/>
                </a:lnTo>
                <a:lnTo>
                  <a:pt x="1611" y="1422"/>
                </a:lnTo>
                <a:lnTo>
                  <a:pt x="1635" y="1386"/>
                </a:lnTo>
                <a:lnTo>
                  <a:pt x="1657" y="1350"/>
                </a:lnTo>
                <a:lnTo>
                  <a:pt x="1676" y="1312"/>
                </a:lnTo>
                <a:lnTo>
                  <a:pt x="1693" y="1273"/>
                </a:lnTo>
                <a:lnTo>
                  <a:pt x="1709" y="1233"/>
                </a:lnTo>
                <a:lnTo>
                  <a:pt x="1722" y="1192"/>
                </a:lnTo>
                <a:lnTo>
                  <a:pt x="1733" y="1151"/>
                </a:lnTo>
                <a:lnTo>
                  <a:pt x="1741" y="1108"/>
                </a:lnTo>
                <a:lnTo>
                  <a:pt x="1946" y="1069"/>
                </a:lnTo>
                <a:lnTo>
                  <a:pt x="1946" y="876"/>
                </a:lnTo>
                <a:lnTo>
                  <a:pt x="1741" y="839"/>
                </a:lnTo>
                <a:close/>
                <a:moveTo>
                  <a:pt x="974" y="1622"/>
                </a:moveTo>
                <a:lnTo>
                  <a:pt x="974" y="1622"/>
                </a:lnTo>
                <a:lnTo>
                  <a:pt x="939" y="1622"/>
                </a:lnTo>
                <a:lnTo>
                  <a:pt x="906" y="1619"/>
                </a:lnTo>
                <a:lnTo>
                  <a:pt x="875" y="1615"/>
                </a:lnTo>
                <a:lnTo>
                  <a:pt x="843" y="1609"/>
                </a:lnTo>
                <a:lnTo>
                  <a:pt x="811" y="1603"/>
                </a:lnTo>
                <a:lnTo>
                  <a:pt x="781" y="1593"/>
                </a:lnTo>
                <a:lnTo>
                  <a:pt x="751" y="1583"/>
                </a:lnTo>
                <a:lnTo>
                  <a:pt x="720" y="1571"/>
                </a:lnTo>
                <a:lnTo>
                  <a:pt x="691" y="1558"/>
                </a:lnTo>
                <a:lnTo>
                  <a:pt x="664" y="1543"/>
                </a:lnTo>
                <a:lnTo>
                  <a:pt x="636" y="1528"/>
                </a:lnTo>
                <a:lnTo>
                  <a:pt x="610" y="1512"/>
                </a:lnTo>
                <a:lnTo>
                  <a:pt x="585" y="1494"/>
                </a:lnTo>
                <a:lnTo>
                  <a:pt x="561" y="1474"/>
                </a:lnTo>
                <a:lnTo>
                  <a:pt x="537" y="1454"/>
                </a:lnTo>
                <a:lnTo>
                  <a:pt x="515" y="1432"/>
                </a:lnTo>
                <a:lnTo>
                  <a:pt x="493" y="1410"/>
                </a:lnTo>
                <a:lnTo>
                  <a:pt x="472" y="1386"/>
                </a:lnTo>
                <a:lnTo>
                  <a:pt x="453" y="1361"/>
                </a:lnTo>
                <a:lnTo>
                  <a:pt x="435" y="1335"/>
                </a:lnTo>
                <a:lnTo>
                  <a:pt x="419" y="1309"/>
                </a:lnTo>
                <a:lnTo>
                  <a:pt x="402" y="1283"/>
                </a:lnTo>
                <a:lnTo>
                  <a:pt x="388" y="1254"/>
                </a:lnTo>
                <a:lnTo>
                  <a:pt x="375" y="1225"/>
                </a:lnTo>
                <a:lnTo>
                  <a:pt x="364" y="1196"/>
                </a:lnTo>
                <a:lnTo>
                  <a:pt x="354" y="1166"/>
                </a:lnTo>
                <a:lnTo>
                  <a:pt x="344" y="1135"/>
                </a:lnTo>
                <a:lnTo>
                  <a:pt x="337" y="1104"/>
                </a:lnTo>
                <a:lnTo>
                  <a:pt x="332" y="1072"/>
                </a:lnTo>
                <a:lnTo>
                  <a:pt x="328" y="1039"/>
                </a:lnTo>
                <a:lnTo>
                  <a:pt x="325" y="1006"/>
                </a:lnTo>
                <a:lnTo>
                  <a:pt x="324" y="973"/>
                </a:lnTo>
                <a:lnTo>
                  <a:pt x="324" y="973"/>
                </a:lnTo>
                <a:lnTo>
                  <a:pt x="325" y="940"/>
                </a:lnTo>
                <a:lnTo>
                  <a:pt x="328" y="907"/>
                </a:lnTo>
                <a:lnTo>
                  <a:pt x="332" y="875"/>
                </a:lnTo>
                <a:lnTo>
                  <a:pt x="337" y="842"/>
                </a:lnTo>
                <a:lnTo>
                  <a:pt x="344" y="812"/>
                </a:lnTo>
                <a:lnTo>
                  <a:pt x="354" y="780"/>
                </a:lnTo>
                <a:lnTo>
                  <a:pt x="364" y="750"/>
                </a:lnTo>
                <a:lnTo>
                  <a:pt x="375" y="721"/>
                </a:lnTo>
                <a:lnTo>
                  <a:pt x="388" y="692"/>
                </a:lnTo>
                <a:lnTo>
                  <a:pt x="402" y="664"/>
                </a:lnTo>
                <a:lnTo>
                  <a:pt x="419" y="637"/>
                </a:lnTo>
                <a:lnTo>
                  <a:pt x="435" y="610"/>
                </a:lnTo>
                <a:lnTo>
                  <a:pt x="453" y="586"/>
                </a:lnTo>
                <a:lnTo>
                  <a:pt x="472" y="561"/>
                </a:lnTo>
                <a:lnTo>
                  <a:pt x="493" y="537"/>
                </a:lnTo>
                <a:lnTo>
                  <a:pt x="515" y="514"/>
                </a:lnTo>
                <a:lnTo>
                  <a:pt x="537" y="493"/>
                </a:lnTo>
                <a:lnTo>
                  <a:pt x="561" y="473"/>
                </a:lnTo>
                <a:lnTo>
                  <a:pt x="585" y="453"/>
                </a:lnTo>
                <a:lnTo>
                  <a:pt x="610" y="435"/>
                </a:lnTo>
                <a:lnTo>
                  <a:pt x="636" y="418"/>
                </a:lnTo>
                <a:lnTo>
                  <a:pt x="664" y="402"/>
                </a:lnTo>
                <a:lnTo>
                  <a:pt x="691" y="389"/>
                </a:lnTo>
                <a:lnTo>
                  <a:pt x="720" y="375"/>
                </a:lnTo>
                <a:lnTo>
                  <a:pt x="751" y="364"/>
                </a:lnTo>
                <a:lnTo>
                  <a:pt x="781" y="353"/>
                </a:lnTo>
                <a:lnTo>
                  <a:pt x="811" y="344"/>
                </a:lnTo>
                <a:lnTo>
                  <a:pt x="843" y="338"/>
                </a:lnTo>
                <a:lnTo>
                  <a:pt x="875" y="332"/>
                </a:lnTo>
                <a:lnTo>
                  <a:pt x="906" y="328"/>
                </a:lnTo>
                <a:lnTo>
                  <a:pt x="939" y="325"/>
                </a:lnTo>
                <a:lnTo>
                  <a:pt x="974" y="324"/>
                </a:lnTo>
                <a:lnTo>
                  <a:pt x="974" y="324"/>
                </a:lnTo>
                <a:lnTo>
                  <a:pt x="1007" y="325"/>
                </a:lnTo>
                <a:lnTo>
                  <a:pt x="1040" y="328"/>
                </a:lnTo>
                <a:lnTo>
                  <a:pt x="1071" y="332"/>
                </a:lnTo>
                <a:lnTo>
                  <a:pt x="1103" y="338"/>
                </a:lnTo>
                <a:lnTo>
                  <a:pt x="1135" y="344"/>
                </a:lnTo>
                <a:lnTo>
                  <a:pt x="1165" y="353"/>
                </a:lnTo>
                <a:lnTo>
                  <a:pt x="1195" y="364"/>
                </a:lnTo>
                <a:lnTo>
                  <a:pt x="1226" y="375"/>
                </a:lnTo>
                <a:lnTo>
                  <a:pt x="1255" y="389"/>
                </a:lnTo>
                <a:lnTo>
                  <a:pt x="1282" y="402"/>
                </a:lnTo>
                <a:lnTo>
                  <a:pt x="1310" y="418"/>
                </a:lnTo>
                <a:lnTo>
                  <a:pt x="1336" y="435"/>
                </a:lnTo>
                <a:lnTo>
                  <a:pt x="1361" y="453"/>
                </a:lnTo>
                <a:lnTo>
                  <a:pt x="1385" y="473"/>
                </a:lnTo>
                <a:lnTo>
                  <a:pt x="1409" y="493"/>
                </a:lnTo>
                <a:lnTo>
                  <a:pt x="1431" y="514"/>
                </a:lnTo>
                <a:lnTo>
                  <a:pt x="1453" y="537"/>
                </a:lnTo>
                <a:lnTo>
                  <a:pt x="1474" y="561"/>
                </a:lnTo>
                <a:lnTo>
                  <a:pt x="1493" y="586"/>
                </a:lnTo>
                <a:lnTo>
                  <a:pt x="1511" y="610"/>
                </a:lnTo>
                <a:lnTo>
                  <a:pt x="1527" y="637"/>
                </a:lnTo>
                <a:lnTo>
                  <a:pt x="1544" y="664"/>
                </a:lnTo>
                <a:lnTo>
                  <a:pt x="1558" y="692"/>
                </a:lnTo>
                <a:lnTo>
                  <a:pt x="1571" y="721"/>
                </a:lnTo>
                <a:lnTo>
                  <a:pt x="1582" y="750"/>
                </a:lnTo>
                <a:lnTo>
                  <a:pt x="1592" y="780"/>
                </a:lnTo>
                <a:lnTo>
                  <a:pt x="1602" y="812"/>
                </a:lnTo>
                <a:lnTo>
                  <a:pt x="1609" y="842"/>
                </a:lnTo>
                <a:lnTo>
                  <a:pt x="1614" y="875"/>
                </a:lnTo>
                <a:lnTo>
                  <a:pt x="1618" y="907"/>
                </a:lnTo>
                <a:lnTo>
                  <a:pt x="1621" y="940"/>
                </a:lnTo>
                <a:lnTo>
                  <a:pt x="1622" y="973"/>
                </a:lnTo>
                <a:lnTo>
                  <a:pt x="1622" y="973"/>
                </a:lnTo>
                <a:lnTo>
                  <a:pt x="1621" y="1006"/>
                </a:lnTo>
                <a:lnTo>
                  <a:pt x="1618" y="1039"/>
                </a:lnTo>
                <a:lnTo>
                  <a:pt x="1614" y="1072"/>
                </a:lnTo>
                <a:lnTo>
                  <a:pt x="1609" y="1104"/>
                </a:lnTo>
                <a:lnTo>
                  <a:pt x="1602" y="1135"/>
                </a:lnTo>
                <a:lnTo>
                  <a:pt x="1592" y="1166"/>
                </a:lnTo>
                <a:lnTo>
                  <a:pt x="1582" y="1196"/>
                </a:lnTo>
                <a:lnTo>
                  <a:pt x="1571" y="1225"/>
                </a:lnTo>
                <a:lnTo>
                  <a:pt x="1558" y="1254"/>
                </a:lnTo>
                <a:lnTo>
                  <a:pt x="1544" y="1283"/>
                </a:lnTo>
                <a:lnTo>
                  <a:pt x="1527" y="1309"/>
                </a:lnTo>
                <a:lnTo>
                  <a:pt x="1511" y="1335"/>
                </a:lnTo>
                <a:lnTo>
                  <a:pt x="1493" y="1361"/>
                </a:lnTo>
                <a:lnTo>
                  <a:pt x="1474" y="1386"/>
                </a:lnTo>
                <a:lnTo>
                  <a:pt x="1453" y="1410"/>
                </a:lnTo>
                <a:lnTo>
                  <a:pt x="1431" y="1432"/>
                </a:lnTo>
                <a:lnTo>
                  <a:pt x="1409" y="1454"/>
                </a:lnTo>
                <a:lnTo>
                  <a:pt x="1385" y="1474"/>
                </a:lnTo>
                <a:lnTo>
                  <a:pt x="1361" y="1494"/>
                </a:lnTo>
                <a:lnTo>
                  <a:pt x="1336" y="1512"/>
                </a:lnTo>
                <a:lnTo>
                  <a:pt x="1310" y="1528"/>
                </a:lnTo>
                <a:lnTo>
                  <a:pt x="1282" y="1543"/>
                </a:lnTo>
                <a:lnTo>
                  <a:pt x="1255" y="1558"/>
                </a:lnTo>
                <a:lnTo>
                  <a:pt x="1226" y="1571"/>
                </a:lnTo>
                <a:lnTo>
                  <a:pt x="1195" y="1583"/>
                </a:lnTo>
                <a:lnTo>
                  <a:pt x="1165" y="1593"/>
                </a:lnTo>
                <a:lnTo>
                  <a:pt x="1135" y="1603"/>
                </a:lnTo>
                <a:lnTo>
                  <a:pt x="1103" y="1609"/>
                </a:lnTo>
                <a:lnTo>
                  <a:pt x="1071" y="1615"/>
                </a:lnTo>
                <a:lnTo>
                  <a:pt x="1040" y="1619"/>
                </a:lnTo>
                <a:lnTo>
                  <a:pt x="1007" y="1622"/>
                </a:lnTo>
                <a:lnTo>
                  <a:pt x="974" y="1622"/>
                </a:lnTo>
                <a:lnTo>
                  <a:pt x="974" y="1622"/>
                </a:ln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5"/>
          <p:cNvSpPr>
            <a:spLocks noEditPoints="1"/>
          </p:cNvSpPr>
          <p:nvPr/>
        </p:nvSpPr>
        <p:spPr bwMode="auto">
          <a:xfrm>
            <a:off x="4795623" y="1599458"/>
            <a:ext cx="1351394" cy="1352087"/>
          </a:xfrm>
          <a:custGeom>
            <a:avLst/>
            <a:gdLst>
              <a:gd name="T0" fmla="*/ 1722 w 1946"/>
              <a:gd name="T1" fmla="*/ 754 h 1947"/>
              <a:gd name="T2" fmla="*/ 1657 w 1946"/>
              <a:gd name="T3" fmla="*/ 597 h 1947"/>
              <a:gd name="T4" fmla="*/ 1593 w 1946"/>
              <a:gd name="T5" fmla="*/ 216 h 1947"/>
              <a:gd name="T6" fmla="*/ 1350 w 1946"/>
              <a:gd name="T7" fmla="*/ 289 h 1947"/>
              <a:gd name="T8" fmla="*/ 1193 w 1946"/>
              <a:gd name="T9" fmla="*/ 225 h 1947"/>
              <a:gd name="T10" fmla="*/ 877 w 1946"/>
              <a:gd name="T11" fmla="*/ 0 h 1947"/>
              <a:gd name="T12" fmla="*/ 753 w 1946"/>
              <a:gd name="T13" fmla="*/ 225 h 1947"/>
              <a:gd name="T14" fmla="*/ 596 w 1946"/>
              <a:gd name="T15" fmla="*/ 289 h 1947"/>
              <a:gd name="T16" fmla="*/ 218 w 1946"/>
              <a:gd name="T17" fmla="*/ 353 h 1947"/>
              <a:gd name="T18" fmla="*/ 289 w 1946"/>
              <a:gd name="T19" fmla="*/ 597 h 1947"/>
              <a:gd name="T20" fmla="*/ 224 w 1946"/>
              <a:gd name="T21" fmla="*/ 754 h 1947"/>
              <a:gd name="T22" fmla="*/ 0 w 1946"/>
              <a:gd name="T23" fmla="*/ 1069 h 1947"/>
              <a:gd name="T24" fmla="*/ 224 w 1946"/>
              <a:gd name="T25" fmla="*/ 1192 h 1947"/>
              <a:gd name="T26" fmla="*/ 289 w 1946"/>
              <a:gd name="T27" fmla="*/ 1350 h 1947"/>
              <a:gd name="T28" fmla="*/ 353 w 1946"/>
              <a:gd name="T29" fmla="*/ 1729 h 1947"/>
              <a:gd name="T30" fmla="*/ 596 w 1946"/>
              <a:gd name="T31" fmla="*/ 1656 h 1947"/>
              <a:gd name="T32" fmla="*/ 753 w 1946"/>
              <a:gd name="T33" fmla="*/ 1722 h 1947"/>
              <a:gd name="T34" fmla="*/ 1069 w 1946"/>
              <a:gd name="T35" fmla="*/ 1947 h 1947"/>
              <a:gd name="T36" fmla="*/ 1193 w 1946"/>
              <a:gd name="T37" fmla="*/ 1722 h 1947"/>
              <a:gd name="T38" fmla="*/ 1350 w 1946"/>
              <a:gd name="T39" fmla="*/ 1656 h 1947"/>
              <a:gd name="T40" fmla="*/ 1728 w 1946"/>
              <a:gd name="T41" fmla="*/ 1593 h 1947"/>
              <a:gd name="T42" fmla="*/ 1657 w 1946"/>
              <a:gd name="T43" fmla="*/ 1350 h 1947"/>
              <a:gd name="T44" fmla="*/ 1722 w 1946"/>
              <a:gd name="T45" fmla="*/ 1192 h 1947"/>
              <a:gd name="T46" fmla="*/ 1946 w 1946"/>
              <a:gd name="T47" fmla="*/ 876 h 1947"/>
              <a:gd name="T48" fmla="*/ 939 w 1946"/>
              <a:gd name="T49" fmla="*/ 1622 h 1947"/>
              <a:gd name="T50" fmla="*/ 811 w 1946"/>
              <a:gd name="T51" fmla="*/ 1603 h 1947"/>
              <a:gd name="T52" fmla="*/ 691 w 1946"/>
              <a:gd name="T53" fmla="*/ 1558 h 1947"/>
              <a:gd name="T54" fmla="*/ 585 w 1946"/>
              <a:gd name="T55" fmla="*/ 1494 h 1947"/>
              <a:gd name="T56" fmla="*/ 493 w 1946"/>
              <a:gd name="T57" fmla="*/ 1410 h 1947"/>
              <a:gd name="T58" fmla="*/ 419 w 1946"/>
              <a:gd name="T59" fmla="*/ 1309 h 1947"/>
              <a:gd name="T60" fmla="*/ 364 w 1946"/>
              <a:gd name="T61" fmla="*/ 1196 h 1947"/>
              <a:gd name="T62" fmla="*/ 332 w 1946"/>
              <a:gd name="T63" fmla="*/ 1072 h 1947"/>
              <a:gd name="T64" fmla="*/ 324 w 1946"/>
              <a:gd name="T65" fmla="*/ 973 h 1947"/>
              <a:gd name="T66" fmla="*/ 337 w 1946"/>
              <a:gd name="T67" fmla="*/ 842 h 1947"/>
              <a:gd name="T68" fmla="*/ 375 w 1946"/>
              <a:gd name="T69" fmla="*/ 721 h 1947"/>
              <a:gd name="T70" fmla="*/ 435 w 1946"/>
              <a:gd name="T71" fmla="*/ 610 h 1947"/>
              <a:gd name="T72" fmla="*/ 515 w 1946"/>
              <a:gd name="T73" fmla="*/ 514 h 1947"/>
              <a:gd name="T74" fmla="*/ 610 w 1946"/>
              <a:gd name="T75" fmla="*/ 435 h 1947"/>
              <a:gd name="T76" fmla="*/ 720 w 1946"/>
              <a:gd name="T77" fmla="*/ 375 h 1947"/>
              <a:gd name="T78" fmla="*/ 843 w 1946"/>
              <a:gd name="T79" fmla="*/ 338 h 1947"/>
              <a:gd name="T80" fmla="*/ 974 w 1946"/>
              <a:gd name="T81" fmla="*/ 324 h 1947"/>
              <a:gd name="T82" fmla="*/ 1071 w 1946"/>
              <a:gd name="T83" fmla="*/ 332 h 1947"/>
              <a:gd name="T84" fmla="*/ 1195 w 1946"/>
              <a:gd name="T85" fmla="*/ 364 h 1947"/>
              <a:gd name="T86" fmla="*/ 1310 w 1946"/>
              <a:gd name="T87" fmla="*/ 418 h 1947"/>
              <a:gd name="T88" fmla="*/ 1409 w 1946"/>
              <a:gd name="T89" fmla="*/ 493 h 1947"/>
              <a:gd name="T90" fmla="*/ 1493 w 1946"/>
              <a:gd name="T91" fmla="*/ 586 h 1947"/>
              <a:gd name="T92" fmla="*/ 1558 w 1946"/>
              <a:gd name="T93" fmla="*/ 692 h 1947"/>
              <a:gd name="T94" fmla="*/ 1602 w 1946"/>
              <a:gd name="T95" fmla="*/ 812 h 1947"/>
              <a:gd name="T96" fmla="*/ 1621 w 1946"/>
              <a:gd name="T97" fmla="*/ 940 h 1947"/>
              <a:gd name="T98" fmla="*/ 1618 w 1946"/>
              <a:gd name="T99" fmla="*/ 1039 h 1947"/>
              <a:gd name="T100" fmla="*/ 1592 w 1946"/>
              <a:gd name="T101" fmla="*/ 1166 h 1947"/>
              <a:gd name="T102" fmla="*/ 1544 w 1946"/>
              <a:gd name="T103" fmla="*/ 1283 h 1947"/>
              <a:gd name="T104" fmla="*/ 1474 w 1946"/>
              <a:gd name="T105" fmla="*/ 1386 h 1947"/>
              <a:gd name="T106" fmla="*/ 1385 w 1946"/>
              <a:gd name="T107" fmla="*/ 1474 h 1947"/>
              <a:gd name="T108" fmla="*/ 1282 w 1946"/>
              <a:gd name="T109" fmla="*/ 1543 h 1947"/>
              <a:gd name="T110" fmla="*/ 1165 w 1946"/>
              <a:gd name="T111" fmla="*/ 1593 h 1947"/>
              <a:gd name="T112" fmla="*/ 1040 w 1946"/>
              <a:gd name="T113" fmla="*/ 1619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6" h="1947">
                <a:moveTo>
                  <a:pt x="1741" y="839"/>
                </a:moveTo>
                <a:lnTo>
                  <a:pt x="1741" y="839"/>
                </a:lnTo>
                <a:lnTo>
                  <a:pt x="1733" y="796"/>
                </a:lnTo>
                <a:lnTo>
                  <a:pt x="1722" y="754"/>
                </a:lnTo>
                <a:lnTo>
                  <a:pt x="1709" y="712"/>
                </a:lnTo>
                <a:lnTo>
                  <a:pt x="1693" y="672"/>
                </a:lnTo>
                <a:lnTo>
                  <a:pt x="1676" y="634"/>
                </a:lnTo>
                <a:lnTo>
                  <a:pt x="1657" y="597"/>
                </a:lnTo>
                <a:lnTo>
                  <a:pt x="1635" y="559"/>
                </a:lnTo>
                <a:lnTo>
                  <a:pt x="1611" y="525"/>
                </a:lnTo>
                <a:lnTo>
                  <a:pt x="1728" y="353"/>
                </a:lnTo>
                <a:lnTo>
                  <a:pt x="1593" y="216"/>
                </a:lnTo>
                <a:lnTo>
                  <a:pt x="1421" y="335"/>
                </a:lnTo>
                <a:lnTo>
                  <a:pt x="1421" y="335"/>
                </a:lnTo>
                <a:lnTo>
                  <a:pt x="1385" y="311"/>
                </a:lnTo>
                <a:lnTo>
                  <a:pt x="1350" y="289"/>
                </a:lnTo>
                <a:lnTo>
                  <a:pt x="1312" y="270"/>
                </a:lnTo>
                <a:lnTo>
                  <a:pt x="1273" y="252"/>
                </a:lnTo>
                <a:lnTo>
                  <a:pt x="1233" y="237"/>
                </a:lnTo>
                <a:lnTo>
                  <a:pt x="1193" y="225"/>
                </a:lnTo>
                <a:lnTo>
                  <a:pt x="1150" y="214"/>
                </a:lnTo>
                <a:lnTo>
                  <a:pt x="1107" y="204"/>
                </a:lnTo>
                <a:lnTo>
                  <a:pt x="1069" y="0"/>
                </a:lnTo>
                <a:lnTo>
                  <a:pt x="877" y="0"/>
                </a:lnTo>
                <a:lnTo>
                  <a:pt x="839" y="204"/>
                </a:lnTo>
                <a:lnTo>
                  <a:pt x="839" y="204"/>
                </a:lnTo>
                <a:lnTo>
                  <a:pt x="796" y="214"/>
                </a:lnTo>
                <a:lnTo>
                  <a:pt x="753" y="225"/>
                </a:lnTo>
                <a:lnTo>
                  <a:pt x="713" y="237"/>
                </a:lnTo>
                <a:lnTo>
                  <a:pt x="673" y="252"/>
                </a:lnTo>
                <a:lnTo>
                  <a:pt x="634" y="270"/>
                </a:lnTo>
                <a:lnTo>
                  <a:pt x="596" y="289"/>
                </a:lnTo>
                <a:lnTo>
                  <a:pt x="561" y="311"/>
                </a:lnTo>
                <a:lnTo>
                  <a:pt x="525" y="335"/>
                </a:lnTo>
                <a:lnTo>
                  <a:pt x="353" y="216"/>
                </a:lnTo>
                <a:lnTo>
                  <a:pt x="218" y="353"/>
                </a:lnTo>
                <a:lnTo>
                  <a:pt x="335" y="525"/>
                </a:lnTo>
                <a:lnTo>
                  <a:pt x="335" y="525"/>
                </a:lnTo>
                <a:lnTo>
                  <a:pt x="311" y="559"/>
                </a:lnTo>
                <a:lnTo>
                  <a:pt x="289" y="597"/>
                </a:lnTo>
                <a:lnTo>
                  <a:pt x="270" y="634"/>
                </a:lnTo>
                <a:lnTo>
                  <a:pt x="253" y="672"/>
                </a:lnTo>
                <a:lnTo>
                  <a:pt x="237" y="712"/>
                </a:lnTo>
                <a:lnTo>
                  <a:pt x="224" y="754"/>
                </a:lnTo>
                <a:lnTo>
                  <a:pt x="213" y="796"/>
                </a:lnTo>
                <a:lnTo>
                  <a:pt x="205" y="839"/>
                </a:lnTo>
                <a:lnTo>
                  <a:pt x="0" y="876"/>
                </a:lnTo>
                <a:lnTo>
                  <a:pt x="0" y="1069"/>
                </a:lnTo>
                <a:lnTo>
                  <a:pt x="205" y="1108"/>
                </a:lnTo>
                <a:lnTo>
                  <a:pt x="205" y="1108"/>
                </a:lnTo>
                <a:lnTo>
                  <a:pt x="213" y="1151"/>
                </a:lnTo>
                <a:lnTo>
                  <a:pt x="224" y="1192"/>
                </a:lnTo>
                <a:lnTo>
                  <a:pt x="237" y="1233"/>
                </a:lnTo>
                <a:lnTo>
                  <a:pt x="253" y="1273"/>
                </a:lnTo>
                <a:lnTo>
                  <a:pt x="270" y="1312"/>
                </a:lnTo>
                <a:lnTo>
                  <a:pt x="289" y="1350"/>
                </a:lnTo>
                <a:lnTo>
                  <a:pt x="311" y="1386"/>
                </a:lnTo>
                <a:lnTo>
                  <a:pt x="335" y="1422"/>
                </a:lnTo>
                <a:lnTo>
                  <a:pt x="218" y="1593"/>
                </a:lnTo>
                <a:lnTo>
                  <a:pt x="353" y="1729"/>
                </a:lnTo>
                <a:lnTo>
                  <a:pt x="525" y="1612"/>
                </a:lnTo>
                <a:lnTo>
                  <a:pt x="525" y="1612"/>
                </a:lnTo>
                <a:lnTo>
                  <a:pt x="561" y="1636"/>
                </a:lnTo>
                <a:lnTo>
                  <a:pt x="596" y="1656"/>
                </a:lnTo>
                <a:lnTo>
                  <a:pt x="634" y="1676"/>
                </a:lnTo>
                <a:lnTo>
                  <a:pt x="673" y="1693"/>
                </a:lnTo>
                <a:lnTo>
                  <a:pt x="713" y="1709"/>
                </a:lnTo>
                <a:lnTo>
                  <a:pt x="753" y="1722"/>
                </a:lnTo>
                <a:lnTo>
                  <a:pt x="796" y="1733"/>
                </a:lnTo>
                <a:lnTo>
                  <a:pt x="839" y="1742"/>
                </a:lnTo>
                <a:lnTo>
                  <a:pt x="877" y="1947"/>
                </a:lnTo>
                <a:lnTo>
                  <a:pt x="1069" y="1947"/>
                </a:lnTo>
                <a:lnTo>
                  <a:pt x="1107" y="1742"/>
                </a:lnTo>
                <a:lnTo>
                  <a:pt x="1107" y="1742"/>
                </a:lnTo>
                <a:lnTo>
                  <a:pt x="1150" y="1733"/>
                </a:lnTo>
                <a:lnTo>
                  <a:pt x="1193" y="1722"/>
                </a:lnTo>
                <a:lnTo>
                  <a:pt x="1233" y="1709"/>
                </a:lnTo>
                <a:lnTo>
                  <a:pt x="1273" y="1693"/>
                </a:lnTo>
                <a:lnTo>
                  <a:pt x="1312" y="1676"/>
                </a:lnTo>
                <a:lnTo>
                  <a:pt x="1350" y="1656"/>
                </a:lnTo>
                <a:lnTo>
                  <a:pt x="1385" y="1636"/>
                </a:lnTo>
                <a:lnTo>
                  <a:pt x="1421" y="1612"/>
                </a:lnTo>
                <a:lnTo>
                  <a:pt x="1593" y="1729"/>
                </a:lnTo>
                <a:lnTo>
                  <a:pt x="1728" y="1593"/>
                </a:lnTo>
                <a:lnTo>
                  <a:pt x="1611" y="1422"/>
                </a:lnTo>
                <a:lnTo>
                  <a:pt x="1611" y="1422"/>
                </a:lnTo>
                <a:lnTo>
                  <a:pt x="1635" y="1386"/>
                </a:lnTo>
                <a:lnTo>
                  <a:pt x="1657" y="1350"/>
                </a:lnTo>
                <a:lnTo>
                  <a:pt x="1676" y="1312"/>
                </a:lnTo>
                <a:lnTo>
                  <a:pt x="1693" y="1273"/>
                </a:lnTo>
                <a:lnTo>
                  <a:pt x="1709" y="1233"/>
                </a:lnTo>
                <a:lnTo>
                  <a:pt x="1722" y="1192"/>
                </a:lnTo>
                <a:lnTo>
                  <a:pt x="1733" y="1151"/>
                </a:lnTo>
                <a:lnTo>
                  <a:pt x="1741" y="1108"/>
                </a:lnTo>
                <a:lnTo>
                  <a:pt x="1946" y="1069"/>
                </a:lnTo>
                <a:lnTo>
                  <a:pt x="1946" y="876"/>
                </a:lnTo>
                <a:lnTo>
                  <a:pt x="1741" y="839"/>
                </a:lnTo>
                <a:close/>
                <a:moveTo>
                  <a:pt x="974" y="1622"/>
                </a:moveTo>
                <a:lnTo>
                  <a:pt x="974" y="1622"/>
                </a:lnTo>
                <a:lnTo>
                  <a:pt x="939" y="1622"/>
                </a:lnTo>
                <a:lnTo>
                  <a:pt x="906" y="1619"/>
                </a:lnTo>
                <a:lnTo>
                  <a:pt x="875" y="1615"/>
                </a:lnTo>
                <a:lnTo>
                  <a:pt x="843" y="1609"/>
                </a:lnTo>
                <a:lnTo>
                  <a:pt x="811" y="1603"/>
                </a:lnTo>
                <a:lnTo>
                  <a:pt x="781" y="1593"/>
                </a:lnTo>
                <a:lnTo>
                  <a:pt x="751" y="1583"/>
                </a:lnTo>
                <a:lnTo>
                  <a:pt x="720" y="1571"/>
                </a:lnTo>
                <a:lnTo>
                  <a:pt x="691" y="1558"/>
                </a:lnTo>
                <a:lnTo>
                  <a:pt x="664" y="1543"/>
                </a:lnTo>
                <a:lnTo>
                  <a:pt x="636" y="1528"/>
                </a:lnTo>
                <a:lnTo>
                  <a:pt x="610" y="1512"/>
                </a:lnTo>
                <a:lnTo>
                  <a:pt x="585" y="1494"/>
                </a:lnTo>
                <a:lnTo>
                  <a:pt x="561" y="1474"/>
                </a:lnTo>
                <a:lnTo>
                  <a:pt x="537" y="1454"/>
                </a:lnTo>
                <a:lnTo>
                  <a:pt x="515" y="1432"/>
                </a:lnTo>
                <a:lnTo>
                  <a:pt x="493" y="1410"/>
                </a:lnTo>
                <a:lnTo>
                  <a:pt x="472" y="1386"/>
                </a:lnTo>
                <a:lnTo>
                  <a:pt x="453" y="1361"/>
                </a:lnTo>
                <a:lnTo>
                  <a:pt x="435" y="1335"/>
                </a:lnTo>
                <a:lnTo>
                  <a:pt x="419" y="1309"/>
                </a:lnTo>
                <a:lnTo>
                  <a:pt x="402" y="1283"/>
                </a:lnTo>
                <a:lnTo>
                  <a:pt x="388" y="1254"/>
                </a:lnTo>
                <a:lnTo>
                  <a:pt x="375" y="1225"/>
                </a:lnTo>
                <a:lnTo>
                  <a:pt x="364" y="1196"/>
                </a:lnTo>
                <a:lnTo>
                  <a:pt x="354" y="1166"/>
                </a:lnTo>
                <a:lnTo>
                  <a:pt x="344" y="1135"/>
                </a:lnTo>
                <a:lnTo>
                  <a:pt x="337" y="1104"/>
                </a:lnTo>
                <a:lnTo>
                  <a:pt x="332" y="1072"/>
                </a:lnTo>
                <a:lnTo>
                  <a:pt x="328" y="1039"/>
                </a:lnTo>
                <a:lnTo>
                  <a:pt x="325" y="1006"/>
                </a:lnTo>
                <a:lnTo>
                  <a:pt x="324" y="973"/>
                </a:lnTo>
                <a:lnTo>
                  <a:pt x="324" y="973"/>
                </a:lnTo>
                <a:lnTo>
                  <a:pt x="325" y="940"/>
                </a:lnTo>
                <a:lnTo>
                  <a:pt x="328" y="907"/>
                </a:lnTo>
                <a:lnTo>
                  <a:pt x="332" y="875"/>
                </a:lnTo>
                <a:lnTo>
                  <a:pt x="337" y="842"/>
                </a:lnTo>
                <a:lnTo>
                  <a:pt x="344" y="812"/>
                </a:lnTo>
                <a:lnTo>
                  <a:pt x="354" y="780"/>
                </a:lnTo>
                <a:lnTo>
                  <a:pt x="364" y="750"/>
                </a:lnTo>
                <a:lnTo>
                  <a:pt x="375" y="721"/>
                </a:lnTo>
                <a:lnTo>
                  <a:pt x="388" y="692"/>
                </a:lnTo>
                <a:lnTo>
                  <a:pt x="402" y="664"/>
                </a:lnTo>
                <a:lnTo>
                  <a:pt x="419" y="637"/>
                </a:lnTo>
                <a:lnTo>
                  <a:pt x="435" y="610"/>
                </a:lnTo>
                <a:lnTo>
                  <a:pt x="453" y="586"/>
                </a:lnTo>
                <a:lnTo>
                  <a:pt x="472" y="561"/>
                </a:lnTo>
                <a:lnTo>
                  <a:pt x="493" y="537"/>
                </a:lnTo>
                <a:lnTo>
                  <a:pt x="515" y="514"/>
                </a:lnTo>
                <a:lnTo>
                  <a:pt x="537" y="493"/>
                </a:lnTo>
                <a:lnTo>
                  <a:pt x="561" y="473"/>
                </a:lnTo>
                <a:lnTo>
                  <a:pt x="585" y="453"/>
                </a:lnTo>
                <a:lnTo>
                  <a:pt x="610" y="435"/>
                </a:lnTo>
                <a:lnTo>
                  <a:pt x="636" y="418"/>
                </a:lnTo>
                <a:lnTo>
                  <a:pt x="664" y="402"/>
                </a:lnTo>
                <a:lnTo>
                  <a:pt x="691" y="389"/>
                </a:lnTo>
                <a:lnTo>
                  <a:pt x="720" y="375"/>
                </a:lnTo>
                <a:lnTo>
                  <a:pt x="751" y="364"/>
                </a:lnTo>
                <a:lnTo>
                  <a:pt x="781" y="353"/>
                </a:lnTo>
                <a:lnTo>
                  <a:pt x="811" y="344"/>
                </a:lnTo>
                <a:lnTo>
                  <a:pt x="843" y="338"/>
                </a:lnTo>
                <a:lnTo>
                  <a:pt x="875" y="332"/>
                </a:lnTo>
                <a:lnTo>
                  <a:pt x="906" y="328"/>
                </a:lnTo>
                <a:lnTo>
                  <a:pt x="939" y="325"/>
                </a:lnTo>
                <a:lnTo>
                  <a:pt x="974" y="324"/>
                </a:lnTo>
                <a:lnTo>
                  <a:pt x="974" y="324"/>
                </a:lnTo>
                <a:lnTo>
                  <a:pt x="1007" y="325"/>
                </a:lnTo>
                <a:lnTo>
                  <a:pt x="1040" y="328"/>
                </a:lnTo>
                <a:lnTo>
                  <a:pt x="1071" y="332"/>
                </a:lnTo>
                <a:lnTo>
                  <a:pt x="1103" y="338"/>
                </a:lnTo>
                <a:lnTo>
                  <a:pt x="1135" y="344"/>
                </a:lnTo>
                <a:lnTo>
                  <a:pt x="1165" y="353"/>
                </a:lnTo>
                <a:lnTo>
                  <a:pt x="1195" y="364"/>
                </a:lnTo>
                <a:lnTo>
                  <a:pt x="1226" y="375"/>
                </a:lnTo>
                <a:lnTo>
                  <a:pt x="1255" y="389"/>
                </a:lnTo>
                <a:lnTo>
                  <a:pt x="1282" y="402"/>
                </a:lnTo>
                <a:lnTo>
                  <a:pt x="1310" y="418"/>
                </a:lnTo>
                <a:lnTo>
                  <a:pt x="1336" y="435"/>
                </a:lnTo>
                <a:lnTo>
                  <a:pt x="1361" y="453"/>
                </a:lnTo>
                <a:lnTo>
                  <a:pt x="1385" y="473"/>
                </a:lnTo>
                <a:lnTo>
                  <a:pt x="1409" y="493"/>
                </a:lnTo>
                <a:lnTo>
                  <a:pt x="1431" y="514"/>
                </a:lnTo>
                <a:lnTo>
                  <a:pt x="1453" y="537"/>
                </a:lnTo>
                <a:lnTo>
                  <a:pt x="1474" y="561"/>
                </a:lnTo>
                <a:lnTo>
                  <a:pt x="1493" y="586"/>
                </a:lnTo>
                <a:lnTo>
                  <a:pt x="1511" y="610"/>
                </a:lnTo>
                <a:lnTo>
                  <a:pt x="1527" y="637"/>
                </a:lnTo>
                <a:lnTo>
                  <a:pt x="1544" y="664"/>
                </a:lnTo>
                <a:lnTo>
                  <a:pt x="1558" y="692"/>
                </a:lnTo>
                <a:lnTo>
                  <a:pt x="1571" y="721"/>
                </a:lnTo>
                <a:lnTo>
                  <a:pt x="1582" y="750"/>
                </a:lnTo>
                <a:lnTo>
                  <a:pt x="1592" y="780"/>
                </a:lnTo>
                <a:lnTo>
                  <a:pt x="1602" y="812"/>
                </a:lnTo>
                <a:lnTo>
                  <a:pt x="1609" y="842"/>
                </a:lnTo>
                <a:lnTo>
                  <a:pt x="1614" y="875"/>
                </a:lnTo>
                <a:lnTo>
                  <a:pt x="1618" y="907"/>
                </a:lnTo>
                <a:lnTo>
                  <a:pt x="1621" y="940"/>
                </a:lnTo>
                <a:lnTo>
                  <a:pt x="1622" y="973"/>
                </a:lnTo>
                <a:lnTo>
                  <a:pt x="1622" y="973"/>
                </a:lnTo>
                <a:lnTo>
                  <a:pt x="1621" y="1006"/>
                </a:lnTo>
                <a:lnTo>
                  <a:pt x="1618" y="1039"/>
                </a:lnTo>
                <a:lnTo>
                  <a:pt x="1614" y="1072"/>
                </a:lnTo>
                <a:lnTo>
                  <a:pt x="1609" y="1104"/>
                </a:lnTo>
                <a:lnTo>
                  <a:pt x="1602" y="1135"/>
                </a:lnTo>
                <a:lnTo>
                  <a:pt x="1592" y="1166"/>
                </a:lnTo>
                <a:lnTo>
                  <a:pt x="1582" y="1196"/>
                </a:lnTo>
                <a:lnTo>
                  <a:pt x="1571" y="1225"/>
                </a:lnTo>
                <a:lnTo>
                  <a:pt x="1558" y="1254"/>
                </a:lnTo>
                <a:lnTo>
                  <a:pt x="1544" y="1283"/>
                </a:lnTo>
                <a:lnTo>
                  <a:pt x="1527" y="1309"/>
                </a:lnTo>
                <a:lnTo>
                  <a:pt x="1511" y="1335"/>
                </a:lnTo>
                <a:lnTo>
                  <a:pt x="1493" y="1361"/>
                </a:lnTo>
                <a:lnTo>
                  <a:pt x="1474" y="1386"/>
                </a:lnTo>
                <a:lnTo>
                  <a:pt x="1453" y="1410"/>
                </a:lnTo>
                <a:lnTo>
                  <a:pt x="1431" y="1432"/>
                </a:lnTo>
                <a:lnTo>
                  <a:pt x="1409" y="1454"/>
                </a:lnTo>
                <a:lnTo>
                  <a:pt x="1385" y="1474"/>
                </a:lnTo>
                <a:lnTo>
                  <a:pt x="1361" y="1494"/>
                </a:lnTo>
                <a:lnTo>
                  <a:pt x="1336" y="1512"/>
                </a:lnTo>
                <a:lnTo>
                  <a:pt x="1310" y="1528"/>
                </a:lnTo>
                <a:lnTo>
                  <a:pt x="1282" y="1543"/>
                </a:lnTo>
                <a:lnTo>
                  <a:pt x="1255" y="1558"/>
                </a:lnTo>
                <a:lnTo>
                  <a:pt x="1226" y="1571"/>
                </a:lnTo>
                <a:lnTo>
                  <a:pt x="1195" y="1583"/>
                </a:lnTo>
                <a:lnTo>
                  <a:pt x="1165" y="1593"/>
                </a:lnTo>
                <a:lnTo>
                  <a:pt x="1135" y="1603"/>
                </a:lnTo>
                <a:lnTo>
                  <a:pt x="1103" y="1609"/>
                </a:lnTo>
                <a:lnTo>
                  <a:pt x="1071" y="1615"/>
                </a:lnTo>
                <a:lnTo>
                  <a:pt x="1040" y="1619"/>
                </a:lnTo>
                <a:lnTo>
                  <a:pt x="1007" y="1622"/>
                </a:lnTo>
                <a:lnTo>
                  <a:pt x="974" y="1622"/>
                </a:lnTo>
                <a:lnTo>
                  <a:pt x="974" y="1622"/>
                </a:ln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5"/>
          <p:cNvSpPr>
            <a:spLocks noEditPoints="1"/>
          </p:cNvSpPr>
          <p:nvPr/>
        </p:nvSpPr>
        <p:spPr bwMode="auto">
          <a:xfrm>
            <a:off x="6212382" y="2012047"/>
            <a:ext cx="1351394" cy="1352087"/>
          </a:xfrm>
          <a:custGeom>
            <a:avLst/>
            <a:gdLst>
              <a:gd name="T0" fmla="*/ 1722 w 1946"/>
              <a:gd name="T1" fmla="*/ 754 h 1947"/>
              <a:gd name="T2" fmla="*/ 1657 w 1946"/>
              <a:gd name="T3" fmla="*/ 597 h 1947"/>
              <a:gd name="T4" fmla="*/ 1593 w 1946"/>
              <a:gd name="T5" fmla="*/ 216 h 1947"/>
              <a:gd name="T6" fmla="*/ 1350 w 1946"/>
              <a:gd name="T7" fmla="*/ 289 h 1947"/>
              <a:gd name="T8" fmla="*/ 1193 w 1946"/>
              <a:gd name="T9" fmla="*/ 225 h 1947"/>
              <a:gd name="T10" fmla="*/ 877 w 1946"/>
              <a:gd name="T11" fmla="*/ 0 h 1947"/>
              <a:gd name="T12" fmla="*/ 753 w 1946"/>
              <a:gd name="T13" fmla="*/ 225 h 1947"/>
              <a:gd name="T14" fmla="*/ 596 w 1946"/>
              <a:gd name="T15" fmla="*/ 289 h 1947"/>
              <a:gd name="T16" fmla="*/ 218 w 1946"/>
              <a:gd name="T17" fmla="*/ 353 h 1947"/>
              <a:gd name="T18" fmla="*/ 289 w 1946"/>
              <a:gd name="T19" fmla="*/ 597 h 1947"/>
              <a:gd name="T20" fmla="*/ 224 w 1946"/>
              <a:gd name="T21" fmla="*/ 754 h 1947"/>
              <a:gd name="T22" fmla="*/ 0 w 1946"/>
              <a:gd name="T23" fmla="*/ 1069 h 1947"/>
              <a:gd name="T24" fmla="*/ 224 w 1946"/>
              <a:gd name="T25" fmla="*/ 1192 h 1947"/>
              <a:gd name="T26" fmla="*/ 289 w 1946"/>
              <a:gd name="T27" fmla="*/ 1350 h 1947"/>
              <a:gd name="T28" fmla="*/ 353 w 1946"/>
              <a:gd name="T29" fmla="*/ 1729 h 1947"/>
              <a:gd name="T30" fmla="*/ 596 w 1946"/>
              <a:gd name="T31" fmla="*/ 1656 h 1947"/>
              <a:gd name="T32" fmla="*/ 753 w 1946"/>
              <a:gd name="T33" fmla="*/ 1722 h 1947"/>
              <a:gd name="T34" fmla="*/ 1069 w 1946"/>
              <a:gd name="T35" fmla="*/ 1947 h 1947"/>
              <a:gd name="T36" fmla="*/ 1193 w 1946"/>
              <a:gd name="T37" fmla="*/ 1722 h 1947"/>
              <a:gd name="T38" fmla="*/ 1350 w 1946"/>
              <a:gd name="T39" fmla="*/ 1656 h 1947"/>
              <a:gd name="T40" fmla="*/ 1728 w 1946"/>
              <a:gd name="T41" fmla="*/ 1593 h 1947"/>
              <a:gd name="T42" fmla="*/ 1657 w 1946"/>
              <a:gd name="T43" fmla="*/ 1350 h 1947"/>
              <a:gd name="T44" fmla="*/ 1722 w 1946"/>
              <a:gd name="T45" fmla="*/ 1192 h 1947"/>
              <a:gd name="T46" fmla="*/ 1946 w 1946"/>
              <a:gd name="T47" fmla="*/ 876 h 1947"/>
              <a:gd name="T48" fmla="*/ 939 w 1946"/>
              <a:gd name="T49" fmla="*/ 1622 h 1947"/>
              <a:gd name="T50" fmla="*/ 811 w 1946"/>
              <a:gd name="T51" fmla="*/ 1603 h 1947"/>
              <a:gd name="T52" fmla="*/ 691 w 1946"/>
              <a:gd name="T53" fmla="*/ 1558 h 1947"/>
              <a:gd name="T54" fmla="*/ 585 w 1946"/>
              <a:gd name="T55" fmla="*/ 1494 h 1947"/>
              <a:gd name="T56" fmla="*/ 493 w 1946"/>
              <a:gd name="T57" fmla="*/ 1410 h 1947"/>
              <a:gd name="T58" fmla="*/ 419 w 1946"/>
              <a:gd name="T59" fmla="*/ 1309 h 1947"/>
              <a:gd name="T60" fmla="*/ 364 w 1946"/>
              <a:gd name="T61" fmla="*/ 1196 h 1947"/>
              <a:gd name="T62" fmla="*/ 332 w 1946"/>
              <a:gd name="T63" fmla="*/ 1072 h 1947"/>
              <a:gd name="T64" fmla="*/ 324 w 1946"/>
              <a:gd name="T65" fmla="*/ 973 h 1947"/>
              <a:gd name="T66" fmla="*/ 337 w 1946"/>
              <a:gd name="T67" fmla="*/ 842 h 1947"/>
              <a:gd name="T68" fmla="*/ 375 w 1946"/>
              <a:gd name="T69" fmla="*/ 721 h 1947"/>
              <a:gd name="T70" fmla="*/ 435 w 1946"/>
              <a:gd name="T71" fmla="*/ 610 h 1947"/>
              <a:gd name="T72" fmla="*/ 515 w 1946"/>
              <a:gd name="T73" fmla="*/ 514 h 1947"/>
              <a:gd name="T74" fmla="*/ 610 w 1946"/>
              <a:gd name="T75" fmla="*/ 435 h 1947"/>
              <a:gd name="T76" fmla="*/ 720 w 1946"/>
              <a:gd name="T77" fmla="*/ 375 h 1947"/>
              <a:gd name="T78" fmla="*/ 843 w 1946"/>
              <a:gd name="T79" fmla="*/ 338 h 1947"/>
              <a:gd name="T80" fmla="*/ 974 w 1946"/>
              <a:gd name="T81" fmla="*/ 324 h 1947"/>
              <a:gd name="T82" fmla="*/ 1071 w 1946"/>
              <a:gd name="T83" fmla="*/ 332 h 1947"/>
              <a:gd name="T84" fmla="*/ 1195 w 1946"/>
              <a:gd name="T85" fmla="*/ 364 h 1947"/>
              <a:gd name="T86" fmla="*/ 1310 w 1946"/>
              <a:gd name="T87" fmla="*/ 418 h 1947"/>
              <a:gd name="T88" fmla="*/ 1409 w 1946"/>
              <a:gd name="T89" fmla="*/ 493 h 1947"/>
              <a:gd name="T90" fmla="*/ 1493 w 1946"/>
              <a:gd name="T91" fmla="*/ 586 h 1947"/>
              <a:gd name="T92" fmla="*/ 1558 w 1946"/>
              <a:gd name="T93" fmla="*/ 692 h 1947"/>
              <a:gd name="T94" fmla="*/ 1602 w 1946"/>
              <a:gd name="T95" fmla="*/ 812 h 1947"/>
              <a:gd name="T96" fmla="*/ 1621 w 1946"/>
              <a:gd name="T97" fmla="*/ 940 h 1947"/>
              <a:gd name="T98" fmla="*/ 1618 w 1946"/>
              <a:gd name="T99" fmla="*/ 1039 h 1947"/>
              <a:gd name="T100" fmla="*/ 1592 w 1946"/>
              <a:gd name="T101" fmla="*/ 1166 h 1947"/>
              <a:gd name="T102" fmla="*/ 1544 w 1946"/>
              <a:gd name="T103" fmla="*/ 1283 h 1947"/>
              <a:gd name="T104" fmla="*/ 1474 w 1946"/>
              <a:gd name="T105" fmla="*/ 1386 h 1947"/>
              <a:gd name="T106" fmla="*/ 1385 w 1946"/>
              <a:gd name="T107" fmla="*/ 1474 h 1947"/>
              <a:gd name="T108" fmla="*/ 1282 w 1946"/>
              <a:gd name="T109" fmla="*/ 1543 h 1947"/>
              <a:gd name="T110" fmla="*/ 1165 w 1946"/>
              <a:gd name="T111" fmla="*/ 1593 h 1947"/>
              <a:gd name="T112" fmla="*/ 1040 w 1946"/>
              <a:gd name="T113" fmla="*/ 1619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6" h="1947">
                <a:moveTo>
                  <a:pt x="1741" y="839"/>
                </a:moveTo>
                <a:lnTo>
                  <a:pt x="1741" y="839"/>
                </a:lnTo>
                <a:lnTo>
                  <a:pt x="1733" y="796"/>
                </a:lnTo>
                <a:lnTo>
                  <a:pt x="1722" y="754"/>
                </a:lnTo>
                <a:lnTo>
                  <a:pt x="1709" y="712"/>
                </a:lnTo>
                <a:lnTo>
                  <a:pt x="1693" y="672"/>
                </a:lnTo>
                <a:lnTo>
                  <a:pt x="1676" y="634"/>
                </a:lnTo>
                <a:lnTo>
                  <a:pt x="1657" y="597"/>
                </a:lnTo>
                <a:lnTo>
                  <a:pt x="1635" y="559"/>
                </a:lnTo>
                <a:lnTo>
                  <a:pt x="1611" y="525"/>
                </a:lnTo>
                <a:lnTo>
                  <a:pt x="1728" y="353"/>
                </a:lnTo>
                <a:lnTo>
                  <a:pt x="1593" y="216"/>
                </a:lnTo>
                <a:lnTo>
                  <a:pt x="1421" y="335"/>
                </a:lnTo>
                <a:lnTo>
                  <a:pt x="1421" y="335"/>
                </a:lnTo>
                <a:lnTo>
                  <a:pt x="1385" y="311"/>
                </a:lnTo>
                <a:lnTo>
                  <a:pt x="1350" y="289"/>
                </a:lnTo>
                <a:lnTo>
                  <a:pt x="1312" y="270"/>
                </a:lnTo>
                <a:lnTo>
                  <a:pt x="1273" y="252"/>
                </a:lnTo>
                <a:lnTo>
                  <a:pt x="1233" y="237"/>
                </a:lnTo>
                <a:lnTo>
                  <a:pt x="1193" y="225"/>
                </a:lnTo>
                <a:lnTo>
                  <a:pt x="1150" y="214"/>
                </a:lnTo>
                <a:lnTo>
                  <a:pt x="1107" y="204"/>
                </a:lnTo>
                <a:lnTo>
                  <a:pt x="1069" y="0"/>
                </a:lnTo>
                <a:lnTo>
                  <a:pt x="877" y="0"/>
                </a:lnTo>
                <a:lnTo>
                  <a:pt x="839" y="204"/>
                </a:lnTo>
                <a:lnTo>
                  <a:pt x="839" y="204"/>
                </a:lnTo>
                <a:lnTo>
                  <a:pt x="796" y="214"/>
                </a:lnTo>
                <a:lnTo>
                  <a:pt x="753" y="225"/>
                </a:lnTo>
                <a:lnTo>
                  <a:pt x="713" y="237"/>
                </a:lnTo>
                <a:lnTo>
                  <a:pt x="673" y="252"/>
                </a:lnTo>
                <a:lnTo>
                  <a:pt x="634" y="270"/>
                </a:lnTo>
                <a:lnTo>
                  <a:pt x="596" y="289"/>
                </a:lnTo>
                <a:lnTo>
                  <a:pt x="561" y="311"/>
                </a:lnTo>
                <a:lnTo>
                  <a:pt x="525" y="335"/>
                </a:lnTo>
                <a:lnTo>
                  <a:pt x="353" y="216"/>
                </a:lnTo>
                <a:lnTo>
                  <a:pt x="218" y="353"/>
                </a:lnTo>
                <a:lnTo>
                  <a:pt x="335" y="525"/>
                </a:lnTo>
                <a:lnTo>
                  <a:pt x="335" y="525"/>
                </a:lnTo>
                <a:lnTo>
                  <a:pt x="311" y="559"/>
                </a:lnTo>
                <a:lnTo>
                  <a:pt x="289" y="597"/>
                </a:lnTo>
                <a:lnTo>
                  <a:pt x="270" y="634"/>
                </a:lnTo>
                <a:lnTo>
                  <a:pt x="253" y="672"/>
                </a:lnTo>
                <a:lnTo>
                  <a:pt x="237" y="712"/>
                </a:lnTo>
                <a:lnTo>
                  <a:pt x="224" y="754"/>
                </a:lnTo>
                <a:lnTo>
                  <a:pt x="213" y="796"/>
                </a:lnTo>
                <a:lnTo>
                  <a:pt x="205" y="839"/>
                </a:lnTo>
                <a:lnTo>
                  <a:pt x="0" y="876"/>
                </a:lnTo>
                <a:lnTo>
                  <a:pt x="0" y="1069"/>
                </a:lnTo>
                <a:lnTo>
                  <a:pt x="205" y="1108"/>
                </a:lnTo>
                <a:lnTo>
                  <a:pt x="205" y="1108"/>
                </a:lnTo>
                <a:lnTo>
                  <a:pt x="213" y="1151"/>
                </a:lnTo>
                <a:lnTo>
                  <a:pt x="224" y="1192"/>
                </a:lnTo>
                <a:lnTo>
                  <a:pt x="237" y="1233"/>
                </a:lnTo>
                <a:lnTo>
                  <a:pt x="253" y="1273"/>
                </a:lnTo>
                <a:lnTo>
                  <a:pt x="270" y="1312"/>
                </a:lnTo>
                <a:lnTo>
                  <a:pt x="289" y="1350"/>
                </a:lnTo>
                <a:lnTo>
                  <a:pt x="311" y="1386"/>
                </a:lnTo>
                <a:lnTo>
                  <a:pt x="335" y="1422"/>
                </a:lnTo>
                <a:lnTo>
                  <a:pt x="218" y="1593"/>
                </a:lnTo>
                <a:lnTo>
                  <a:pt x="353" y="1729"/>
                </a:lnTo>
                <a:lnTo>
                  <a:pt x="525" y="1612"/>
                </a:lnTo>
                <a:lnTo>
                  <a:pt x="525" y="1612"/>
                </a:lnTo>
                <a:lnTo>
                  <a:pt x="561" y="1636"/>
                </a:lnTo>
                <a:lnTo>
                  <a:pt x="596" y="1656"/>
                </a:lnTo>
                <a:lnTo>
                  <a:pt x="634" y="1676"/>
                </a:lnTo>
                <a:lnTo>
                  <a:pt x="673" y="1693"/>
                </a:lnTo>
                <a:lnTo>
                  <a:pt x="713" y="1709"/>
                </a:lnTo>
                <a:lnTo>
                  <a:pt x="753" y="1722"/>
                </a:lnTo>
                <a:lnTo>
                  <a:pt x="796" y="1733"/>
                </a:lnTo>
                <a:lnTo>
                  <a:pt x="839" y="1742"/>
                </a:lnTo>
                <a:lnTo>
                  <a:pt x="877" y="1947"/>
                </a:lnTo>
                <a:lnTo>
                  <a:pt x="1069" y="1947"/>
                </a:lnTo>
                <a:lnTo>
                  <a:pt x="1107" y="1742"/>
                </a:lnTo>
                <a:lnTo>
                  <a:pt x="1107" y="1742"/>
                </a:lnTo>
                <a:lnTo>
                  <a:pt x="1150" y="1733"/>
                </a:lnTo>
                <a:lnTo>
                  <a:pt x="1193" y="1722"/>
                </a:lnTo>
                <a:lnTo>
                  <a:pt x="1233" y="1709"/>
                </a:lnTo>
                <a:lnTo>
                  <a:pt x="1273" y="1693"/>
                </a:lnTo>
                <a:lnTo>
                  <a:pt x="1312" y="1676"/>
                </a:lnTo>
                <a:lnTo>
                  <a:pt x="1350" y="1656"/>
                </a:lnTo>
                <a:lnTo>
                  <a:pt x="1385" y="1636"/>
                </a:lnTo>
                <a:lnTo>
                  <a:pt x="1421" y="1612"/>
                </a:lnTo>
                <a:lnTo>
                  <a:pt x="1593" y="1729"/>
                </a:lnTo>
                <a:lnTo>
                  <a:pt x="1728" y="1593"/>
                </a:lnTo>
                <a:lnTo>
                  <a:pt x="1611" y="1422"/>
                </a:lnTo>
                <a:lnTo>
                  <a:pt x="1611" y="1422"/>
                </a:lnTo>
                <a:lnTo>
                  <a:pt x="1635" y="1386"/>
                </a:lnTo>
                <a:lnTo>
                  <a:pt x="1657" y="1350"/>
                </a:lnTo>
                <a:lnTo>
                  <a:pt x="1676" y="1312"/>
                </a:lnTo>
                <a:lnTo>
                  <a:pt x="1693" y="1273"/>
                </a:lnTo>
                <a:lnTo>
                  <a:pt x="1709" y="1233"/>
                </a:lnTo>
                <a:lnTo>
                  <a:pt x="1722" y="1192"/>
                </a:lnTo>
                <a:lnTo>
                  <a:pt x="1733" y="1151"/>
                </a:lnTo>
                <a:lnTo>
                  <a:pt x="1741" y="1108"/>
                </a:lnTo>
                <a:lnTo>
                  <a:pt x="1946" y="1069"/>
                </a:lnTo>
                <a:lnTo>
                  <a:pt x="1946" y="876"/>
                </a:lnTo>
                <a:lnTo>
                  <a:pt x="1741" y="839"/>
                </a:lnTo>
                <a:close/>
                <a:moveTo>
                  <a:pt x="974" y="1622"/>
                </a:moveTo>
                <a:lnTo>
                  <a:pt x="974" y="1622"/>
                </a:lnTo>
                <a:lnTo>
                  <a:pt x="939" y="1622"/>
                </a:lnTo>
                <a:lnTo>
                  <a:pt x="906" y="1619"/>
                </a:lnTo>
                <a:lnTo>
                  <a:pt x="875" y="1615"/>
                </a:lnTo>
                <a:lnTo>
                  <a:pt x="843" y="1609"/>
                </a:lnTo>
                <a:lnTo>
                  <a:pt x="811" y="1603"/>
                </a:lnTo>
                <a:lnTo>
                  <a:pt x="781" y="1593"/>
                </a:lnTo>
                <a:lnTo>
                  <a:pt x="751" y="1583"/>
                </a:lnTo>
                <a:lnTo>
                  <a:pt x="720" y="1571"/>
                </a:lnTo>
                <a:lnTo>
                  <a:pt x="691" y="1558"/>
                </a:lnTo>
                <a:lnTo>
                  <a:pt x="664" y="1543"/>
                </a:lnTo>
                <a:lnTo>
                  <a:pt x="636" y="1528"/>
                </a:lnTo>
                <a:lnTo>
                  <a:pt x="610" y="1512"/>
                </a:lnTo>
                <a:lnTo>
                  <a:pt x="585" y="1494"/>
                </a:lnTo>
                <a:lnTo>
                  <a:pt x="561" y="1474"/>
                </a:lnTo>
                <a:lnTo>
                  <a:pt x="537" y="1454"/>
                </a:lnTo>
                <a:lnTo>
                  <a:pt x="515" y="1432"/>
                </a:lnTo>
                <a:lnTo>
                  <a:pt x="493" y="1410"/>
                </a:lnTo>
                <a:lnTo>
                  <a:pt x="472" y="1386"/>
                </a:lnTo>
                <a:lnTo>
                  <a:pt x="453" y="1361"/>
                </a:lnTo>
                <a:lnTo>
                  <a:pt x="435" y="1335"/>
                </a:lnTo>
                <a:lnTo>
                  <a:pt x="419" y="1309"/>
                </a:lnTo>
                <a:lnTo>
                  <a:pt x="402" y="1283"/>
                </a:lnTo>
                <a:lnTo>
                  <a:pt x="388" y="1254"/>
                </a:lnTo>
                <a:lnTo>
                  <a:pt x="375" y="1225"/>
                </a:lnTo>
                <a:lnTo>
                  <a:pt x="364" y="1196"/>
                </a:lnTo>
                <a:lnTo>
                  <a:pt x="354" y="1166"/>
                </a:lnTo>
                <a:lnTo>
                  <a:pt x="344" y="1135"/>
                </a:lnTo>
                <a:lnTo>
                  <a:pt x="337" y="1104"/>
                </a:lnTo>
                <a:lnTo>
                  <a:pt x="332" y="1072"/>
                </a:lnTo>
                <a:lnTo>
                  <a:pt x="328" y="1039"/>
                </a:lnTo>
                <a:lnTo>
                  <a:pt x="325" y="1006"/>
                </a:lnTo>
                <a:lnTo>
                  <a:pt x="324" y="973"/>
                </a:lnTo>
                <a:lnTo>
                  <a:pt x="324" y="973"/>
                </a:lnTo>
                <a:lnTo>
                  <a:pt x="325" y="940"/>
                </a:lnTo>
                <a:lnTo>
                  <a:pt x="328" y="907"/>
                </a:lnTo>
                <a:lnTo>
                  <a:pt x="332" y="875"/>
                </a:lnTo>
                <a:lnTo>
                  <a:pt x="337" y="842"/>
                </a:lnTo>
                <a:lnTo>
                  <a:pt x="344" y="812"/>
                </a:lnTo>
                <a:lnTo>
                  <a:pt x="354" y="780"/>
                </a:lnTo>
                <a:lnTo>
                  <a:pt x="364" y="750"/>
                </a:lnTo>
                <a:lnTo>
                  <a:pt x="375" y="721"/>
                </a:lnTo>
                <a:lnTo>
                  <a:pt x="388" y="692"/>
                </a:lnTo>
                <a:lnTo>
                  <a:pt x="402" y="664"/>
                </a:lnTo>
                <a:lnTo>
                  <a:pt x="419" y="637"/>
                </a:lnTo>
                <a:lnTo>
                  <a:pt x="435" y="610"/>
                </a:lnTo>
                <a:lnTo>
                  <a:pt x="453" y="586"/>
                </a:lnTo>
                <a:lnTo>
                  <a:pt x="472" y="561"/>
                </a:lnTo>
                <a:lnTo>
                  <a:pt x="493" y="537"/>
                </a:lnTo>
                <a:lnTo>
                  <a:pt x="515" y="514"/>
                </a:lnTo>
                <a:lnTo>
                  <a:pt x="537" y="493"/>
                </a:lnTo>
                <a:lnTo>
                  <a:pt x="561" y="473"/>
                </a:lnTo>
                <a:lnTo>
                  <a:pt x="585" y="453"/>
                </a:lnTo>
                <a:lnTo>
                  <a:pt x="610" y="435"/>
                </a:lnTo>
                <a:lnTo>
                  <a:pt x="636" y="418"/>
                </a:lnTo>
                <a:lnTo>
                  <a:pt x="664" y="402"/>
                </a:lnTo>
                <a:lnTo>
                  <a:pt x="691" y="389"/>
                </a:lnTo>
                <a:lnTo>
                  <a:pt x="720" y="375"/>
                </a:lnTo>
                <a:lnTo>
                  <a:pt x="751" y="364"/>
                </a:lnTo>
                <a:lnTo>
                  <a:pt x="781" y="353"/>
                </a:lnTo>
                <a:lnTo>
                  <a:pt x="811" y="344"/>
                </a:lnTo>
                <a:lnTo>
                  <a:pt x="843" y="338"/>
                </a:lnTo>
                <a:lnTo>
                  <a:pt x="875" y="332"/>
                </a:lnTo>
                <a:lnTo>
                  <a:pt x="906" y="328"/>
                </a:lnTo>
                <a:lnTo>
                  <a:pt x="939" y="325"/>
                </a:lnTo>
                <a:lnTo>
                  <a:pt x="974" y="324"/>
                </a:lnTo>
                <a:lnTo>
                  <a:pt x="974" y="324"/>
                </a:lnTo>
                <a:lnTo>
                  <a:pt x="1007" y="325"/>
                </a:lnTo>
                <a:lnTo>
                  <a:pt x="1040" y="328"/>
                </a:lnTo>
                <a:lnTo>
                  <a:pt x="1071" y="332"/>
                </a:lnTo>
                <a:lnTo>
                  <a:pt x="1103" y="338"/>
                </a:lnTo>
                <a:lnTo>
                  <a:pt x="1135" y="344"/>
                </a:lnTo>
                <a:lnTo>
                  <a:pt x="1165" y="353"/>
                </a:lnTo>
                <a:lnTo>
                  <a:pt x="1195" y="364"/>
                </a:lnTo>
                <a:lnTo>
                  <a:pt x="1226" y="375"/>
                </a:lnTo>
                <a:lnTo>
                  <a:pt x="1255" y="389"/>
                </a:lnTo>
                <a:lnTo>
                  <a:pt x="1282" y="402"/>
                </a:lnTo>
                <a:lnTo>
                  <a:pt x="1310" y="418"/>
                </a:lnTo>
                <a:lnTo>
                  <a:pt x="1336" y="435"/>
                </a:lnTo>
                <a:lnTo>
                  <a:pt x="1361" y="453"/>
                </a:lnTo>
                <a:lnTo>
                  <a:pt x="1385" y="473"/>
                </a:lnTo>
                <a:lnTo>
                  <a:pt x="1409" y="493"/>
                </a:lnTo>
                <a:lnTo>
                  <a:pt x="1431" y="514"/>
                </a:lnTo>
                <a:lnTo>
                  <a:pt x="1453" y="537"/>
                </a:lnTo>
                <a:lnTo>
                  <a:pt x="1474" y="561"/>
                </a:lnTo>
                <a:lnTo>
                  <a:pt x="1493" y="586"/>
                </a:lnTo>
                <a:lnTo>
                  <a:pt x="1511" y="610"/>
                </a:lnTo>
                <a:lnTo>
                  <a:pt x="1527" y="637"/>
                </a:lnTo>
                <a:lnTo>
                  <a:pt x="1544" y="664"/>
                </a:lnTo>
                <a:lnTo>
                  <a:pt x="1558" y="692"/>
                </a:lnTo>
                <a:lnTo>
                  <a:pt x="1571" y="721"/>
                </a:lnTo>
                <a:lnTo>
                  <a:pt x="1582" y="750"/>
                </a:lnTo>
                <a:lnTo>
                  <a:pt x="1592" y="780"/>
                </a:lnTo>
                <a:lnTo>
                  <a:pt x="1602" y="812"/>
                </a:lnTo>
                <a:lnTo>
                  <a:pt x="1609" y="842"/>
                </a:lnTo>
                <a:lnTo>
                  <a:pt x="1614" y="875"/>
                </a:lnTo>
                <a:lnTo>
                  <a:pt x="1618" y="907"/>
                </a:lnTo>
                <a:lnTo>
                  <a:pt x="1621" y="940"/>
                </a:lnTo>
                <a:lnTo>
                  <a:pt x="1622" y="973"/>
                </a:lnTo>
                <a:lnTo>
                  <a:pt x="1622" y="973"/>
                </a:lnTo>
                <a:lnTo>
                  <a:pt x="1621" y="1006"/>
                </a:lnTo>
                <a:lnTo>
                  <a:pt x="1618" y="1039"/>
                </a:lnTo>
                <a:lnTo>
                  <a:pt x="1614" y="1072"/>
                </a:lnTo>
                <a:lnTo>
                  <a:pt x="1609" y="1104"/>
                </a:lnTo>
                <a:lnTo>
                  <a:pt x="1602" y="1135"/>
                </a:lnTo>
                <a:lnTo>
                  <a:pt x="1592" y="1166"/>
                </a:lnTo>
                <a:lnTo>
                  <a:pt x="1582" y="1196"/>
                </a:lnTo>
                <a:lnTo>
                  <a:pt x="1571" y="1225"/>
                </a:lnTo>
                <a:lnTo>
                  <a:pt x="1558" y="1254"/>
                </a:lnTo>
                <a:lnTo>
                  <a:pt x="1544" y="1283"/>
                </a:lnTo>
                <a:lnTo>
                  <a:pt x="1527" y="1309"/>
                </a:lnTo>
                <a:lnTo>
                  <a:pt x="1511" y="1335"/>
                </a:lnTo>
                <a:lnTo>
                  <a:pt x="1493" y="1361"/>
                </a:lnTo>
                <a:lnTo>
                  <a:pt x="1474" y="1386"/>
                </a:lnTo>
                <a:lnTo>
                  <a:pt x="1453" y="1410"/>
                </a:lnTo>
                <a:lnTo>
                  <a:pt x="1431" y="1432"/>
                </a:lnTo>
                <a:lnTo>
                  <a:pt x="1409" y="1454"/>
                </a:lnTo>
                <a:lnTo>
                  <a:pt x="1385" y="1474"/>
                </a:lnTo>
                <a:lnTo>
                  <a:pt x="1361" y="1494"/>
                </a:lnTo>
                <a:lnTo>
                  <a:pt x="1336" y="1512"/>
                </a:lnTo>
                <a:lnTo>
                  <a:pt x="1310" y="1528"/>
                </a:lnTo>
                <a:lnTo>
                  <a:pt x="1282" y="1543"/>
                </a:lnTo>
                <a:lnTo>
                  <a:pt x="1255" y="1558"/>
                </a:lnTo>
                <a:lnTo>
                  <a:pt x="1226" y="1571"/>
                </a:lnTo>
                <a:lnTo>
                  <a:pt x="1195" y="1583"/>
                </a:lnTo>
                <a:lnTo>
                  <a:pt x="1165" y="1593"/>
                </a:lnTo>
                <a:lnTo>
                  <a:pt x="1135" y="1603"/>
                </a:lnTo>
                <a:lnTo>
                  <a:pt x="1103" y="1609"/>
                </a:lnTo>
                <a:lnTo>
                  <a:pt x="1071" y="1615"/>
                </a:lnTo>
                <a:lnTo>
                  <a:pt x="1040" y="1619"/>
                </a:lnTo>
                <a:lnTo>
                  <a:pt x="1007" y="1622"/>
                </a:lnTo>
                <a:lnTo>
                  <a:pt x="974" y="1622"/>
                </a:lnTo>
                <a:lnTo>
                  <a:pt x="974" y="1622"/>
                </a:lnTo>
                <a:close/>
              </a:path>
            </a:pathLst>
          </a:custGeom>
          <a:solidFill>
            <a:srgbClr val="D5D5D5"/>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5"/>
          <p:cNvSpPr>
            <a:spLocks noEditPoints="1"/>
          </p:cNvSpPr>
          <p:nvPr/>
        </p:nvSpPr>
        <p:spPr bwMode="auto">
          <a:xfrm>
            <a:off x="3907111" y="2688091"/>
            <a:ext cx="1351394" cy="1352087"/>
          </a:xfrm>
          <a:custGeom>
            <a:avLst/>
            <a:gdLst>
              <a:gd name="T0" fmla="*/ 1722 w 1946"/>
              <a:gd name="T1" fmla="*/ 754 h 1947"/>
              <a:gd name="T2" fmla="*/ 1657 w 1946"/>
              <a:gd name="T3" fmla="*/ 597 h 1947"/>
              <a:gd name="T4" fmla="*/ 1593 w 1946"/>
              <a:gd name="T5" fmla="*/ 216 h 1947"/>
              <a:gd name="T6" fmla="*/ 1350 w 1946"/>
              <a:gd name="T7" fmla="*/ 289 h 1947"/>
              <a:gd name="T8" fmla="*/ 1193 w 1946"/>
              <a:gd name="T9" fmla="*/ 225 h 1947"/>
              <a:gd name="T10" fmla="*/ 877 w 1946"/>
              <a:gd name="T11" fmla="*/ 0 h 1947"/>
              <a:gd name="T12" fmla="*/ 753 w 1946"/>
              <a:gd name="T13" fmla="*/ 225 h 1947"/>
              <a:gd name="T14" fmla="*/ 596 w 1946"/>
              <a:gd name="T15" fmla="*/ 289 h 1947"/>
              <a:gd name="T16" fmla="*/ 218 w 1946"/>
              <a:gd name="T17" fmla="*/ 353 h 1947"/>
              <a:gd name="T18" fmla="*/ 289 w 1946"/>
              <a:gd name="T19" fmla="*/ 597 h 1947"/>
              <a:gd name="T20" fmla="*/ 224 w 1946"/>
              <a:gd name="T21" fmla="*/ 754 h 1947"/>
              <a:gd name="T22" fmla="*/ 0 w 1946"/>
              <a:gd name="T23" fmla="*/ 1069 h 1947"/>
              <a:gd name="T24" fmla="*/ 224 w 1946"/>
              <a:gd name="T25" fmla="*/ 1192 h 1947"/>
              <a:gd name="T26" fmla="*/ 289 w 1946"/>
              <a:gd name="T27" fmla="*/ 1350 h 1947"/>
              <a:gd name="T28" fmla="*/ 353 w 1946"/>
              <a:gd name="T29" fmla="*/ 1729 h 1947"/>
              <a:gd name="T30" fmla="*/ 596 w 1946"/>
              <a:gd name="T31" fmla="*/ 1656 h 1947"/>
              <a:gd name="T32" fmla="*/ 753 w 1946"/>
              <a:gd name="T33" fmla="*/ 1722 h 1947"/>
              <a:gd name="T34" fmla="*/ 1069 w 1946"/>
              <a:gd name="T35" fmla="*/ 1947 h 1947"/>
              <a:gd name="T36" fmla="*/ 1193 w 1946"/>
              <a:gd name="T37" fmla="*/ 1722 h 1947"/>
              <a:gd name="T38" fmla="*/ 1350 w 1946"/>
              <a:gd name="T39" fmla="*/ 1656 h 1947"/>
              <a:gd name="T40" fmla="*/ 1728 w 1946"/>
              <a:gd name="T41" fmla="*/ 1593 h 1947"/>
              <a:gd name="T42" fmla="*/ 1657 w 1946"/>
              <a:gd name="T43" fmla="*/ 1350 h 1947"/>
              <a:gd name="T44" fmla="*/ 1722 w 1946"/>
              <a:gd name="T45" fmla="*/ 1192 h 1947"/>
              <a:gd name="T46" fmla="*/ 1946 w 1946"/>
              <a:gd name="T47" fmla="*/ 876 h 1947"/>
              <a:gd name="T48" fmla="*/ 939 w 1946"/>
              <a:gd name="T49" fmla="*/ 1622 h 1947"/>
              <a:gd name="T50" fmla="*/ 811 w 1946"/>
              <a:gd name="T51" fmla="*/ 1603 h 1947"/>
              <a:gd name="T52" fmla="*/ 691 w 1946"/>
              <a:gd name="T53" fmla="*/ 1558 h 1947"/>
              <a:gd name="T54" fmla="*/ 585 w 1946"/>
              <a:gd name="T55" fmla="*/ 1494 h 1947"/>
              <a:gd name="T56" fmla="*/ 493 w 1946"/>
              <a:gd name="T57" fmla="*/ 1410 h 1947"/>
              <a:gd name="T58" fmla="*/ 419 w 1946"/>
              <a:gd name="T59" fmla="*/ 1309 h 1947"/>
              <a:gd name="T60" fmla="*/ 364 w 1946"/>
              <a:gd name="T61" fmla="*/ 1196 h 1947"/>
              <a:gd name="T62" fmla="*/ 332 w 1946"/>
              <a:gd name="T63" fmla="*/ 1072 h 1947"/>
              <a:gd name="T64" fmla="*/ 324 w 1946"/>
              <a:gd name="T65" fmla="*/ 973 h 1947"/>
              <a:gd name="T66" fmla="*/ 337 w 1946"/>
              <a:gd name="T67" fmla="*/ 842 h 1947"/>
              <a:gd name="T68" fmla="*/ 375 w 1946"/>
              <a:gd name="T69" fmla="*/ 721 h 1947"/>
              <a:gd name="T70" fmla="*/ 435 w 1946"/>
              <a:gd name="T71" fmla="*/ 610 h 1947"/>
              <a:gd name="T72" fmla="*/ 515 w 1946"/>
              <a:gd name="T73" fmla="*/ 514 h 1947"/>
              <a:gd name="T74" fmla="*/ 610 w 1946"/>
              <a:gd name="T75" fmla="*/ 435 h 1947"/>
              <a:gd name="T76" fmla="*/ 720 w 1946"/>
              <a:gd name="T77" fmla="*/ 375 h 1947"/>
              <a:gd name="T78" fmla="*/ 843 w 1946"/>
              <a:gd name="T79" fmla="*/ 338 h 1947"/>
              <a:gd name="T80" fmla="*/ 974 w 1946"/>
              <a:gd name="T81" fmla="*/ 324 h 1947"/>
              <a:gd name="T82" fmla="*/ 1071 w 1946"/>
              <a:gd name="T83" fmla="*/ 332 h 1947"/>
              <a:gd name="T84" fmla="*/ 1195 w 1946"/>
              <a:gd name="T85" fmla="*/ 364 h 1947"/>
              <a:gd name="T86" fmla="*/ 1310 w 1946"/>
              <a:gd name="T87" fmla="*/ 418 h 1947"/>
              <a:gd name="T88" fmla="*/ 1409 w 1946"/>
              <a:gd name="T89" fmla="*/ 493 h 1947"/>
              <a:gd name="T90" fmla="*/ 1493 w 1946"/>
              <a:gd name="T91" fmla="*/ 586 h 1947"/>
              <a:gd name="T92" fmla="*/ 1558 w 1946"/>
              <a:gd name="T93" fmla="*/ 692 h 1947"/>
              <a:gd name="T94" fmla="*/ 1602 w 1946"/>
              <a:gd name="T95" fmla="*/ 812 h 1947"/>
              <a:gd name="T96" fmla="*/ 1621 w 1946"/>
              <a:gd name="T97" fmla="*/ 940 h 1947"/>
              <a:gd name="T98" fmla="*/ 1618 w 1946"/>
              <a:gd name="T99" fmla="*/ 1039 h 1947"/>
              <a:gd name="T100" fmla="*/ 1592 w 1946"/>
              <a:gd name="T101" fmla="*/ 1166 h 1947"/>
              <a:gd name="T102" fmla="*/ 1544 w 1946"/>
              <a:gd name="T103" fmla="*/ 1283 h 1947"/>
              <a:gd name="T104" fmla="*/ 1474 w 1946"/>
              <a:gd name="T105" fmla="*/ 1386 h 1947"/>
              <a:gd name="T106" fmla="*/ 1385 w 1946"/>
              <a:gd name="T107" fmla="*/ 1474 h 1947"/>
              <a:gd name="T108" fmla="*/ 1282 w 1946"/>
              <a:gd name="T109" fmla="*/ 1543 h 1947"/>
              <a:gd name="T110" fmla="*/ 1165 w 1946"/>
              <a:gd name="T111" fmla="*/ 1593 h 1947"/>
              <a:gd name="T112" fmla="*/ 1040 w 1946"/>
              <a:gd name="T113" fmla="*/ 1619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6" h="1947">
                <a:moveTo>
                  <a:pt x="1741" y="839"/>
                </a:moveTo>
                <a:lnTo>
                  <a:pt x="1741" y="839"/>
                </a:lnTo>
                <a:lnTo>
                  <a:pt x="1733" y="796"/>
                </a:lnTo>
                <a:lnTo>
                  <a:pt x="1722" y="754"/>
                </a:lnTo>
                <a:lnTo>
                  <a:pt x="1709" y="712"/>
                </a:lnTo>
                <a:lnTo>
                  <a:pt x="1693" y="672"/>
                </a:lnTo>
                <a:lnTo>
                  <a:pt x="1676" y="634"/>
                </a:lnTo>
                <a:lnTo>
                  <a:pt x="1657" y="597"/>
                </a:lnTo>
                <a:lnTo>
                  <a:pt x="1635" y="559"/>
                </a:lnTo>
                <a:lnTo>
                  <a:pt x="1611" y="525"/>
                </a:lnTo>
                <a:lnTo>
                  <a:pt x="1728" y="353"/>
                </a:lnTo>
                <a:lnTo>
                  <a:pt x="1593" y="216"/>
                </a:lnTo>
                <a:lnTo>
                  <a:pt x="1421" y="335"/>
                </a:lnTo>
                <a:lnTo>
                  <a:pt x="1421" y="335"/>
                </a:lnTo>
                <a:lnTo>
                  <a:pt x="1385" y="311"/>
                </a:lnTo>
                <a:lnTo>
                  <a:pt x="1350" y="289"/>
                </a:lnTo>
                <a:lnTo>
                  <a:pt x="1312" y="270"/>
                </a:lnTo>
                <a:lnTo>
                  <a:pt x="1273" y="252"/>
                </a:lnTo>
                <a:lnTo>
                  <a:pt x="1233" y="237"/>
                </a:lnTo>
                <a:lnTo>
                  <a:pt x="1193" y="225"/>
                </a:lnTo>
                <a:lnTo>
                  <a:pt x="1150" y="214"/>
                </a:lnTo>
                <a:lnTo>
                  <a:pt x="1107" y="204"/>
                </a:lnTo>
                <a:lnTo>
                  <a:pt x="1069" y="0"/>
                </a:lnTo>
                <a:lnTo>
                  <a:pt x="877" y="0"/>
                </a:lnTo>
                <a:lnTo>
                  <a:pt x="839" y="204"/>
                </a:lnTo>
                <a:lnTo>
                  <a:pt x="839" y="204"/>
                </a:lnTo>
                <a:lnTo>
                  <a:pt x="796" y="214"/>
                </a:lnTo>
                <a:lnTo>
                  <a:pt x="753" y="225"/>
                </a:lnTo>
                <a:lnTo>
                  <a:pt x="713" y="237"/>
                </a:lnTo>
                <a:lnTo>
                  <a:pt x="673" y="252"/>
                </a:lnTo>
                <a:lnTo>
                  <a:pt x="634" y="270"/>
                </a:lnTo>
                <a:lnTo>
                  <a:pt x="596" y="289"/>
                </a:lnTo>
                <a:lnTo>
                  <a:pt x="561" y="311"/>
                </a:lnTo>
                <a:lnTo>
                  <a:pt x="525" y="335"/>
                </a:lnTo>
                <a:lnTo>
                  <a:pt x="353" y="216"/>
                </a:lnTo>
                <a:lnTo>
                  <a:pt x="218" y="353"/>
                </a:lnTo>
                <a:lnTo>
                  <a:pt x="335" y="525"/>
                </a:lnTo>
                <a:lnTo>
                  <a:pt x="335" y="525"/>
                </a:lnTo>
                <a:lnTo>
                  <a:pt x="311" y="559"/>
                </a:lnTo>
                <a:lnTo>
                  <a:pt x="289" y="597"/>
                </a:lnTo>
                <a:lnTo>
                  <a:pt x="270" y="634"/>
                </a:lnTo>
                <a:lnTo>
                  <a:pt x="253" y="672"/>
                </a:lnTo>
                <a:lnTo>
                  <a:pt x="237" y="712"/>
                </a:lnTo>
                <a:lnTo>
                  <a:pt x="224" y="754"/>
                </a:lnTo>
                <a:lnTo>
                  <a:pt x="213" y="796"/>
                </a:lnTo>
                <a:lnTo>
                  <a:pt x="205" y="839"/>
                </a:lnTo>
                <a:lnTo>
                  <a:pt x="0" y="876"/>
                </a:lnTo>
                <a:lnTo>
                  <a:pt x="0" y="1069"/>
                </a:lnTo>
                <a:lnTo>
                  <a:pt x="205" y="1108"/>
                </a:lnTo>
                <a:lnTo>
                  <a:pt x="205" y="1108"/>
                </a:lnTo>
                <a:lnTo>
                  <a:pt x="213" y="1151"/>
                </a:lnTo>
                <a:lnTo>
                  <a:pt x="224" y="1192"/>
                </a:lnTo>
                <a:lnTo>
                  <a:pt x="237" y="1233"/>
                </a:lnTo>
                <a:lnTo>
                  <a:pt x="253" y="1273"/>
                </a:lnTo>
                <a:lnTo>
                  <a:pt x="270" y="1312"/>
                </a:lnTo>
                <a:lnTo>
                  <a:pt x="289" y="1350"/>
                </a:lnTo>
                <a:lnTo>
                  <a:pt x="311" y="1386"/>
                </a:lnTo>
                <a:lnTo>
                  <a:pt x="335" y="1422"/>
                </a:lnTo>
                <a:lnTo>
                  <a:pt x="218" y="1593"/>
                </a:lnTo>
                <a:lnTo>
                  <a:pt x="353" y="1729"/>
                </a:lnTo>
                <a:lnTo>
                  <a:pt x="525" y="1612"/>
                </a:lnTo>
                <a:lnTo>
                  <a:pt x="525" y="1612"/>
                </a:lnTo>
                <a:lnTo>
                  <a:pt x="561" y="1636"/>
                </a:lnTo>
                <a:lnTo>
                  <a:pt x="596" y="1656"/>
                </a:lnTo>
                <a:lnTo>
                  <a:pt x="634" y="1676"/>
                </a:lnTo>
                <a:lnTo>
                  <a:pt x="673" y="1693"/>
                </a:lnTo>
                <a:lnTo>
                  <a:pt x="713" y="1709"/>
                </a:lnTo>
                <a:lnTo>
                  <a:pt x="753" y="1722"/>
                </a:lnTo>
                <a:lnTo>
                  <a:pt x="796" y="1733"/>
                </a:lnTo>
                <a:lnTo>
                  <a:pt x="839" y="1742"/>
                </a:lnTo>
                <a:lnTo>
                  <a:pt x="877" y="1947"/>
                </a:lnTo>
                <a:lnTo>
                  <a:pt x="1069" y="1947"/>
                </a:lnTo>
                <a:lnTo>
                  <a:pt x="1107" y="1742"/>
                </a:lnTo>
                <a:lnTo>
                  <a:pt x="1107" y="1742"/>
                </a:lnTo>
                <a:lnTo>
                  <a:pt x="1150" y="1733"/>
                </a:lnTo>
                <a:lnTo>
                  <a:pt x="1193" y="1722"/>
                </a:lnTo>
                <a:lnTo>
                  <a:pt x="1233" y="1709"/>
                </a:lnTo>
                <a:lnTo>
                  <a:pt x="1273" y="1693"/>
                </a:lnTo>
                <a:lnTo>
                  <a:pt x="1312" y="1676"/>
                </a:lnTo>
                <a:lnTo>
                  <a:pt x="1350" y="1656"/>
                </a:lnTo>
                <a:lnTo>
                  <a:pt x="1385" y="1636"/>
                </a:lnTo>
                <a:lnTo>
                  <a:pt x="1421" y="1612"/>
                </a:lnTo>
                <a:lnTo>
                  <a:pt x="1593" y="1729"/>
                </a:lnTo>
                <a:lnTo>
                  <a:pt x="1728" y="1593"/>
                </a:lnTo>
                <a:lnTo>
                  <a:pt x="1611" y="1422"/>
                </a:lnTo>
                <a:lnTo>
                  <a:pt x="1611" y="1422"/>
                </a:lnTo>
                <a:lnTo>
                  <a:pt x="1635" y="1386"/>
                </a:lnTo>
                <a:lnTo>
                  <a:pt x="1657" y="1350"/>
                </a:lnTo>
                <a:lnTo>
                  <a:pt x="1676" y="1312"/>
                </a:lnTo>
                <a:lnTo>
                  <a:pt x="1693" y="1273"/>
                </a:lnTo>
                <a:lnTo>
                  <a:pt x="1709" y="1233"/>
                </a:lnTo>
                <a:lnTo>
                  <a:pt x="1722" y="1192"/>
                </a:lnTo>
                <a:lnTo>
                  <a:pt x="1733" y="1151"/>
                </a:lnTo>
                <a:lnTo>
                  <a:pt x="1741" y="1108"/>
                </a:lnTo>
                <a:lnTo>
                  <a:pt x="1946" y="1069"/>
                </a:lnTo>
                <a:lnTo>
                  <a:pt x="1946" y="876"/>
                </a:lnTo>
                <a:lnTo>
                  <a:pt x="1741" y="839"/>
                </a:lnTo>
                <a:close/>
                <a:moveTo>
                  <a:pt x="974" y="1622"/>
                </a:moveTo>
                <a:lnTo>
                  <a:pt x="974" y="1622"/>
                </a:lnTo>
                <a:lnTo>
                  <a:pt x="939" y="1622"/>
                </a:lnTo>
                <a:lnTo>
                  <a:pt x="906" y="1619"/>
                </a:lnTo>
                <a:lnTo>
                  <a:pt x="875" y="1615"/>
                </a:lnTo>
                <a:lnTo>
                  <a:pt x="843" y="1609"/>
                </a:lnTo>
                <a:lnTo>
                  <a:pt x="811" y="1603"/>
                </a:lnTo>
                <a:lnTo>
                  <a:pt x="781" y="1593"/>
                </a:lnTo>
                <a:lnTo>
                  <a:pt x="751" y="1583"/>
                </a:lnTo>
                <a:lnTo>
                  <a:pt x="720" y="1571"/>
                </a:lnTo>
                <a:lnTo>
                  <a:pt x="691" y="1558"/>
                </a:lnTo>
                <a:lnTo>
                  <a:pt x="664" y="1543"/>
                </a:lnTo>
                <a:lnTo>
                  <a:pt x="636" y="1528"/>
                </a:lnTo>
                <a:lnTo>
                  <a:pt x="610" y="1512"/>
                </a:lnTo>
                <a:lnTo>
                  <a:pt x="585" y="1494"/>
                </a:lnTo>
                <a:lnTo>
                  <a:pt x="561" y="1474"/>
                </a:lnTo>
                <a:lnTo>
                  <a:pt x="537" y="1454"/>
                </a:lnTo>
                <a:lnTo>
                  <a:pt x="515" y="1432"/>
                </a:lnTo>
                <a:lnTo>
                  <a:pt x="493" y="1410"/>
                </a:lnTo>
                <a:lnTo>
                  <a:pt x="472" y="1386"/>
                </a:lnTo>
                <a:lnTo>
                  <a:pt x="453" y="1361"/>
                </a:lnTo>
                <a:lnTo>
                  <a:pt x="435" y="1335"/>
                </a:lnTo>
                <a:lnTo>
                  <a:pt x="419" y="1309"/>
                </a:lnTo>
                <a:lnTo>
                  <a:pt x="402" y="1283"/>
                </a:lnTo>
                <a:lnTo>
                  <a:pt x="388" y="1254"/>
                </a:lnTo>
                <a:lnTo>
                  <a:pt x="375" y="1225"/>
                </a:lnTo>
                <a:lnTo>
                  <a:pt x="364" y="1196"/>
                </a:lnTo>
                <a:lnTo>
                  <a:pt x="354" y="1166"/>
                </a:lnTo>
                <a:lnTo>
                  <a:pt x="344" y="1135"/>
                </a:lnTo>
                <a:lnTo>
                  <a:pt x="337" y="1104"/>
                </a:lnTo>
                <a:lnTo>
                  <a:pt x="332" y="1072"/>
                </a:lnTo>
                <a:lnTo>
                  <a:pt x="328" y="1039"/>
                </a:lnTo>
                <a:lnTo>
                  <a:pt x="325" y="1006"/>
                </a:lnTo>
                <a:lnTo>
                  <a:pt x="324" y="973"/>
                </a:lnTo>
                <a:lnTo>
                  <a:pt x="324" y="973"/>
                </a:lnTo>
                <a:lnTo>
                  <a:pt x="325" y="940"/>
                </a:lnTo>
                <a:lnTo>
                  <a:pt x="328" y="907"/>
                </a:lnTo>
                <a:lnTo>
                  <a:pt x="332" y="875"/>
                </a:lnTo>
                <a:lnTo>
                  <a:pt x="337" y="842"/>
                </a:lnTo>
                <a:lnTo>
                  <a:pt x="344" y="812"/>
                </a:lnTo>
                <a:lnTo>
                  <a:pt x="354" y="780"/>
                </a:lnTo>
                <a:lnTo>
                  <a:pt x="364" y="750"/>
                </a:lnTo>
                <a:lnTo>
                  <a:pt x="375" y="721"/>
                </a:lnTo>
                <a:lnTo>
                  <a:pt x="388" y="692"/>
                </a:lnTo>
                <a:lnTo>
                  <a:pt x="402" y="664"/>
                </a:lnTo>
                <a:lnTo>
                  <a:pt x="419" y="637"/>
                </a:lnTo>
                <a:lnTo>
                  <a:pt x="435" y="610"/>
                </a:lnTo>
                <a:lnTo>
                  <a:pt x="453" y="586"/>
                </a:lnTo>
                <a:lnTo>
                  <a:pt x="472" y="561"/>
                </a:lnTo>
                <a:lnTo>
                  <a:pt x="493" y="537"/>
                </a:lnTo>
                <a:lnTo>
                  <a:pt x="515" y="514"/>
                </a:lnTo>
                <a:lnTo>
                  <a:pt x="537" y="493"/>
                </a:lnTo>
                <a:lnTo>
                  <a:pt x="561" y="473"/>
                </a:lnTo>
                <a:lnTo>
                  <a:pt x="585" y="453"/>
                </a:lnTo>
                <a:lnTo>
                  <a:pt x="610" y="435"/>
                </a:lnTo>
                <a:lnTo>
                  <a:pt x="636" y="418"/>
                </a:lnTo>
                <a:lnTo>
                  <a:pt x="664" y="402"/>
                </a:lnTo>
                <a:lnTo>
                  <a:pt x="691" y="389"/>
                </a:lnTo>
                <a:lnTo>
                  <a:pt x="720" y="375"/>
                </a:lnTo>
                <a:lnTo>
                  <a:pt x="751" y="364"/>
                </a:lnTo>
                <a:lnTo>
                  <a:pt x="781" y="353"/>
                </a:lnTo>
                <a:lnTo>
                  <a:pt x="811" y="344"/>
                </a:lnTo>
                <a:lnTo>
                  <a:pt x="843" y="338"/>
                </a:lnTo>
                <a:lnTo>
                  <a:pt x="875" y="332"/>
                </a:lnTo>
                <a:lnTo>
                  <a:pt x="906" y="328"/>
                </a:lnTo>
                <a:lnTo>
                  <a:pt x="939" y="325"/>
                </a:lnTo>
                <a:lnTo>
                  <a:pt x="974" y="324"/>
                </a:lnTo>
                <a:lnTo>
                  <a:pt x="974" y="324"/>
                </a:lnTo>
                <a:lnTo>
                  <a:pt x="1007" y="325"/>
                </a:lnTo>
                <a:lnTo>
                  <a:pt x="1040" y="328"/>
                </a:lnTo>
                <a:lnTo>
                  <a:pt x="1071" y="332"/>
                </a:lnTo>
                <a:lnTo>
                  <a:pt x="1103" y="338"/>
                </a:lnTo>
                <a:lnTo>
                  <a:pt x="1135" y="344"/>
                </a:lnTo>
                <a:lnTo>
                  <a:pt x="1165" y="353"/>
                </a:lnTo>
                <a:lnTo>
                  <a:pt x="1195" y="364"/>
                </a:lnTo>
                <a:lnTo>
                  <a:pt x="1226" y="375"/>
                </a:lnTo>
                <a:lnTo>
                  <a:pt x="1255" y="389"/>
                </a:lnTo>
                <a:lnTo>
                  <a:pt x="1282" y="402"/>
                </a:lnTo>
                <a:lnTo>
                  <a:pt x="1310" y="418"/>
                </a:lnTo>
                <a:lnTo>
                  <a:pt x="1336" y="435"/>
                </a:lnTo>
                <a:lnTo>
                  <a:pt x="1361" y="453"/>
                </a:lnTo>
                <a:lnTo>
                  <a:pt x="1385" y="473"/>
                </a:lnTo>
                <a:lnTo>
                  <a:pt x="1409" y="493"/>
                </a:lnTo>
                <a:lnTo>
                  <a:pt x="1431" y="514"/>
                </a:lnTo>
                <a:lnTo>
                  <a:pt x="1453" y="537"/>
                </a:lnTo>
                <a:lnTo>
                  <a:pt x="1474" y="561"/>
                </a:lnTo>
                <a:lnTo>
                  <a:pt x="1493" y="586"/>
                </a:lnTo>
                <a:lnTo>
                  <a:pt x="1511" y="610"/>
                </a:lnTo>
                <a:lnTo>
                  <a:pt x="1527" y="637"/>
                </a:lnTo>
                <a:lnTo>
                  <a:pt x="1544" y="664"/>
                </a:lnTo>
                <a:lnTo>
                  <a:pt x="1558" y="692"/>
                </a:lnTo>
                <a:lnTo>
                  <a:pt x="1571" y="721"/>
                </a:lnTo>
                <a:lnTo>
                  <a:pt x="1582" y="750"/>
                </a:lnTo>
                <a:lnTo>
                  <a:pt x="1592" y="780"/>
                </a:lnTo>
                <a:lnTo>
                  <a:pt x="1602" y="812"/>
                </a:lnTo>
                <a:lnTo>
                  <a:pt x="1609" y="842"/>
                </a:lnTo>
                <a:lnTo>
                  <a:pt x="1614" y="875"/>
                </a:lnTo>
                <a:lnTo>
                  <a:pt x="1618" y="907"/>
                </a:lnTo>
                <a:lnTo>
                  <a:pt x="1621" y="940"/>
                </a:lnTo>
                <a:lnTo>
                  <a:pt x="1622" y="973"/>
                </a:lnTo>
                <a:lnTo>
                  <a:pt x="1622" y="973"/>
                </a:lnTo>
                <a:lnTo>
                  <a:pt x="1621" y="1006"/>
                </a:lnTo>
                <a:lnTo>
                  <a:pt x="1618" y="1039"/>
                </a:lnTo>
                <a:lnTo>
                  <a:pt x="1614" y="1072"/>
                </a:lnTo>
                <a:lnTo>
                  <a:pt x="1609" y="1104"/>
                </a:lnTo>
                <a:lnTo>
                  <a:pt x="1602" y="1135"/>
                </a:lnTo>
                <a:lnTo>
                  <a:pt x="1592" y="1166"/>
                </a:lnTo>
                <a:lnTo>
                  <a:pt x="1582" y="1196"/>
                </a:lnTo>
                <a:lnTo>
                  <a:pt x="1571" y="1225"/>
                </a:lnTo>
                <a:lnTo>
                  <a:pt x="1558" y="1254"/>
                </a:lnTo>
                <a:lnTo>
                  <a:pt x="1544" y="1283"/>
                </a:lnTo>
                <a:lnTo>
                  <a:pt x="1527" y="1309"/>
                </a:lnTo>
                <a:lnTo>
                  <a:pt x="1511" y="1335"/>
                </a:lnTo>
                <a:lnTo>
                  <a:pt x="1493" y="1361"/>
                </a:lnTo>
                <a:lnTo>
                  <a:pt x="1474" y="1386"/>
                </a:lnTo>
                <a:lnTo>
                  <a:pt x="1453" y="1410"/>
                </a:lnTo>
                <a:lnTo>
                  <a:pt x="1431" y="1432"/>
                </a:lnTo>
                <a:lnTo>
                  <a:pt x="1409" y="1454"/>
                </a:lnTo>
                <a:lnTo>
                  <a:pt x="1385" y="1474"/>
                </a:lnTo>
                <a:lnTo>
                  <a:pt x="1361" y="1494"/>
                </a:lnTo>
                <a:lnTo>
                  <a:pt x="1336" y="1512"/>
                </a:lnTo>
                <a:lnTo>
                  <a:pt x="1310" y="1528"/>
                </a:lnTo>
                <a:lnTo>
                  <a:pt x="1282" y="1543"/>
                </a:lnTo>
                <a:lnTo>
                  <a:pt x="1255" y="1558"/>
                </a:lnTo>
                <a:lnTo>
                  <a:pt x="1226" y="1571"/>
                </a:lnTo>
                <a:lnTo>
                  <a:pt x="1195" y="1583"/>
                </a:lnTo>
                <a:lnTo>
                  <a:pt x="1165" y="1593"/>
                </a:lnTo>
                <a:lnTo>
                  <a:pt x="1135" y="1603"/>
                </a:lnTo>
                <a:lnTo>
                  <a:pt x="1103" y="1609"/>
                </a:lnTo>
                <a:lnTo>
                  <a:pt x="1071" y="1615"/>
                </a:lnTo>
                <a:lnTo>
                  <a:pt x="1040" y="1619"/>
                </a:lnTo>
                <a:lnTo>
                  <a:pt x="1007" y="1622"/>
                </a:lnTo>
                <a:lnTo>
                  <a:pt x="974" y="1622"/>
                </a:lnTo>
                <a:lnTo>
                  <a:pt x="974" y="1622"/>
                </a:lnTo>
                <a:close/>
              </a:path>
            </a:pathLst>
          </a:custGeom>
          <a:solidFill>
            <a:srgbClr val="0D65AC"/>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Rectangle 2"/>
          <p:cNvSpPr/>
          <p:nvPr/>
        </p:nvSpPr>
        <p:spPr>
          <a:xfrm>
            <a:off x="4135900" y="3246268"/>
            <a:ext cx="893816" cy="235732"/>
          </a:xfrm>
          <a:prstGeom prst="rect">
            <a:avLst/>
          </a:prstGeom>
        </p:spPr>
        <p:txBody>
          <a:bodyPr wrap="none">
            <a:spAutoFit/>
          </a:bodyPr>
          <a:lstStyle/>
          <a:p>
            <a:pPr algn="ctr"/>
            <a:r>
              <a:rPr lang="en-US" sz="1200" b="1" dirty="0">
                <a:solidFill>
                  <a:srgbClr val="000000"/>
                </a:solidFill>
              </a:rPr>
              <a:t>Business Plan</a:t>
            </a:r>
          </a:p>
        </p:txBody>
      </p:sp>
      <p:grpSp>
        <p:nvGrpSpPr>
          <p:cNvPr id="89" name="Group 88"/>
          <p:cNvGrpSpPr/>
          <p:nvPr/>
        </p:nvGrpSpPr>
        <p:grpSpPr>
          <a:xfrm>
            <a:off x="5471320" y="2912375"/>
            <a:ext cx="903054" cy="903518"/>
            <a:chOff x="2060575" y="1763713"/>
            <a:chExt cx="3089275" cy="3090862"/>
          </a:xfrm>
          <a:solidFill>
            <a:srgbClr val="CE202A"/>
          </a:solidFill>
        </p:grpSpPr>
        <p:sp>
          <p:nvSpPr>
            <p:cNvPr id="90" name="Freeform 5"/>
            <p:cNvSpPr>
              <a:spLocks noEditPoints="1"/>
            </p:cNvSpPr>
            <p:nvPr/>
          </p:nvSpPr>
          <p:spPr bwMode="auto">
            <a:xfrm>
              <a:off x="2060575" y="1763713"/>
              <a:ext cx="3089275" cy="3090862"/>
            </a:xfrm>
            <a:custGeom>
              <a:avLst/>
              <a:gdLst>
                <a:gd name="T0" fmla="*/ 1722 w 1946"/>
                <a:gd name="T1" fmla="*/ 754 h 1947"/>
                <a:gd name="T2" fmla="*/ 1657 w 1946"/>
                <a:gd name="T3" fmla="*/ 597 h 1947"/>
                <a:gd name="T4" fmla="*/ 1593 w 1946"/>
                <a:gd name="T5" fmla="*/ 216 h 1947"/>
                <a:gd name="T6" fmla="*/ 1350 w 1946"/>
                <a:gd name="T7" fmla="*/ 289 h 1947"/>
                <a:gd name="T8" fmla="*/ 1193 w 1946"/>
                <a:gd name="T9" fmla="*/ 225 h 1947"/>
                <a:gd name="T10" fmla="*/ 877 w 1946"/>
                <a:gd name="T11" fmla="*/ 0 h 1947"/>
                <a:gd name="T12" fmla="*/ 753 w 1946"/>
                <a:gd name="T13" fmla="*/ 225 h 1947"/>
                <a:gd name="T14" fmla="*/ 596 w 1946"/>
                <a:gd name="T15" fmla="*/ 289 h 1947"/>
                <a:gd name="T16" fmla="*/ 218 w 1946"/>
                <a:gd name="T17" fmla="*/ 353 h 1947"/>
                <a:gd name="T18" fmla="*/ 289 w 1946"/>
                <a:gd name="T19" fmla="*/ 597 h 1947"/>
                <a:gd name="T20" fmla="*/ 224 w 1946"/>
                <a:gd name="T21" fmla="*/ 754 h 1947"/>
                <a:gd name="T22" fmla="*/ 0 w 1946"/>
                <a:gd name="T23" fmla="*/ 1069 h 1947"/>
                <a:gd name="T24" fmla="*/ 224 w 1946"/>
                <a:gd name="T25" fmla="*/ 1192 h 1947"/>
                <a:gd name="T26" fmla="*/ 289 w 1946"/>
                <a:gd name="T27" fmla="*/ 1350 h 1947"/>
                <a:gd name="T28" fmla="*/ 353 w 1946"/>
                <a:gd name="T29" fmla="*/ 1729 h 1947"/>
                <a:gd name="T30" fmla="*/ 596 w 1946"/>
                <a:gd name="T31" fmla="*/ 1656 h 1947"/>
                <a:gd name="T32" fmla="*/ 753 w 1946"/>
                <a:gd name="T33" fmla="*/ 1722 h 1947"/>
                <a:gd name="T34" fmla="*/ 1069 w 1946"/>
                <a:gd name="T35" fmla="*/ 1947 h 1947"/>
                <a:gd name="T36" fmla="*/ 1193 w 1946"/>
                <a:gd name="T37" fmla="*/ 1722 h 1947"/>
                <a:gd name="T38" fmla="*/ 1350 w 1946"/>
                <a:gd name="T39" fmla="*/ 1656 h 1947"/>
                <a:gd name="T40" fmla="*/ 1728 w 1946"/>
                <a:gd name="T41" fmla="*/ 1593 h 1947"/>
                <a:gd name="T42" fmla="*/ 1657 w 1946"/>
                <a:gd name="T43" fmla="*/ 1350 h 1947"/>
                <a:gd name="T44" fmla="*/ 1722 w 1946"/>
                <a:gd name="T45" fmla="*/ 1192 h 1947"/>
                <a:gd name="T46" fmla="*/ 1946 w 1946"/>
                <a:gd name="T47" fmla="*/ 876 h 1947"/>
                <a:gd name="T48" fmla="*/ 939 w 1946"/>
                <a:gd name="T49" fmla="*/ 1622 h 1947"/>
                <a:gd name="T50" fmla="*/ 811 w 1946"/>
                <a:gd name="T51" fmla="*/ 1603 h 1947"/>
                <a:gd name="T52" fmla="*/ 691 w 1946"/>
                <a:gd name="T53" fmla="*/ 1558 h 1947"/>
                <a:gd name="T54" fmla="*/ 585 w 1946"/>
                <a:gd name="T55" fmla="*/ 1494 h 1947"/>
                <a:gd name="T56" fmla="*/ 493 w 1946"/>
                <a:gd name="T57" fmla="*/ 1410 h 1947"/>
                <a:gd name="T58" fmla="*/ 419 w 1946"/>
                <a:gd name="T59" fmla="*/ 1309 h 1947"/>
                <a:gd name="T60" fmla="*/ 364 w 1946"/>
                <a:gd name="T61" fmla="*/ 1196 h 1947"/>
                <a:gd name="T62" fmla="*/ 332 w 1946"/>
                <a:gd name="T63" fmla="*/ 1072 h 1947"/>
                <a:gd name="T64" fmla="*/ 324 w 1946"/>
                <a:gd name="T65" fmla="*/ 973 h 1947"/>
                <a:gd name="T66" fmla="*/ 337 w 1946"/>
                <a:gd name="T67" fmla="*/ 842 h 1947"/>
                <a:gd name="T68" fmla="*/ 375 w 1946"/>
                <a:gd name="T69" fmla="*/ 721 h 1947"/>
                <a:gd name="T70" fmla="*/ 435 w 1946"/>
                <a:gd name="T71" fmla="*/ 610 h 1947"/>
                <a:gd name="T72" fmla="*/ 515 w 1946"/>
                <a:gd name="T73" fmla="*/ 514 h 1947"/>
                <a:gd name="T74" fmla="*/ 610 w 1946"/>
                <a:gd name="T75" fmla="*/ 435 h 1947"/>
                <a:gd name="T76" fmla="*/ 720 w 1946"/>
                <a:gd name="T77" fmla="*/ 375 h 1947"/>
                <a:gd name="T78" fmla="*/ 843 w 1946"/>
                <a:gd name="T79" fmla="*/ 338 h 1947"/>
                <a:gd name="T80" fmla="*/ 974 w 1946"/>
                <a:gd name="T81" fmla="*/ 324 h 1947"/>
                <a:gd name="T82" fmla="*/ 1071 w 1946"/>
                <a:gd name="T83" fmla="*/ 332 h 1947"/>
                <a:gd name="T84" fmla="*/ 1195 w 1946"/>
                <a:gd name="T85" fmla="*/ 364 h 1947"/>
                <a:gd name="T86" fmla="*/ 1310 w 1946"/>
                <a:gd name="T87" fmla="*/ 418 h 1947"/>
                <a:gd name="T88" fmla="*/ 1409 w 1946"/>
                <a:gd name="T89" fmla="*/ 493 h 1947"/>
                <a:gd name="T90" fmla="*/ 1493 w 1946"/>
                <a:gd name="T91" fmla="*/ 586 h 1947"/>
                <a:gd name="T92" fmla="*/ 1558 w 1946"/>
                <a:gd name="T93" fmla="*/ 692 h 1947"/>
                <a:gd name="T94" fmla="*/ 1602 w 1946"/>
                <a:gd name="T95" fmla="*/ 812 h 1947"/>
                <a:gd name="T96" fmla="*/ 1621 w 1946"/>
                <a:gd name="T97" fmla="*/ 940 h 1947"/>
                <a:gd name="T98" fmla="*/ 1618 w 1946"/>
                <a:gd name="T99" fmla="*/ 1039 h 1947"/>
                <a:gd name="T100" fmla="*/ 1592 w 1946"/>
                <a:gd name="T101" fmla="*/ 1166 h 1947"/>
                <a:gd name="T102" fmla="*/ 1544 w 1946"/>
                <a:gd name="T103" fmla="*/ 1283 h 1947"/>
                <a:gd name="T104" fmla="*/ 1474 w 1946"/>
                <a:gd name="T105" fmla="*/ 1386 h 1947"/>
                <a:gd name="T106" fmla="*/ 1385 w 1946"/>
                <a:gd name="T107" fmla="*/ 1474 h 1947"/>
                <a:gd name="T108" fmla="*/ 1282 w 1946"/>
                <a:gd name="T109" fmla="*/ 1543 h 1947"/>
                <a:gd name="T110" fmla="*/ 1165 w 1946"/>
                <a:gd name="T111" fmla="*/ 1593 h 1947"/>
                <a:gd name="T112" fmla="*/ 1040 w 1946"/>
                <a:gd name="T113" fmla="*/ 1619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46" h="1947">
                  <a:moveTo>
                    <a:pt x="1741" y="839"/>
                  </a:moveTo>
                  <a:lnTo>
                    <a:pt x="1741" y="839"/>
                  </a:lnTo>
                  <a:lnTo>
                    <a:pt x="1733" y="796"/>
                  </a:lnTo>
                  <a:lnTo>
                    <a:pt x="1722" y="754"/>
                  </a:lnTo>
                  <a:lnTo>
                    <a:pt x="1709" y="712"/>
                  </a:lnTo>
                  <a:lnTo>
                    <a:pt x="1693" y="672"/>
                  </a:lnTo>
                  <a:lnTo>
                    <a:pt x="1676" y="634"/>
                  </a:lnTo>
                  <a:lnTo>
                    <a:pt x="1657" y="597"/>
                  </a:lnTo>
                  <a:lnTo>
                    <a:pt x="1635" y="559"/>
                  </a:lnTo>
                  <a:lnTo>
                    <a:pt x="1611" y="525"/>
                  </a:lnTo>
                  <a:lnTo>
                    <a:pt x="1728" y="353"/>
                  </a:lnTo>
                  <a:lnTo>
                    <a:pt x="1593" y="216"/>
                  </a:lnTo>
                  <a:lnTo>
                    <a:pt x="1421" y="335"/>
                  </a:lnTo>
                  <a:lnTo>
                    <a:pt x="1421" y="335"/>
                  </a:lnTo>
                  <a:lnTo>
                    <a:pt x="1385" y="311"/>
                  </a:lnTo>
                  <a:lnTo>
                    <a:pt x="1350" y="289"/>
                  </a:lnTo>
                  <a:lnTo>
                    <a:pt x="1312" y="270"/>
                  </a:lnTo>
                  <a:lnTo>
                    <a:pt x="1273" y="252"/>
                  </a:lnTo>
                  <a:lnTo>
                    <a:pt x="1233" y="237"/>
                  </a:lnTo>
                  <a:lnTo>
                    <a:pt x="1193" y="225"/>
                  </a:lnTo>
                  <a:lnTo>
                    <a:pt x="1150" y="214"/>
                  </a:lnTo>
                  <a:lnTo>
                    <a:pt x="1107" y="204"/>
                  </a:lnTo>
                  <a:lnTo>
                    <a:pt x="1069" y="0"/>
                  </a:lnTo>
                  <a:lnTo>
                    <a:pt x="877" y="0"/>
                  </a:lnTo>
                  <a:lnTo>
                    <a:pt x="839" y="204"/>
                  </a:lnTo>
                  <a:lnTo>
                    <a:pt x="839" y="204"/>
                  </a:lnTo>
                  <a:lnTo>
                    <a:pt x="796" y="214"/>
                  </a:lnTo>
                  <a:lnTo>
                    <a:pt x="753" y="225"/>
                  </a:lnTo>
                  <a:lnTo>
                    <a:pt x="713" y="237"/>
                  </a:lnTo>
                  <a:lnTo>
                    <a:pt x="673" y="252"/>
                  </a:lnTo>
                  <a:lnTo>
                    <a:pt x="634" y="270"/>
                  </a:lnTo>
                  <a:lnTo>
                    <a:pt x="596" y="289"/>
                  </a:lnTo>
                  <a:lnTo>
                    <a:pt x="561" y="311"/>
                  </a:lnTo>
                  <a:lnTo>
                    <a:pt x="525" y="335"/>
                  </a:lnTo>
                  <a:lnTo>
                    <a:pt x="353" y="216"/>
                  </a:lnTo>
                  <a:lnTo>
                    <a:pt x="218" y="353"/>
                  </a:lnTo>
                  <a:lnTo>
                    <a:pt x="335" y="525"/>
                  </a:lnTo>
                  <a:lnTo>
                    <a:pt x="335" y="525"/>
                  </a:lnTo>
                  <a:lnTo>
                    <a:pt x="311" y="559"/>
                  </a:lnTo>
                  <a:lnTo>
                    <a:pt x="289" y="597"/>
                  </a:lnTo>
                  <a:lnTo>
                    <a:pt x="270" y="634"/>
                  </a:lnTo>
                  <a:lnTo>
                    <a:pt x="253" y="672"/>
                  </a:lnTo>
                  <a:lnTo>
                    <a:pt x="237" y="712"/>
                  </a:lnTo>
                  <a:lnTo>
                    <a:pt x="224" y="754"/>
                  </a:lnTo>
                  <a:lnTo>
                    <a:pt x="213" y="796"/>
                  </a:lnTo>
                  <a:lnTo>
                    <a:pt x="205" y="839"/>
                  </a:lnTo>
                  <a:lnTo>
                    <a:pt x="0" y="876"/>
                  </a:lnTo>
                  <a:lnTo>
                    <a:pt x="0" y="1069"/>
                  </a:lnTo>
                  <a:lnTo>
                    <a:pt x="205" y="1108"/>
                  </a:lnTo>
                  <a:lnTo>
                    <a:pt x="205" y="1108"/>
                  </a:lnTo>
                  <a:lnTo>
                    <a:pt x="213" y="1151"/>
                  </a:lnTo>
                  <a:lnTo>
                    <a:pt x="224" y="1192"/>
                  </a:lnTo>
                  <a:lnTo>
                    <a:pt x="237" y="1233"/>
                  </a:lnTo>
                  <a:lnTo>
                    <a:pt x="253" y="1273"/>
                  </a:lnTo>
                  <a:lnTo>
                    <a:pt x="270" y="1312"/>
                  </a:lnTo>
                  <a:lnTo>
                    <a:pt x="289" y="1350"/>
                  </a:lnTo>
                  <a:lnTo>
                    <a:pt x="311" y="1386"/>
                  </a:lnTo>
                  <a:lnTo>
                    <a:pt x="335" y="1422"/>
                  </a:lnTo>
                  <a:lnTo>
                    <a:pt x="218" y="1593"/>
                  </a:lnTo>
                  <a:lnTo>
                    <a:pt x="353" y="1729"/>
                  </a:lnTo>
                  <a:lnTo>
                    <a:pt x="525" y="1612"/>
                  </a:lnTo>
                  <a:lnTo>
                    <a:pt x="525" y="1612"/>
                  </a:lnTo>
                  <a:lnTo>
                    <a:pt x="561" y="1636"/>
                  </a:lnTo>
                  <a:lnTo>
                    <a:pt x="596" y="1656"/>
                  </a:lnTo>
                  <a:lnTo>
                    <a:pt x="634" y="1676"/>
                  </a:lnTo>
                  <a:lnTo>
                    <a:pt x="673" y="1693"/>
                  </a:lnTo>
                  <a:lnTo>
                    <a:pt x="713" y="1709"/>
                  </a:lnTo>
                  <a:lnTo>
                    <a:pt x="753" y="1722"/>
                  </a:lnTo>
                  <a:lnTo>
                    <a:pt x="796" y="1733"/>
                  </a:lnTo>
                  <a:lnTo>
                    <a:pt x="839" y="1742"/>
                  </a:lnTo>
                  <a:lnTo>
                    <a:pt x="877" y="1947"/>
                  </a:lnTo>
                  <a:lnTo>
                    <a:pt x="1069" y="1947"/>
                  </a:lnTo>
                  <a:lnTo>
                    <a:pt x="1107" y="1742"/>
                  </a:lnTo>
                  <a:lnTo>
                    <a:pt x="1107" y="1742"/>
                  </a:lnTo>
                  <a:lnTo>
                    <a:pt x="1150" y="1733"/>
                  </a:lnTo>
                  <a:lnTo>
                    <a:pt x="1193" y="1722"/>
                  </a:lnTo>
                  <a:lnTo>
                    <a:pt x="1233" y="1709"/>
                  </a:lnTo>
                  <a:lnTo>
                    <a:pt x="1273" y="1693"/>
                  </a:lnTo>
                  <a:lnTo>
                    <a:pt x="1312" y="1676"/>
                  </a:lnTo>
                  <a:lnTo>
                    <a:pt x="1350" y="1656"/>
                  </a:lnTo>
                  <a:lnTo>
                    <a:pt x="1385" y="1636"/>
                  </a:lnTo>
                  <a:lnTo>
                    <a:pt x="1421" y="1612"/>
                  </a:lnTo>
                  <a:lnTo>
                    <a:pt x="1593" y="1729"/>
                  </a:lnTo>
                  <a:lnTo>
                    <a:pt x="1728" y="1593"/>
                  </a:lnTo>
                  <a:lnTo>
                    <a:pt x="1611" y="1422"/>
                  </a:lnTo>
                  <a:lnTo>
                    <a:pt x="1611" y="1422"/>
                  </a:lnTo>
                  <a:lnTo>
                    <a:pt x="1635" y="1386"/>
                  </a:lnTo>
                  <a:lnTo>
                    <a:pt x="1657" y="1350"/>
                  </a:lnTo>
                  <a:lnTo>
                    <a:pt x="1676" y="1312"/>
                  </a:lnTo>
                  <a:lnTo>
                    <a:pt x="1693" y="1273"/>
                  </a:lnTo>
                  <a:lnTo>
                    <a:pt x="1709" y="1233"/>
                  </a:lnTo>
                  <a:lnTo>
                    <a:pt x="1722" y="1192"/>
                  </a:lnTo>
                  <a:lnTo>
                    <a:pt x="1733" y="1151"/>
                  </a:lnTo>
                  <a:lnTo>
                    <a:pt x="1741" y="1108"/>
                  </a:lnTo>
                  <a:lnTo>
                    <a:pt x="1946" y="1069"/>
                  </a:lnTo>
                  <a:lnTo>
                    <a:pt x="1946" y="876"/>
                  </a:lnTo>
                  <a:lnTo>
                    <a:pt x="1741" y="839"/>
                  </a:lnTo>
                  <a:close/>
                  <a:moveTo>
                    <a:pt x="974" y="1622"/>
                  </a:moveTo>
                  <a:lnTo>
                    <a:pt x="974" y="1622"/>
                  </a:lnTo>
                  <a:lnTo>
                    <a:pt x="939" y="1622"/>
                  </a:lnTo>
                  <a:lnTo>
                    <a:pt x="906" y="1619"/>
                  </a:lnTo>
                  <a:lnTo>
                    <a:pt x="875" y="1615"/>
                  </a:lnTo>
                  <a:lnTo>
                    <a:pt x="843" y="1609"/>
                  </a:lnTo>
                  <a:lnTo>
                    <a:pt x="811" y="1603"/>
                  </a:lnTo>
                  <a:lnTo>
                    <a:pt x="781" y="1593"/>
                  </a:lnTo>
                  <a:lnTo>
                    <a:pt x="751" y="1583"/>
                  </a:lnTo>
                  <a:lnTo>
                    <a:pt x="720" y="1571"/>
                  </a:lnTo>
                  <a:lnTo>
                    <a:pt x="691" y="1558"/>
                  </a:lnTo>
                  <a:lnTo>
                    <a:pt x="664" y="1543"/>
                  </a:lnTo>
                  <a:lnTo>
                    <a:pt x="636" y="1528"/>
                  </a:lnTo>
                  <a:lnTo>
                    <a:pt x="610" y="1512"/>
                  </a:lnTo>
                  <a:lnTo>
                    <a:pt x="585" y="1494"/>
                  </a:lnTo>
                  <a:lnTo>
                    <a:pt x="561" y="1474"/>
                  </a:lnTo>
                  <a:lnTo>
                    <a:pt x="537" y="1454"/>
                  </a:lnTo>
                  <a:lnTo>
                    <a:pt x="515" y="1432"/>
                  </a:lnTo>
                  <a:lnTo>
                    <a:pt x="493" y="1410"/>
                  </a:lnTo>
                  <a:lnTo>
                    <a:pt x="472" y="1386"/>
                  </a:lnTo>
                  <a:lnTo>
                    <a:pt x="453" y="1361"/>
                  </a:lnTo>
                  <a:lnTo>
                    <a:pt x="435" y="1335"/>
                  </a:lnTo>
                  <a:lnTo>
                    <a:pt x="419" y="1309"/>
                  </a:lnTo>
                  <a:lnTo>
                    <a:pt x="402" y="1283"/>
                  </a:lnTo>
                  <a:lnTo>
                    <a:pt x="388" y="1254"/>
                  </a:lnTo>
                  <a:lnTo>
                    <a:pt x="375" y="1225"/>
                  </a:lnTo>
                  <a:lnTo>
                    <a:pt x="364" y="1196"/>
                  </a:lnTo>
                  <a:lnTo>
                    <a:pt x="354" y="1166"/>
                  </a:lnTo>
                  <a:lnTo>
                    <a:pt x="344" y="1135"/>
                  </a:lnTo>
                  <a:lnTo>
                    <a:pt x="337" y="1104"/>
                  </a:lnTo>
                  <a:lnTo>
                    <a:pt x="332" y="1072"/>
                  </a:lnTo>
                  <a:lnTo>
                    <a:pt x="328" y="1039"/>
                  </a:lnTo>
                  <a:lnTo>
                    <a:pt x="325" y="1006"/>
                  </a:lnTo>
                  <a:lnTo>
                    <a:pt x="324" y="973"/>
                  </a:lnTo>
                  <a:lnTo>
                    <a:pt x="324" y="973"/>
                  </a:lnTo>
                  <a:lnTo>
                    <a:pt x="325" y="940"/>
                  </a:lnTo>
                  <a:lnTo>
                    <a:pt x="328" y="907"/>
                  </a:lnTo>
                  <a:lnTo>
                    <a:pt x="332" y="875"/>
                  </a:lnTo>
                  <a:lnTo>
                    <a:pt x="337" y="842"/>
                  </a:lnTo>
                  <a:lnTo>
                    <a:pt x="344" y="812"/>
                  </a:lnTo>
                  <a:lnTo>
                    <a:pt x="354" y="780"/>
                  </a:lnTo>
                  <a:lnTo>
                    <a:pt x="364" y="750"/>
                  </a:lnTo>
                  <a:lnTo>
                    <a:pt x="375" y="721"/>
                  </a:lnTo>
                  <a:lnTo>
                    <a:pt x="388" y="692"/>
                  </a:lnTo>
                  <a:lnTo>
                    <a:pt x="402" y="664"/>
                  </a:lnTo>
                  <a:lnTo>
                    <a:pt x="419" y="637"/>
                  </a:lnTo>
                  <a:lnTo>
                    <a:pt x="435" y="610"/>
                  </a:lnTo>
                  <a:lnTo>
                    <a:pt x="453" y="586"/>
                  </a:lnTo>
                  <a:lnTo>
                    <a:pt x="472" y="561"/>
                  </a:lnTo>
                  <a:lnTo>
                    <a:pt x="493" y="537"/>
                  </a:lnTo>
                  <a:lnTo>
                    <a:pt x="515" y="514"/>
                  </a:lnTo>
                  <a:lnTo>
                    <a:pt x="537" y="493"/>
                  </a:lnTo>
                  <a:lnTo>
                    <a:pt x="561" y="473"/>
                  </a:lnTo>
                  <a:lnTo>
                    <a:pt x="585" y="453"/>
                  </a:lnTo>
                  <a:lnTo>
                    <a:pt x="610" y="435"/>
                  </a:lnTo>
                  <a:lnTo>
                    <a:pt x="636" y="418"/>
                  </a:lnTo>
                  <a:lnTo>
                    <a:pt x="664" y="402"/>
                  </a:lnTo>
                  <a:lnTo>
                    <a:pt x="691" y="389"/>
                  </a:lnTo>
                  <a:lnTo>
                    <a:pt x="720" y="375"/>
                  </a:lnTo>
                  <a:lnTo>
                    <a:pt x="751" y="364"/>
                  </a:lnTo>
                  <a:lnTo>
                    <a:pt x="781" y="353"/>
                  </a:lnTo>
                  <a:lnTo>
                    <a:pt x="811" y="344"/>
                  </a:lnTo>
                  <a:lnTo>
                    <a:pt x="843" y="338"/>
                  </a:lnTo>
                  <a:lnTo>
                    <a:pt x="875" y="332"/>
                  </a:lnTo>
                  <a:lnTo>
                    <a:pt x="906" y="328"/>
                  </a:lnTo>
                  <a:lnTo>
                    <a:pt x="939" y="325"/>
                  </a:lnTo>
                  <a:lnTo>
                    <a:pt x="974" y="324"/>
                  </a:lnTo>
                  <a:lnTo>
                    <a:pt x="974" y="324"/>
                  </a:lnTo>
                  <a:lnTo>
                    <a:pt x="1007" y="325"/>
                  </a:lnTo>
                  <a:lnTo>
                    <a:pt x="1040" y="328"/>
                  </a:lnTo>
                  <a:lnTo>
                    <a:pt x="1071" y="332"/>
                  </a:lnTo>
                  <a:lnTo>
                    <a:pt x="1103" y="338"/>
                  </a:lnTo>
                  <a:lnTo>
                    <a:pt x="1135" y="344"/>
                  </a:lnTo>
                  <a:lnTo>
                    <a:pt x="1165" y="353"/>
                  </a:lnTo>
                  <a:lnTo>
                    <a:pt x="1195" y="364"/>
                  </a:lnTo>
                  <a:lnTo>
                    <a:pt x="1226" y="375"/>
                  </a:lnTo>
                  <a:lnTo>
                    <a:pt x="1255" y="389"/>
                  </a:lnTo>
                  <a:lnTo>
                    <a:pt x="1282" y="402"/>
                  </a:lnTo>
                  <a:lnTo>
                    <a:pt x="1310" y="418"/>
                  </a:lnTo>
                  <a:lnTo>
                    <a:pt x="1336" y="435"/>
                  </a:lnTo>
                  <a:lnTo>
                    <a:pt x="1361" y="453"/>
                  </a:lnTo>
                  <a:lnTo>
                    <a:pt x="1385" y="473"/>
                  </a:lnTo>
                  <a:lnTo>
                    <a:pt x="1409" y="493"/>
                  </a:lnTo>
                  <a:lnTo>
                    <a:pt x="1431" y="514"/>
                  </a:lnTo>
                  <a:lnTo>
                    <a:pt x="1453" y="537"/>
                  </a:lnTo>
                  <a:lnTo>
                    <a:pt x="1474" y="561"/>
                  </a:lnTo>
                  <a:lnTo>
                    <a:pt x="1493" y="586"/>
                  </a:lnTo>
                  <a:lnTo>
                    <a:pt x="1511" y="610"/>
                  </a:lnTo>
                  <a:lnTo>
                    <a:pt x="1527" y="637"/>
                  </a:lnTo>
                  <a:lnTo>
                    <a:pt x="1544" y="664"/>
                  </a:lnTo>
                  <a:lnTo>
                    <a:pt x="1558" y="692"/>
                  </a:lnTo>
                  <a:lnTo>
                    <a:pt x="1571" y="721"/>
                  </a:lnTo>
                  <a:lnTo>
                    <a:pt x="1582" y="750"/>
                  </a:lnTo>
                  <a:lnTo>
                    <a:pt x="1592" y="780"/>
                  </a:lnTo>
                  <a:lnTo>
                    <a:pt x="1602" y="812"/>
                  </a:lnTo>
                  <a:lnTo>
                    <a:pt x="1609" y="842"/>
                  </a:lnTo>
                  <a:lnTo>
                    <a:pt x="1614" y="875"/>
                  </a:lnTo>
                  <a:lnTo>
                    <a:pt x="1618" y="907"/>
                  </a:lnTo>
                  <a:lnTo>
                    <a:pt x="1621" y="940"/>
                  </a:lnTo>
                  <a:lnTo>
                    <a:pt x="1622" y="973"/>
                  </a:lnTo>
                  <a:lnTo>
                    <a:pt x="1622" y="973"/>
                  </a:lnTo>
                  <a:lnTo>
                    <a:pt x="1621" y="1006"/>
                  </a:lnTo>
                  <a:lnTo>
                    <a:pt x="1618" y="1039"/>
                  </a:lnTo>
                  <a:lnTo>
                    <a:pt x="1614" y="1072"/>
                  </a:lnTo>
                  <a:lnTo>
                    <a:pt x="1609" y="1104"/>
                  </a:lnTo>
                  <a:lnTo>
                    <a:pt x="1602" y="1135"/>
                  </a:lnTo>
                  <a:lnTo>
                    <a:pt x="1592" y="1166"/>
                  </a:lnTo>
                  <a:lnTo>
                    <a:pt x="1582" y="1196"/>
                  </a:lnTo>
                  <a:lnTo>
                    <a:pt x="1571" y="1225"/>
                  </a:lnTo>
                  <a:lnTo>
                    <a:pt x="1558" y="1254"/>
                  </a:lnTo>
                  <a:lnTo>
                    <a:pt x="1544" y="1283"/>
                  </a:lnTo>
                  <a:lnTo>
                    <a:pt x="1527" y="1309"/>
                  </a:lnTo>
                  <a:lnTo>
                    <a:pt x="1511" y="1335"/>
                  </a:lnTo>
                  <a:lnTo>
                    <a:pt x="1493" y="1361"/>
                  </a:lnTo>
                  <a:lnTo>
                    <a:pt x="1474" y="1386"/>
                  </a:lnTo>
                  <a:lnTo>
                    <a:pt x="1453" y="1410"/>
                  </a:lnTo>
                  <a:lnTo>
                    <a:pt x="1431" y="1432"/>
                  </a:lnTo>
                  <a:lnTo>
                    <a:pt x="1409" y="1454"/>
                  </a:lnTo>
                  <a:lnTo>
                    <a:pt x="1385" y="1474"/>
                  </a:lnTo>
                  <a:lnTo>
                    <a:pt x="1361" y="1494"/>
                  </a:lnTo>
                  <a:lnTo>
                    <a:pt x="1336" y="1512"/>
                  </a:lnTo>
                  <a:lnTo>
                    <a:pt x="1310" y="1528"/>
                  </a:lnTo>
                  <a:lnTo>
                    <a:pt x="1282" y="1543"/>
                  </a:lnTo>
                  <a:lnTo>
                    <a:pt x="1255" y="1558"/>
                  </a:lnTo>
                  <a:lnTo>
                    <a:pt x="1226" y="1571"/>
                  </a:lnTo>
                  <a:lnTo>
                    <a:pt x="1195" y="1583"/>
                  </a:lnTo>
                  <a:lnTo>
                    <a:pt x="1165" y="1593"/>
                  </a:lnTo>
                  <a:lnTo>
                    <a:pt x="1135" y="1603"/>
                  </a:lnTo>
                  <a:lnTo>
                    <a:pt x="1103" y="1609"/>
                  </a:lnTo>
                  <a:lnTo>
                    <a:pt x="1071" y="1615"/>
                  </a:lnTo>
                  <a:lnTo>
                    <a:pt x="1040" y="1619"/>
                  </a:lnTo>
                  <a:lnTo>
                    <a:pt x="1007" y="1622"/>
                  </a:lnTo>
                  <a:lnTo>
                    <a:pt x="974" y="1622"/>
                  </a:lnTo>
                  <a:lnTo>
                    <a:pt x="974" y="16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8"/>
            <p:cNvSpPr>
              <a:spLocks/>
            </p:cNvSpPr>
            <p:nvPr/>
          </p:nvSpPr>
          <p:spPr bwMode="auto">
            <a:xfrm>
              <a:off x="2678873" y="2383860"/>
              <a:ext cx="1852679" cy="1850565"/>
            </a:xfrm>
            <a:custGeom>
              <a:avLst/>
              <a:gdLst>
                <a:gd name="T0" fmla="*/ 416 w 878"/>
                <a:gd name="T1" fmla="*/ 0 h 877"/>
                <a:gd name="T2" fmla="*/ 350 w 878"/>
                <a:gd name="T3" fmla="*/ 8 h 877"/>
                <a:gd name="T4" fmla="*/ 288 w 878"/>
                <a:gd name="T5" fmla="*/ 26 h 877"/>
                <a:gd name="T6" fmla="*/ 230 w 878"/>
                <a:gd name="T7" fmla="*/ 52 h 877"/>
                <a:gd name="T8" fmla="*/ 177 w 878"/>
                <a:gd name="T9" fmla="*/ 86 h 877"/>
                <a:gd name="T10" fmla="*/ 128 w 878"/>
                <a:gd name="T11" fmla="*/ 128 h 877"/>
                <a:gd name="T12" fmla="*/ 87 w 878"/>
                <a:gd name="T13" fmla="*/ 176 h 877"/>
                <a:gd name="T14" fmla="*/ 53 w 878"/>
                <a:gd name="T15" fmla="*/ 230 h 877"/>
                <a:gd name="T16" fmla="*/ 27 w 878"/>
                <a:gd name="T17" fmla="*/ 288 h 877"/>
                <a:gd name="T18" fmla="*/ 9 w 878"/>
                <a:gd name="T19" fmla="*/ 350 h 877"/>
                <a:gd name="T20" fmla="*/ 0 w 878"/>
                <a:gd name="T21" fmla="*/ 416 h 877"/>
                <a:gd name="T22" fmla="*/ 0 w 878"/>
                <a:gd name="T23" fmla="*/ 461 h 877"/>
                <a:gd name="T24" fmla="*/ 9 w 878"/>
                <a:gd name="T25" fmla="*/ 526 h 877"/>
                <a:gd name="T26" fmla="*/ 27 w 878"/>
                <a:gd name="T27" fmla="*/ 589 h 877"/>
                <a:gd name="T28" fmla="*/ 53 w 878"/>
                <a:gd name="T29" fmla="*/ 647 h 877"/>
                <a:gd name="T30" fmla="*/ 87 w 878"/>
                <a:gd name="T31" fmla="*/ 701 h 877"/>
                <a:gd name="T32" fmla="*/ 128 w 878"/>
                <a:gd name="T33" fmla="*/ 748 h 877"/>
                <a:gd name="T34" fmla="*/ 177 w 878"/>
                <a:gd name="T35" fmla="*/ 789 h 877"/>
                <a:gd name="T36" fmla="*/ 230 w 878"/>
                <a:gd name="T37" fmla="*/ 824 h 877"/>
                <a:gd name="T38" fmla="*/ 288 w 878"/>
                <a:gd name="T39" fmla="*/ 850 h 877"/>
                <a:gd name="T40" fmla="*/ 350 w 878"/>
                <a:gd name="T41" fmla="*/ 868 h 877"/>
                <a:gd name="T42" fmla="*/ 416 w 878"/>
                <a:gd name="T43" fmla="*/ 876 h 877"/>
                <a:gd name="T44" fmla="*/ 462 w 878"/>
                <a:gd name="T45" fmla="*/ 876 h 877"/>
                <a:gd name="T46" fmla="*/ 528 w 878"/>
                <a:gd name="T47" fmla="*/ 868 h 877"/>
                <a:gd name="T48" fmla="*/ 590 w 878"/>
                <a:gd name="T49" fmla="*/ 850 h 877"/>
                <a:gd name="T50" fmla="*/ 648 w 878"/>
                <a:gd name="T51" fmla="*/ 824 h 877"/>
                <a:gd name="T52" fmla="*/ 701 w 878"/>
                <a:gd name="T53" fmla="*/ 789 h 877"/>
                <a:gd name="T54" fmla="*/ 750 w 878"/>
                <a:gd name="T55" fmla="*/ 748 h 877"/>
                <a:gd name="T56" fmla="*/ 791 w 878"/>
                <a:gd name="T57" fmla="*/ 701 h 877"/>
                <a:gd name="T58" fmla="*/ 825 w 878"/>
                <a:gd name="T59" fmla="*/ 647 h 877"/>
                <a:gd name="T60" fmla="*/ 851 w 878"/>
                <a:gd name="T61" fmla="*/ 589 h 877"/>
                <a:gd name="T62" fmla="*/ 869 w 878"/>
                <a:gd name="T63" fmla="*/ 526 h 877"/>
                <a:gd name="T64" fmla="*/ 878 w 878"/>
                <a:gd name="T65" fmla="*/ 461 h 877"/>
                <a:gd name="T66" fmla="*/ 878 w 878"/>
                <a:gd name="T67" fmla="*/ 416 h 877"/>
                <a:gd name="T68" fmla="*/ 869 w 878"/>
                <a:gd name="T69" fmla="*/ 350 h 877"/>
                <a:gd name="T70" fmla="*/ 851 w 878"/>
                <a:gd name="T71" fmla="*/ 288 h 877"/>
                <a:gd name="T72" fmla="*/ 825 w 878"/>
                <a:gd name="T73" fmla="*/ 230 h 877"/>
                <a:gd name="T74" fmla="*/ 791 w 878"/>
                <a:gd name="T75" fmla="*/ 176 h 877"/>
                <a:gd name="T76" fmla="*/ 750 w 878"/>
                <a:gd name="T77" fmla="*/ 128 h 877"/>
                <a:gd name="T78" fmla="*/ 701 w 878"/>
                <a:gd name="T79" fmla="*/ 86 h 877"/>
                <a:gd name="T80" fmla="*/ 648 w 878"/>
                <a:gd name="T81" fmla="*/ 52 h 877"/>
                <a:gd name="T82" fmla="*/ 590 w 878"/>
                <a:gd name="T83" fmla="*/ 26 h 877"/>
                <a:gd name="T84" fmla="*/ 528 w 878"/>
                <a:gd name="T85" fmla="*/ 8 h 877"/>
                <a:gd name="T86" fmla="*/ 462 w 878"/>
                <a:gd name="T87" fmla="*/ 0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8" h="877">
                  <a:moveTo>
                    <a:pt x="440" y="0"/>
                  </a:moveTo>
                  <a:lnTo>
                    <a:pt x="440" y="0"/>
                  </a:lnTo>
                  <a:lnTo>
                    <a:pt x="416" y="0"/>
                  </a:lnTo>
                  <a:lnTo>
                    <a:pt x="394" y="1"/>
                  </a:lnTo>
                  <a:lnTo>
                    <a:pt x="372" y="4"/>
                  </a:lnTo>
                  <a:lnTo>
                    <a:pt x="350" y="8"/>
                  </a:lnTo>
                  <a:lnTo>
                    <a:pt x="330" y="13"/>
                  </a:lnTo>
                  <a:lnTo>
                    <a:pt x="309" y="19"/>
                  </a:lnTo>
                  <a:lnTo>
                    <a:pt x="288" y="26"/>
                  </a:lnTo>
                  <a:lnTo>
                    <a:pt x="269" y="34"/>
                  </a:lnTo>
                  <a:lnTo>
                    <a:pt x="250" y="42"/>
                  </a:lnTo>
                  <a:lnTo>
                    <a:pt x="230" y="52"/>
                  </a:lnTo>
                  <a:lnTo>
                    <a:pt x="211" y="63"/>
                  </a:lnTo>
                  <a:lnTo>
                    <a:pt x="195" y="74"/>
                  </a:lnTo>
                  <a:lnTo>
                    <a:pt x="177" y="86"/>
                  </a:lnTo>
                  <a:lnTo>
                    <a:pt x="160" y="100"/>
                  </a:lnTo>
                  <a:lnTo>
                    <a:pt x="144" y="114"/>
                  </a:lnTo>
                  <a:lnTo>
                    <a:pt x="128" y="128"/>
                  </a:lnTo>
                  <a:lnTo>
                    <a:pt x="115" y="143"/>
                  </a:lnTo>
                  <a:lnTo>
                    <a:pt x="101" y="159"/>
                  </a:lnTo>
                  <a:lnTo>
                    <a:pt x="87" y="176"/>
                  </a:lnTo>
                  <a:lnTo>
                    <a:pt x="75" y="193"/>
                  </a:lnTo>
                  <a:lnTo>
                    <a:pt x="64" y="210"/>
                  </a:lnTo>
                  <a:lnTo>
                    <a:pt x="53" y="230"/>
                  </a:lnTo>
                  <a:lnTo>
                    <a:pt x="43" y="248"/>
                  </a:lnTo>
                  <a:lnTo>
                    <a:pt x="35" y="267"/>
                  </a:lnTo>
                  <a:lnTo>
                    <a:pt x="27" y="288"/>
                  </a:lnTo>
                  <a:lnTo>
                    <a:pt x="20" y="308"/>
                  </a:lnTo>
                  <a:lnTo>
                    <a:pt x="14" y="329"/>
                  </a:lnTo>
                  <a:lnTo>
                    <a:pt x="9" y="350"/>
                  </a:lnTo>
                  <a:lnTo>
                    <a:pt x="6" y="372"/>
                  </a:lnTo>
                  <a:lnTo>
                    <a:pt x="3" y="394"/>
                  </a:lnTo>
                  <a:lnTo>
                    <a:pt x="0" y="416"/>
                  </a:lnTo>
                  <a:lnTo>
                    <a:pt x="0" y="438"/>
                  </a:lnTo>
                  <a:lnTo>
                    <a:pt x="0" y="438"/>
                  </a:lnTo>
                  <a:lnTo>
                    <a:pt x="0" y="461"/>
                  </a:lnTo>
                  <a:lnTo>
                    <a:pt x="3" y="483"/>
                  </a:lnTo>
                  <a:lnTo>
                    <a:pt x="6" y="505"/>
                  </a:lnTo>
                  <a:lnTo>
                    <a:pt x="9" y="526"/>
                  </a:lnTo>
                  <a:lnTo>
                    <a:pt x="14" y="548"/>
                  </a:lnTo>
                  <a:lnTo>
                    <a:pt x="20" y="569"/>
                  </a:lnTo>
                  <a:lnTo>
                    <a:pt x="27" y="589"/>
                  </a:lnTo>
                  <a:lnTo>
                    <a:pt x="35" y="609"/>
                  </a:lnTo>
                  <a:lnTo>
                    <a:pt x="43" y="628"/>
                  </a:lnTo>
                  <a:lnTo>
                    <a:pt x="53" y="647"/>
                  </a:lnTo>
                  <a:lnTo>
                    <a:pt x="64" y="665"/>
                  </a:lnTo>
                  <a:lnTo>
                    <a:pt x="75" y="683"/>
                  </a:lnTo>
                  <a:lnTo>
                    <a:pt x="87" y="701"/>
                  </a:lnTo>
                  <a:lnTo>
                    <a:pt x="101" y="718"/>
                  </a:lnTo>
                  <a:lnTo>
                    <a:pt x="115" y="733"/>
                  </a:lnTo>
                  <a:lnTo>
                    <a:pt x="128" y="748"/>
                  </a:lnTo>
                  <a:lnTo>
                    <a:pt x="144" y="763"/>
                  </a:lnTo>
                  <a:lnTo>
                    <a:pt x="160" y="777"/>
                  </a:lnTo>
                  <a:lnTo>
                    <a:pt x="177" y="789"/>
                  </a:lnTo>
                  <a:lnTo>
                    <a:pt x="195" y="802"/>
                  </a:lnTo>
                  <a:lnTo>
                    <a:pt x="211" y="814"/>
                  </a:lnTo>
                  <a:lnTo>
                    <a:pt x="230" y="824"/>
                  </a:lnTo>
                  <a:lnTo>
                    <a:pt x="250" y="833"/>
                  </a:lnTo>
                  <a:lnTo>
                    <a:pt x="269" y="843"/>
                  </a:lnTo>
                  <a:lnTo>
                    <a:pt x="288" y="850"/>
                  </a:lnTo>
                  <a:lnTo>
                    <a:pt x="309" y="857"/>
                  </a:lnTo>
                  <a:lnTo>
                    <a:pt x="330" y="864"/>
                  </a:lnTo>
                  <a:lnTo>
                    <a:pt x="350" y="868"/>
                  </a:lnTo>
                  <a:lnTo>
                    <a:pt x="372" y="872"/>
                  </a:lnTo>
                  <a:lnTo>
                    <a:pt x="394" y="875"/>
                  </a:lnTo>
                  <a:lnTo>
                    <a:pt x="416" y="876"/>
                  </a:lnTo>
                  <a:lnTo>
                    <a:pt x="440" y="877"/>
                  </a:lnTo>
                  <a:lnTo>
                    <a:pt x="440" y="877"/>
                  </a:lnTo>
                  <a:lnTo>
                    <a:pt x="462" y="876"/>
                  </a:lnTo>
                  <a:lnTo>
                    <a:pt x="484" y="875"/>
                  </a:lnTo>
                  <a:lnTo>
                    <a:pt x="506" y="872"/>
                  </a:lnTo>
                  <a:lnTo>
                    <a:pt x="528" y="868"/>
                  </a:lnTo>
                  <a:lnTo>
                    <a:pt x="548" y="864"/>
                  </a:lnTo>
                  <a:lnTo>
                    <a:pt x="569" y="857"/>
                  </a:lnTo>
                  <a:lnTo>
                    <a:pt x="590" y="850"/>
                  </a:lnTo>
                  <a:lnTo>
                    <a:pt x="609" y="843"/>
                  </a:lnTo>
                  <a:lnTo>
                    <a:pt x="628" y="833"/>
                  </a:lnTo>
                  <a:lnTo>
                    <a:pt x="648" y="824"/>
                  </a:lnTo>
                  <a:lnTo>
                    <a:pt x="667" y="814"/>
                  </a:lnTo>
                  <a:lnTo>
                    <a:pt x="683" y="802"/>
                  </a:lnTo>
                  <a:lnTo>
                    <a:pt x="701" y="789"/>
                  </a:lnTo>
                  <a:lnTo>
                    <a:pt x="718" y="777"/>
                  </a:lnTo>
                  <a:lnTo>
                    <a:pt x="734" y="763"/>
                  </a:lnTo>
                  <a:lnTo>
                    <a:pt x="750" y="748"/>
                  </a:lnTo>
                  <a:lnTo>
                    <a:pt x="763" y="733"/>
                  </a:lnTo>
                  <a:lnTo>
                    <a:pt x="777" y="718"/>
                  </a:lnTo>
                  <a:lnTo>
                    <a:pt x="791" y="701"/>
                  </a:lnTo>
                  <a:lnTo>
                    <a:pt x="803" y="683"/>
                  </a:lnTo>
                  <a:lnTo>
                    <a:pt x="814" y="665"/>
                  </a:lnTo>
                  <a:lnTo>
                    <a:pt x="825" y="647"/>
                  </a:lnTo>
                  <a:lnTo>
                    <a:pt x="835" y="628"/>
                  </a:lnTo>
                  <a:lnTo>
                    <a:pt x="843" y="609"/>
                  </a:lnTo>
                  <a:lnTo>
                    <a:pt x="851" y="589"/>
                  </a:lnTo>
                  <a:lnTo>
                    <a:pt x="858" y="569"/>
                  </a:lnTo>
                  <a:lnTo>
                    <a:pt x="864" y="548"/>
                  </a:lnTo>
                  <a:lnTo>
                    <a:pt x="869" y="526"/>
                  </a:lnTo>
                  <a:lnTo>
                    <a:pt x="872" y="505"/>
                  </a:lnTo>
                  <a:lnTo>
                    <a:pt x="875" y="483"/>
                  </a:lnTo>
                  <a:lnTo>
                    <a:pt x="878" y="461"/>
                  </a:lnTo>
                  <a:lnTo>
                    <a:pt x="878" y="438"/>
                  </a:lnTo>
                  <a:lnTo>
                    <a:pt x="878" y="438"/>
                  </a:lnTo>
                  <a:lnTo>
                    <a:pt x="878" y="416"/>
                  </a:lnTo>
                  <a:lnTo>
                    <a:pt x="875" y="394"/>
                  </a:lnTo>
                  <a:lnTo>
                    <a:pt x="872" y="372"/>
                  </a:lnTo>
                  <a:lnTo>
                    <a:pt x="869" y="350"/>
                  </a:lnTo>
                  <a:lnTo>
                    <a:pt x="864" y="329"/>
                  </a:lnTo>
                  <a:lnTo>
                    <a:pt x="858" y="308"/>
                  </a:lnTo>
                  <a:lnTo>
                    <a:pt x="851" y="288"/>
                  </a:lnTo>
                  <a:lnTo>
                    <a:pt x="843" y="267"/>
                  </a:lnTo>
                  <a:lnTo>
                    <a:pt x="835" y="248"/>
                  </a:lnTo>
                  <a:lnTo>
                    <a:pt x="825" y="230"/>
                  </a:lnTo>
                  <a:lnTo>
                    <a:pt x="814" y="210"/>
                  </a:lnTo>
                  <a:lnTo>
                    <a:pt x="803" y="193"/>
                  </a:lnTo>
                  <a:lnTo>
                    <a:pt x="791" y="176"/>
                  </a:lnTo>
                  <a:lnTo>
                    <a:pt x="777" y="159"/>
                  </a:lnTo>
                  <a:lnTo>
                    <a:pt x="763" y="143"/>
                  </a:lnTo>
                  <a:lnTo>
                    <a:pt x="750" y="128"/>
                  </a:lnTo>
                  <a:lnTo>
                    <a:pt x="734" y="114"/>
                  </a:lnTo>
                  <a:lnTo>
                    <a:pt x="718" y="100"/>
                  </a:lnTo>
                  <a:lnTo>
                    <a:pt x="701" y="86"/>
                  </a:lnTo>
                  <a:lnTo>
                    <a:pt x="683" y="74"/>
                  </a:lnTo>
                  <a:lnTo>
                    <a:pt x="667" y="63"/>
                  </a:lnTo>
                  <a:lnTo>
                    <a:pt x="648" y="52"/>
                  </a:lnTo>
                  <a:lnTo>
                    <a:pt x="628" y="42"/>
                  </a:lnTo>
                  <a:lnTo>
                    <a:pt x="609" y="34"/>
                  </a:lnTo>
                  <a:lnTo>
                    <a:pt x="590" y="26"/>
                  </a:lnTo>
                  <a:lnTo>
                    <a:pt x="569" y="19"/>
                  </a:lnTo>
                  <a:lnTo>
                    <a:pt x="548" y="13"/>
                  </a:lnTo>
                  <a:lnTo>
                    <a:pt x="528" y="8"/>
                  </a:lnTo>
                  <a:lnTo>
                    <a:pt x="506" y="4"/>
                  </a:lnTo>
                  <a:lnTo>
                    <a:pt x="484" y="1"/>
                  </a:lnTo>
                  <a:lnTo>
                    <a:pt x="462" y="0"/>
                  </a:lnTo>
                  <a:lnTo>
                    <a:pt x="440" y="0"/>
                  </a:lnTo>
                  <a:lnTo>
                    <a:pt x="440" y="0"/>
                  </a:lnTo>
                  <a:close/>
                </a:path>
              </a:pathLst>
            </a:custGeom>
            <a:grpFill/>
            <a:ln>
              <a:noFill/>
            </a:ln>
          </p:spPr>
          <p:txBody>
            <a:bodyPr vert="horz" wrap="square" lIns="91440" tIns="45720" rIns="91440" bIns="45720" numCol="1" anchor="ctr" anchorCtr="0" compatLnSpc="1">
              <a:prstTxWarp prst="textNoShape">
                <a:avLst/>
              </a:prstTxWarp>
            </a:bodyPr>
            <a:lstStyle/>
            <a:p>
              <a:pPr algn="ctr"/>
              <a:r>
                <a:rPr lang="en-US" sz="1200" b="1" dirty="0" smtClean="0">
                  <a:solidFill>
                    <a:schemeClr val="bg1"/>
                  </a:solidFill>
                </a:rPr>
                <a:t>Goal</a:t>
              </a:r>
              <a:endParaRPr lang="en-US" sz="1200" b="1" dirty="0">
                <a:solidFill>
                  <a:schemeClr val="bg1"/>
                </a:solidFill>
              </a:endParaRPr>
            </a:p>
          </p:txBody>
        </p:sp>
      </p:grpSp>
      <p:sp>
        <p:nvSpPr>
          <p:cNvPr id="92" name="Rectangle 91"/>
          <p:cNvSpPr/>
          <p:nvPr/>
        </p:nvSpPr>
        <p:spPr>
          <a:xfrm>
            <a:off x="1954408" y="2570224"/>
            <a:ext cx="603026" cy="235732"/>
          </a:xfrm>
          <a:prstGeom prst="rect">
            <a:avLst/>
          </a:prstGeom>
        </p:spPr>
        <p:txBody>
          <a:bodyPr wrap="none">
            <a:spAutoFit/>
          </a:bodyPr>
          <a:lstStyle/>
          <a:p>
            <a:pPr algn="ctr"/>
            <a:r>
              <a:rPr lang="en-US" sz="1200" b="1" dirty="0" smtClean="0">
                <a:solidFill>
                  <a:srgbClr val="000000"/>
                </a:solidFill>
              </a:rPr>
              <a:t>Strategy</a:t>
            </a:r>
            <a:endParaRPr lang="en-US" sz="1200" b="1" dirty="0">
              <a:solidFill>
                <a:srgbClr val="000000"/>
              </a:solidFill>
            </a:endParaRPr>
          </a:p>
        </p:txBody>
      </p:sp>
      <p:sp>
        <p:nvSpPr>
          <p:cNvPr id="93" name="Rectangle 92"/>
          <p:cNvSpPr/>
          <p:nvPr/>
        </p:nvSpPr>
        <p:spPr>
          <a:xfrm>
            <a:off x="3391557" y="2157635"/>
            <a:ext cx="605481" cy="235732"/>
          </a:xfrm>
          <a:prstGeom prst="rect">
            <a:avLst/>
          </a:prstGeom>
        </p:spPr>
        <p:txBody>
          <a:bodyPr wrap="none">
            <a:spAutoFit/>
          </a:bodyPr>
          <a:lstStyle/>
          <a:p>
            <a:pPr algn="ctr"/>
            <a:r>
              <a:rPr lang="en-US" sz="1200" b="1" dirty="0" smtClean="0">
                <a:solidFill>
                  <a:srgbClr val="000000"/>
                </a:solidFill>
              </a:rPr>
              <a:t>Develop</a:t>
            </a:r>
            <a:endParaRPr lang="en-US" sz="1200" b="1" dirty="0">
              <a:solidFill>
                <a:srgbClr val="000000"/>
              </a:solidFill>
            </a:endParaRPr>
          </a:p>
        </p:txBody>
      </p:sp>
      <p:sp>
        <p:nvSpPr>
          <p:cNvPr id="94" name="Rectangle 93"/>
          <p:cNvSpPr/>
          <p:nvPr/>
        </p:nvSpPr>
        <p:spPr>
          <a:xfrm>
            <a:off x="5224266" y="2157635"/>
            <a:ext cx="494109" cy="235732"/>
          </a:xfrm>
          <a:prstGeom prst="rect">
            <a:avLst/>
          </a:prstGeom>
        </p:spPr>
        <p:txBody>
          <a:bodyPr wrap="none">
            <a:spAutoFit/>
          </a:bodyPr>
          <a:lstStyle/>
          <a:p>
            <a:pPr algn="ctr"/>
            <a:r>
              <a:rPr lang="en-US" sz="1200" b="1" dirty="0" smtClean="0">
                <a:solidFill>
                  <a:srgbClr val="000000"/>
                </a:solidFill>
              </a:rPr>
              <a:t>Vision</a:t>
            </a:r>
            <a:endParaRPr lang="en-US" sz="1200" b="1" dirty="0">
              <a:solidFill>
                <a:srgbClr val="000000"/>
              </a:solidFill>
            </a:endParaRPr>
          </a:p>
        </p:txBody>
      </p:sp>
      <p:sp>
        <p:nvSpPr>
          <p:cNvPr id="95" name="Rectangle 94"/>
          <p:cNvSpPr/>
          <p:nvPr/>
        </p:nvSpPr>
        <p:spPr>
          <a:xfrm>
            <a:off x="6604192" y="2570224"/>
            <a:ext cx="567775" cy="235732"/>
          </a:xfrm>
          <a:prstGeom prst="rect">
            <a:avLst/>
          </a:prstGeom>
        </p:spPr>
        <p:txBody>
          <a:bodyPr wrap="none">
            <a:spAutoFit/>
          </a:bodyPr>
          <a:lstStyle/>
          <a:p>
            <a:pPr algn="ctr"/>
            <a:r>
              <a:rPr lang="en-US" sz="1200" b="1" dirty="0" smtClean="0">
                <a:solidFill>
                  <a:srgbClr val="000000"/>
                </a:solidFill>
              </a:rPr>
              <a:t>Success</a:t>
            </a:r>
            <a:endParaRPr lang="en-US" sz="1200" b="1" dirty="0">
              <a:solidFill>
                <a:srgbClr val="000000"/>
              </a:solidFill>
            </a:endParaRPr>
          </a:p>
        </p:txBody>
      </p:sp>
      <p:grpSp>
        <p:nvGrpSpPr>
          <p:cNvPr id="100" name="Group 99"/>
          <p:cNvGrpSpPr/>
          <p:nvPr/>
        </p:nvGrpSpPr>
        <p:grpSpPr>
          <a:xfrm>
            <a:off x="334963" y="4673608"/>
            <a:ext cx="2265373" cy="1154642"/>
            <a:chOff x="6765581" y="1585913"/>
            <a:chExt cx="1872209" cy="1154642"/>
          </a:xfrm>
        </p:grpSpPr>
        <p:sp>
          <p:nvSpPr>
            <p:cNvPr id="101" name="Rectangle 100"/>
            <p:cNvSpPr/>
            <p:nvPr/>
          </p:nvSpPr>
          <p:spPr>
            <a:xfrm>
              <a:off x="6903146" y="1825517"/>
              <a:ext cx="1734644" cy="915038"/>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274320" bIns="91440" rtlCol="0" anchor="t"/>
            <a:lstStyle/>
            <a:p>
              <a:pPr marL="171450" indent="-171450">
                <a:buFont typeface="Wingdings" panose="05000000000000000000" pitchFamily="2" charset="2"/>
                <a:buChar char="§"/>
              </a:pPr>
              <a:r>
                <a:rPr lang="en-US" sz="1000" dirty="0">
                  <a:solidFill>
                    <a:srgbClr val="000000"/>
                  </a:solidFill>
                </a:rPr>
                <a:t>Place your text here, this is an example text. Go a head replace with your own text</a:t>
              </a:r>
            </a:p>
          </p:txBody>
        </p:sp>
        <p:sp>
          <p:nvSpPr>
            <p:cNvPr id="102" name="Rectangle 101"/>
            <p:cNvSpPr/>
            <p:nvPr/>
          </p:nvSpPr>
          <p:spPr>
            <a:xfrm>
              <a:off x="6765581" y="1585913"/>
              <a:ext cx="1418525" cy="427572"/>
            </a:xfrm>
            <a:prstGeom prst="rect">
              <a:avLst/>
            </a:prstGeom>
            <a:solidFill>
              <a:srgbClr val="0D65AC"/>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Example Text</a:t>
              </a:r>
              <a:endParaRPr lang="en-US" sz="1400" b="1" dirty="0"/>
            </a:p>
          </p:txBody>
        </p:sp>
        <p:sp>
          <p:nvSpPr>
            <p:cNvPr id="103" name="Right Triangle 102"/>
            <p:cNvSpPr/>
            <p:nvPr/>
          </p:nvSpPr>
          <p:spPr>
            <a:xfrm flipH="1" flipV="1">
              <a:off x="6765581" y="2013485"/>
              <a:ext cx="137564" cy="137564"/>
            </a:xfrm>
            <a:prstGeom prst="rtTriangle">
              <a:avLst/>
            </a:prstGeom>
            <a:solidFill>
              <a:srgbClr val="07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4" name="Right Triangle 103"/>
            <p:cNvSpPr/>
            <p:nvPr/>
          </p:nvSpPr>
          <p:spPr>
            <a:xfrm flipV="1">
              <a:off x="6903145" y="2013485"/>
              <a:ext cx="1280961" cy="142032"/>
            </a:xfrm>
            <a:prstGeom prst="rtTriangl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0" name="Group 109"/>
          <p:cNvGrpSpPr/>
          <p:nvPr/>
        </p:nvGrpSpPr>
        <p:grpSpPr>
          <a:xfrm>
            <a:off x="3444082" y="4673608"/>
            <a:ext cx="2265373" cy="1154642"/>
            <a:chOff x="6765581" y="1585913"/>
            <a:chExt cx="1872209" cy="1154642"/>
          </a:xfrm>
        </p:grpSpPr>
        <p:sp>
          <p:nvSpPr>
            <p:cNvPr id="111" name="Rectangle 110"/>
            <p:cNvSpPr/>
            <p:nvPr/>
          </p:nvSpPr>
          <p:spPr>
            <a:xfrm>
              <a:off x="6903146" y="1825517"/>
              <a:ext cx="1734644" cy="915038"/>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274320" bIns="91440" rtlCol="0" anchor="t"/>
            <a:lstStyle/>
            <a:p>
              <a:pPr marL="171450" indent="-171450">
                <a:buFont typeface="Wingdings" panose="05000000000000000000" pitchFamily="2" charset="2"/>
                <a:buChar char="§"/>
              </a:pPr>
              <a:r>
                <a:rPr lang="en-US" sz="1000" dirty="0">
                  <a:solidFill>
                    <a:srgbClr val="000000"/>
                  </a:solidFill>
                </a:rPr>
                <a:t>Place your text here, this is an example text. Go a head replace with your own text</a:t>
              </a:r>
            </a:p>
          </p:txBody>
        </p:sp>
        <p:sp>
          <p:nvSpPr>
            <p:cNvPr id="112" name="Rectangle 111"/>
            <p:cNvSpPr/>
            <p:nvPr/>
          </p:nvSpPr>
          <p:spPr>
            <a:xfrm>
              <a:off x="6765581" y="1585913"/>
              <a:ext cx="1418525" cy="427572"/>
            </a:xfrm>
            <a:prstGeom prst="rect">
              <a:avLst/>
            </a:prstGeom>
            <a:solidFill>
              <a:srgbClr val="2A9B18"/>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Example Text</a:t>
              </a:r>
              <a:endParaRPr lang="en-US" sz="1400" b="1" dirty="0"/>
            </a:p>
          </p:txBody>
        </p:sp>
        <p:sp>
          <p:nvSpPr>
            <p:cNvPr id="113" name="Right Triangle 112"/>
            <p:cNvSpPr/>
            <p:nvPr/>
          </p:nvSpPr>
          <p:spPr>
            <a:xfrm flipH="1" flipV="1">
              <a:off x="6765581" y="2013485"/>
              <a:ext cx="137564" cy="137564"/>
            </a:xfrm>
            <a:prstGeom prst="rtTriangle">
              <a:avLst/>
            </a:prstGeom>
            <a:solidFill>
              <a:srgbClr val="1E6911"/>
            </a:solidFill>
            <a:ln w="3175">
              <a:noFill/>
              <a:round/>
              <a:headEnd/>
              <a:tailEnd/>
            </a:ln>
          </p:spPr>
          <p:txBody>
            <a:bodyPr/>
            <a:lstStyle/>
            <a:p>
              <a:endParaRPr lang="en-US" sz="1200">
                <a:solidFill>
                  <a:schemeClr val="bg1"/>
                </a:solidFill>
                <a:latin typeface="+mj-lt"/>
              </a:endParaRPr>
            </a:p>
          </p:txBody>
        </p:sp>
        <p:sp>
          <p:nvSpPr>
            <p:cNvPr id="114" name="Right Triangle 113"/>
            <p:cNvSpPr/>
            <p:nvPr/>
          </p:nvSpPr>
          <p:spPr>
            <a:xfrm flipV="1">
              <a:off x="6903145" y="2013485"/>
              <a:ext cx="1280961" cy="142032"/>
            </a:xfrm>
            <a:prstGeom prst="rtTriangl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 114"/>
          <p:cNvGrpSpPr/>
          <p:nvPr/>
        </p:nvGrpSpPr>
        <p:grpSpPr>
          <a:xfrm>
            <a:off x="6553200" y="4673608"/>
            <a:ext cx="2265373" cy="1154642"/>
            <a:chOff x="6765581" y="1585913"/>
            <a:chExt cx="1872209" cy="1154642"/>
          </a:xfrm>
        </p:grpSpPr>
        <p:sp>
          <p:nvSpPr>
            <p:cNvPr id="116" name="Rectangle 115"/>
            <p:cNvSpPr/>
            <p:nvPr/>
          </p:nvSpPr>
          <p:spPr>
            <a:xfrm>
              <a:off x="6903146" y="1825517"/>
              <a:ext cx="1734644" cy="915038"/>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274320" bIns="91440" rtlCol="0" anchor="t"/>
            <a:lstStyle/>
            <a:p>
              <a:pPr marL="171450" indent="-171450">
                <a:buFont typeface="Wingdings" panose="05000000000000000000" pitchFamily="2" charset="2"/>
                <a:buChar char="§"/>
              </a:pPr>
              <a:r>
                <a:rPr lang="en-US" sz="1000" dirty="0">
                  <a:solidFill>
                    <a:srgbClr val="000000"/>
                  </a:solidFill>
                </a:rPr>
                <a:t>Place your text here, this is an example text. Go a head replace with your own text</a:t>
              </a:r>
            </a:p>
          </p:txBody>
        </p:sp>
        <p:sp>
          <p:nvSpPr>
            <p:cNvPr id="117" name="Rectangle 116"/>
            <p:cNvSpPr/>
            <p:nvPr/>
          </p:nvSpPr>
          <p:spPr>
            <a:xfrm>
              <a:off x="6765581" y="1585913"/>
              <a:ext cx="1418525" cy="427572"/>
            </a:xfrm>
            <a:prstGeom prst="rect">
              <a:avLst/>
            </a:prstGeom>
            <a:solidFill>
              <a:srgbClr val="CE202A"/>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Example Text</a:t>
              </a:r>
              <a:endParaRPr lang="en-US" sz="1400" b="1" dirty="0"/>
            </a:p>
          </p:txBody>
        </p:sp>
        <p:sp>
          <p:nvSpPr>
            <p:cNvPr id="118" name="Right Triangle 117"/>
            <p:cNvSpPr/>
            <p:nvPr/>
          </p:nvSpPr>
          <p:spPr>
            <a:xfrm flipH="1" flipV="1">
              <a:off x="6765581" y="2013485"/>
              <a:ext cx="137564" cy="137564"/>
            </a:xfrm>
            <a:prstGeom prst="rtTriangle">
              <a:avLst/>
            </a:prstGeom>
            <a:solidFill>
              <a:srgbClr val="7F1318"/>
            </a:solidFill>
            <a:ln w="3175">
              <a:noFill/>
              <a:round/>
              <a:headEnd/>
              <a:tailEnd/>
            </a:ln>
          </p:spPr>
          <p:txBody>
            <a:bodyPr/>
            <a:lstStyle/>
            <a:p>
              <a:endParaRPr lang="en-US" sz="1200">
                <a:solidFill>
                  <a:schemeClr val="bg1"/>
                </a:solidFill>
                <a:latin typeface="+mj-lt"/>
              </a:endParaRPr>
            </a:p>
          </p:txBody>
        </p:sp>
        <p:sp>
          <p:nvSpPr>
            <p:cNvPr id="119" name="Right Triangle 118"/>
            <p:cNvSpPr/>
            <p:nvPr/>
          </p:nvSpPr>
          <p:spPr>
            <a:xfrm flipV="1">
              <a:off x="6903145" y="2013485"/>
              <a:ext cx="1280961" cy="142032"/>
            </a:xfrm>
            <a:prstGeom prst="rtTriangl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30378885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24</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grpSp>
        <p:nvGrpSpPr>
          <p:cNvPr id="71" name="Group 70"/>
          <p:cNvGrpSpPr/>
          <p:nvPr/>
        </p:nvGrpSpPr>
        <p:grpSpPr>
          <a:xfrm>
            <a:off x="1191514" y="3014658"/>
            <a:ext cx="3125221" cy="2758212"/>
            <a:chOff x="6765581" y="1585913"/>
            <a:chExt cx="2777777" cy="2966400"/>
          </a:xfrm>
        </p:grpSpPr>
        <p:sp>
          <p:nvSpPr>
            <p:cNvPr id="72" name="Rectangle 71"/>
            <p:cNvSpPr/>
            <p:nvPr/>
          </p:nvSpPr>
          <p:spPr>
            <a:xfrm>
              <a:off x="6903146" y="1825517"/>
              <a:ext cx="2502648" cy="2726796"/>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365760" rIns="182880" bIns="91440" rtlCol="0" anchor="t"/>
            <a:lstStyle/>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a:p>
              <a:pPr marL="171450" indent="-171450">
                <a:buFont typeface="Wingdings" panose="05000000000000000000" pitchFamily="2" charset="2"/>
                <a:buChar char="§"/>
              </a:pPr>
              <a:endParaRPr lang="en-US" sz="1200" dirty="0" smtClean="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p:txBody>
        </p:sp>
        <p:sp>
          <p:nvSpPr>
            <p:cNvPr id="73" name="Rectangle 72"/>
            <p:cNvSpPr/>
            <p:nvPr/>
          </p:nvSpPr>
          <p:spPr>
            <a:xfrm>
              <a:off x="6765581" y="1585913"/>
              <a:ext cx="2777776" cy="427572"/>
            </a:xfrm>
            <a:prstGeom prst="rect">
              <a:avLst/>
            </a:prstGeom>
            <a:solidFill>
              <a:srgbClr val="0D65AC"/>
            </a:solidFill>
            <a:ln w="3175">
              <a:noFill/>
              <a:round/>
              <a:headEnd/>
              <a:tailEnd/>
            </a:ln>
            <a:effectLst>
              <a:innerShdw dist="38100" dir="5400000">
                <a:prstClr val="black">
                  <a:alpha val="20000"/>
                </a:prstClr>
              </a:innerShdw>
            </a:effectLst>
          </p:spPr>
          <p:txBody>
            <a:bodyPr rtlCol="0" anchor="ctr"/>
            <a:lstStyle/>
            <a:p>
              <a:r>
                <a:rPr lang="en-US" sz="1600" b="1" dirty="0" smtClean="0">
                  <a:solidFill>
                    <a:schemeClr val="bg1"/>
                  </a:solidFill>
                </a:rPr>
                <a:t>Values and Visions</a:t>
              </a:r>
              <a:endParaRPr lang="en-US" sz="1600" b="1" dirty="0">
                <a:solidFill>
                  <a:schemeClr val="bg1"/>
                </a:solidFill>
              </a:endParaRPr>
            </a:p>
          </p:txBody>
        </p:sp>
        <p:sp>
          <p:nvSpPr>
            <p:cNvPr id="74" name="Right Triangle 73"/>
            <p:cNvSpPr/>
            <p:nvPr/>
          </p:nvSpPr>
          <p:spPr>
            <a:xfrm flipH="1" flipV="1">
              <a:off x="6765581" y="2013485"/>
              <a:ext cx="137564" cy="137564"/>
            </a:xfrm>
            <a:prstGeom prst="rtTriangle">
              <a:avLst/>
            </a:prstGeom>
            <a:solidFill>
              <a:srgbClr val="07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2" name="Right Triangle 51"/>
            <p:cNvSpPr/>
            <p:nvPr/>
          </p:nvSpPr>
          <p:spPr>
            <a:xfrm flipV="1">
              <a:off x="9405794" y="2013485"/>
              <a:ext cx="137564" cy="137563"/>
            </a:xfrm>
            <a:prstGeom prst="rtTriangle">
              <a:avLst/>
            </a:prstGeom>
            <a:solidFill>
              <a:srgbClr val="073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nvGrpSpPr>
          <p:cNvPr id="32" name="Group 31"/>
          <p:cNvGrpSpPr/>
          <p:nvPr/>
        </p:nvGrpSpPr>
        <p:grpSpPr>
          <a:xfrm>
            <a:off x="4669287" y="3014658"/>
            <a:ext cx="3125220" cy="2758212"/>
            <a:chOff x="6765581" y="1585913"/>
            <a:chExt cx="2777777" cy="2966401"/>
          </a:xfrm>
        </p:grpSpPr>
        <p:sp>
          <p:nvSpPr>
            <p:cNvPr id="33" name="Rectangle 32"/>
            <p:cNvSpPr/>
            <p:nvPr/>
          </p:nvSpPr>
          <p:spPr>
            <a:xfrm>
              <a:off x="6903146" y="1825517"/>
              <a:ext cx="2502648" cy="2726797"/>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365760" rIns="182880" bIns="91440" rtlCol="0" anchor="t"/>
            <a:lstStyle/>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text</a:t>
              </a: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text</a:t>
              </a: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text</a:t>
              </a:r>
            </a:p>
          </p:txBody>
        </p:sp>
        <p:sp>
          <p:nvSpPr>
            <p:cNvPr id="34" name="Rectangle 33"/>
            <p:cNvSpPr/>
            <p:nvPr/>
          </p:nvSpPr>
          <p:spPr>
            <a:xfrm>
              <a:off x="6765581" y="1585913"/>
              <a:ext cx="2777777" cy="427572"/>
            </a:xfrm>
            <a:prstGeom prst="rect">
              <a:avLst/>
            </a:prstGeom>
            <a:solidFill>
              <a:srgbClr val="2A9B18"/>
            </a:solidFill>
            <a:ln w="3175">
              <a:noFill/>
              <a:round/>
              <a:headEnd/>
              <a:tailEnd/>
            </a:ln>
            <a:effectLst>
              <a:innerShdw dist="38100" dir="5400000">
                <a:prstClr val="black">
                  <a:alpha val="20000"/>
                </a:prstClr>
              </a:innerShdw>
            </a:effectLst>
          </p:spPr>
          <p:txBody>
            <a:bodyPr rtlCol="0" anchor="ctr"/>
            <a:lstStyle/>
            <a:p>
              <a:r>
                <a:rPr lang="en-US" sz="1600" b="1" dirty="0" smtClean="0">
                  <a:solidFill>
                    <a:schemeClr val="bg1"/>
                  </a:solidFill>
                </a:rPr>
                <a:t>Missions and Goals</a:t>
              </a:r>
              <a:endParaRPr lang="en-US" sz="1600" b="1" dirty="0">
                <a:solidFill>
                  <a:schemeClr val="bg1"/>
                </a:solidFill>
              </a:endParaRPr>
            </a:p>
          </p:txBody>
        </p:sp>
        <p:sp>
          <p:nvSpPr>
            <p:cNvPr id="35" name="Right Triangle 34"/>
            <p:cNvSpPr/>
            <p:nvPr/>
          </p:nvSpPr>
          <p:spPr>
            <a:xfrm flipH="1" flipV="1">
              <a:off x="6765581" y="2013485"/>
              <a:ext cx="137564" cy="137564"/>
            </a:xfrm>
            <a:prstGeom prst="rtTriangle">
              <a:avLst/>
            </a:prstGeom>
            <a:solidFill>
              <a:srgbClr val="1E6911"/>
            </a:solidFill>
            <a:ln w="3175">
              <a:noFill/>
              <a:round/>
              <a:headEnd/>
              <a:tailEnd/>
            </a:ln>
          </p:spPr>
          <p:txBody>
            <a:bodyPr/>
            <a:lstStyle/>
            <a:p>
              <a:endParaRPr lang="en-US" sz="1200">
                <a:solidFill>
                  <a:schemeClr val="bg1"/>
                </a:solidFill>
                <a:latin typeface="+mj-lt"/>
              </a:endParaRPr>
            </a:p>
          </p:txBody>
        </p:sp>
        <p:sp>
          <p:nvSpPr>
            <p:cNvPr id="53" name="Right Triangle 52"/>
            <p:cNvSpPr/>
            <p:nvPr/>
          </p:nvSpPr>
          <p:spPr>
            <a:xfrm flipV="1">
              <a:off x="9405794" y="2013485"/>
              <a:ext cx="137564" cy="137564"/>
            </a:xfrm>
            <a:prstGeom prst="rtTriangle">
              <a:avLst/>
            </a:prstGeom>
            <a:solidFill>
              <a:srgbClr val="1E6911"/>
            </a:solidFill>
            <a:ln w="3175">
              <a:noFill/>
              <a:round/>
              <a:headEnd/>
              <a:tailEnd/>
            </a:ln>
          </p:spPr>
          <p:txBody>
            <a:bodyPr/>
            <a:lstStyle/>
            <a:p>
              <a:endParaRPr lang="en-US" sz="1200">
                <a:solidFill>
                  <a:schemeClr val="bg1"/>
                </a:solidFill>
                <a:latin typeface="+mj-lt"/>
              </a:endParaRPr>
            </a:p>
          </p:txBody>
        </p:sp>
      </p:grpSp>
      <p:grpSp>
        <p:nvGrpSpPr>
          <p:cNvPr id="9" name="Group 8"/>
          <p:cNvGrpSpPr/>
          <p:nvPr/>
        </p:nvGrpSpPr>
        <p:grpSpPr>
          <a:xfrm>
            <a:off x="2242021" y="1763230"/>
            <a:ext cx="1024207" cy="1024207"/>
            <a:chOff x="1988940" y="1585913"/>
            <a:chExt cx="1299094" cy="1299094"/>
          </a:xfrm>
        </p:grpSpPr>
        <p:sp>
          <p:nvSpPr>
            <p:cNvPr id="8" name="Oval 7"/>
            <p:cNvSpPr/>
            <p:nvPr/>
          </p:nvSpPr>
          <p:spPr>
            <a:xfrm>
              <a:off x="1988940" y="1585913"/>
              <a:ext cx="1299094" cy="1299094"/>
            </a:xfrm>
            <a:prstGeom prst="ellipse">
              <a:avLst/>
            </a:prstGeom>
            <a:solidFill>
              <a:srgbClr val="0D6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2274601" y="1860800"/>
              <a:ext cx="727772" cy="749321"/>
              <a:chOff x="-1080031" y="1080338"/>
              <a:chExt cx="1414362" cy="1456240"/>
            </a:xfrm>
            <a:solidFill>
              <a:schemeClr val="bg1"/>
            </a:solidFill>
          </p:grpSpPr>
          <p:sp>
            <p:nvSpPr>
              <p:cNvPr id="24" name="Freeform 491"/>
              <p:cNvSpPr>
                <a:spLocks noEditPoints="1"/>
              </p:cNvSpPr>
              <p:nvPr/>
            </p:nvSpPr>
            <p:spPr bwMode="auto">
              <a:xfrm>
                <a:off x="-568255" y="2196944"/>
                <a:ext cx="293108" cy="339634"/>
              </a:xfrm>
              <a:custGeom>
                <a:avLst/>
                <a:gdLst>
                  <a:gd name="T0" fmla="*/ 213 w 314"/>
                  <a:gd name="T1" fmla="*/ 40 h 361"/>
                  <a:gd name="T2" fmla="*/ 225 w 314"/>
                  <a:gd name="T3" fmla="*/ 42 h 361"/>
                  <a:gd name="T4" fmla="*/ 246 w 314"/>
                  <a:gd name="T5" fmla="*/ 51 h 361"/>
                  <a:gd name="T6" fmla="*/ 264 w 314"/>
                  <a:gd name="T7" fmla="*/ 67 h 361"/>
                  <a:gd name="T8" fmla="*/ 273 w 314"/>
                  <a:gd name="T9" fmla="*/ 88 h 361"/>
                  <a:gd name="T10" fmla="*/ 274 w 314"/>
                  <a:gd name="T11" fmla="*/ 100 h 361"/>
                  <a:gd name="T12" fmla="*/ 274 w 314"/>
                  <a:gd name="T13" fmla="*/ 260 h 361"/>
                  <a:gd name="T14" fmla="*/ 273 w 314"/>
                  <a:gd name="T15" fmla="*/ 272 h 361"/>
                  <a:gd name="T16" fmla="*/ 264 w 314"/>
                  <a:gd name="T17" fmla="*/ 293 h 361"/>
                  <a:gd name="T18" fmla="*/ 246 w 314"/>
                  <a:gd name="T19" fmla="*/ 309 h 361"/>
                  <a:gd name="T20" fmla="*/ 225 w 314"/>
                  <a:gd name="T21" fmla="*/ 318 h 361"/>
                  <a:gd name="T22" fmla="*/ 213 w 314"/>
                  <a:gd name="T23" fmla="*/ 320 h 361"/>
                  <a:gd name="T24" fmla="*/ 101 w 314"/>
                  <a:gd name="T25" fmla="*/ 320 h 361"/>
                  <a:gd name="T26" fmla="*/ 89 w 314"/>
                  <a:gd name="T27" fmla="*/ 318 h 361"/>
                  <a:gd name="T28" fmla="*/ 67 w 314"/>
                  <a:gd name="T29" fmla="*/ 309 h 361"/>
                  <a:gd name="T30" fmla="*/ 50 w 314"/>
                  <a:gd name="T31" fmla="*/ 293 h 361"/>
                  <a:gd name="T32" fmla="*/ 41 w 314"/>
                  <a:gd name="T33" fmla="*/ 272 h 361"/>
                  <a:gd name="T34" fmla="*/ 40 w 314"/>
                  <a:gd name="T35" fmla="*/ 260 h 361"/>
                  <a:gd name="T36" fmla="*/ 40 w 314"/>
                  <a:gd name="T37" fmla="*/ 100 h 361"/>
                  <a:gd name="T38" fmla="*/ 41 w 314"/>
                  <a:gd name="T39" fmla="*/ 88 h 361"/>
                  <a:gd name="T40" fmla="*/ 50 w 314"/>
                  <a:gd name="T41" fmla="*/ 67 h 361"/>
                  <a:gd name="T42" fmla="*/ 67 w 314"/>
                  <a:gd name="T43" fmla="*/ 51 h 361"/>
                  <a:gd name="T44" fmla="*/ 89 w 314"/>
                  <a:gd name="T45" fmla="*/ 42 h 361"/>
                  <a:gd name="T46" fmla="*/ 101 w 314"/>
                  <a:gd name="T47" fmla="*/ 40 h 361"/>
                  <a:gd name="T48" fmla="*/ 213 w 314"/>
                  <a:gd name="T49" fmla="*/ 0 h 361"/>
                  <a:gd name="T50" fmla="*/ 101 w 314"/>
                  <a:gd name="T51" fmla="*/ 0 h 361"/>
                  <a:gd name="T52" fmla="*/ 81 w 314"/>
                  <a:gd name="T53" fmla="*/ 2 h 361"/>
                  <a:gd name="T54" fmla="*/ 62 w 314"/>
                  <a:gd name="T55" fmla="*/ 8 h 361"/>
                  <a:gd name="T56" fmla="*/ 44 w 314"/>
                  <a:gd name="T57" fmla="*/ 17 h 361"/>
                  <a:gd name="T58" fmla="*/ 29 w 314"/>
                  <a:gd name="T59" fmla="*/ 30 h 361"/>
                  <a:gd name="T60" fmla="*/ 17 w 314"/>
                  <a:gd name="T61" fmla="*/ 45 h 361"/>
                  <a:gd name="T62" fmla="*/ 8 w 314"/>
                  <a:gd name="T63" fmla="*/ 62 h 361"/>
                  <a:gd name="T64" fmla="*/ 2 w 314"/>
                  <a:gd name="T65" fmla="*/ 80 h 361"/>
                  <a:gd name="T66" fmla="*/ 0 w 314"/>
                  <a:gd name="T67" fmla="*/ 100 h 361"/>
                  <a:gd name="T68" fmla="*/ 0 w 314"/>
                  <a:gd name="T69" fmla="*/ 260 h 361"/>
                  <a:gd name="T70" fmla="*/ 2 w 314"/>
                  <a:gd name="T71" fmla="*/ 280 h 361"/>
                  <a:gd name="T72" fmla="*/ 8 w 314"/>
                  <a:gd name="T73" fmla="*/ 298 h 361"/>
                  <a:gd name="T74" fmla="*/ 17 w 314"/>
                  <a:gd name="T75" fmla="*/ 315 h 361"/>
                  <a:gd name="T76" fmla="*/ 29 w 314"/>
                  <a:gd name="T77" fmla="*/ 330 h 361"/>
                  <a:gd name="T78" fmla="*/ 44 w 314"/>
                  <a:gd name="T79" fmla="*/ 343 h 361"/>
                  <a:gd name="T80" fmla="*/ 62 w 314"/>
                  <a:gd name="T81" fmla="*/ 353 h 361"/>
                  <a:gd name="T82" fmla="*/ 81 w 314"/>
                  <a:gd name="T83" fmla="*/ 359 h 361"/>
                  <a:gd name="T84" fmla="*/ 101 w 314"/>
                  <a:gd name="T85" fmla="*/ 361 h 361"/>
                  <a:gd name="T86" fmla="*/ 213 w 314"/>
                  <a:gd name="T87" fmla="*/ 361 h 361"/>
                  <a:gd name="T88" fmla="*/ 233 w 314"/>
                  <a:gd name="T89" fmla="*/ 359 h 361"/>
                  <a:gd name="T90" fmla="*/ 252 w 314"/>
                  <a:gd name="T91" fmla="*/ 353 h 361"/>
                  <a:gd name="T92" fmla="*/ 270 w 314"/>
                  <a:gd name="T93" fmla="*/ 343 h 361"/>
                  <a:gd name="T94" fmla="*/ 284 w 314"/>
                  <a:gd name="T95" fmla="*/ 330 h 361"/>
                  <a:gd name="T96" fmla="*/ 297 w 314"/>
                  <a:gd name="T97" fmla="*/ 315 h 361"/>
                  <a:gd name="T98" fmla="*/ 306 w 314"/>
                  <a:gd name="T99" fmla="*/ 298 h 361"/>
                  <a:gd name="T100" fmla="*/ 312 w 314"/>
                  <a:gd name="T101" fmla="*/ 280 h 361"/>
                  <a:gd name="T102" fmla="*/ 314 w 314"/>
                  <a:gd name="T103" fmla="*/ 260 h 361"/>
                  <a:gd name="T104" fmla="*/ 314 w 314"/>
                  <a:gd name="T105" fmla="*/ 100 h 361"/>
                  <a:gd name="T106" fmla="*/ 312 w 314"/>
                  <a:gd name="T107" fmla="*/ 80 h 361"/>
                  <a:gd name="T108" fmla="*/ 306 w 314"/>
                  <a:gd name="T109" fmla="*/ 62 h 361"/>
                  <a:gd name="T110" fmla="*/ 297 w 314"/>
                  <a:gd name="T111" fmla="*/ 45 h 361"/>
                  <a:gd name="T112" fmla="*/ 284 w 314"/>
                  <a:gd name="T113" fmla="*/ 30 h 361"/>
                  <a:gd name="T114" fmla="*/ 270 w 314"/>
                  <a:gd name="T115" fmla="*/ 17 h 361"/>
                  <a:gd name="T116" fmla="*/ 252 w 314"/>
                  <a:gd name="T117" fmla="*/ 8 h 361"/>
                  <a:gd name="T118" fmla="*/ 233 w 314"/>
                  <a:gd name="T119" fmla="*/ 2 h 361"/>
                  <a:gd name="T120" fmla="*/ 213 w 314"/>
                  <a:gd name="T121"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4" h="361">
                    <a:moveTo>
                      <a:pt x="213" y="40"/>
                    </a:moveTo>
                    <a:lnTo>
                      <a:pt x="213" y="40"/>
                    </a:lnTo>
                    <a:lnTo>
                      <a:pt x="219" y="41"/>
                    </a:lnTo>
                    <a:lnTo>
                      <a:pt x="225" y="42"/>
                    </a:lnTo>
                    <a:lnTo>
                      <a:pt x="236" y="45"/>
                    </a:lnTo>
                    <a:lnTo>
                      <a:pt x="246" y="51"/>
                    </a:lnTo>
                    <a:lnTo>
                      <a:pt x="256" y="58"/>
                    </a:lnTo>
                    <a:lnTo>
                      <a:pt x="264" y="67"/>
                    </a:lnTo>
                    <a:lnTo>
                      <a:pt x="269" y="77"/>
                    </a:lnTo>
                    <a:lnTo>
                      <a:pt x="273" y="88"/>
                    </a:lnTo>
                    <a:lnTo>
                      <a:pt x="274" y="94"/>
                    </a:lnTo>
                    <a:lnTo>
                      <a:pt x="274" y="100"/>
                    </a:lnTo>
                    <a:lnTo>
                      <a:pt x="274" y="260"/>
                    </a:lnTo>
                    <a:lnTo>
                      <a:pt x="274" y="260"/>
                    </a:lnTo>
                    <a:lnTo>
                      <a:pt x="274" y="266"/>
                    </a:lnTo>
                    <a:lnTo>
                      <a:pt x="273" y="272"/>
                    </a:lnTo>
                    <a:lnTo>
                      <a:pt x="269" y="283"/>
                    </a:lnTo>
                    <a:lnTo>
                      <a:pt x="264" y="293"/>
                    </a:lnTo>
                    <a:lnTo>
                      <a:pt x="256" y="302"/>
                    </a:lnTo>
                    <a:lnTo>
                      <a:pt x="246" y="309"/>
                    </a:lnTo>
                    <a:lnTo>
                      <a:pt x="236" y="315"/>
                    </a:lnTo>
                    <a:lnTo>
                      <a:pt x="225" y="318"/>
                    </a:lnTo>
                    <a:lnTo>
                      <a:pt x="219" y="319"/>
                    </a:lnTo>
                    <a:lnTo>
                      <a:pt x="213" y="320"/>
                    </a:lnTo>
                    <a:lnTo>
                      <a:pt x="101" y="320"/>
                    </a:lnTo>
                    <a:lnTo>
                      <a:pt x="101" y="320"/>
                    </a:lnTo>
                    <a:lnTo>
                      <a:pt x="95" y="319"/>
                    </a:lnTo>
                    <a:lnTo>
                      <a:pt x="89" y="318"/>
                    </a:lnTo>
                    <a:lnTo>
                      <a:pt x="78" y="315"/>
                    </a:lnTo>
                    <a:lnTo>
                      <a:pt x="67" y="309"/>
                    </a:lnTo>
                    <a:lnTo>
                      <a:pt x="58" y="302"/>
                    </a:lnTo>
                    <a:lnTo>
                      <a:pt x="50" y="293"/>
                    </a:lnTo>
                    <a:lnTo>
                      <a:pt x="45" y="283"/>
                    </a:lnTo>
                    <a:lnTo>
                      <a:pt x="41" y="272"/>
                    </a:lnTo>
                    <a:lnTo>
                      <a:pt x="40" y="266"/>
                    </a:lnTo>
                    <a:lnTo>
                      <a:pt x="40" y="260"/>
                    </a:lnTo>
                    <a:lnTo>
                      <a:pt x="40" y="100"/>
                    </a:lnTo>
                    <a:lnTo>
                      <a:pt x="40" y="100"/>
                    </a:lnTo>
                    <a:lnTo>
                      <a:pt x="40" y="94"/>
                    </a:lnTo>
                    <a:lnTo>
                      <a:pt x="41" y="88"/>
                    </a:lnTo>
                    <a:lnTo>
                      <a:pt x="45" y="77"/>
                    </a:lnTo>
                    <a:lnTo>
                      <a:pt x="50" y="67"/>
                    </a:lnTo>
                    <a:lnTo>
                      <a:pt x="58" y="58"/>
                    </a:lnTo>
                    <a:lnTo>
                      <a:pt x="67" y="51"/>
                    </a:lnTo>
                    <a:lnTo>
                      <a:pt x="78" y="45"/>
                    </a:lnTo>
                    <a:lnTo>
                      <a:pt x="89" y="42"/>
                    </a:lnTo>
                    <a:lnTo>
                      <a:pt x="95" y="41"/>
                    </a:lnTo>
                    <a:lnTo>
                      <a:pt x="101" y="40"/>
                    </a:lnTo>
                    <a:lnTo>
                      <a:pt x="213" y="40"/>
                    </a:lnTo>
                    <a:close/>
                    <a:moveTo>
                      <a:pt x="213" y="0"/>
                    </a:moveTo>
                    <a:lnTo>
                      <a:pt x="101" y="0"/>
                    </a:lnTo>
                    <a:lnTo>
                      <a:pt x="101" y="0"/>
                    </a:lnTo>
                    <a:lnTo>
                      <a:pt x="91" y="1"/>
                    </a:lnTo>
                    <a:lnTo>
                      <a:pt x="81" y="2"/>
                    </a:lnTo>
                    <a:lnTo>
                      <a:pt x="71" y="5"/>
                    </a:lnTo>
                    <a:lnTo>
                      <a:pt x="62" y="8"/>
                    </a:lnTo>
                    <a:lnTo>
                      <a:pt x="52" y="12"/>
                    </a:lnTo>
                    <a:lnTo>
                      <a:pt x="44" y="17"/>
                    </a:lnTo>
                    <a:lnTo>
                      <a:pt x="36" y="23"/>
                    </a:lnTo>
                    <a:lnTo>
                      <a:pt x="29" y="30"/>
                    </a:lnTo>
                    <a:lnTo>
                      <a:pt x="23" y="37"/>
                    </a:lnTo>
                    <a:lnTo>
                      <a:pt x="17" y="45"/>
                    </a:lnTo>
                    <a:lnTo>
                      <a:pt x="12" y="53"/>
                    </a:lnTo>
                    <a:lnTo>
                      <a:pt x="8" y="62"/>
                    </a:lnTo>
                    <a:lnTo>
                      <a:pt x="4" y="71"/>
                    </a:lnTo>
                    <a:lnTo>
                      <a:pt x="2" y="80"/>
                    </a:lnTo>
                    <a:lnTo>
                      <a:pt x="0" y="90"/>
                    </a:lnTo>
                    <a:lnTo>
                      <a:pt x="0" y="100"/>
                    </a:lnTo>
                    <a:lnTo>
                      <a:pt x="0" y="260"/>
                    </a:lnTo>
                    <a:lnTo>
                      <a:pt x="0" y="260"/>
                    </a:lnTo>
                    <a:lnTo>
                      <a:pt x="0" y="270"/>
                    </a:lnTo>
                    <a:lnTo>
                      <a:pt x="2" y="280"/>
                    </a:lnTo>
                    <a:lnTo>
                      <a:pt x="4" y="289"/>
                    </a:lnTo>
                    <a:lnTo>
                      <a:pt x="8" y="298"/>
                    </a:lnTo>
                    <a:lnTo>
                      <a:pt x="12" y="307"/>
                    </a:lnTo>
                    <a:lnTo>
                      <a:pt x="17" y="315"/>
                    </a:lnTo>
                    <a:lnTo>
                      <a:pt x="23" y="323"/>
                    </a:lnTo>
                    <a:lnTo>
                      <a:pt x="29" y="330"/>
                    </a:lnTo>
                    <a:lnTo>
                      <a:pt x="36" y="337"/>
                    </a:lnTo>
                    <a:lnTo>
                      <a:pt x="44" y="343"/>
                    </a:lnTo>
                    <a:lnTo>
                      <a:pt x="52" y="349"/>
                    </a:lnTo>
                    <a:lnTo>
                      <a:pt x="62" y="353"/>
                    </a:lnTo>
                    <a:lnTo>
                      <a:pt x="71" y="356"/>
                    </a:lnTo>
                    <a:lnTo>
                      <a:pt x="81" y="359"/>
                    </a:lnTo>
                    <a:lnTo>
                      <a:pt x="91" y="360"/>
                    </a:lnTo>
                    <a:lnTo>
                      <a:pt x="101" y="361"/>
                    </a:lnTo>
                    <a:lnTo>
                      <a:pt x="213" y="361"/>
                    </a:lnTo>
                    <a:lnTo>
                      <a:pt x="213" y="361"/>
                    </a:lnTo>
                    <a:lnTo>
                      <a:pt x="223" y="360"/>
                    </a:lnTo>
                    <a:lnTo>
                      <a:pt x="233" y="359"/>
                    </a:lnTo>
                    <a:lnTo>
                      <a:pt x="243" y="356"/>
                    </a:lnTo>
                    <a:lnTo>
                      <a:pt x="252" y="353"/>
                    </a:lnTo>
                    <a:lnTo>
                      <a:pt x="261" y="349"/>
                    </a:lnTo>
                    <a:lnTo>
                      <a:pt x="270" y="343"/>
                    </a:lnTo>
                    <a:lnTo>
                      <a:pt x="277" y="337"/>
                    </a:lnTo>
                    <a:lnTo>
                      <a:pt x="284" y="330"/>
                    </a:lnTo>
                    <a:lnTo>
                      <a:pt x="291" y="323"/>
                    </a:lnTo>
                    <a:lnTo>
                      <a:pt x="297" y="315"/>
                    </a:lnTo>
                    <a:lnTo>
                      <a:pt x="302" y="307"/>
                    </a:lnTo>
                    <a:lnTo>
                      <a:pt x="306" y="298"/>
                    </a:lnTo>
                    <a:lnTo>
                      <a:pt x="309" y="289"/>
                    </a:lnTo>
                    <a:lnTo>
                      <a:pt x="312" y="280"/>
                    </a:lnTo>
                    <a:lnTo>
                      <a:pt x="313" y="270"/>
                    </a:lnTo>
                    <a:lnTo>
                      <a:pt x="314" y="260"/>
                    </a:lnTo>
                    <a:lnTo>
                      <a:pt x="314" y="100"/>
                    </a:lnTo>
                    <a:lnTo>
                      <a:pt x="314" y="100"/>
                    </a:lnTo>
                    <a:lnTo>
                      <a:pt x="313" y="90"/>
                    </a:lnTo>
                    <a:lnTo>
                      <a:pt x="312" y="80"/>
                    </a:lnTo>
                    <a:lnTo>
                      <a:pt x="309" y="71"/>
                    </a:lnTo>
                    <a:lnTo>
                      <a:pt x="306" y="62"/>
                    </a:lnTo>
                    <a:lnTo>
                      <a:pt x="302" y="53"/>
                    </a:lnTo>
                    <a:lnTo>
                      <a:pt x="297" y="45"/>
                    </a:lnTo>
                    <a:lnTo>
                      <a:pt x="291" y="37"/>
                    </a:lnTo>
                    <a:lnTo>
                      <a:pt x="284" y="30"/>
                    </a:lnTo>
                    <a:lnTo>
                      <a:pt x="277" y="23"/>
                    </a:lnTo>
                    <a:lnTo>
                      <a:pt x="270" y="17"/>
                    </a:lnTo>
                    <a:lnTo>
                      <a:pt x="261" y="12"/>
                    </a:lnTo>
                    <a:lnTo>
                      <a:pt x="252" y="8"/>
                    </a:lnTo>
                    <a:lnTo>
                      <a:pt x="243" y="5"/>
                    </a:lnTo>
                    <a:lnTo>
                      <a:pt x="233" y="2"/>
                    </a:lnTo>
                    <a:lnTo>
                      <a:pt x="223" y="1"/>
                    </a:lnTo>
                    <a:lnTo>
                      <a:pt x="213" y="0"/>
                    </a:lnTo>
                    <a:lnTo>
                      <a:pt x="213"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494"/>
              <p:cNvSpPr>
                <a:spLocks/>
              </p:cNvSpPr>
              <p:nvPr/>
            </p:nvSpPr>
            <p:spPr bwMode="auto">
              <a:xfrm>
                <a:off x="-796228" y="1392057"/>
                <a:ext cx="749053" cy="893284"/>
              </a:xfrm>
              <a:custGeom>
                <a:avLst/>
                <a:gdLst>
                  <a:gd name="T0" fmla="*/ 380 w 802"/>
                  <a:gd name="T1" fmla="*/ 1 h 962"/>
                  <a:gd name="T2" fmla="*/ 320 w 802"/>
                  <a:gd name="T3" fmla="*/ 8 h 962"/>
                  <a:gd name="T4" fmla="*/ 262 w 802"/>
                  <a:gd name="T5" fmla="*/ 26 h 962"/>
                  <a:gd name="T6" fmla="*/ 209 w 802"/>
                  <a:gd name="T7" fmla="*/ 49 h 962"/>
                  <a:gd name="T8" fmla="*/ 161 w 802"/>
                  <a:gd name="T9" fmla="*/ 80 h 962"/>
                  <a:gd name="T10" fmla="*/ 117 w 802"/>
                  <a:gd name="T11" fmla="*/ 118 h 962"/>
                  <a:gd name="T12" fmla="*/ 79 w 802"/>
                  <a:gd name="T13" fmla="*/ 161 h 962"/>
                  <a:gd name="T14" fmla="*/ 48 w 802"/>
                  <a:gd name="T15" fmla="*/ 210 h 962"/>
                  <a:gd name="T16" fmla="*/ 24 w 802"/>
                  <a:gd name="T17" fmla="*/ 264 h 962"/>
                  <a:gd name="T18" fmla="*/ 8 w 802"/>
                  <a:gd name="T19" fmla="*/ 320 h 962"/>
                  <a:gd name="T20" fmla="*/ 0 w 802"/>
                  <a:gd name="T21" fmla="*/ 380 h 962"/>
                  <a:gd name="T22" fmla="*/ 0 w 802"/>
                  <a:gd name="T23" fmla="*/ 425 h 962"/>
                  <a:gd name="T24" fmla="*/ 10 w 802"/>
                  <a:gd name="T25" fmla="*/ 492 h 962"/>
                  <a:gd name="T26" fmla="*/ 30 w 802"/>
                  <a:gd name="T27" fmla="*/ 556 h 962"/>
                  <a:gd name="T28" fmla="*/ 61 w 802"/>
                  <a:gd name="T29" fmla="*/ 614 h 962"/>
                  <a:gd name="T30" fmla="*/ 101 w 802"/>
                  <a:gd name="T31" fmla="*/ 667 h 962"/>
                  <a:gd name="T32" fmla="*/ 148 w 802"/>
                  <a:gd name="T33" fmla="*/ 712 h 962"/>
                  <a:gd name="T34" fmla="*/ 159 w 802"/>
                  <a:gd name="T35" fmla="*/ 728 h 962"/>
                  <a:gd name="T36" fmla="*/ 182 w 802"/>
                  <a:gd name="T37" fmla="*/ 790 h 962"/>
                  <a:gd name="T38" fmla="*/ 212 w 802"/>
                  <a:gd name="T39" fmla="*/ 885 h 962"/>
                  <a:gd name="T40" fmla="*/ 231 w 802"/>
                  <a:gd name="T41" fmla="*/ 926 h 962"/>
                  <a:gd name="T42" fmla="*/ 244 w 802"/>
                  <a:gd name="T43" fmla="*/ 939 h 962"/>
                  <a:gd name="T44" fmla="*/ 280 w 802"/>
                  <a:gd name="T45" fmla="*/ 951 h 962"/>
                  <a:gd name="T46" fmla="*/ 340 w 802"/>
                  <a:gd name="T47" fmla="*/ 960 h 962"/>
                  <a:gd name="T48" fmla="*/ 401 w 802"/>
                  <a:gd name="T49" fmla="*/ 962 h 962"/>
                  <a:gd name="T50" fmla="*/ 482 w 802"/>
                  <a:gd name="T51" fmla="*/ 958 h 962"/>
                  <a:gd name="T52" fmla="*/ 540 w 802"/>
                  <a:gd name="T53" fmla="*/ 945 h 962"/>
                  <a:gd name="T54" fmla="*/ 562 w 802"/>
                  <a:gd name="T55" fmla="*/ 936 h 962"/>
                  <a:gd name="T56" fmla="*/ 578 w 802"/>
                  <a:gd name="T57" fmla="*/ 913 h 962"/>
                  <a:gd name="T58" fmla="*/ 597 w 802"/>
                  <a:gd name="T59" fmla="*/ 866 h 962"/>
                  <a:gd name="T60" fmla="*/ 633 w 802"/>
                  <a:gd name="T61" fmla="*/ 753 h 962"/>
                  <a:gd name="T62" fmla="*/ 650 w 802"/>
                  <a:gd name="T63" fmla="*/ 716 h 962"/>
                  <a:gd name="T64" fmla="*/ 672 w 802"/>
                  <a:gd name="T65" fmla="*/ 696 h 962"/>
                  <a:gd name="T66" fmla="*/ 717 w 802"/>
                  <a:gd name="T67" fmla="*/ 648 h 962"/>
                  <a:gd name="T68" fmla="*/ 753 w 802"/>
                  <a:gd name="T69" fmla="*/ 594 h 962"/>
                  <a:gd name="T70" fmla="*/ 779 w 802"/>
                  <a:gd name="T71" fmla="*/ 534 h 962"/>
                  <a:gd name="T72" fmla="*/ 796 w 802"/>
                  <a:gd name="T73" fmla="*/ 470 h 962"/>
                  <a:gd name="T74" fmla="*/ 802 w 802"/>
                  <a:gd name="T75" fmla="*/ 401 h 962"/>
                  <a:gd name="T76" fmla="*/ 800 w 802"/>
                  <a:gd name="T77" fmla="*/ 360 h 962"/>
                  <a:gd name="T78" fmla="*/ 789 w 802"/>
                  <a:gd name="T79" fmla="*/ 301 h 962"/>
                  <a:gd name="T80" fmla="*/ 770 w 802"/>
                  <a:gd name="T81" fmla="*/ 246 h 962"/>
                  <a:gd name="T82" fmla="*/ 744 w 802"/>
                  <a:gd name="T83" fmla="*/ 193 h 962"/>
                  <a:gd name="T84" fmla="*/ 711 w 802"/>
                  <a:gd name="T85" fmla="*/ 146 h 962"/>
                  <a:gd name="T86" fmla="*/ 670 w 802"/>
                  <a:gd name="T87" fmla="*/ 105 h 962"/>
                  <a:gd name="T88" fmla="*/ 625 w 802"/>
                  <a:gd name="T89" fmla="*/ 69 h 962"/>
                  <a:gd name="T90" fmla="*/ 575 w 802"/>
                  <a:gd name="T91" fmla="*/ 41 h 962"/>
                  <a:gd name="T92" fmla="*/ 520 w 802"/>
                  <a:gd name="T93" fmla="*/ 19 h 962"/>
                  <a:gd name="T94" fmla="*/ 461 w 802"/>
                  <a:gd name="T95" fmla="*/ 5 h 962"/>
                  <a:gd name="T96" fmla="*/ 401 w 802"/>
                  <a:gd name="T97"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02" h="962">
                    <a:moveTo>
                      <a:pt x="401" y="0"/>
                    </a:moveTo>
                    <a:lnTo>
                      <a:pt x="401" y="0"/>
                    </a:lnTo>
                    <a:lnTo>
                      <a:pt x="380" y="1"/>
                    </a:lnTo>
                    <a:lnTo>
                      <a:pt x="360" y="2"/>
                    </a:lnTo>
                    <a:lnTo>
                      <a:pt x="340" y="5"/>
                    </a:lnTo>
                    <a:lnTo>
                      <a:pt x="320" y="8"/>
                    </a:lnTo>
                    <a:lnTo>
                      <a:pt x="301" y="13"/>
                    </a:lnTo>
                    <a:lnTo>
                      <a:pt x="281" y="19"/>
                    </a:lnTo>
                    <a:lnTo>
                      <a:pt x="262" y="26"/>
                    </a:lnTo>
                    <a:lnTo>
                      <a:pt x="244" y="33"/>
                    </a:lnTo>
                    <a:lnTo>
                      <a:pt x="227" y="41"/>
                    </a:lnTo>
                    <a:lnTo>
                      <a:pt x="209" y="49"/>
                    </a:lnTo>
                    <a:lnTo>
                      <a:pt x="193" y="59"/>
                    </a:lnTo>
                    <a:lnTo>
                      <a:pt x="177" y="69"/>
                    </a:lnTo>
                    <a:lnTo>
                      <a:pt x="161" y="80"/>
                    </a:lnTo>
                    <a:lnTo>
                      <a:pt x="146" y="92"/>
                    </a:lnTo>
                    <a:lnTo>
                      <a:pt x="131" y="105"/>
                    </a:lnTo>
                    <a:lnTo>
                      <a:pt x="117" y="118"/>
                    </a:lnTo>
                    <a:lnTo>
                      <a:pt x="104" y="132"/>
                    </a:lnTo>
                    <a:lnTo>
                      <a:pt x="91" y="146"/>
                    </a:lnTo>
                    <a:lnTo>
                      <a:pt x="79" y="161"/>
                    </a:lnTo>
                    <a:lnTo>
                      <a:pt x="68" y="177"/>
                    </a:lnTo>
                    <a:lnTo>
                      <a:pt x="57" y="193"/>
                    </a:lnTo>
                    <a:lnTo>
                      <a:pt x="48" y="210"/>
                    </a:lnTo>
                    <a:lnTo>
                      <a:pt x="39" y="228"/>
                    </a:lnTo>
                    <a:lnTo>
                      <a:pt x="31" y="246"/>
                    </a:lnTo>
                    <a:lnTo>
                      <a:pt x="24" y="264"/>
                    </a:lnTo>
                    <a:lnTo>
                      <a:pt x="17" y="282"/>
                    </a:lnTo>
                    <a:lnTo>
                      <a:pt x="12" y="301"/>
                    </a:lnTo>
                    <a:lnTo>
                      <a:pt x="8" y="320"/>
                    </a:lnTo>
                    <a:lnTo>
                      <a:pt x="4" y="340"/>
                    </a:lnTo>
                    <a:lnTo>
                      <a:pt x="2" y="360"/>
                    </a:lnTo>
                    <a:lnTo>
                      <a:pt x="0" y="380"/>
                    </a:lnTo>
                    <a:lnTo>
                      <a:pt x="0" y="401"/>
                    </a:lnTo>
                    <a:lnTo>
                      <a:pt x="0" y="401"/>
                    </a:lnTo>
                    <a:lnTo>
                      <a:pt x="0" y="425"/>
                    </a:lnTo>
                    <a:lnTo>
                      <a:pt x="2" y="448"/>
                    </a:lnTo>
                    <a:lnTo>
                      <a:pt x="5" y="470"/>
                    </a:lnTo>
                    <a:lnTo>
                      <a:pt x="10" y="492"/>
                    </a:lnTo>
                    <a:lnTo>
                      <a:pt x="16" y="514"/>
                    </a:lnTo>
                    <a:lnTo>
                      <a:pt x="22" y="535"/>
                    </a:lnTo>
                    <a:lnTo>
                      <a:pt x="30" y="556"/>
                    </a:lnTo>
                    <a:lnTo>
                      <a:pt x="40" y="576"/>
                    </a:lnTo>
                    <a:lnTo>
                      <a:pt x="50" y="595"/>
                    </a:lnTo>
                    <a:lnTo>
                      <a:pt x="61" y="614"/>
                    </a:lnTo>
                    <a:lnTo>
                      <a:pt x="73" y="633"/>
                    </a:lnTo>
                    <a:lnTo>
                      <a:pt x="86" y="650"/>
                    </a:lnTo>
                    <a:lnTo>
                      <a:pt x="101" y="667"/>
                    </a:lnTo>
                    <a:lnTo>
                      <a:pt x="116" y="683"/>
                    </a:lnTo>
                    <a:lnTo>
                      <a:pt x="132" y="698"/>
                    </a:lnTo>
                    <a:lnTo>
                      <a:pt x="148" y="712"/>
                    </a:lnTo>
                    <a:lnTo>
                      <a:pt x="148" y="712"/>
                    </a:lnTo>
                    <a:lnTo>
                      <a:pt x="154" y="718"/>
                    </a:lnTo>
                    <a:lnTo>
                      <a:pt x="159" y="728"/>
                    </a:lnTo>
                    <a:lnTo>
                      <a:pt x="165" y="740"/>
                    </a:lnTo>
                    <a:lnTo>
                      <a:pt x="170" y="755"/>
                    </a:lnTo>
                    <a:lnTo>
                      <a:pt x="182" y="790"/>
                    </a:lnTo>
                    <a:lnTo>
                      <a:pt x="194" y="829"/>
                    </a:lnTo>
                    <a:lnTo>
                      <a:pt x="206" y="867"/>
                    </a:lnTo>
                    <a:lnTo>
                      <a:pt x="212" y="885"/>
                    </a:lnTo>
                    <a:lnTo>
                      <a:pt x="218" y="901"/>
                    </a:lnTo>
                    <a:lnTo>
                      <a:pt x="224" y="914"/>
                    </a:lnTo>
                    <a:lnTo>
                      <a:pt x="231" y="926"/>
                    </a:lnTo>
                    <a:lnTo>
                      <a:pt x="237" y="934"/>
                    </a:lnTo>
                    <a:lnTo>
                      <a:pt x="240" y="937"/>
                    </a:lnTo>
                    <a:lnTo>
                      <a:pt x="244" y="939"/>
                    </a:lnTo>
                    <a:lnTo>
                      <a:pt x="244" y="939"/>
                    </a:lnTo>
                    <a:lnTo>
                      <a:pt x="262" y="945"/>
                    </a:lnTo>
                    <a:lnTo>
                      <a:pt x="280" y="951"/>
                    </a:lnTo>
                    <a:lnTo>
                      <a:pt x="300" y="955"/>
                    </a:lnTo>
                    <a:lnTo>
                      <a:pt x="320" y="958"/>
                    </a:lnTo>
                    <a:lnTo>
                      <a:pt x="340" y="960"/>
                    </a:lnTo>
                    <a:lnTo>
                      <a:pt x="360" y="961"/>
                    </a:lnTo>
                    <a:lnTo>
                      <a:pt x="401" y="962"/>
                    </a:lnTo>
                    <a:lnTo>
                      <a:pt x="401" y="962"/>
                    </a:lnTo>
                    <a:lnTo>
                      <a:pt x="442" y="961"/>
                    </a:lnTo>
                    <a:lnTo>
                      <a:pt x="462" y="960"/>
                    </a:lnTo>
                    <a:lnTo>
                      <a:pt x="482" y="958"/>
                    </a:lnTo>
                    <a:lnTo>
                      <a:pt x="502" y="954"/>
                    </a:lnTo>
                    <a:lnTo>
                      <a:pt x="521" y="950"/>
                    </a:lnTo>
                    <a:lnTo>
                      <a:pt x="540" y="945"/>
                    </a:lnTo>
                    <a:lnTo>
                      <a:pt x="558" y="938"/>
                    </a:lnTo>
                    <a:lnTo>
                      <a:pt x="558" y="938"/>
                    </a:lnTo>
                    <a:lnTo>
                      <a:pt x="562" y="936"/>
                    </a:lnTo>
                    <a:lnTo>
                      <a:pt x="565" y="933"/>
                    </a:lnTo>
                    <a:lnTo>
                      <a:pt x="572" y="925"/>
                    </a:lnTo>
                    <a:lnTo>
                      <a:pt x="578" y="913"/>
                    </a:lnTo>
                    <a:lnTo>
                      <a:pt x="584" y="899"/>
                    </a:lnTo>
                    <a:lnTo>
                      <a:pt x="591" y="883"/>
                    </a:lnTo>
                    <a:lnTo>
                      <a:pt x="597" y="866"/>
                    </a:lnTo>
                    <a:lnTo>
                      <a:pt x="609" y="828"/>
                    </a:lnTo>
                    <a:lnTo>
                      <a:pt x="621" y="788"/>
                    </a:lnTo>
                    <a:lnTo>
                      <a:pt x="633" y="753"/>
                    </a:lnTo>
                    <a:lnTo>
                      <a:pt x="639" y="739"/>
                    </a:lnTo>
                    <a:lnTo>
                      <a:pt x="645" y="726"/>
                    </a:lnTo>
                    <a:lnTo>
                      <a:pt x="650" y="716"/>
                    </a:lnTo>
                    <a:lnTo>
                      <a:pt x="656" y="710"/>
                    </a:lnTo>
                    <a:lnTo>
                      <a:pt x="656" y="710"/>
                    </a:lnTo>
                    <a:lnTo>
                      <a:pt x="672" y="696"/>
                    </a:lnTo>
                    <a:lnTo>
                      <a:pt x="687" y="681"/>
                    </a:lnTo>
                    <a:lnTo>
                      <a:pt x="703" y="665"/>
                    </a:lnTo>
                    <a:lnTo>
                      <a:pt x="717" y="648"/>
                    </a:lnTo>
                    <a:lnTo>
                      <a:pt x="730" y="631"/>
                    </a:lnTo>
                    <a:lnTo>
                      <a:pt x="742" y="612"/>
                    </a:lnTo>
                    <a:lnTo>
                      <a:pt x="753" y="594"/>
                    </a:lnTo>
                    <a:lnTo>
                      <a:pt x="763" y="574"/>
                    </a:lnTo>
                    <a:lnTo>
                      <a:pt x="771" y="554"/>
                    </a:lnTo>
                    <a:lnTo>
                      <a:pt x="779" y="534"/>
                    </a:lnTo>
                    <a:lnTo>
                      <a:pt x="786" y="513"/>
                    </a:lnTo>
                    <a:lnTo>
                      <a:pt x="792" y="492"/>
                    </a:lnTo>
                    <a:lnTo>
                      <a:pt x="796" y="470"/>
                    </a:lnTo>
                    <a:lnTo>
                      <a:pt x="799" y="447"/>
                    </a:lnTo>
                    <a:lnTo>
                      <a:pt x="801" y="425"/>
                    </a:lnTo>
                    <a:lnTo>
                      <a:pt x="802" y="401"/>
                    </a:lnTo>
                    <a:lnTo>
                      <a:pt x="802" y="401"/>
                    </a:lnTo>
                    <a:lnTo>
                      <a:pt x="801" y="380"/>
                    </a:lnTo>
                    <a:lnTo>
                      <a:pt x="800" y="360"/>
                    </a:lnTo>
                    <a:lnTo>
                      <a:pt x="797" y="340"/>
                    </a:lnTo>
                    <a:lnTo>
                      <a:pt x="794" y="320"/>
                    </a:lnTo>
                    <a:lnTo>
                      <a:pt x="789" y="301"/>
                    </a:lnTo>
                    <a:lnTo>
                      <a:pt x="784" y="282"/>
                    </a:lnTo>
                    <a:lnTo>
                      <a:pt x="778" y="264"/>
                    </a:lnTo>
                    <a:lnTo>
                      <a:pt x="770" y="246"/>
                    </a:lnTo>
                    <a:lnTo>
                      <a:pt x="762" y="228"/>
                    </a:lnTo>
                    <a:lnTo>
                      <a:pt x="754" y="210"/>
                    </a:lnTo>
                    <a:lnTo>
                      <a:pt x="744" y="193"/>
                    </a:lnTo>
                    <a:lnTo>
                      <a:pt x="734" y="177"/>
                    </a:lnTo>
                    <a:lnTo>
                      <a:pt x="723" y="161"/>
                    </a:lnTo>
                    <a:lnTo>
                      <a:pt x="711" y="146"/>
                    </a:lnTo>
                    <a:lnTo>
                      <a:pt x="698" y="132"/>
                    </a:lnTo>
                    <a:lnTo>
                      <a:pt x="684" y="118"/>
                    </a:lnTo>
                    <a:lnTo>
                      <a:pt x="670" y="105"/>
                    </a:lnTo>
                    <a:lnTo>
                      <a:pt x="656" y="92"/>
                    </a:lnTo>
                    <a:lnTo>
                      <a:pt x="641" y="80"/>
                    </a:lnTo>
                    <a:lnTo>
                      <a:pt x="625" y="69"/>
                    </a:lnTo>
                    <a:lnTo>
                      <a:pt x="609" y="59"/>
                    </a:lnTo>
                    <a:lnTo>
                      <a:pt x="592" y="49"/>
                    </a:lnTo>
                    <a:lnTo>
                      <a:pt x="575" y="41"/>
                    </a:lnTo>
                    <a:lnTo>
                      <a:pt x="557" y="33"/>
                    </a:lnTo>
                    <a:lnTo>
                      <a:pt x="539" y="26"/>
                    </a:lnTo>
                    <a:lnTo>
                      <a:pt x="520" y="19"/>
                    </a:lnTo>
                    <a:lnTo>
                      <a:pt x="501" y="13"/>
                    </a:lnTo>
                    <a:lnTo>
                      <a:pt x="481" y="8"/>
                    </a:lnTo>
                    <a:lnTo>
                      <a:pt x="461" y="5"/>
                    </a:lnTo>
                    <a:lnTo>
                      <a:pt x="442" y="2"/>
                    </a:lnTo>
                    <a:lnTo>
                      <a:pt x="421" y="1"/>
                    </a:lnTo>
                    <a:lnTo>
                      <a:pt x="401" y="0"/>
                    </a:lnTo>
                    <a:lnTo>
                      <a:pt x="401"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8" name="Rectangle 495"/>
              <p:cNvSpPr>
                <a:spLocks noChangeArrowheads="1"/>
              </p:cNvSpPr>
              <p:nvPr/>
            </p:nvSpPr>
            <p:spPr bwMode="auto">
              <a:xfrm>
                <a:off x="-437985" y="1080338"/>
                <a:ext cx="32568" cy="237279"/>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29" name="Freeform 496"/>
              <p:cNvSpPr>
                <a:spLocks/>
              </p:cNvSpPr>
              <p:nvPr/>
            </p:nvSpPr>
            <p:spPr bwMode="auto">
              <a:xfrm>
                <a:off x="-437985" y="1080338"/>
                <a:ext cx="32568" cy="237279"/>
              </a:xfrm>
              <a:custGeom>
                <a:avLst/>
                <a:gdLst>
                  <a:gd name="T0" fmla="*/ 36 w 36"/>
                  <a:gd name="T1" fmla="*/ 255 h 255"/>
                  <a:gd name="T2" fmla="*/ 36 w 36"/>
                  <a:gd name="T3" fmla="*/ 0 h 255"/>
                  <a:gd name="T4" fmla="*/ 0 w 36"/>
                  <a:gd name="T5" fmla="*/ 0 h 255"/>
                  <a:gd name="T6" fmla="*/ 0 w 36"/>
                  <a:gd name="T7" fmla="*/ 255 h 255"/>
                </a:gdLst>
                <a:ahLst/>
                <a:cxnLst>
                  <a:cxn ang="0">
                    <a:pos x="T0" y="T1"/>
                  </a:cxn>
                  <a:cxn ang="0">
                    <a:pos x="T2" y="T3"/>
                  </a:cxn>
                  <a:cxn ang="0">
                    <a:pos x="T4" y="T5"/>
                  </a:cxn>
                  <a:cxn ang="0">
                    <a:pos x="T6" y="T7"/>
                  </a:cxn>
                </a:cxnLst>
                <a:rect l="0" t="0" r="r" b="b"/>
                <a:pathLst>
                  <a:path w="36" h="255">
                    <a:moveTo>
                      <a:pt x="36" y="255"/>
                    </a:moveTo>
                    <a:lnTo>
                      <a:pt x="36" y="0"/>
                    </a:lnTo>
                    <a:lnTo>
                      <a:pt x="0" y="0"/>
                    </a:lnTo>
                    <a:lnTo>
                      <a:pt x="0" y="255"/>
                    </a:lnTo>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7" name="Rectangle 499"/>
              <p:cNvSpPr>
                <a:spLocks noChangeArrowheads="1"/>
              </p:cNvSpPr>
              <p:nvPr/>
            </p:nvSpPr>
            <p:spPr bwMode="auto">
              <a:xfrm>
                <a:off x="124968" y="1787522"/>
                <a:ext cx="209363" cy="37220"/>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8" name="Freeform 500"/>
              <p:cNvSpPr>
                <a:spLocks/>
              </p:cNvSpPr>
              <p:nvPr/>
            </p:nvSpPr>
            <p:spPr bwMode="auto">
              <a:xfrm>
                <a:off x="41925" y="1787523"/>
                <a:ext cx="209364" cy="37220"/>
              </a:xfrm>
              <a:custGeom>
                <a:avLst/>
                <a:gdLst>
                  <a:gd name="T0" fmla="*/ 0 w 225"/>
                  <a:gd name="T1" fmla="*/ 40 h 40"/>
                  <a:gd name="T2" fmla="*/ 225 w 225"/>
                  <a:gd name="T3" fmla="*/ 40 h 40"/>
                  <a:gd name="T4" fmla="*/ 225 w 225"/>
                  <a:gd name="T5" fmla="*/ 0 h 40"/>
                  <a:gd name="T6" fmla="*/ 0 w 225"/>
                  <a:gd name="T7" fmla="*/ 0 h 40"/>
                </a:gdLst>
                <a:ahLst/>
                <a:cxnLst>
                  <a:cxn ang="0">
                    <a:pos x="T0" y="T1"/>
                  </a:cxn>
                  <a:cxn ang="0">
                    <a:pos x="T2" y="T3"/>
                  </a:cxn>
                  <a:cxn ang="0">
                    <a:pos x="T4" y="T5"/>
                  </a:cxn>
                  <a:cxn ang="0">
                    <a:pos x="T6" y="T7"/>
                  </a:cxn>
                </a:cxnLst>
                <a:rect l="0" t="0" r="r" b="b"/>
                <a:pathLst>
                  <a:path w="225" h="40">
                    <a:moveTo>
                      <a:pt x="0" y="40"/>
                    </a:moveTo>
                    <a:lnTo>
                      <a:pt x="225" y="40"/>
                    </a:lnTo>
                    <a:lnTo>
                      <a:pt x="225" y="0"/>
                    </a:lnTo>
                    <a:lnTo>
                      <a:pt x="0" y="0"/>
                    </a:lnTo>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9" name="Rectangle 501"/>
              <p:cNvSpPr>
                <a:spLocks noChangeArrowheads="1"/>
              </p:cNvSpPr>
              <p:nvPr/>
            </p:nvSpPr>
            <p:spPr bwMode="auto">
              <a:xfrm>
                <a:off x="-1080031" y="1787522"/>
                <a:ext cx="204710" cy="37220"/>
              </a:xfrm>
              <a:prstGeom prst="rect">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40" name="Freeform 502"/>
              <p:cNvSpPr>
                <a:spLocks/>
              </p:cNvSpPr>
              <p:nvPr/>
            </p:nvSpPr>
            <p:spPr bwMode="auto">
              <a:xfrm>
                <a:off x="-103005" y="1252481"/>
                <a:ext cx="200058" cy="200058"/>
              </a:xfrm>
              <a:custGeom>
                <a:avLst/>
                <a:gdLst>
                  <a:gd name="T0" fmla="*/ 29 w 217"/>
                  <a:gd name="T1" fmla="*/ 217 h 217"/>
                  <a:gd name="T2" fmla="*/ 217 w 217"/>
                  <a:gd name="T3" fmla="*/ 28 h 217"/>
                  <a:gd name="T4" fmla="*/ 189 w 217"/>
                  <a:gd name="T5" fmla="*/ 0 h 217"/>
                  <a:gd name="T6" fmla="*/ 0 w 217"/>
                  <a:gd name="T7" fmla="*/ 188 h 217"/>
                  <a:gd name="T8" fmla="*/ 29 w 217"/>
                  <a:gd name="T9" fmla="*/ 217 h 217"/>
                </a:gdLst>
                <a:ahLst/>
                <a:cxnLst>
                  <a:cxn ang="0">
                    <a:pos x="T0" y="T1"/>
                  </a:cxn>
                  <a:cxn ang="0">
                    <a:pos x="T2" y="T3"/>
                  </a:cxn>
                  <a:cxn ang="0">
                    <a:pos x="T4" y="T5"/>
                  </a:cxn>
                  <a:cxn ang="0">
                    <a:pos x="T6" y="T7"/>
                  </a:cxn>
                  <a:cxn ang="0">
                    <a:pos x="T8" y="T9"/>
                  </a:cxn>
                </a:cxnLst>
                <a:rect l="0" t="0" r="r" b="b"/>
                <a:pathLst>
                  <a:path w="217" h="217">
                    <a:moveTo>
                      <a:pt x="29" y="217"/>
                    </a:moveTo>
                    <a:lnTo>
                      <a:pt x="217" y="28"/>
                    </a:lnTo>
                    <a:lnTo>
                      <a:pt x="189" y="0"/>
                    </a:lnTo>
                    <a:lnTo>
                      <a:pt x="0" y="188"/>
                    </a:lnTo>
                    <a:lnTo>
                      <a:pt x="29" y="21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503"/>
              <p:cNvSpPr>
                <a:spLocks/>
              </p:cNvSpPr>
              <p:nvPr/>
            </p:nvSpPr>
            <p:spPr bwMode="auto">
              <a:xfrm>
                <a:off x="-940456" y="1252481"/>
                <a:ext cx="200058" cy="200058"/>
              </a:xfrm>
              <a:custGeom>
                <a:avLst/>
                <a:gdLst>
                  <a:gd name="T0" fmla="*/ 29 w 217"/>
                  <a:gd name="T1" fmla="*/ 0 h 217"/>
                  <a:gd name="T2" fmla="*/ 217 w 217"/>
                  <a:gd name="T3" fmla="*/ 188 h 217"/>
                  <a:gd name="T4" fmla="*/ 189 w 217"/>
                  <a:gd name="T5" fmla="*/ 217 h 217"/>
                  <a:gd name="T6" fmla="*/ 0 w 217"/>
                  <a:gd name="T7" fmla="*/ 28 h 217"/>
                  <a:gd name="T8" fmla="*/ 29 w 217"/>
                  <a:gd name="T9" fmla="*/ 0 h 217"/>
                </a:gdLst>
                <a:ahLst/>
                <a:cxnLst>
                  <a:cxn ang="0">
                    <a:pos x="T0" y="T1"/>
                  </a:cxn>
                  <a:cxn ang="0">
                    <a:pos x="T2" y="T3"/>
                  </a:cxn>
                  <a:cxn ang="0">
                    <a:pos x="T4" y="T5"/>
                  </a:cxn>
                  <a:cxn ang="0">
                    <a:pos x="T6" y="T7"/>
                  </a:cxn>
                  <a:cxn ang="0">
                    <a:pos x="T8" y="T9"/>
                  </a:cxn>
                </a:cxnLst>
                <a:rect l="0" t="0" r="r" b="b"/>
                <a:pathLst>
                  <a:path w="217" h="217">
                    <a:moveTo>
                      <a:pt x="29" y="0"/>
                    </a:moveTo>
                    <a:lnTo>
                      <a:pt x="217" y="188"/>
                    </a:lnTo>
                    <a:lnTo>
                      <a:pt x="189" y="217"/>
                    </a:lnTo>
                    <a:lnTo>
                      <a:pt x="0" y="28"/>
                    </a:lnTo>
                    <a:lnTo>
                      <a:pt x="29"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Line 504"/>
              <p:cNvSpPr>
                <a:spLocks noChangeShapeType="1"/>
              </p:cNvSpPr>
              <p:nvPr/>
            </p:nvSpPr>
            <p:spPr bwMode="auto">
              <a:xfrm>
                <a:off x="-303062" y="2429570"/>
                <a:ext cx="0" cy="0"/>
              </a:xfrm>
              <a:prstGeom prst="line">
                <a:avLst/>
              </a:prstGeom>
              <a:grpFill/>
              <a:ln w="8">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 name="Rectangle 2"/>
              <p:cNvSpPr/>
              <p:nvPr/>
            </p:nvSpPr>
            <p:spPr>
              <a:xfrm>
                <a:off x="-554298" y="2323225"/>
                <a:ext cx="265193"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554298" y="2404216"/>
                <a:ext cx="265193"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6"/>
              <p:cNvSpPr>
                <a:spLocks/>
              </p:cNvSpPr>
              <p:nvPr/>
            </p:nvSpPr>
            <p:spPr bwMode="auto">
              <a:xfrm>
                <a:off x="-588766" y="1613661"/>
                <a:ext cx="485761" cy="384942"/>
              </a:xfrm>
              <a:custGeom>
                <a:avLst/>
                <a:gdLst>
                  <a:gd name="T0" fmla="*/ 0 w 1164"/>
                  <a:gd name="T1" fmla="*/ 522 h 923"/>
                  <a:gd name="T2" fmla="*/ 241 w 1164"/>
                  <a:gd name="T3" fmla="*/ 923 h 923"/>
                  <a:gd name="T4" fmla="*/ 1164 w 1164"/>
                  <a:gd name="T5" fmla="*/ 0 h 923"/>
                  <a:gd name="T6" fmla="*/ 301 w 1164"/>
                  <a:gd name="T7" fmla="*/ 642 h 923"/>
                  <a:gd name="T8" fmla="*/ 0 w 1164"/>
                  <a:gd name="T9" fmla="*/ 522 h 923"/>
                </a:gdLst>
                <a:ahLst/>
                <a:cxnLst>
                  <a:cxn ang="0">
                    <a:pos x="T0" y="T1"/>
                  </a:cxn>
                  <a:cxn ang="0">
                    <a:pos x="T2" y="T3"/>
                  </a:cxn>
                  <a:cxn ang="0">
                    <a:pos x="T4" y="T5"/>
                  </a:cxn>
                  <a:cxn ang="0">
                    <a:pos x="T6" y="T7"/>
                  </a:cxn>
                  <a:cxn ang="0">
                    <a:pos x="T8" y="T9"/>
                  </a:cxn>
                </a:cxnLst>
                <a:rect l="0" t="0" r="r" b="b"/>
                <a:pathLst>
                  <a:path w="1164" h="923">
                    <a:moveTo>
                      <a:pt x="0" y="522"/>
                    </a:moveTo>
                    <a:lnTo>
                      <a:pt x="241" y="923"/>
                    </a:lnTo>
                    <a:lnTo>
                      <a:pt x="1164" y="0"/>
                    </a:lnTo>
                    <a:lnTo>
                      <a:pt x="301" y="642"/>
                    </a:lnTo>
                    <a:lnTo>
                      <a:pt x="0" y="522"/>
                    </a:lnTo>
                    <a:close/>
                  </a:path>
                </a:pathLst>
              </a:custGeom>
              <a:solidFill>
                <a:srgbClr val="0D65AC"/>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11" name="Group 10"/>
          <p:cNvGrpSpPr/>
          <p:nvPr/>
        </p:nvGrpSpPr>
        <p:grpSpPr>
          <a:xfrm>
            <a:off x="5719794" y="1763230"/>
            <a:ext cx="1024207" cy="1024207"/>
            <a:chOff x="5486400" y="1585913"/>
            <a:chExt cx="1299094" cy="1299094"/>
          </a:xfrm>
        </p:grpSpPr>
        <p:sp>
          <p:nvSpPr>
            <p:cNvPr id="51" name="Oval 50"/>
            <p:cNvSpPr/>
            <p:nvPr/>
          </p:nvSpPr>
          <p:spPr>
            <a:xfrm>
              <a:off x="5486400" y="1585913"/>
              <a:ext cx="1299094" cy="1299094"/>
            </a:xfrm>
            <a:prstGeom prst="ellipse">
              <a:avLst/>
            </a:prstGeom>
            <a:solidFill>
              <a:srgbClr val="2A9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p:cNvGrpSpPr/>
            <p:nvPr/>
          </p:nvGrpSpPr>
          <p:grpSpPr>
            <a:xfrm>
              <a:off x="5818704" y="1948302"/>
              <a:ext cx="792827" cy="639792"/>
              <a:chOff x="-866775" y="857250"/>
              <a:chExt cx="2549525" cy="2057400"/>
            </a:xfrm>
            <a:solidFill>
              <a:schemeClr val="bg1"/>
            </a:solidFill>
          </p:grpSpPr>
          <p:sp>
            <p:nvSpPr>
              <p:cNvPr id="47" name="Freeform 13"/>
              <p:cNvSpPr>
                <a:spLocks/>
              </p:cNvSpPr>
              <p:nvPr/>
            </p:nvSpPr>
            <p:spPr bwMode="auto">
              <a:xfrm>
                <a:off x="146050" y="876300"/>
                <a:ext cx="1536700" cy="1012825"/>
              </a:xfrm>
              <a:custGeom>
                <a:avLst/>
                <a:gdLst>
                  <a:gd name="T0" fmla="*/ 870 w 968"/>
                  <a:gd name="T1" fmla="*/ 0 h 638"/>
                  <a:gd name="T2" fmla="*/ 824 w 968"/>
                  <a:gd name="T3" fmla="*/ 162 h 638"/>
                  <a:gd name="T4" fmla="*/ 968 w 968"/>
                  <a:gd name="T5" fmla="*/ 180 h 638"/>
                  <a:gd name="T6" fmla="*/ 744 w 968"/>
                  <a:gd name="T7" fmla="*/ 314 h 638"/>
                  <a:gd name="T8" fmla="*/ 622 w 968"/>
                  <a:gd name="T9" fmla="*/ 288 h 638"/>
                  <a:gd name="T10" fmla="*/ 22 w 968"/>
                  <a:gd name="T11" fmla="*/ 638 h 638"/>
                  <a:gd name="T12" fmla="*/ 0 w 968"/>
                  <a:gd name="T13" fmla="*/ 604 h 638"/>
                  <a:gd name="T14" fmla="*/ 608 w 968"/>
                  <a:gd name="T15" fmla="*/ 236 h 638"/>
                  <a:gd name="T16" fmla="*/ 628 w 968"/>
                  <a:gd name="T17" fmla="*/ 130 h 638"/>
                  <a:gd name="T18" fmla="*/ 870 w 968"/>
                  <a:gd name="T19" fmla="*/ 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8" h="638">
                    <a:moveTo>
                      <a:pt x="870" y="0"/>
                    </a:moveTo>
                    <a:lnTo>
                      <a:pt x="824" y="162"/>
                    </a:lnTo>
                    <a:lnTo>
                      <a:pt x="968" y="180"/>
                    </a:lnTo>
                    <a:lnTo>
                      <a:pt x="744" y="314"/>
                    </a:lnTo>
                    <a:lnTo>
                      <a:pt x="622" y="288"/>
                    </a:lnTo>
                    <a:lnTo>
                      <a:pt x="22" y="638"/>
                    </a:lnTo>
                    <a:lnTo>
                      <a:pt x="0" y="604"/>
                    </a:lnTo>
                    <a:lnTo>
                      <a:pt x="608" y="236"/>
                    </a:lnTo>
                    <a:lnTo>
                      <a:pt x="628" y="130"/>
                    </a:lnTo>
                    <a:lnTo>
                      <a:pt x="8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4"/>
              <p:cNvSpPr>
                <a:spLocks/>
              </p:cNvSpPr>
              <p:nvPr/>
            </p:nvSpPr>
            <p:spPr bwMode="auto">
              <a:xfrm>
                <a:off x="-57150" y="1663700"/>
                <a:ext cx="441325" cy="441325"/>
              </a:xfrm>
              <a:custGeom>
                <a:avLst/>
                <a:gdLst>
                  <a:gd name="T0" fmla="*/ 152 w 278"/>
                  <a:gd name="T1" fmla="*/ 140 h 278"/>
                  <a:gd name="T2" fmla="*/ 262 w 278"/>
                  <a:gd name="T3" fmla="*/ 74 h 278"/>
                  <a:gd name="T4" fmla="*/ 240 w 278"/>
                  <a:gd name="T5" fmla="*/ 44 h 278"/>
                  <a:gd name="T6" fmla="*/ 210 w 278"/>
                  <a:gd name="T7" fmla="*/ 20 h 278"/>
                  <a:gd name="T8" fmla="*/ 176 w 278"/>
                  <a:gd name="T9" fmla="*/ 6 h 278"/>
                  <a:gd name="T10" fmla="*/ 138 w 278"/>
                  <a:gd name="T11" fmla="*/ 0 h 278"/>
                  <a:gd name="T12" fmla="*/ 124 w 278"/>
                  <a:gd name="T13" fmla="*/ 2 h 278"/>
                  <a:gd name="T14" fmla="*/ 98 w 278"/>
                  <a:gd name="T15" fmla="*/ 6 h 278"/>
                  <a:gd name="T16" fmla="*/ 72 w 278"/>
                  <a:gd name="T17" fmla="*/ 18 h 278"/>
                  <a:gd name="T18" fmla="*/ 50 w 278"/>
                  <a:gd name="T19" fmla="*/ 32 h 278"/>
                  <a:gd name="T20" fmla="*/ 32 w 278"/>
                  <a:gd name="T21" fmla="*/ 52 h 278"/>
                  <a:gd name="T22" fmla="*/ 16 w 278"/>
                  <a:gd name="T23" fmla="*/ 74 h 278"/>
                  <a:gd name="T24" fmla="*/ 6 w 278"/>
                  <a:gd name="T25" fmla="*/ 98 h 278"/>
                  <a:gd name="T26" fmla="*/ 0 w 278"/>
                  <a:gd name="T27" fmla="*/ 126 h 278"/>
                  <a:gd name="T28" fmla="*/ 0 w 278"/>
                  <a:gd name="T29" fmla="*/ 140 h 278"/>
                  <a:gd name="T30" fmla="*/ 2 w 278"/>
                  <a:gd name="T31" fmla="*/ 168 h 278"/>
                  <a:gd name="T32" fmla="*/ 10 w 278"/>
                  <a:gd name="T33" fmla="*/ 194 h 278"/>
                  <a:gd name="T34" fmla="*/ 24 w 278"/>
                  <a:gd name="T35" fmla="*/ 218 h 278"/>
                  <a:gd name="T36" fmla="*/ 40 w 278"/>
                  <a:gd name="T37" fmla="*/ 238 h 278"/>
                  <a:gd name="T38" fmla="*/ 62 w 278"/>
                  <a:gd name="T39" fmla="*/ 254 h 278"/>
                  <a:gd name="T40" fmla="*/ 84 w 278"/>
                  <a:gd name="T41" fmla="*/ 268 h 278"/>
                  <a:gd name="T42" fmla="*/ 110 w 278"/>
                  <a:gd name="T43" fmla="*/ 276 h 278"/>
                  <a:gd name="T44" fmla="*/ 138 w 278"/>
                  <a:gd name="T45" fmla="*/ 278 h 278"/>
                  <a:gd name="T46" fmla="*/ 152 w 278"/>
                  <a:gd name="T47" fmla="*/ 278 h 278"/>
                  <a:gd name="T48" fmla="*/ 180 w 278"/>
                  <a:gd name="T49" fmla="*/ 272 h 278"/>
                  <a:gd name="T50" fmla="*/ 206 w 278"/>
                  <a:gd name="T51" fmla="*/ 262 h 278"/>
                  <a:gd name="T52" fmla="*/ 228 w 278"/>
                  <a:gd name="T53" fmla="*/ 246 h 278"/>
                  <a:gd name="T54" fmla="*/ 246 w 278"/>
                  <a:gd name="T55" fmla="*/ 228 h 278"/>
                  <a:gd name="T56" fmla="*/ 260 w 278"/>
                  <a:gd name="T57" fmla="*/ 206 h 278"/>
                  <a:gd name="T58" fmla="*/ 272 w 278"/>
                  <a:gd name="T59" fmla="*/ 182 h 278"/>
                  <a:gd name="T60" fmla="*/ 278 w 278"/>
                  <a:gd name="T61" fmla="*/ 154 h 278"/>
                  <a:gd name="T62" fmla="*/ 278 w 278"/>
                  <a:gd name="T63" fmla="*/ 140 h 278"/>
                  <a:gd name="T64" fmla="*/ 174 w 278"/>
                  <a:gd name="T65"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8" h="278">
                    <a:moveTo>
                      <a:pt x="174" y="174"/>
                    </a:moveTo>
                    <a:lnTo>
                      <a:pt x="152" y="140"/>
                    </a:lnTo>
                    <a:lnTo>
                      <a:pt x="262" y="74"/>
                    </a:lnTo>
                    <a:lnTo>
                      <a:pt x="262" y="74"/>
                    </a:lnTo>
                    <a:lnTo>
                      <a:pt x="252" y="58"/>
                    </a:lnTo>
                    <a:lnTo>
                      <a:pt x="240" y="44"/>
                    </a:lnTo>
                    <a:lnTo>
                      <a:pt x="226" y="32"/>
                    </a:lnTo>
                    <a:lnTo>
                      <a:pt x="210" y="20"/>
                    </a:lnTo>
                    <a:lnTo>
                      <a:pt x="194" y="12"/>
                    </a:lnTo>
                    <a:lnTo>
                      <a:pt x="176" y="6"/>
                    </a:lnTo>
                    <a:lnTo>
                      <a:pt x="158" y="2"/>
                    </a:lnTo>
                    <a:lnTo>
                      <a:pt x="138" y="0"/>
                    </a:lnTo>
                    <a:lnTo>
                      <a:pt x="138" y="0"/>
                    </a:lnTo>
                    <a:lnTo>
                      <a:pt x="124" y="2"/>
                    </a:lnTo>
                    <a:lnTo>
                      <a:pt x="110" y="4"/>
                    </a:lnTo>
                    <a:lnTo>
                      <a:pt x="98" y="6"/>
                    </a:lnTo>
                    <a:lnTo>
                      <a:pt x="84" y="12"/>
                    </a:lnTo>
                    <a:lnTo>
                      <a:pt x="72" y="18"/>
                    </a:lnTo>
                    <a:lnTo>
                      <a:pt x="62" y="24"/>
                    </a:lnTo>
                    <a:lnTo>
                      <a:pt x="50" y="32"/>
                    </a:lnTo>
                    <a:lnTo>
                      <a:pt x="40" y="42"/>
                    </a:lnTo>
                    <a:lnTo>
                      <a:pt x="32" y="52"/>
                    </a:lnTo>
                    <a:lnTo>
                      <a:pt x="24" y="62"/>
                    </a:lnTo>
                    <a:lnTo>
                      <a:pt x="16" y="74"/>
                    </a:lnTo>
                    <a:lnTo>
                      <a:pt x="10" y="86"/>
                    </a:lnTo>
                    <a:lnTo>
                      <a:pt x="6" y="98"/>
                    </a:lnTo>
                    <a:lnTo>
                      <a:pt x="2" y="112"/>
                    </a:lnTo>
                    <a:lnTo>
                      <a:pt x="0" y="126"/>
                    </a:lnTo>
                    <a:lnTo>
                      <a:pt x="0" y="140"/>
                    </a:lnTo>
                    <a:lnTo>
                      <a:pt x="0" y="140"/>
                    </a:lnTo>
                    <a:lnTo>
                      <a:pt x="0" y="154"/>
                    </a:lnTo>
                    <a:lnTo>
                      <a:pt x="2" y="168"/>
                    </a:lnTo>
                    <a:lnTo>
                      <a:pt x="6" y="182"/>
                    </a:lnTo>
                    <a:lnTo>
                      <a:pt x="10" y="194"/>
                    </a:lnTo>
                    <a:lnTo>
                      <a:pt x="16" y="206"/>
                    </a:lnTo>
                    <a:lnTo>
                      <a:pt x="24" y="218"/>
                    </a:lnTo>
                    <a:lnTo>
                      <a:pt x="32" y="228"/>
                    </a:lnTo>
                    <a:lnTo>
                      <a:pt x="40" y="238"/>
                    </a:lnTo>
                    <a:lnTo>
                      <a:pt x="50" y="246"/>
                    </a:lnTo>
                    <a:lnTo>
                      <a:pt x="62" y="254"/>
                    </a:lnTo>
                    <a:lnTo>
                      <a:pt x="72" y="262"/>
                    </a:lnTo>
                    <a:lnTo>
                      <a:pt x="84" y="268"/>
                    </a:lnTo>
                    <a:lnTo>
                      <a:pt x="98" y="272"/>
                    </a:lnTo>
                    <a:lnTo>
                      <a:pt x="110" y="276"/>
                    </a:lnTo>
                    <a:lnTo>
                      <a:pt x="124" y="278"/>
                    </a:lnTo>
                    <a:lnTo>
                      <a:pt x="138" y="278"/>
                    </a:lnTo>
                    <a:lnTo>
                      <a:pt x="138" y="278"/>
                    </a:lnTo>
                    <a:lnTo>
                      <a:pt x="152" y="278"/>
                    </a:lnTo>
                    <a:lnTo>
                      <a:pt x="166" y="276"/>
                    </a:lnTo>
                    <a:lnTo>
                      <a:pt x="180" y="272"/>
                    </a:lnTo>
                    <a:lnTo>
                      <a:pt x="192" y="268"/>
                    </a:lnTo>
                    <a:lnTo>
                      <a:pt x="206" y="262"/>
                    </a:lnTo>
                    <a:lnTo>
                      <a:pt x="216" y="254"/>
                    </a:lnTo>
                    <a:lnTo>
                      <a:pt x="228" y="246"/>
                    </a:lnTo>
                    <a:lnTo>
                      <a:pt x="238" y="238"/>
                    </a:lnTo>
                    <a:lnTo>
                      <a:pt x="246" y="228"/>
                    </a:lnTo>
                    <a:lnTo>
                      <a:pt x="254" y="218"/>
                    </a:lnTo>
                    <a:lnTo>
                      <a:pt x="260" y="206"/>
                    </a:lnTo>
                    <a:lnTo>
                      <a:pt x="266" y="194"/>
                    </a:lnTo>
                    <a:lnTo>
                      <a:pt x="272" y="182"/>
                    </a:lnTo>
                    <a:lnTo>
                      <a:pt x="274" y="168"/>
                    </a:lnTo>
                    <a:lnTo>
                      <a:pt x="278" y="154"/>
                    </a:lnTo>
                    <a:lnTo>
                      <a:pt x="278" y="140"/>
                    </a:lnTo>
                    <a:lnTo>
                      <a:pt x="278" y="140"/>
                    </a:lnTo>
                    <a:lnTo>
                      <a:pt x="276" y="114"/>
                    </a:lnTo>
                    <a:lnTo>
                      <a:pt x="174"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5"/>
              <p:cNvSpPr>
                <a:spLocks/>
              </p:cNvSpPr>
              <p:nvPr/>
            </p:nvSpPr>
            <p:spPr bwMode="auto">
              <a:xfrm>
                <a:off x="-549275" y="1174750"/>
                <a:ext cx="1425575" cy="1422400"/>
              </a:xfrm>
              <a:custGeom>
                <a:avLst/>
                <a:gdLst>
                  <a:gd name="T0" fmla="*/ 714 w 898"/>
                  <a:gd name="T1" fmla="*/ 374 h 896"/>
                  <a:gd name="T2" fmla="*/ 724 w 898"/>
                  <a:gd name="T3" fmla="*/ 448 h 896"/>
                  <a:gd name="T4" fmla="*/ 720 w 898"/>
                  <a:gd name="T5" fmla="*/ 504 h 896"/>
                  <a:gd name="T6" fmla="*/ 692 w 898"/>
                  <a:gd name="T7" fmla="*/ 580 h 896"/>
                  <a:gd name="T8" fmla="*/ 644 w 898"/>
                  <a:gd name="T9" fmla="*/ 642 h 896"/>
                  <a:gd name="T10" fmla="*/ 580 w 898"/>
                  <a:gd name="T11" fmla="*/ 690 h 896"/>
                  <a:gd name="T12" fmla="*/ 504 w 898"/>
                  <a:gd name="T13" fmla="*/ 718 h 896"/>
                  <a:gd name="T14" fmla="*/ 448 w 898"/>
                  <a:gd name="T15" fmla="*/ 724 h 896"/>
                  <a:gd name="T16" fmla="*/ 366 w 898"/>
                  <a:gd name="T17" fmla="*/ 712 h 896"/>
                  <a:gd name="T18" fmla="*/ 294 w 898"/>
                  <a:gd name="T19" fmla="*/ 676 h 896"/>
                  <a:gd name="T20" fmla="*/ 236 w 898"/>
                  <a:gd name="T21" fmla="*/ 624 h 896"/>
                  <a:gd name="T22" fmla="*/ 194 w 898"/>
                  <a:gd name="T23" fmla="*/ 556 h 896"/>
                  <a:gd name="T24" fmla="*/ 174 w 898"/>
                  <a:gd name="T25" fmla="*/ 476 h 896"/>
                  <a:gd name="T26" fmla="*/ 174 w 898"/>
                  <a:gd name="T27" fmla="*/ 420 h 896"/>
                  <a:gd name="T28" fmla="*/ 194 w 898"/>
                  <a:gd name="T29" fmla="*/ 340 h 896"/>
                  <a:gd name="T30" fmla="*/ 236 w 898"/>
                  <a:gd name="T31" fmla="*/ 272 h 896"/>
                  <a:gd name="T32" fmla="*/ 294 w 898"/>
                  <a:gd name="T33" fmla="*/ 218 h 896"/>
                  <a:gd name="T34" fmla="*/ 366 w 898"/>
                  <a:gd name="T35" fmla="*/ 184 h 896"/>
                  <a:gd name="T36" fmla="*/ 448 w 898"/>
                  <a:gd name="T37" fmla="*/ 172 h 896"/>
                  <a:gd name="T38" fmla="*/ 486 w 898"/>
                  <a:gd name="T39" fmla="*/ 174 h 896"/>
                  <a:gd name="T40" fmla="*/ 540 w 898"/>
                  <a:gd name="T41" fmla="*/ 188 h 896"/>
                  <a:gd name="T42" fmla="*/ 618 w 898"/>
                  <a:gd name="T43" fmla="*/ 230 h 896"/>
                  <a:gd name="T44" fmla="*/ 688 w 898"/>
                  <a:gd name="T45" fmla="*/ 310 h 896"/>
                  <a:gd name="T46" fmla="*/ 820 w 898"/>
                  <a:gd name="T47" fmla="*/ 198 h 896"/>
                  <a:gd name="T48" fmla="*/ 766 w 898"/>
                  <a:gd name="T49" fmla="*/ 130 h 896"/>
                  <a:gd name="T50" fmla="*/ 700 w 898"/>
                  <a:gd name="T51" fmla="*/ 76 h 896"/>
                  <a:gd name="T52" fmla="*/ 624 w 898"/>
                  <a:gd name="T53" fmla="*/ 34 h 896"/>
                  <a:gd name="T54" fmla="*/ 540 w 898"/>
                  <a:gd name="T55" fmla="*/ 8 h 896"/>
                  <a:gd name="T56" fmla="*/ 448 w 898"/>
                  <a:gd name="T57" fmla="*/ 0 h 896"/>
                  <a:gd name="T58" fmla="*/ 358 w 898"/>
                  <a:gd name="T59" fmla="*/ 8 h 896"/>
                  <a:gd name="T60" fmla="*/ 236 w 898"/>
                  <a:gd name="T61" fmla="*/ 54 h 896"/>
                  <a:gd name="T62" fmla="*/ 132 w 898"/>
                  <a:gd name="T63" fmla="*/ 130 h 896"/>
                  <a:gd name="T64" fmla="*/ 54 w 898"/>
                  <a:gd name="T65" fmla="*/ 234 h 896"/>
                  <a:gd name="T66" fmla="*/ 10 w 898"/>
                  <a:gd name="T67" fmla="*/ 358 h 896"/>
                  <a:gd name="T68" fmla="*/ 0 w 898"/>
                  <a:gd name="T69" fmla="*/ 448 h 896"/>
                  <a:gd name="T70" fmla="*/ 20 w 898"/>
                  <a:gd name="T71" fmla="*/ 582 h 896"/>
                  <a:gd name="T72" fmla="*/ 78 w 898"/>
                  <a:gd name="T73" fmla="*/ 698 h 896"/>
                  <a:gd name="T74" fmla="*/ 164 w 898"/>
                  <a:gd name="T75" fmla="*/ 794 h 896"/>
                  <a:gd name="T76" fmla="*/ 274 w 898"/>
                  <a:gd name="T77" fmla="*/ 860 h 896"/>
                  <a:gd name="T78" fmla="*/ 402 w 898"/>
                  <a:gd name="T79" fmla="*/ 894 h 896"/>
                  <a:gd name="T80" fmla="*/ 494 w 898"/>
                  <a:gd name="T81" fmla="*/ 894 h 896"/>
                  <a:gd name="T82" fmla="*/ 624 w 898"/>
                  <a:gd name="T83" fmla="*/ 860 h 896"/>
                  <a:gd name="T84" fmla="*/ 734 w 898"/>
                  <a:gd name="T85" fmla="*/ 794 h 896"/>
                  <a:gd name="T86" fmla="*/ 820 w 898"/>
                  <a:gd name="T87" fmla="*/ 698 h 896"/>
                  <a:gd name="T88" fmla="*/ 876 w 898"/>
                  <a:gd name="T89" fmla="*/ 582 h 896"/>
                  <a:gd name="T90" fmla="*/ 898 w 898"/>
                  <a:gd name="T91" fmla="*/ 448 h 896"/>
                  <a:gd name="T92" fmla="*/ 894 w 898"/>
                  <a:gd name="T93" fmla="*/ 400 h 896"/>
                  <a:gd name="T94" fmla="*/ 882 w 898"/>
                  <a:gd name="T95" fmla="*/ 330 h 896"/>
                  <a:gd name="T96" fmla="*/ 858 w 898"/>
                  <a:gd name="T97" fmla="*/ 264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8" h="896">
                    <a:moveTo>
                      <a:pt x="708" y="352"/>
                    </a:moveTo>
                    <a:lnTo>
                      <a:pt x="708" y="352"/>
                    </a:lnTo>
                    <a:lnTo>
                      <a:pt x="714" y="374"/>
                    </a:lnTo>
                    <a:lnTo>
                      <a:pt x="720" y="398"/>
                    </a:lnTo>
                    <a:lnTo>
                      <a:pt x="724" y="422"/>
                    </a:lnTo>
                    <a:lnTo>
                      <a:pt x="724" y="448"/>
                    </a:lnTo>
                    <a:lnTo>
                      <a:pt x="724" y="448"/>
                    </a:lnTo>
                    <a:lnTo>
                      <a:pt x="724" y="476"/>
                    </a:lnTo>
                    <a:lnTo>
                      <a:pt x="720" y="504"/>
                    </a:lnTo>
                    <a:lnTo>
                      <a:pt x="712" y="530"/>
                    </a:lnTo>
                    <a:lnTo>
                      <a:pt x="704" y="556"/>
                    </a:lnTo>
                    <a:lnTo>
                      <a:pt x="692" y="580"/>
                    </a:lnTo>
                    <a:lnTo>
                      <a:pt x="678" y="602"/>
                    </a:lnTo>
                    <a:lnTo>
                      <a:pt x="662" y="624"/>
                    </a:lnTo>
                    <a:lnTo>
                      <a:pt x="644" y="642"/>
                    </a:lnTo>
                    <a:lnTo>
                      <a:pt x="624" y="660"/>
                    </a:lnTo>
                    <a:lnTo>
                      <a:pt x="604" y="676"/>
                    </a:lnTo>
                    <a:lnTo>
                      <a:pt x="580" y="690"/>
                    </a:lnTo>
                    <a:lnTo>
                      <a:pt x="556" y="702"/>
                    </a:lnTo>
                    <a:lnTo>
                      <a:pt x="530" y="712"/>
                    </a:lnTo>
                    <a:lnTo>
                      <a:pt x="504" y="718"/>
                    </a:lnTo>
                    <a:lnTo>
                      <a:pt x="476" y="722"/>
                    </a:lnTo>
                    <a:lnTo>
                      <a:pt x="448" y="724"/>
                    </a:lnTo>
                    <a:lnTo>
                      <a:pt x="448" y="724"/>
                    </a:lnTo>
                    <a:lnTo>
                      <a:pt x="420" y="722"/>
                    </a:lnTo>
                    <a:lnTo>
                      <a:pt x="394" y="718"/>
                    </a:lnTo>
                    <a:lnTo>
                      <a:pt x="366" y="712"/>
                    </a:lnTo>
                    <a:lnTo>
                      <a:pt x="342" y="702"/>
                    </a:lnTo>
                    <a:lnTo>
                      <a:pt x="318" y="690"/>
                    </a:lnTo>
                    <a:lnTo>
                      <a:pt x="294" y="676"/>
                    </a:lnTo>
                    <a:lnTo>
                      <a:pt x="274" y="660"/>
                    </a:lnTo>
                    <a:lnTo>
                      <a:pt x="254" y="642"/>
                    </a:lnTo>
                    <a:lnTo>
                      <a:pt x="236" y="624"/>
                    </a:lnTo>
                    <a:lnTo>
                      <a:pt x="220" y="602"/>
                    </a:lnTo>
                    <a:lnTo>
                      <a:pt x="206" y="580"/>
                    </a:lnTo>
                    <a:lnTo>
                      <a:pt x="194" y="556"/>
                    </a:lnTo>
                    <a:lnTo>
                      <a:pt x="186" y="530"/>
                    </a:lnTo>
                    <a:lnTo>
                      <a:pt x="178" y="504"/>
                    </a:lnTo>
                    <a:lnTo>
                      <a:pt x="174" y="476"/>
                    </a:lnTo>
                    <a:lnTo>
                      <a:pt x="172" y="448"/>
                    </a:lnTo>
                    <a:lnTo>
                      <a:pt x="172" y="448"/>
                    </a:lnTo>
                    <a:lnTo>
                      <a:pt x="174" y="420"/>
                    </a:lnTo>
                    <a:lnTo>
                      <a:pt x="178" y="392"/>
                    </a:lnTo>
                    <a:lnTo>
                      <a:pt x="186" y="366"/>
                    </a:lnTo>
                    <a:lnTo>
                      <a:pt x="194" y="340"/>
                    </a:lnTo>
                    <a:lnTo>
                      <a:pt x="206" y="316"/>
                    </a:lnTo>
                    <a:lnTo>
                      <a:pt x="220" y="294"/>
                    </a:lnTo>
                    <a:lnTo>
                      <a:pt x="236" y="272"/>
                    </a:lnTo>
                    <a:lnTo>
                      <a:pt x="254" y="252"/>
                    </a:lnTo>
                    <a:lnTo>
                      <a:pt x="274" y="234"/>
                    </a:lnTo>
                    <a:lnTo>
                      <a:pt x="294" y="218"/>
                    </a:lnTo>
                    <a:lnTo>
                      <a:pt x="318" y="206"/>
                    </a:lnTo>
                    <a:lnTo>
                      <a:pt x="342" y="194"/>
                    </a:lnTo>
                    <a:lnTo>
                      <a:pt x="366" y="184"/>
                    </a:lnTo>
                    <a:lnTo>
                      <a:pt x="394" y="178"/>
                    </a:lnTo>
                    <a:lnTo>
                      <a:pt x="420" y="174"/>
                    </a:lnTo>
                    <a:lnTo>
                      <a:pt x="448" y="172"/>
                    </a:lnTo>
                    <a:lnTo>
                      <a:pt x="448" y="172"/>
                    </a:lnTo>
                    <a:lnTo>
                      <a:pt x="468" y="172"/>
                    </a:lnTo>
                    <a:lnTo>
                      <a:pt x="486" y="174"/>
                    </a:lnTo>
                    <a:lnTo>
                      <a:pt x="504" y="178"/>
                    </a:lnTo>
                    <a:lnTo>
                      <a:pt x="522" y="182"/>
                    </a:lnTo>
                    <a:lnTo>
                      <a:pt x="540" y="188"/>
                    </a:lnTo>
                    <a:lnTo>
                      <a:pt x="558" y="194"/>
                    </a:lnTo>
                    <a:lnTo>
                      <a:pt x="590" y="210"/>
                    </a:lnTo>
                    <a:lnTo>
                      <a:pt x="618" y="230"/>
                    </a:lnTo>
                    <a:lnTo>
                      <a:pt x="646" y="254"/>
                    </a:lnTo>
                    <a:lnTo>
                      <a:pt x="668" y="280"/>
                    </a:lnTo>
                    <a:lnTo>
                      <a:pt x="688" y="310"/>
                    </a:lnTo>
                    <a:lnTo>
                      <a:pt x="836" y="222"/>
                    </a:lnTo>
                    <a:lnTo>
                      <a:pt x="836" y="222"/>
                    </a:lnTo>
                    <a:lnTo>
                      <a:pt x="820" y="198"/>
                    </a:lnTo>
                    <a:lnTo>
                      <a:pt x="804" y="174"/>
                    </a:lnTo>
                    <a:lnTo>
                      <a:pt x="786" y="152"/>
                    </a:lnTo>
                    <a:lnTo>
                      <a:pt x="766" y="130"/>
                    </a:lnTo>
                    <a:lnTo>
                      <a:pt x="744" y="112"/>
                    </a:lnTo>
                    <a:lnTo>
                      <a:pt x="722" y="92"/>
                    </a:lnTo>
                    <a:lnTo>
                      <a:pt x="700" y="76"/>
                    </a:lnTo>
                    <a:lnTo>
                      <a:pt x="674" y="60"/>
                    </a:lnTo>
                    <a:lnTo>
                      <a:pt x="650" y="46"/>
                    </a:lnTo>
                    <a:lnTo>
                      <a:pt x="624" y="34"/>
                    </a:lnTo>
                    <a:lnTo>
                      <a:pt x="596" y="24"/>
                    </a:lnTo>
                    <a:lnTo>
                      <a:pt x="568" y="16"/>
                    </a:lnTo>
                    <a:lnTo>
                      <a:pt x="540" y="8"/>
                    </a:lnTo>
                    <a:lnTo>
                      <a:pt x="510" y="4"/>
                    </a:lnTo>
                    <a:lnTo>
                      <a:pt x="480" y="0"/>
                    </a:lnTo>
                    <a:lnTo>
                      <a:pt x="448" y="0"/>
                    </a:lnTo>
                    <a:lnTo>
                      <a:pt x="448" y="0"/>
                    </a:lnTo>
                    <a:lnTo>
                      <a:pt x="402" y="2"/>
                    </a:lnTo>
                    <a:lnTo>
                      <a:pt x="358" y="8"/>
                    </a:lnTo>
                    <a:lnTo>
                      <a:pt x="316" y="20"/>
                    </a:lnTo>
                    <a:lnTo>
                      <a:pt x="274" y="34"/>
                    </a:lnTo>
                    <a:lnTo>
                      <a:pt x="236" y="54"/>
                    </a:lnTo>
                    <a:lnTo>
                      <a:pt x="198" y="76"/>
                    </a:lnTo>
                    <a:lnTo>
                      <a:pt x="164" y="102"/>
                    </a:lnTo>
                    <a:lnTo>
                      <a:pt x="132" y="130"/>
                    </a:lnTo>
                    <a:lnTo>
                      <a:pt x="102" y="162"/>
                    </a:lnTo>
                    <a:lnTo>
                      <a:pt x="78" y="198"/>
                    </a:lnTo>
                    <a:lnTo>
                      <a:pt x="54" y="234"/>
                    </a:lnTo>
                    <a:lnTo>
                      <a:pt x="36" y="274"/>
                    </a:lnTo>
                    <a:lnTo>
                      <a:pt x="20" y="314"/>
                    </a:lnTo>
                    <a:lnTo>
                      <a:pt x="10" y="358"/>
                    </a:lnTo>
                    <a:lnTo>
                      <a:pt x="2" y="402"/>
                    </a:lnTo>
                    <a:lnTo>
                      <a:pt x="0" y="448"/>
                    </a:lnTo>
                    <a:lnTo>
                      <a:pt x="0" y="448"/>
                    </a:lnTo>
                    <a:lnTo>
                      <a:pt x="2" y="494"/>
                    </a:lnTo>
                    <a:lnTo>
                      <a:pt x="10" y="538"/>
                    </a:lnTo>
                    <a:lnTo>
                      <a:pt x="20" y="582"/>
                    </a:lnTo>
                    <a:lnTo>
                      <a:pt x="36" y="622"/>
                    </a:lnTo>
                    <a:lnTo>
                      <a:pt x="54" y="662"/>
                    </a:lnTo>
                    <a:lnTo>
                      <a:pt x="78" y="698"/>
                    </a:lnTo>
                    <a:lnTo>
                      <a:pt x="102" y="732"/>
                    </a:lnTo>
                    <a:lnTo>
                      <a:pt x="132" y="764"/>
                    </a:lnTo>
                    <a:lnTo>
                      <a:pt x="164" y="794"/>
                    </a:lnTo>
                    <a:lnTo>
                      <a:pt x="198" y="820"/>
                    </a:lnTo>
                    <a:lnTo>
                      <a:pt x="236" y="842"/>
                    </a:lnTo>
                    <a:lnTo>
                      <a:pt x="274" y="860"/>
                    </a:lnTo>
                    <a:lnTo>
                      <a:pt x="316" y="876"/>
                    </a:lnTo>
                    <a:lnTo>
                      <a:pt x="358" y="886"/>
                    </a:lnTo>
                    <a:lnTo>
                      <a:pt x="402" y="894"/>
                    </a:lnTo>
                    <a:lnTo>
                      <a:pt x="448" y="896"/>
                    </a:lnTo>
                    <a:lnTo>
                      <a:pt x="448" y="896"/>
                    </a:lnTo>
                    <a:lnTo>
                      <a:pt x="494" y="894"/>
                    </a:lnTo>
                    <a:lnTo>
                      <a:pt x="540" y="886"/>
                    </a:lnTo>
                    <a:lnTo>
                      <a:pt x="582" y="876"/>
                    </a:lnTo>
                    <a:lnTo>
                      <a:pt x="624" y="860"/>
                    </a:lnTo>
                    <a:lnTo>
                      <a:pt x="662" y="842"/>
                    </a:lnTo>
                    <a:lnTo>
                      <a:pt x="700" y="820"/>
                    </a:lnTo>
                    <a:lnTo>
                      <a:pt x="734" y="794"/>
                    </a:lnTo>
                    <a:lnTo>
                      <a:pt x="766" y="764"/>
                    </a:lnTo>
                    <a:lnTo>
                      <a:pt x="794" y="732"/>
                    </a:lnTo>
                    <a:lnTo>
                      <a:pt x="820" y="698"/>
                    </a:lnTo>
                    <a:lnTo>
                      <a:pt x="842" y="662"/>
                    </a:lnTo>
                    <a:lnTo>
                      <a:pt x="862" y="622"/>
                    </a:lnTo>
                    <a:lnTo>
                      <a:pt x="876" y="582"/>
                    </a:lnTo>
                    <a:lnTo>
                      <a:pt x="888" y="538"/>
                    </a:lnTo>
                    <a:lnTo>
                      <a:pt x="894" y="494"/>
                    </a:lnTo>
                    <a:lnTo>
                      <a:pt x="898" y="448"/>
                    </a:lnTo>
                    <a:lnTo>
                      <a:pt x="898" y="448"/>
                    </a:lnTo>
                    <a:lnTo>
                      <a:pt x="896" y="424"/>
                    </a:lnTo>
                    <a:lnTo>
                      <a:pt x="894" y="400"/>
                    </a:lnTo>
                    <a:lnTo>
                      <a:pt x="892" y="376"/>
                    </a:lnTo>
                    <a:lnTo>
                      <a:pt x="886" y="352"/>
                    </a:lnTo>
                    <a:lnTo>
                      <a:pt x="882" y="330"/>
                    </a:lnTo>
                    <a:lnTo>
                      <a:pt x="874" y="308"/>
                    </a:lnTo>
                    <a:lnTo>
                      <a:pt x="866" y="286"/>
                    </a:lnTo>
                    <a:lnTo>
                      <a:pt x="858" y="264"/>
                    </a:lnTo>
                    <a:lnTo>
                      <a:pt x="708" y="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6"/>
              <p:cNvSpPr>
                <a:spLocks/>
              </p:cNvSpPr>
              <p:nvPr/>
            </p:nvSpPr>
            <p:spPr bwMode="auto">
              <a:xfrm>
                <a:off x="-866775" y="857250"/>
                <a:ext cx="2057400" cy="2057400"/>
              </a:xfrm>
              <a:custGeom>
                <a:avLst/>
                <a:gdLst>
                  <a:gd name="T0" fmla="*/ 1226 w 1296"/>
                  <a:gd name="T1" fmla="*/ 442 h 1296"/>
                  <a:gd name="T2" fmla="*/ 1258 w 1296"/>
                  <a:gd name="T3" fmla="*/ 576 h 1296"/>
                  <a:gd name="T4" fmla="*/ 1260 w 1296"/>
                  <a:gd name="T5" fmla="*/ 680 h 1296"/>
                  <a:gd name="T6" fmla="*/ 1242 w 1296"/>
                  <a:gd name="T7" fmla="*/ 800 h 1296"/>
                  <a:gd name="T8" fmla="*/ 1202 w 1296"/>
                  <a:gd name="T9" fmla="*/ 914 h 1296"/>
                  <a:gd name="T10" fmla="*/ 1140 w 1296"/>
                  <a:gd name="T11" fmla="*/ 1014 h 1296"/>
                  <a:gd name="T12" fmla="*/ 1060 w 1296"/>
                  <a:gd name="T13" fmla="*/ 1102 h 1296"/>
                  <a:gd name="T14" fmla="*/ 966 w 1296"/>
                  <a:gd name="T15" fmla="*/ 1172 h 1296"/>
                  <a:gd name="T16" fmla="*/ 860 w 1296"/>
                  <a:gd name="T17" fmla="*/ 1224 h 1296"/>
                  <a:gd name="T18" fmla="*/ 742 w 1296"/>
                  <a:gd name="T19" fmla="*/ 1254 h 1296"/>
                  <a:gd name="T20" fmla="*/ 648 w 1296"/>
                  <a:gd name="T21" fmla="*/ 1260 h 1296"/>
                  <a:gd name="T22" fmla="*/ 526 w 1296"/>
                  <a:gd name="T23" fmla="*/ 1248 h 1296"/>
                  <a:gd name="T24" fmla="*/ 410 w 1296"/>
                  <a:gd name="T25" fmla="*/ 1212 h 1296"/>
                  <a:gd name="T26" fmla="*/ 306 w 1296"/>
                  <a:gd name="T27" fmla="*/ 1156 h 1296"/>
                  <a:gd name="T28" fmla="*/ 216 w 1296"/>
                  <a:gd name="T29" fmla="*/ 1082 h 1296"/>
                  <a:gd name="T30" fmla="*/ 140 w 1296"/>
                  <a:gd name="T31" fmla="*/ 990 h 1296"/>
                  <a:gd name="T32" fmla="*/ 84 w 1296"/>
                  <a:gd name="T33" fmla="*/ 886 h 1296"/>
                  <a:gd name="T34" fmla="*/ 48 w 1296"/>
                  <a:gd name="T35" fmla="*/ 772 h 1296"/>
                  <a:gd name="T36" fmla="*/ 36 w 1296"/>
                  <a:gd name="T37" fmla="*/ 648 h 1296"/>
                  <a:gd name="T38" fmla="*/ 44 w 1296"/>
                  <a:gd name="T39" fmla="*/ 554 h 1296"/>
                  <a:gd name="T40" fmla="*/ 74 w 1296"/>
                  <a:gd name="T41" fmla="*/ 438 h 1296"/>
                  <a:gd name="T42" fmla="*/ 124 w 1296"/>
                  <a:gd name="T43" fmla="*/ 330 h 1296"/>
                  <a:gd name="T44" fmla="*/ 196 w 1296"/>
                  <a:gd name="T45" fmla="*/ 236 h 1296"/>
                  <a:gd name="T46" fmla="*/ 282 w 1296"/>
                  <a:gd name="T47" fmla="*/ 156 h 1296"/>
                  <a:gd name="T48" fmla="*/ 384 w 1296"/>
                  <a:gd name="T49" fmla="*/ 96 h 1296"/>
                  <a:gd name="T50" fmla="*/ 496 w 1296"/>
                  <a:gd name="T51" fmla="*/ 54 h 1296"/>
                  <a:gd name="T52" fmla="*/ 618 w 1296"/>
                  <a:gd name="T53" fmla="*/ 36 h 1296"/>
                  <a:gd name="T54" fmla="*/ 732 w 1296"/>
                  <a:gd name="T55" fmla="*/ 40 h 1296"/>
                  <a:gd name="T56" fmla="*/ 886 w 1296"/>
                  <a:gd name="T57" fmla="*/ 82 h 1296"/>
                  <a:gd name="T58" fmla="*/ 1022 w 1296"/>
                  <a:gd name="T59" fmla="*/ 162 h 1296"/>
                  <a:gd name="T60" fmla="*/ 1132 w 1296"/>
                  <a:gd name="T61" fmla="*/ 272 h 1296"/>
                  <a:gd name="T62" fmla="*/ 1206 w 1296"/>
                  <a:gd name="T63" fmla="*/ 318 h 1296"/>
                  <a:gd name="T64" fmla="*/ 1106 w 1296"/>
                  <a:gd name="T65" fmla="*/ 188 h 1296"/>
                  <a:gd name="T66" fmla="*/ 974 w 1296"/>
                  <a:gd name="T67" fmla="*/ 88 h 1296"/>
                  <a:gd name="T68" fmla="*/ 820 w 1296"/>
                  <a:gd name="T69" fmla="*/ 22 h 1296"/>
                  <a:gd name="T70" fmla="*/ 648 w 1296"/>
                  <a:gd name="T71" fmla="*/ 0 h 1296"/>
                  <a:gd name="T72" fmla="*/ 550 w 1296"/>
                  <a:gd name="T73" fmla="*/ 8 h 1296"/>
                  <a:gd name="T74" fmla="*/ 426 w 1296"/>
                  <a:gd name="T75" fmla="*/ 40 h 1296"/>
                  <a:gd name="T76" fmla="*/ 312 w 1296"/>
                  <a:gd name="T77" fmla="*/ 94 h 1296"/>
                  <a:gd name="T78" fmla="*/ 214 w 1296"/>
                  <a:gd name="T79" fmla="*/ 168 h 1296"/>
                  <a:gd name="T80" fmla="*/ 130 w 1296"/>
                  <a:gd name="T81" fmla="*/ 260 h 1296"/>
                  <a:gd name="T82" fmla="*/ 64 w 1296"/>
                  <a:gd name="T83" fmla="*/ 366 h 1296"/>
                  <a:gd name="T84" fmla="*/ 22 w 1296"/>
                  <a:gd name="T85" fmla="*/ 486 h 1296"/>
                  <a:gd name="T86" fmla="*/ 2 w 1296"/>
                  <a:gd name="T87" fmla="*/ 614 h 1296"/>
                  <a:gd name="T88" fmla="*/ 4 w 1296"/>
                  <a:gd name="T89" fmla="*/ 714 h 1296"/>
                  <a:gd name="T90" fmla="*/ 30 w 1296"/>
                  <a:gd name="T91" fmla="*/ 840 h 1296"/>
                  <a:gd name="T92" fmla="*/ 78 w 1296"/>
                  <a:gd name="T93" fmla="*/ 956 h 1296"/>
                  <a:gd name="T94" fmla="*/ 148 w 1296"/>
                  <a:gd name="T95" fmla="*/ 1060 h 1296"/>
                  <a:gd name="T96" fmla="*/ 236 w 1296"/>
                  <a:gd name="T97" fmla="*/ 1148 h 1296"/>
                  <a:gd name="T98" fmla="*/ 340 w 1296"/>
                  <a:gd name="T99" fmla="*/ 1218 h 1296"/>
                  <a:gd name="T100" fmla="*/ 456 w 1296"/>
                  <a:gd name="T101" fmla="*/ 1266 h 1296"/>
                  <a:gd name="T102" fmla="*/ 582 w 1296"/>
                  <a:gd name="T103" fmla="*/ 1292 h 1296"/>
                  <a:gd name="T104" fmla="*/ 682 w 1296"/>
                  <a:gd name="T105" fmla="*/ 1294 h 1296"/>
                  <a:gd name="T106" fmla="*/ 810 w 1296"/>
                  <a:gd name="T107" fmla="*/ 1276 h 1296"/>
                  <a:gd name="T108" fmla="*/ 930 w 1296"/>
                  <a:gd name="T109" fmla="*/ 1232 h 1296"/>
                  <a:gd name="T110" fmla="*/ 1036 w 1296"/>
                  <a:gd name="T111" fmla="*/ 1168 h 1296"/>
                  <a:gd name="T112" fmla="*/ 1128 w 1296"/>
                  <a:gd name="T113" fmla="*/ 1084 h 1296"/>
                  <a:gd name="T114" fmla="*/ 1202 w 1296"/>
                  <a:gd name="T115" fmla="*/ 984 h 1296"/>
                  <a:gd name="T116" fmla="*/ 1258 w 1296"/>
                  <a:gd name="T117" fmla="*/ 870 h 1296"/>
                  <a:gd name="T118" fmla="*/ 1290 w 1296"/>
                  <a:gd name="T119" fmla="*/ 746 h 1296"/>
                  <a:gd name="T120" fmla="*/ 1296 w 1296"/>
                  <a:gd name="T121" fmla="*/ 648 h 1296"/>
                  <a:gd name="T122" fmla="*/ 1280 w 1296"/>
                  <a:gd name="T123" fmla="*/ 500 h 1296"/>
                  <a:gd name="T124" fmla="*/ 1230 w 1296"/>
                  <a:gd name="T125" fmla="*/ 36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6" h="1296">
                    <a:moveTo>
                      <a:pt x="1200" y="380"/>
                    </a:moveTo>
                    <a:lnTo>
                      <a:pt x="1200" y="380"/>
                    </a:lnTo>
                    <a:lnTo>
                      <a:pt x="1214" y="412"/>
                    </a:lnTo>
                    <a:lnTo>
                      <a:pt x="1226" y="442"/>
                    </a:lnTo>
                    <a:lnTo>
                      <a:pt x="1236" y="476"/>
                    </a:lnTo>
                    <a:lnTo>
                      <a:pt x="1246" y="508"/>
                    </a:lnTo>
                    <a:lnTo>
                      <a:pt x="1252" y="542"/>
                    </a:lnTo>
                    <a:lnTo>
                      <a:pt x="1258" y="576"/>
                    </a:lnTo>
                    <a:lnTo>
                      <a:pt x="1260" y="612"/>
                    </a:lnTo>
                    <a:lnTo>
                      <a:pt x="1262" y="648"/>
                    </a:lnTo>
                    <a:lnTo>
                      <a:pt x="1262" y="648"/>
                    </a:lnTo>
                    <a:lnTo>
                      <a:pt x="1260" y="680"/>
                    </a:lnTo>
                    <a:lnTo>
                      <a:pt x="1258" y="710"/>
                    </a:lnTo>
                    <a:lnTo>
                      <a:pt x="1254" y="742"/>
                    </a:lnTo>
                    <a:lnTo>
                      <a:pt x="1250" y="772"/>
                    </a:lnTo>
                    <a:lnTo>
                      <a:pt x="1242" y="800"/>
                    </a:lnTo>
                    <a:lnTo>
                      <a:pt x="1234" y="830"/>
                    </a:lnTo>
                    <a:lnTo>
                      <a:pt x="1224" y="858"/>
                    </a:lnTo>
                    <a:lnTo>
                      <a:pt x="1214" y="886"/>
                    </a:lnTo>
                    <a:lnTo>
                      <a:pt x="1202" y="914"/>
                    </a:lnTo>
                    <a:lnTo>
                      <a:pt x="1188" y="940"/>
                    </a:lnTo>
                    <a:lnTo>
                      <a:pt x="1172" y="966"/>
                    </a:lnTo>
                    <a:lnTo>
                      <a:pt x="1156" y="990"/>
                    </a:lnTo>
                    <a:lnTo>
                      <a:pt x="1140" y="1014"/>
                    </a:lnTo>
                    <a:lnTo>
                      <a:pt x="1122" y="1038"/>
                    </a:lnTo>
                    <a:lnTo>
                      <a:pt x="1102" y="1060"/>
                    </a:lnTo>
                    <a:lnTo>
                      <a:pt x="1082" y="1082"/>
                    </a:lnTo>
                    <a:lnTo>
                      <a:pt x="1060" y="1102"/>
                    </a:lnTo>
                    <a:lnTo>
                      <a:pt x="1038" y="1120"/>
                    </a:lnTo>
                    <a:lnTo>
                      <a:pt x="1016" y="1138"/>
                    </a:lnTo>
                    <a:lnTo>
                      <a:pt x="992" y="1156"/>
                    </a:lnTo>
                    <a:lnTo>
                      <a:pt x="966" y="1172"/>
                    </a:lnTo>
                    <a:lnTo>
                      <a:pt x="940" y="1186"/>
                    </a:lnTo>
                    <a:lnTo>
                      <a:pt x="914" y="1200"/>
                    </a:lnTo>
                    <a:lnTo>
                      <a:pt x="888" y="1212"/>
                    </a:lnTo>
                    <a:lnTo>
                      <a:pt x="860" y="1224"/>
                    </a:lnTo>
                    <a:lnTo>
                      <a:pt x="830" y="1232"/>
                    </a:lnTo>
                    <a:lnTo>
                      <a:pt x="802" y="1242"/>
                    </a:lnTo>
                    <a:lnTo>
                      <a:pt x="772" y="1248"/>
                    </a:lnTo>
                    <a:lnTo>
                      <a:pt x="742" y="1254"/>
                    </a:lnTo>
                    <a:lnTo>
                      <a:pt x="712" y="1258"/>
                    </a:lnTo>
                    <a:lnTo>
                      <a:pt x="680" y="1260"/>
                    </a:lnTo>
                    <a:lnTo>
                      <a:pt x="648" y="1260"/>
                    </a:lnTo>
                    <a:lnTo>
                      <a:pt x="648" y="1260"/>
                    </a:lnTo>
                    <a:lnTo>
                      <a:pt x="618" y="1260"/>
                    </a:lnTo>
                    <a:lnTo>
                      <a:pt x="586" y="1258"/>
                    </a:lnTo>
                    <a:lnTo>
                      <a:pt x="556" y="1254"/>
                    </a:lnTo>
                    <a:lnTo>
                      <a:pt x="526" y="1248"/>
                    </a:lnTo>
                    <a:lnTo>
                      <a:pt x="496" y="1242"/>
                    </a:lnTo>
                    <a:lnTo>
                      <a:pt x="466" y="1232"/>
                    </a:lnTo>
                    <a:lnTo>
                      <a:pt x="438" y="1224"/>
                    </a:lnTo>
                    <a:lnTo>
                      <a:pt x="410" y="1212"/>
                    </a:lnTo>
                    <a:lnTo>
                      <a:pt x="384" y="1200"/>
                    </a:lnTo>
                    <a:lnTo>
                      <a:pt x="356" y="1186"/>
                    </a:lnTo>
                    <a:lnTo>
                      <a:pt x="332" y="1172"/>
                    </a:lnTo>
                    <a:lnTo>
                      <a:pt x="306" y="1156"/>
                    </a:lnTo>
                    <a:lnTo>
                      <a:pt x="282" y="1138"/>
                    </a:lnTo>
                    <a:lnTo>
                      <a:pt x="258" y="1120"/>
                    </a:lnTo>
                    <a:lnTo>
                      <a:pt x="236" y="1102"/>
                    </a:lnTo>
                    <a:lnTo>
                      <a:pt x="216" y="1082"/>
                    </a:lnTo>
                    <a:lnTo>
                      <a:pt x="196" y="1060"/>
                    </a:lnTo>
                    <a:lnTo>
                      <a:pt x="176" y="1038"/>
                    </a:lnTo>
                    <a:lnTo>
                      <a:pt x="158" y="1014"/>
                    </a:lnTo>
                    <a:lnTo>
                      <a:pt x="140" y="990"/>
                    </a:lnTo>
                    <a:lnTo>
                      <a:pt x="124" y="966"/>
                    </a:lnTo>
                    <a:lnTo>
                      <a:pt x="110" y="940"/>
                    </a:lnTo>
                    <a:lnTo>
                      <a:pt x="96" y="914"/>
                    </a:lnTo>
                    <a:lnTo>
                      <a:pt x="84" y="886"/>
                    </a:lnTo>
                    <a:lnTo>
                      <a:pt x="74" y="858"/>
                    </a:lnTo>
                    <a:lnTo>
                      <a:pt x="64" y="830"/>
                    </a:lnTo>
                    <a:lnTo>
                      <a:pt x="56" y="800"/>
                    </a:lnTo>
                    <a:lnTo>
                      <a:pt x="48" y="772"/>
                    </a:lnTo>
                    <a:lnTo>
                      <a:pt x="44" y="742"/>
                    </a:lnTo>
                    <a:lnTo>
                      <a:pt x="40" y="710"/>
                    </a:lnTo>
                    <a:lnTo>
                      <a:pt x="36" y="680"/>
                    </a:lnTo>
                    <a:lnTo>
                      <a:pt x="36" y="648"/>
                    </a:lnTo>
                    <a:lnTo>
                      <a:pt x="36" y="648"/>
                    </a:lnTo>
                    <a:lnTo>
                      <a:pt x="36" y="616"/>
                    </a:lnTo>
                    <a:lnTo>
                      <a:pt x="40" y="586"/>
                    </a:lnTo>
                    <a:lnTo>
                      <a:pt x="44" y="554"/>
                    </a:lnTo>
                    <a:lnTo>
                      <a:pt x="48" y="524"/>
                    </a:lnTo>
                    <a:lnTo>
                      <a:pt x="56" y="494"/>
                    </a:lnTo>
                    <a:lnTo>
                      <a:pt x="64" y="466"/>
                    </a:lnTo>
                    <a:lnTo>
                      <a:pt x="74" y="438"/>
                    </a:lnTo>
                    <a:lnTo>
                      <a:pt x="84" y="410"/>
                    </a:lnTo>
                    <a:lnTo>
                      <a:pt x="96" y="382"/>
                    </a:lnTo>
                    <a:lnTo>
                      <a:pt x="110" y="356"/>
                    </a:lnTo>
                    <a:lnTo>
                      <a:pt x="124" y="330"/>
                    </a:lnTo>
                    <a:lnTo>
                      <a:pt x="140" y="306"/>
                    </a:lnTo>
                    <a:lnTo>
                      <a:pt x="158" y="282"/>
                    </a:lnTo>
                    <a:lnTo>
                      <a:pt x="176" y="258"/>
                    </a:lnTo>
                    <a:lnTo>
                      <a:pt x="196" y="236"/>
                    </a:lnTo>
                    <a:lnTo>
                      <a:pt x="216" y="214"/>
                    </a:lnTo>
                    <a:lnTo>
                      <a:pt x="236" y="194"/>
                    </a:lnTo>
                    <a:lnTo>
                      <a:pt x="258" y="174"/>
                    </a:lnTo>
                    <a:lnTo>
                      <a:pt x="282" y="156"/>
                    </a:lnTo>
                    <a:lnTo>
                      <a:pt x="306" y="140"/>
                    </a:lnTo>
                    <a:lnTo>
                      <a:pt x="332" y="124"/>
                    </a:lnTo>
                    <a:lnTo>
                      <a:pt x="356" y="108"/>
                    </a:lnTo>
                    <a:lnTo>
                      <a:pt x="384" y="96"/>
                    </a:lnTo>
                    <a:lnTo>
                      <a:pt x="410" y="84"/>
                    </a:lnTo>
                    <a:lnTo>
                      <a:pt x="438" y="72"/>
                    </a:lnTo>
                    <a:lnTo>
                      <a:pt x="466" y="62"/>
                    </a:lnTo>
                    <a:lnTo>
                      <a:pt x="496" y="54"/>
                    </a:lnTo>
                    <a:lnTo>
                      <a:pt x="526" y="48"/>
                    </a:lnTo>
                    <a:lnTo>
                      <a:pt x="556" y="42"/>
                    </a:lnTo>
                    <a:lnTo>
                      <a:pt x="586" y="38"/>
                    </a:lnTo>
                    <a:lnTo>
                      <a:pt x="618" y="36"/>
                    </a:lnTo>
                    <a:lnTo>
                      <a:pt x="648" y="34"/>
                    </a:lnTo>
                    <a:lnTo>
                      <a:pt x="648" y="34"/>
                    </a:lnTo>
                    <a:lnTo>
                      <a:pt x="690" y="36"/>
                    </a:lnTo>
                    <a:lnTo>
                      <a:pt x="732" y="40"/>
                    </a:lnTo>
                    <a:lnTo>
                      <a:pt x="772" y="48"/>
                    </a:lnTo>
                    <a:lnTo>
                      <a:pt x="810" y="56"/>
                    </a:lnTo>
                    <a:lnTo>
                      <a:pt x="850" y="68"/>
                    </a:lnTo>
                    <a:lnTo>
                      <a:pt x="886" y="82"/>
                    </a:lnTo>
                    <a:lnTo>
                      <a:pt x="922" y="100"/>
                    </a:lnTo>
                    <a:lnTo>
                      <a:pt x="956" y="118"/>
                    </a:lnTo>
                    <a:lnTo>
                      <a:pt x="990" y="138"/>
                    </a:lnTo>
                    <a:lnTo>
                      <a:pt x="1022" y="162"/>
                    </a:lnTo>
                    <a:lnTo>
                      <a:pt x="1052" y="186"/>
                    </a:lnTo>
                    <a:lnTo>
                      <a:pt x="1080" y="212"/>
                    </a:lnTo>
                    <a:lnTo>
                      <a:pt x="1108" y="242"/>
                    </a:lnTo>
                    <a:lnTo>
                      <a:pt x="1132" y="272"/>
                    </a:lnTo>
                    <a:lnTo>
                      <a:pt x="1156" y="302"/>
                    </a:lnTo>
                    <a:lnTo>
                      <a:pt x="1176" y="336"/>
                    </a:lnTo>
                    <a:lnTo>
                      <a:pt x="1206" y="318"/>
                    </a:lnTo>
                    <a:lnTo>
                      <a:pt x="1206" y="318"/>
                    </a:lnTo>
                    <a:lnTo>
                      <a:pt x="1184" y="282"/>
                    </a:lnTo>
                    <a:lnTo>
                      <a:pt x="1160" y="250"/>
                    </a:lnTo>
                    <a:lnTo>
                      <a:pt x="1134" y="218"/>
                    </a:lnTo>
                    <a:lnTo>
                      <a:pt x="1106" y="188"/>
                    </a:lnTo>
                    <a:lnTo>
                      <a:pt x="1074" y="160"/>
                    </a:lnTo>
                    <a:lnTo>
                      <a:pt x="1044" y="134"/>
                    </a:lnTo>
                    <a:lnTo>
                      <a:pt x="1010" y="110"/>
                    </a:lnTo>
                    <a:lnTo>
                      <a:pt x="974" y="88"/>
                    </a:lnTo>
                    <a:lnTo>
                      <a:pt x="938" y="68"/>
                    </a:lnTo>
                    <a:lnTo>
                      <a:pt x="900" y="50"/>
                    </a:lnTo>
                    <a:lnTo>
                      <a:pt x="860" y="36"/>
                    </a:lnTo>
                    <a:lnTo>
                      <a:pt x="820" y="22"/>
                    </a:lnTo>
                    <a:lnTo>
                      <a:pt x="778" y="12"/>
                    </a:lnTo>
                    <a:lnTo>
                      <a:pt x="736" y="6"/>
                    </a:lnTo>
                    <a:lnTo>
                      <a:pt x="692" y="2"/>
                    </a:lnTo>
                    <a:lnTo>
                      <a:pt x="648" y="0"/>
                    </a:lnTo>
                    <a:lnTo>
                      <a:pt x="648" y="0"/>
                    </a:lnTo>
                    <a:lnTo>
                      <a:pt x="616" y="0"/>
                    </a:lnTo>
                    <a:lnTo>
                      <a:pt x="582" y="4"/>
                    </a:lnTo>
                    <a:lnTo>
                      <a:pt x="550" y="8"/>
                    </a:lnTo>
                    <a:lnTo>
                      <a:pt x="518" y="12"/>
                    </a:lnTo>
                    <a:lnTo>
                      <a:pt x="486" y="20"/>
                    </a:lnTo>
                    <a:lnTo>
                      <a:pt x="456" y="28"/>
                    </a:lnTo>
                    <a:lnTo>
                      <a:pt x="426" y="40"/>
                    </a:lnTo>
                    <a:lnTo>
                      <a:pt x="396" y="50"/>
                    </a:lnTo>
                    <a:lnTo>
                      <a:pt x="368" y="64"/>
                    </a:lnTo>
                    <a:lnTo>
                      <a:pt x="340" y="78"/>
                    </a:lnTo>
                    <a:lnTo>
                      <a:pt x="312" y="94"/>
                    </a:lnTo>
                    <a:lnTo>
                      <a:pt x="286" y="110"/>
                    </a:lnTo>
                    <a:lnTo>
                      <a:pt x="262" y="128"/>
                    </a:lnTo>
                    <a:lnTo>
                      <a:pt x="236" y="148"/>
                    </a:lnTo>
                    <a:lnTo>
                      <a:pt x="214" y="168"/>
                    </a:lnTo>
                    <a:lnTo>
                      <a:pt x="190" y="190"/>
                    </a:lnTo>
                    <a:lnTo>
                      <a:pt x="170" y="212"/>
                    </a:lnTo>
                    <a:lnTo>
                      <a:pt x="148" y="236"/>
                    </a:lnTo>
                    <a:lnTo>
                      <a:pt x="130" y="260"/>
                    </a:lnTo>
                    <a:lnTo>
                      <a:pt x="112" y="286"/>
                    </a:lnTo>
                    <a:lnTo>
                      <a:pt x="94" y="312"/>
                    </a:lnTo>
                    <a:lnTo>
                      <a:pt x="78" y="338"/>
                    </a:lnTo>
                    <a:lnTo>
                      <a:pt x="64" y="366"/>
                    </a:lnTo>
                    <a:lnTo>
                      <a:pt x="52" y="396"/>
                    </a:lnTo>
                    <a:lnTo>
                      <a:pt x="40" y="424"/>
                    </a:lnTo>
                    <a:lnTo>
                      <a:pt x="30" y="456"/>
                    </a:lnTo>
                    <a:lnTo>
                      <a:pt x="22" y="486"/>
                    </a:lnTo>
                    <a:lnTo>
                      <a:pt x="14" y="518"/>
                    </a:lnTo>
                    <a:lnTo>
                      <a:pt x="8" y="550"/>
                    </a:lnTo>
                    <a:lnTo>
                      <a:pt x="4" y="582"/>
                    </a:lnTo>
                    <a:lnTo>
                      <a:pt x="2" y="614"/>
                    </a:lnTo>
                    <a:lnTo>
                      <a:pt x="0" y="648"/>
                    </a:lnTo>
                    <a:lnTo>
                      <a:pt x="0" y="648"/>
                    </a:lnTo>
                    <a:lnTo>
                      <a:pt x="2" y="682"/>
                    </a:lnTo>
                    <a:lnTo>
                      <a:pt x="4" y="714"/>
                    </a:lnTo>
                    <a:lnTo>
                      <a:pt x="8" y="746"/>
                    </a:lnTo>
                    <a:lnTo>
                      <a:pt x="14" y="778"/>
                    </a:lnTo>
                    <a:lnTo>
                      <a:pt x="22" y="810"/>
                    </a:lnTo>
                    <a:lnTo>
                      <a:pt x="30" y="840"/>
                    </a:lnTo>
                    <a:lnTo>
                      <a:pt x="40" y="870"/>
                    </a:lnTo>
                    <a:lnTo>
                      <a:pt x="52" y="900"/>
                    </a:lnTo>
                    <a:lnTo>
                      <a:pt x="64" y="928"/>
                    </a:lnTo>
                    <a:lnTo>
                      <a:pt x="78" y="956"/>
                    </a:lnTo>
                    <a:lnTo>
                      <a:pt x="94" y="984"/>
                    </a:lnTo>
                    <a:lnTo>
                      <a:pt x="112" y="1010"/>
                    </a:lnTo>
                    <a:lnTo>
                      <a:pt x="130" y="1036"/>
                    </a:lnTo>
                    <a:lnTo>
                      <a:pt x="148" y="1060"/>
                    </a:lnTo>
                    <a:lnTo>
                      <a:pt x="170" y="1084"/>
                    </a:lnTo>
                    <a:lnTo>
                      <a:pt x="190" y="1106"/>
                    </a:lnTo>
                    <a:lnTo>
                      <a:pt x="214" y="1128"/>
                    </a:lnTo>
                    <a:lnTo>
                      <a:pt x="236" y="1148"/>
                    </a:lnTo>
                    <a:lnTo>
                      <a:pt x="262" y="1168"/>
                    </a:lnTo>
                    <a:lnTo>
                      <a:pt x="286" y="1186"/>
                    </a:lnTo>
                    <a:lnTo>
                      <a:pt x="312" y="1202"/>
                    </a:lnTo>
                    <a:lnTo>
                      <a:pt x="340" y="1218"/>
                    </a:lnTo>
                    <a:lnTo>
                      <a:pt x="368" y="1232"/>
                    </a:lnTo>
                    <a:lnTo>
                      <a:pt x="396" y="1244"/>
                    </a:lnTo>
                    <a:lnTo>
                      <a:pt x="426" y="1256"/>
                    </a:lnTo>
                    <a:lnTo>
                      <a:pt x="456" y="1266"/>
                    </a:lnTo>
                    <a:lnTo>
                      <a:pt x="486" y="1276"/>
                    </a:lnTo>
                    <a:lnTo>
                      <a:pt x="518" y="1282"/>
                    </a:lnTo>
                    <a:lnTo>
                      <a:pt x="550" y="1288"/>
                    </a:lnTo>
                    <a:lnTo>
                      <a:pt x="582" y="1292"/>
                    </a:lnTo>
                    <a:lnTo>
                      <a:pt x="616" y="1294"/>
                    </a:lnTo>
                    <a:lnTo>
                      <a:pt x="648" y="1296"/>
                    </a:lnTo>
                    <a:lnTo>
                      <a:pt x="648" y="1296"/>
                    </a:lnTo>
                    <a:lnTo>
                      <a:pt x="682" y="1294"/>
                    </a:lnTo>
                    <a:lnTo>
                      <a:pt x="716" y="1292"/>
                    </a:lnTo>
                    <a:lnTo>
                      <a:pt x="748" y="1288"/>
                    </a:lnTo>
                    <a:lnTo>
                      <a:pt x="780" y="1282"/>
                    </a:lnTo>
                    <a:lnTo>
                      <a:pt x="810" y="1276"/>
                    </a:lnTo>
                    <a:lnTo>
                      <a:pt x="842" y="1266"/>
                    </a:lnTo>
                    <a:lnTo>
                      <a:pt x="872" y="1256"/>
                    </a:lnTo>
                    <a:lnTo>
                      <a:pt x="900" y="1244"/>
                    </a:lnTo>
                    <a:lnTo>
                      <a:pt x="930" y="1232"/>
                    </a:lnTo>
                    <a:lnTo>
                      <a:pt x="958" y="1218"/>
                    </a:lnTo>
                    <a:lnTo>
                      <a:pt x="984" y="1202"/>
                    </a:lnTo>
                    <a:lnTo>
                      <a:pt x="1012" y="1186"/>
                    </a:lnTo>
                    <a:lnTo>
                      <a:pt x="1036" y="1168"/>
                    </a:lnTo>
                    <a:lnTo>
                      <a:pt x="1060" y="1148"/>
                    </a:lnTo>
                    <a:lnTo>
                      <a:pt x="1084" y="1128"/>
                    </a:lnTo>
                    <a:lnTo>
                      <a:pt x="1106" y="1106"/>
                    </a:lnTo>
                    <a:lnTo>
                      <a:pt x="1128" y="1084"/>
                    </a:lnTo>
                    <a:lnTo>
                      <a:pt x="1148" y="1060"/>
                    </a:lnTo>
                    <a:lnTo>
                      <a:pt x="1168" y="1036"/>
                    </a:lnTo>
                    <a:lnTo>
                      <a:pt x="1186" y="1010"/>
                    </a:lnTo>
                    <a:lnTo>
                      <a:pt x="1202" y="984"/>
                    </a:lnTo>
                    <a:lnTo>
                      <a:pt x="1218" y="956"/>
                    </a:lnTo>
                    <a:lnTo>
                      <a:pt x="1232" y="928"/>
                    </a:lnTo>
                    <a:lnTo>
                      <a:pt x="1246" y="900"/>
                    </a:lnTo>
                    <a:lnTo>
                      <a:pt x="1258" y="870"/>
                    </a:lnTo>
                    <a:lnTo>
                      <a:pt x="1268" y="840"/>
                    </a:lnTo>
                    <a:lnTo>
                      <a:pt x="1276" y="810"/>
                    </a:lnTo>
                    <a:lnTo>
                      <a:pt x="1284" y="778"/>
                    </a:lnTo>
                    <a:lnTo>
                      <a:pt x="1290" y="746"/>
                    </a:lnTo>
                    <a:lnTo>
                      <a:pt x="1294" y="714"/>
                    </a:lnTo>
                    <a:lnTo>
                      <a:pt x="1296" y="682"/>
                    </a:lnTo>
                    <a:lnTo>
                      <a:pt x="1296" y="648"/>
                    </a:lnTo>
                    <a:lnTo>
                      <a:pt x="1296" y="648"/>
                    </a:lnTo>
                    <a:lnTo>
                      <a:pt x="1296" y="610"/>
                    </a:lnTo>
                    <a:lnTo>
                      <a:pt x="1292" y="572"/>
                    </a:lnTo>
                    <a:lnTo>
                      <a:pt x="1288" y="536"/>
                    </a:lnTo>
                    <a:lnTo>
                      <a:pt x="1280" y="500"/>
                    </a:lnTo>
                    <a:lnTo>
                      <a:pt x="1270" y="464"/>
                    </a:lnTo>
                    <a:lnTo>
                      <a:pt x="1258" y="430"/>
                    </a:lnTo>
                    <a:lnTo>
                      <a:pt x="1246" y="396"/>
                    </a:lnTo>
                    <a:lnTo>
                      <a:pt x="1230" y="362"/>
                    </a:lnTo>
                    <a:lnTo>
                      <a:pt x="1200"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custDataLst>
      <p:tags r:id="rId1"/>
    </p:custDataLst>
    <p:extLst>
      <p:ext uri="{BB962C8B-B14F-4D97-AF65-F5344CB8AC3E}">
        <p14:creationId xmlns:p14="http://schemas.microsoft.com/office/powerpoint/2010/main" val="19445126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pPr>
              <a:lnSpc>
                <a:spcPct val="80000"/>
              </a:lnSpc>
            </a:pPr>
            <a:r>
              <a:rPr lang="en-US" dirty="0"/>
              <a:t>Replace this text</a:t>
            </a: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10" name="Slide Number Placeholder 9"/>
          <p:cNvSpPr>
            <a:spLocks noGrp="1"/>
          </p:cNvSpPr>
          <p:nvPr>
            <p:ph type="sldNum" sz="quarter" idx="12"/>
          </p:nvPr>
        </p:nvSpPr>
        <p:spPr/>
        <p:txBody>
          <a:bodyPr/>
          <a:lstStyle/>
          <a:p>
            <a:fld id="{125C11E9-EA40-D54F-953A-82A4C72DAAAD}" type="slidenum">
              <a:rPr lang="en-US" smtClean="0"/>
              <a:pPr/>
              <a:t>25</a:t>
            </a:fld>
            <a:r>
              <a:rPr lang="en-US" dirty="0" smtClean="0"/>
              <a:t> I</a:t>
            </a:r>
            <a:endParaRPr lang="en-US" dirty="0"/>
          </a:p>
        </p:txBody>
      </p:sp>
      <p:sp>
        <p:nvSpPr>
          <p:cNvPr id="2" name="Title 1"/>
          <p:cNvSpPr>
            <a:spLocks noGrp="1"/>
          </p:cNvSpPr>
          <p:nvPr>
            <p:ph type="title"/>
          </p:nvPr>
        </p:nvSpPr>
        <p:spPr/>
        <p:txBody>
          <a:bodyPr/>
          <a:lstStyle/>
          <a:p>
            <a:r>
              <a:rPr lang="en-US" dirty="0"/>
              <a:t>BUSINESS PLAN</a:t>
            </a:r>
            <a:endParaRPr lang="en-US" dirty="0">
              <a:latin typeface="+mn-lt"/>
            </a:endParaRPr>
          </a:p>
        </p:txBody>
      </p:sp>
      <p:sp>
        <p:nvSpPr>
          <p:cNvPr id="49" name="Rectangle 14"/>
          <p:cNvSpPr>
            <a:spLocks noChangeArrowheads="1"/>
          </p:cNvSpPr>
          <p:nvPr/>
        </p:nvSpPr>
        <p:spPr bwMode="auto">
          <a:xfrm>
            <a:off x="1720608" y="1555749"/>
            <a:ext cx="1636533" cy="1036042"/>
          </a:xfrm>
          <a:prstGeom prst="rect">
            <a:avLst/>
          </a:prstGeom>
          <a:solidFill>
            <a:srgbClr val="2A9B18"/>
          </a:solidFill>
          <a:ln w="3175">
            <a:noFill/>
            <a:round/>
            <a:headEnd/>
            <a:tailEnd/>
          </a:ln>
          <a:effectLst>
            <a:innerShdw dist="38100" dir="5400000">
              <a:prstClr val="black">
                <a:alpha val="20000"/>
              </a:prstClr>
            </a:innerShdw>
          </a:effectLst>
        </p:spPr>
        <p:txBody>
          <a:bodyPr anchor="ctr"/>
          <a:lstStyle/>
          <a:p>
            <a:r>
              <a:rPr lang="en-US" sz="1200" b="1" noProof="1">
                <a:solidFill>
                  <a:schemeClr val="bg1"/>
                </a:solidFill>
                <a:latin typeface="Calibri" charset="0"/>
                <a:cs typeface="Arial" charset="0"/>
              </a:rPr>
              <a:t>Objectives</a:t>
            </a:r>
          </a:p>
          <a:p>
            <a:endParaRPr lang="en-US" sz="1200" b="1" noProof="1">
              <a:solidFill>
                <a:srgbClr val="FFFFFF"/>
              </a:solidFill>
              <a:latin typeface="Calibri" charset="0"/>
              <a:cs typeface="Arial" charset="0"/>
            </a:endParaRPr>
          </a:p>
          <a:p>
            <a:r>
              <a:rPr lang="en-US" sz="1100" noProof="1">
                <a:solidFill>
                  <a:srgbClr val="FFFFFF"/>
                </a:solidFill>
                <a:latin typeface="Calibri" charset="0"/>
                <a:cs typeface="Arial" charset="0"/>
              </a:rPr>
              <a:t>Go ahead and replace it with your own text. This is an example text. </a:t>
            </a:r>
            <a:endParaRPr lang="da-DK" sz="1100" dirty="0">
              <a:solidFill>
                <a:srgbClr val="FFFFFF"/>
              </a:solidFill>
              <a:latin typeface="Calibri" charset="0"/>
            </a:endParaRPr>
          </a:p>
        </p:txBody>
      </p:sp>
      <p:sp>
        <p:nvSpPr>
          <p:cNvPr id="50" name="Rectangle 15"/>
          <p:cNvSpPr>
            <a:spLocks noChangeArrowheads="1"/>
          </p:cNvSpPr>
          <p:nvPr/>
        </p:nvSpPr>
        <p:spPr bwMode="auto">
          <a:xfrm>
            <a:off x="1720608" y="3140738"/>
            <a:ext cx="1636533" cy="1036042"/>
          </a:xfrm>
          <a:prstGeom prst="rect">
            <a:avLst/>
          </a:prstGeom>
          <a:solidFill>
            <a:srgbClr val="D5D5D5"/>
          </a:solidFill>
          <a:ln w="3175">
            <a:noFill/>
            <a:round/>
            <a:headEnd/>
            <a:tailEnd/>
          </a:ln>
          <a:effectLst>
            <a:innerShdw dist="38100" dir="5400000">
              <a:prstClr val="black">
                <a:alpha val="20000"/>
              </a:prstClr>
            </a:innerShdw>
          </a:effectLst>
          <a:extLst/>
        </p:spPr>
        <p:txBody>
          <a:bodyPr anchor="t"/>
          <a:lstStyle/>
          <a:p>
            <a:r>
              <a:rPr lang="en-US" sz="1200" b="1" noProof="1">
                <a:solidFill>
                  <a:srgbClr val="000000"/>
                </a:solidFill>
                <a:latin typeface="Calibri" charset="0"/>
                <a:cs typeface="Arial" charset="0"/>
              </a:rPr>
              <a:t>Example text</a:t>
            </a:r>
          </a:p>
          <a:p>
            <a:endParaRPr lang="en-US" sz="1200" b="1" noProof="1">
              <a:solidFill>
                <a:srgbClr val="000000"/>
              </a:solidFill>
              <a:latin typeface="Calibri" charset="0"/>
              <a:cs typeface="Arial" charset="0"/>
            </a:endParaRPr>
          </a:p>
          <a:p>
            <a:r>
              <a:rPr lang="en-US" sz="1100" noProof="1">
                <a:solidFill>
                  <a:srgbClr val="000000"/>
                </a:solidFill>
                <a:latin typeface="Calibri" charset="0"/>
                <a:cs typeface="Arial" charset="0"/>
              </a:rPr>
              <a:t>Go ahead and replace it with your own text. This is an example text. </a:t>
            </a:r>
            <a:endParaRPr lang="da-DK" sz="1100" dirty="0">
              <a:solidFill>
                <a:srgbClr val="000000"/>
              </a:solidFill>
              <a:latin typeface="Calibri" charset="0"/>
            </a:endParaRPr>
          </a:p>
          <a:p>
            <a:pPr algn="ctr"/>
            <a:endParaRPr lang="en-US" sz="1100" dirty="0">
              <a:solidFill>
                <a:srgbClr val="000000"/>
              </a:solidFill>
              <a:latin typeface="Calibri" charset="0"/>
            </a:endParaRPr>
          </a:p>
        </p:txBody>
      </p:sp>
      <p:sp>
        <p:nvSpPr>
          <p:cNvPr id="53" name="Rectangle 18"/>
          <p:cNvSpPr>
            <a:spLocks noChangeArrowheads="1"/>
          </p:cNvSpPr>
          <p:nvPr/>
        </p:nvSpPr>
        <p:spPr bwMode="auto">
          <a:xfrm>
            <a:off x="1720608" y="4757943"/>
            <a:ext cx="1636533" cy="1027021"/>
          </a:xfrm>
          <a:prstGeom prst="rect">
            <a:avLst/>
          </a:prstGeom>
          <a:solidFill>
            <a:srgbClr val="0D65AC"/>
          </a:solidFill>
          <a:ln w="3175">
            <a:noFill/>
            <a:round/>
            <a:headEnd/>
            <a:tailEnd/>
          </a:ln>
          <a:effectLst>
            <a:innerShdw dist="38100" dir="5400000">
              <a:prstClr val="black">
                <a:alpha val="20000"/>
              </a:prstClr>
            </a:innerShdw>
          </a:effectLst>
        </p:spPr>
        <p:txBody>
          <a:bodyPr lIns="91440" anchor="t"/>
          <a:lstStyle/>
          <a:p>
            <a:r>
              <a:rPr lang="en-US" sz="1200" b="1" noProof="1">
                <a:solidFill>
                  <a:srgbClr val="FFFFFF"/>
                </a:solidFill>
                <a:latin typeface="Calibri" charset="0"/>
                <a:cs typeface="Arial" charset="0"/>
              </a:rPr>
              <a:t>Example text</a:t>
            </a:r>
          </a:p>
          <a:p>
            <a:endParaRPr lang="en-US" sz="1200" b="1" noProof="1">
              <a:solidFill>
                <a:srgbClr val="FFFFFF"/>
              </a:solidFill>
              <a:latin typeface="Calibri" charset="0"/>
              <a:cs typeface="Arial" charset="0"/>
            </a:endParaRPr>
          </a:p>
          <a:p>
            <a:r>
              <a:rPr lang="en-US" sz="1100" noProof="1">
                <a:solidFill>
                  <a:srgbClr val="FFFFFF"/>
                </a:solidFill>
                <a:latin typeface="Calibri" charset="0"/>
                <a:cs typeface="Arial" charset="0"/>
              </a:rPr>
              <a:t>Go ahead and replace it with your own text. This is an example text. </a:t>
            </a:r>
            <a:endParaRPr lang="da-DK" sz="1100" dirty="0">
              <a:solidFill>
                <a:srgbClr val="FFFFFF"/>
              </a:solidFill>
              <a:latin typeface="Calibri" charset="0"/>
            </a:endParaRPr>
          </a:p>
        </p:txBody>
      </p:sp>
      <p:sp>
        <p:nvSpPr>
          <p:cNvPr id="55" name="Rectangle 20"/>
          <p:cNvSpPr>
            <a:spLocks noChangeArrowheads="1"/>
          </p:cNvSpPr>
          <p:nvPr/>
        </p:nvSpPr>
        <p:spPr bwMode="auto">
          <a:xfrm>
            <a:off x="3748878" y="1568635"/>
            <a:ext cx="1636533" cy="1037331"/>
          </a:xfrm>
          <a:prstGeom prst="rect">
            <a:avLst/>
          </a:prstGeom>
          <a:solidFill>
            <a:srgbClr val="2A9B18"/>
          </a:solidFill>
          <a:ln w="3175">
            <a:noFill/>
            <a:round/>
            <a:headEnd/>
            <a:tailEnd/>
          </a:ln>
          <a:effectLst>
            <a:innerShdw dist="38100" dir="5400000">
              <a:prstClr val="black">
                <a:alpha val="20000"/>
              </a:prstClr>
            </a:innerShdw>
          </a:effectLst>
        </p:spPr>
        <p:txBody>
          <a:bodyPr anchor="ctr"/>
          <a:lstStyle/>
          <a:p>
            <a:r>
              <a:rPr lang="en-US" sz="1200" b="1" noProof="1">
                <a:solidFill>
                  <a:schemeClr val="bg1"/>
                </a:solidFill>
                <a:latin typeface="Calibri" charset="0"/>
                <a:cs typeface="Arial" charset="0"/>
              </a:rPr>
              <a:t>Mission</a:t>
            </a:r>
          </a:p>
          <a:p>
            <a:endParaRPr lang="en-US" sz="1200" b="1" noProof="1">
              <a:solidFill>
                <a:srgbClr val="FFFFFF"/>
              </a:solidFill>
              <a:latin typeface="Calibri" charset="0"/>
              <a:cs typeface="Arial" charset="0"/>
            </a:endParaRPr>
          </a:p>
          <a:p>
            <a:r>
              <a:rPr lang="en-US" sz="1100" noProof="1">
                <a:solidFill>
                  <a:srgbClr val="FFFFFF"/>
                </a:solidFill>
                <a:latin typeface="Calibri" charset="0"/>
                <a:cs typeface="Arial" charset="0"/>
              </a:rPr>
              <a:t>Go ahead and replace it with your own text. This is an example text. </a:t>
            </a:r>
            <a:endParaRPr lang="da-DK" sz="1100" dirty="0">
              <a:solidFill>
                <a:srgbClr val="FFFFFF"/>
              </a:solidFill>
              <a:latin typeface="Calibri" charset="0"/>
            </a:endParaRPr>
          </a:p>
        </p:txBody>
      </p:sp>
      <p:sp>
        <p:nvSpPr>
          <p:cNvPr id="56" name="Rectangle 21"/>
          <p:cNvSpPr>
            <a:spLocks noChangeArrowheads="1"/>
          </p:cNvSpPr>
          <p:nvPr/>
        </p:nvSpPr>
        <p:spPr bwMode="auto">
          <a:xfrm>
            <a:off x="3748878" y="3154913"/>
            <a:ext cx="1636533" cy="1036042"/>
          </a:xfrm>
          <a:prstGeom prst="rect">
            <a:avLst/>
          </a:prstGeom>
          <a:solidFill>
            <a:srgbClr val="D5D5D5"/>
          </a:solidFill>
          <a:ln w="3175">
            <a:noFill/>
            <a:round/>
            <a:headEnd/>
            <a:tailEnd/>
          </a:ln>
          <a:effectLst>
            <a:innerShdw dist="38100" dir="5400000">
              <a:prstClr val="black">
                <a:alpha val="20000"/>
              </a:prstClr>
            </a:innerShdw>
          </a:effectLst>
          <a:extLst/>
        </p:spPr>
        <p:txBody>
          <a:bodyPr anchor="ctr"/>
          <a:lstStyle/>
          <a:p>
            <a:r>
              <a:rPr lang="en-US" sz="1200" b="1" noProof="1">
                <a:solidFill>
                  <a:srgbClr val="000000"/>
                </a:solidFill>
                <a:latin typeface="Calibri" charset="0"/>
                <a:cs typeface="Arial" charset="0"/>
              </a:rPr>
              <a:t>Example text</a:t>
            </a:r>
          </a:p>
          <a:p>
            <a:endParaRPr lang="en-US" sz="1200" b="1" noProof="1">
              <a:solidFill>
                <a:srgbClr val="000000"/>
              </a:solidFill>
              <a:latin typeface="Calibri" charset="0"/>
              <a:cs typeface="Arial" charset="0"/>
            </a:endParaRPr>
          </a:p>
          <a:p>
            <a:r>
              <a:rPr lang="en-US" sz="1100" noProof="1">
                <a:solidFill>
                  <a:srgbClr val="000000"/>
                </a:solidFill>
                <a:latin typeface="Calibri" charset="0"/>
                <a:cs typeface="Arial" charset="0"/>
              </a:rPr>
              <a:t>Go ahead and replace it with your own text. This is an example text. </a:t>
            </a:r>
            <a:endParaRPr lang="da-DK" sz="1100" dirty="0">
              <a:solidFill>
                <a:srgbClr val="000000"/>
              </a:solidFill>
              <a:latin typeface="Calibri" charset="0"/>
            </a:endParaRPr>
          </a:p>
        </p:txBody>
      </p:sp>
      <p:sp>
        <p:nvSpPr>
          <p:cNvPr id="59" name="Rectangle 24"/>
          <p:cNvSpPr>
            <a:spLocks noChangeArrowheads="1"/>
          </p:cNvSpPr>
          <p:nvPr/>
        </p:nvSpPr>
        <p:spPr bwMode="auto">
          <a:xfrm>
            <a:off x="3748878" y="4772117"/>
            <a:ext cx="1636533" cy="1027022"/>
          </a:xfrm>
          <a:prstGeom prst="rect">
            <a:avLst/>
          </a:prstGeom>
          <a:solidFill>
            <a:srgbClr val="0D65AC"/>
          </a:solidFill>
          <a:ln w="3175">
            <a:noFill/>
            <a:round/>
            <a:headEnd/>
            <a:tailEnd/>
          </a:ln>
          <a:effectLst>
            <a:innerShdw dist="38100" dir="5400000">
              <a:prstClr val="black">
                <a:alpha val="20000"/>
              </a:prstClr>
            </a:innerShdw>
          </a:effectLst>
        </p:spPr>
        <p:txBody>
          <a:bodyPr anchor="t"/>
          <a:lstStyle/>
          <a:p>
            <a:r>
              <a:rPr lang="en-US" sz="1200" b="1" noProof="1">
                <a:solidFill>
                  <a:srgbClr val="FFFFFF"/>
                </a:solidFill>
                <a:latin typeface="Calibri" charset="0"/>
                <a:cs typeface="Arial" charset="0"/>
              </a:rPr>
              <a:t>Example text</a:t>
            </a:r>
          </a:p>
          <a:p>
            <a:endParaRPr lang="en-US" sz="1200" b="1" noProof="1">
              <a:solidFill>
                <a:srgbClr val="FFFFFF"/>
              </a:solidFill>
              <a:latin typeface="Calibri" charset="0"/>
              <a:cs typeface="Arial" charset="0"/>
            </a:endParaRPr>
          </a:p>
          <a:p>
            <a:r>
              <a:rPr lang="en-US" sz="1100" noProof="1">
                <a:solidFill>
                  <a:srgbClr val="FFFFFF"/>
                </a:solidFill>
                <a:latin typeface="Calibri" charset="0"/>
                <a:cs typeface="Arial" charset="0"/>
              </a:rPr>
              <a:t>Go ahead and replace it with your own text. This is an example text. </a:t>
            </a:r>
            <a:endParaRPr lang="da-DK" sz="1100" dirty="0">
              <a:solidFill>
                <a:srgbClr val="FFFFFF"/>
              </a:solidFill>
              <a:latin typeface="Calibri" charset="0"/>
            </a:endParaRPr>
          </a:p>
          <a:p>
            <a:pPr algn="ctr"/>
            <a:endParaRPr lang="en-US" sz="1200" dirty="0">
              <a:solidFill>
                <a:srgbClr val="FFFFFF"/>
              </a:solidFill>
              <a:latin typeface="Calibri" charset="0"/>
            </a:endParaRPr>
          </a:p>
        </p:txBody>
      </p:sp>
      <p:sp>
        <p:nvSpPr>
          <p:cNvPr id="61" name="Rectangle 26"/>
          <p:cNvSpPr>
            <a:spLocks noChangeArrowheads="1"/>
          </p:cNvSpPr>
          <p:nvPr/>
        </p:nvSpPr>
        <p:spPr bwMode="auto">
          <a:xfrm>
            <a:off x="5790035" y="1555749"/>
            <a:ext cx="1636533" cy="1036042"/>
          </a:xfrm>
          <a:prstGeom prst="rect">
            <a:avLst/>
          </a:prstGeom>
          <a:solidFill>
            <a:srgbClr val="2A9B18"/>
          </a:solidFill>
          <a:ln w="3175">
            <a:noFill/>
            <a:round/>
            <a:headEnd/>
            <a:tailEnd/>
          </a:ln>
          <a:effectLst>
            <a:innerShdw dist="38100" dir="5400000">
              <a:prstClr val="black">
                <a:alpha val="20000"/>
              </a:prstClr>
            </a:innerShdw>
          </a:effectLst>
        </p:spPr>
        <p:txBody>
          <a:bodyPr anchor="ctr"/>
          <a:lstStyle/>
          <a:p>
            <a:r>
              <a:rPr lang="en-US" sz="1200" b="1" noProof="1">
                <a:solidFill>
                  <a:schemeClr val="bg1"/>
                </a:solidFill>
                <a:latin typeface="Calibri" charset="0"/>
                <a:cs typeface="Arial" charset="0"/>
              </a:rPr>
              <a:t>Success Factors</a:t>
            </a:r>
          </a:p>
          <a:p>
            <a:endParaRPr lang="en-US" sz="1200" b="1" noProof="1">
              <a:solidFill>
                <a:srgbClr val="FFFFFF"/>
              </a:solidFill>
              <a:latin typeface="Calibri" charset="0"/>
              <a:cs typeface="Arial" charset="0"/>
            </a:endParaRPr>
          </a:p>
          <a:p>
            <a:r>
              <a:rPr lang="en-US" sz="1100" noProof="1">
                <a:solidFill>
                  <a:srgbClr val="FFFFFF"/>
                </a:solidFill>
                <a:latin typeface="Calibri" charset="0"/>
                <a:cs typeface="Arial" charset="0"/>
              </a:rPr>
              <a:t>Go ahead and replace it with your own text. This is an example text. </a:t>
            </a:r>
            <a:endParaRPr lang="da-DK" sz="1100" dirty="0">
              <a:solidFill>
                <a:srgbClr val="FFFFFF"/>
              </a:solidFill>
              <a:latin typeface="Calibri" charset="0"/>
            </a:endParaRPr>
          </a:p>
        </p:txBody>
      </p:sp>
      <p:sp>
        <p:nvSpPr>
          <p:cNvPr id="62" name="Rectangle 27"/>
          <p:cNvSpPr>
            <a:spLocks noChangeArrowheads="1"/>
          </p:cNvSpPr>
          <p:nvPr/>
        </p:nvSpPr>
        <p:spPr bwMode="auto">
          <a:xfrm>
            <a:off x="5790035" y="3140738"/>
            <a:ext cx="1636533" cy="1036042"/>
          </a:xfrm>
          <a:prstGeom prst="rect">
            <a:avLst/>
          </a:prstGeom>
          <a:solidFill>
            <a:srgbClr val="D5D5D5"/>
          </a:solidFill>
          <a:ln w="3175">
            <a:noFill/>
            <a:round/>
            <a:headEnd/>
            <a:tailEnd/>
          </a:ln>
          <a:effectLst>
            <a:innerShdw dist="38100" dir="5400000">
              <a:prstClr val="black">
                <a:alpha val="20000"/>
              </a:prstClr>
            </a:innerShdw>
          </a:effectLst>
          <a:extLst/>
        </p:spPr>
        <p:txBody>
          <a:bodyPr anchor="ctr"/>
          <a:lstStyle/>
          <a:p>
            <a:r>
              <a:rPr lang="en-US" sz="1200" b="1" noProof="1">
                <a:solidFill>
                  <a:srgbClr val="000000"/>
                </a:solidFill>
                <a:latin typeface="Calibri" charset="0"/>
                <a:cs typeface="Arial" charset="0"/>
              </a:rPr>
              <a:t>Example text</a:t>
            </a:r>
          </a:p>
          <a:p>
            <a:endParaRPr lang="en-US" sz="1200" b="1" noProof="1">
              <a:solidFill>
                <a:srgbClr val="000000"/>
              </a:solidFill>
              <a:latin typeface="Calibri" charset="0"/>
              <a:cs typeface="Arial" charset="0"/>
            </a:endParaRPr>
          </a:p>
          <a:p>
            <a:r>
              <a:rPr lang="en-US" sz="1100" noProof="1">
                <a:solidFill>
                  <a:srgbClr val="000000"/>
                </a:solidFill>
                <a:latin typeface="Calibri" charset="0"/>
                <a:cs typeface="Arial" charset="0"/>
              </a:rPr>
              <a:t>Go ahead and replace it with your own text. This is an example text. </a:t>
            </a:r>
            <a:endParaRPr lang="da-DK" sz="1100" dirty="0">
              <a:solidFill>
                <a:srgbClr val="000000"/>
              </a:solidFill>
              <a:latin typeface="Calibri" charset="0"/>
            </a:endParaRPr>
          </a:p>
        </p:txBody>
      </p:sp>
      <p:sp>
        <p:nvSpPr>
          <p:cNvPr id="65" name="Rectangle 30"/>
          <p:cNvSpPr>
            <a:spLocks noChangeArrowheads="1"/>
          </p:cNvSpPr>
          <p:nvPr/>
        </p:nvSpPr>
        <p:spPr bwMode="auto">
          <a:xfrm>
            <a:off x="5790035" y="4757943"/>
            <a:ext cx="1636533" cy="1027021"/>
          </a:xfrm>
          <a:prstGeom prst="rect">
            <a:avLst/>
          </a:prstGeom>
          <a:solidFill>
            <a:srgbClr val="0D65AC"/>
          </a:solidFill>
          <a:ln w="3175">
            <a:noFill/>
            <a:round/>
            <a:headEnd/>
            <a:tailEnd/>
          </a:ln>
          <a:effectLst>
            <a:innerShdw dist="38100" dir="5400000">
              <a:prstClr val="black">
                <a:alpha val="20000"/>
              </a:prstClr>
            </a:innerShdw>
          </a:effectLst>
        </p:spPr>
        <p:txBody>
          <a:bodyPr lIns="91440" anchor="t"/>
          <a:lstStyle/>
          <a:p>
            <a:r>
              <a:rPr lang="en-US" sz="1200" b="1" noProof="1">
                <a:solidFill>
                  <a:srgbClr val="FFFFFF"/>
                </a:solidFill>
                <a:latin typeface="Calibri" charset="0"/>
                <a:cs typeface="Arial" charset="0"/>
              </a:rPr>
              <a:t>Example text</a:t>
            </a:r>
          </a:p>
          <a:p>
            <a:endParaRPr lang="en-US" sz="1400" b="1" noProof="1">
              <a:solidFill>
                <a:srgbClr val="FFFFFF"/>
              </a:solidFill>
              <a:latin typeface="Calibri" charset="0"/>
              <a:cs typeface="Arial" charset="0"/>
            </a:endParaRPr>
          </a:p>
          <a:p>
            <a:r>
              <a:rPr lang="en-US" sz="1100" noProof="1">
                <a:solidFill>
                  <a:srgbClr val="FFFFFF"/>
                </a:solidFill>
                <a:latin typeface="Calibri" charset="0"/>
                <a:cs typeface="Arial" charset="0"/>
              </a:rPr>
              <a:t>Go ahead and replace it with your own text. This is an example text. </a:t>
            </a:r>
            <a:endParaRPr lang="da-DK" sz="1100" dirty="0">
              <a:solidFill>
                <a:srgbClr val="FFFFFF"/>
              </a:solidFill>
              <a:latin typeface="Calibri" charset="0"/>
            </a:endParaRPr>
          </a:p>
          <a:p>
            <a:pPr algn="ctr"/>
            <a:endParaRPr lang="en-US" sz="1400" dirty="0">
              <a:solidFill>
                <a:srgbClr val="FFFFFF"/>
              </a:solidFill>
              <a:latin typeface="Calibri" charset="0"/>
            </a:endParaRPr>
          </a:p>
        </p:txBody>
      </p:sp>
      <p:sp>
        <p:nvSpPr>
          <p:cNvPr id="67" name="Line 33"/>
          <p:cNvSpPr>
            <a:spLocks noChangeShapeType="1"/>
          </p:cNvSpPr>
          <p:nvPr/>
        </p:nvSpPr>
        <p:spPr bwMode="auto">
          <a:xfrm rot="5400000" flipH="1" flipV="1">
            <a:off x="3553010" y="1877901"/>
            <a:ext cx="0" cy="391737"/>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68" name="Line 33"/>
          <p:cNvSpPr>
            <a:spLocks noChangeShapeType="1"/>
          </p:cNvSpPr>
          <p:nvPr/>
        </p:nvSpPr>
        <p:spPr bwMode="auto">
          <a:xfrm rot="5400000" flipH="1" flipV="1">
            <a:off x="3553010" y="3486085"/>
            <a:ext cx="0" cy="391737"/>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69" name="Line 33"/>
          <p:cNvSpPr>
            <a:spLocks noChangeShapeType="1"/>
          </p:cNvSpPr>
          <p:nvPr/>
        </p:nvSpPr>
        <p:spPr bwMode="auto">
          <a:xfrm rot="5400000" flipH="1" flipV="1">
            <a:off x="3553010" y="5094269"/>
            <a:ext cx="0" cy="391737"/>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rgbClr val="FFFFFF"/>
              </a:solidFill>
              <a:latin typeface="Arial" pitchFamily="34" charset="0"/>
              <a:ea typeface="ＭＳ Ｐゴシック" pitchFamily="-65" charset="-128"/>
              <a:cs typeface="ＭＳ Ｐゴシック" pitchFamily="-65" charset="-128"/>
            </a:endParaRPr>
          </a:p>
        </p:txBody>
      </p:sp>
      <p:sp>
        <p:nvSpPr>
          <p:cNvPr id="70" name="Line 33"/>
          <p:cNvSpPr>
            <a:spLocks noChangeShapeType="1"/>
          </p:cNvSpPr>
          <p:nvPr/>
        </p:nvSpPr>
        <p:spPr bwMode="auto">
          <a:xfrm rot="5400000" flipH="1" flipV="1">
            <a:off x="5581280" y="1877901"/>
            <a:ext cx="0" cy="391737"/>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71" name="Line 33"/>
          <p:cNvSpPr>
            <a:spLocks noChangeShapeType="1"/>
          </p:cNvSpPr>
          <p:nvPr/>
        </p:nvSpPr>
        <p:spPr bwMode="auto">
          <a:xfrm rot="5400000" flipH="1" flipV="1">
            <a:off x="5594166" y="3486085"/>
            <a:ext cx="0" cy="391737"/>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72" name="Line 33"/>
          <p:cNvSpPr>
            <a:spLocks noChangeShapeType="1"/>
          </p:cNvSpPr>
          <p:nvPr/>
        </p:nvSpPr>
        <p:spPr bwMode="auto">
          <a:xfrm rot="5400000" flipH="1" flipV="1">
            <a:off x="5581280" y="5094269"/>
            <a:ext cx="0" cy="391737"/>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rgbClr val="FFFFFF"/>
              </a:solidFill>
              <a:latin typeface="Arial" pitchFamily="34" charset="0"/>
              <a:ea typeface="ＭＳ Ｐゴシック" pitchFamily="-65" charset="-128"/>
              <a:cs typeface="ＭＳ Ｐゴシック" pitchFamily="-65" charset="-128"/>
            </a:endParaRPr>
          </a:p>
        </p:txBody>
      </p:sp>
      <p:sp>
        <p:nvSpPr>
          <p:cNvPr id="73" name="Line 33"/>
          <p:cNvSpPr>
            <a:spLocks noChangeShapeType="1"/>
          </p:cNvSpPr>
          <p:nvPr/>
        </p:nvSpPr>
        <p:spPr bwMode="auto">
          <a:xfrm flipH="1">
            <a:off x="2500216" y="2591791"/>
            <a:ext cx="0" cy="533484"/>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74" name="Line 33"/>
          <p:cNvSpPr>
            <a:spLocks noChangeShapeType="1"/>
          </p:cNvSpPr>
          <p:nvPr/>
        </p:nvSpPr>
        <p:spPr bwMode="auto">
          <a:xfrm flipH="1">
            <a:off x="4582608" y="2621429"/>
            <a:ext cx="0" cy="533484"/>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75" name="Line 33"/>
          <p:cNvSpPr>
            <a:spLocks noChangeShapeType="1"/>
          </p:cNvSpPr>
          <p:nvPr/>
        </p:nvSpPr>
        <p:spPr bwMode="auto">
          <a:xfrm flipH="1">
            <a:off x="6613455" y="2591791"/>
            <a:ext cx="0" cy="533484"/>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76" name="Line 33"/>
          <p:cNvSpPr>
            <a:spLocks noChangeShapeType="1"/>
          </p:cNvSpPr>
          <p:nvPr/>
        </p:nvSpPr>
        <p:spPr bwMode="auto">
          <a:xfrm flipH="1">
            <a:off x="2419034" y="4190955"/>
            <a:ext cx="0" cy="533484"/>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77" name="Line 33"/>
          <p:cNvSpPr>
            <a:spLocks noChangeShapeType="1"/>
          </p:cNvSpPr>
          <p:nvPr/>
        </p:nvSpPr>
        <p:spPr bwMode="auto">
          <a:xfrm flipH="1">
            <a:off x="4582608" y="4190955"/>
            <a:ext cx="0" cy="533484"/>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
        <p:nvSpPr>
          <p:cNvPr id="78" name="Line 33"/>
          <p:cNvSpPr>
            <a:spLocks noChangeShapeType="1"/>
          </p:cNvSpPr>
          <p:nvPr/>
        </p:nvSpPr>
        <p:spPr bwMode="auto">
          <a:xfrm flipH="1">
            <a:off x="6613455" y="4190955"/>
            <a:ext cx="0" cy="533484"/>
          </a:xfrm>
          <a:prstGeom prst="line">
            <a:avLst/>
          </a:prstGeom>
          <a:noFill/>
          <a:ln w="6350">
            <a:solidFill>
              <a:schemeClr val="bg1"/>
            </a:solidFill>
            <a:prstDash val="sysDash"/>
            <a:round/>
            <a:headEnd/>
            <a:tailEnd/>
          </a:ln>
          <a:effectLst/>
        </p:spPr>
        <p:txBody>
          <a:bodyPr/>
          <a:lstStyle/>
          <a:p>
            <a:pPr defTabSz="914400" fontAlgn="auto">
              <a:spcBef>
                <a:spcPts val="0"/>
              </a:spcBef>
              <a:spcAft>
                <a:spcPts val="0"/>
              </a:spcAft>
              <a:defRPr/>
            </a:pPr>
            <a:endParaRPr lang="da-DK" sz="1400" kern="0">
              <a:solidFill>
                <a:sysClr val="windowText" lastClr="000000"/>
              </a:solidFill>
              <a:latin typeface="Arial" pitchFamily="34" charset="0"/>
              <a:ea typeface="ＭＳ Ｐゴシック" pitchFamily="-65" charset="-128"/>
              <a:cs typeface="ＭＳ Ｐゴシック" pitchFamily="-65" charset="-128"/>
            </a:endParaRPr>
          </a:p>
        </p:txBody>
      </p:sp>
    </p:spTree>
    <p:custDataLst>
      <p:tags r:id="rId1"/>
    </p:custDataLst>
    <p:extLst>
      <p:ext uri="{BB962C8B-B14F-4D97-AF65-F5344CB8AC3E}">
        <p14:creationId xmlns:p14="http://schemas.microsoft.com/office/powerpoint/2010/main" val="224093416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26</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49" name="Ellipse 44"/>
          <p:cNvSpPr/>
          <p:nvPr/>
        </p:nvSpPr>
        <p:spPr bwMode="auto">
          <a:xfrm>
            <a:off x="3776726" y="3180351"/>
            <a:ext cx="1606364" cy="1605001"/>
          </a:xfrm>
          <a:prstGeom prst="ellipse">
            <a:avLst/>
          </a:prstGeom>
          <a:solidFill>
            <a:srgbClr val="2A9B18"/>
          </a:solidFill>
          <a:ln w="3175">
            <a:noFill/>
            <a:round/>
            <a:headEnd/>
            <a:tailEnd/>
          </a:ln>
          <a:effectLst>
            <a:innerShdw dist="38100" dir="5400000">
              <a:prstClr val="black">
                <a:alpha val="20000"/>
              </a:prstClr>
            </a:innerShdw>
          </a:effectLst>
        </p:spPr>
        <p:txBody>
          <a:bodyPr anchor="ctr"/>
          <a:lstStyle/>
          <a:p>
            <a:pPr algn="ctr" fontAlgn="auto">
              <a:spcBef>
                <a:spcPts val="0"/>
              </a:spcBef>
              <a:spcAft>
                <a:spcPts val="0"/>
              </a:spcAft>
              <a:defRPr/>
            </a:pPr>
            <a:endParaRPr lang="da-DK" sz="1400" u="sng">
              <a:solidFill>
                <a:srgbClr val="FFFFFF"/>
              </a:solidFill>
              <a:latin typeface="Calibri" pitchFamily="-105" charset="0"/>
              <a:ea typeface="+mn-ea"/>
            </a:endParaRPr>
          </a:p>
        </p:txBody>
      </p:sp>
      <p:sp>
        <p:nvSpPr>
          <p:cNvPr id="50" name="TextBox 24"/>
          <p:cNvSpPr txBox="1">
            <a:spLocks noChangeArrowheads="1"/>
          </p:cNvSpPr>
          <p:nvPr/>
        </p:nvSpPr>
        <p:spPr bwMode="auto">
          <a:xfrm>
            <a:off x="3781770" y="3709345"/>
            <a:ext cx="160991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r>
              <a:rPr lang="en-US" sz="1600" dirty="0">
                <a:solidFill>
                  <a:schemeClr val="bg1"/>
                </a:solidFill>
                <a:latin typeface="Calibri" charset="0"/>
              </a:rPr>
              <a:t>Business Plan</a:t>
            </a:r>
          </a:p>
          <a:p>
            <a:pPr algn="ctr" eaLnBrk="1" hangingPunct="1"/>
            <a:r>
              <a:rPr lang="en-US" sz="1600" dirty="0">
                <a:solidFill>
                  <a:schemeClr val="bg1"/>
                </a:solidFill>
                <a:latin typeface="Calibri" charset="0"/>
              </a:rPr>
              <a:t>highlights</a:t>
            </a:r>
          </a:p>
        </p:txBody>
      </p:sp>
      <p:sp>
        <p:nvSpPr>
          <p:cNvPr id="51" name="Ellipse 44"/>
          <p:cNvSpPr/>
          <p:nvPr/>
        </p:nvSpPr>
        <p:spPr bwMode="auto">
          <a:xfrm flipH="1">
            <a:off x="2315000" y="2832337"/>
            <a:ext cx="1168927" cy="1170620"/>
          </a:xfrm>
          <a:prstGeom prst="ellipse">
            <a:avLst/>
          </a:prstGeom>
          <a:solidFill>
            <a:srgbClr val="D5D5D5"/>
          </a:solidFill>
          <a:ln w="3175">
            <a:noFill/>
            <a:round/>
            <a:headEnd/>
            <a:tailEnd/>
          </a:ln>
          <a:effectLst>
            <a:innerShdw dist="38100" dir="5400000">
              <a:prstClr val="black">
                <a:alpha val="20000"/>
              </a:prstClr>
            </a:innerShdw>
          </a:effectLst>
        </p:spPr>
        <p:txBody>
          <a:bodyPr anchor="ctr"/>
          <a:lstStyle/>
          <a:p>
            <a:pPr algn="ctr"/>
            <a:endParaRPr lang="da-DK" sz="1400" u="sng">
              <a:solidFill>
                <a:srgbClr val="FFFFFF"/>
              </a:solidFill>
              <a:latin typeface="Calibri" pitchFamily="-105" charset="0"/>
            </a:endParaRPr>
          </a:p>
        </p:txBody>
      </p:sp>
      <p:sp>
        <p:nvSpPr>
          <p:cNvPr id="52" name="Ellipse 44"/>
          <p:cNvSpPr/>
          <p:nvPr/>
        </p:nvSpPr>
        <p:spPr bwMode="auto">
          <a:xfrm flipH="1">
            <a:off x="2764106" y="4658210"/>
            <a:ext cx="1168927" cy="1170620"/>
          </a:xfrm>
          <a:prstGeom prst="ellipse">
            <a:avLst/>
          </a:prstGeom>
          <a:solidFill>
            <a:srgbClr val="D5D5D5"/>
          </a:solidFill>
          <a:ln w="3175">
            <a:noFill/>
            <a:round/>
            <a:headEnd/>
            <a:tailEnd/>
          </a:ln>
          <a:effectLst>
            <a:innerShdw dist="38100" dir="5400000">
              <a:prstClr val="black">
                <a:alpha val="20000"/>
              </a:prstClr>
            </a:innerShdw>
          </a:effectLst>
        </p:spPr>
        <p:txBody>
          <a:bodyPr anchor="ctr"/>
          <a:lstStyle/>
          <a:p>
            <a:pPr algn="ctr"/>
            <a:endParaRPr lang="da-DK" sz="1400" u="sng">
              <a:solidFill>
                <a:srgbClr val="FFFFFF"/>
              </a:solidFill>
              <a:latin typeface="Calibri" pitchFamily="-105" charset="0"/>
            </a:endParaRPr>
          </a:p>
        </p:txBody>
      </p:sp>
      <p:sp>
        <p:nvSpPr>
          <p:cNvPr id="55" name="Ellipse 44"/>
          <p:cNvSpPr/>
          <p:nvPr/>
        </p:nvSpPr>
        <p:spPr bwMode="auto">
          <a:xfrm flipH="1">
            <a:off x="5236644" y="4656986"/>
            <a:ext cx="1170142" cy="1170620"/>
          </a:xfrm>
          <a:prstGeom prst="ellipse">
            <a:avLst/>
          </a:prstGeom>
          <a:solidFill>
            <a:srgbClr val="D5D5D5"/>
          </a:solidFill>
          <a:ln w="3175">
            <a:noFill/>
            <a:round/>
            <a:headEnd/>
            <a:tailEnd/>
          </a:ln>
          <a:effectLst>
            <a:innerShdw dist="38100" dir="5400000">
              <a:prstClr val="black">
                <a:alpha val="20000"/>
              </a:prstClr>
            </a:innerShdw>
          </a:effectLst>
        </p:spPr>
        <p:txBody>
          <a:bodyPr anchor="ctr"/>
          <a:lstStyle/>
          <a:p>
            <a:pPr algn="ctr"/>
            <a:endParaRPr lang="da-DK" sz="1400" u="sng">
              <a:solidFill>
                <a:srgbClr val="FFFFFF"/>
              </a:solidFill>
              <a:latin typeface="Calibri" pitchFamily="-105" charset="0"/>
            </a:endParaRPr>
          </a:p>
        </p:txBody>
      </p:sp>
      <p:sp>
        <p:nvSpPr>
          <p:cNvPr id="63" name="Ellipse 44"/>
          <p:cNvSpPr/>
          <p:nvPr/>
        </p:nvSpPr>
        <p:spPr bwMode="auto">
          <a:xfrm flipH="1">
            <a:off x="5648938" y="2831113"/>
            <a:ext cx="1170142" cy="1170620"/>
          </a:xfrm>
          <a:prstGeom prst="ellipse">
            <a:avLst/>
          </a:prstGeom>
          <a:solidFill>
            <a:srgbClr val="D5D5D5"/>
          </a:solidFill>
          <a:ln w="3175">
            <a:noFill/>
            <a:round/>
            <a:headEnd/>
            <a:tailEnd/>
          </a:ln>
          <a:effectLst>
            <a:innerShdw dist="38100" dir="5400000">
              <a:prstClr val="black">
                <a:alpha val="20000"/>
              </a:prstClr>
            </a:innerShdw>
          </a:effectLst>
        </p:spPr>
        <p:txBody>
          <a:bodyPr anchor="ctr"/>
          <a:lstStyle/>
          <a:p>
            <a:pPr algn="ctr"/>
            <a:endParaRPr lang="da-DK" sz="1400" u="sng">
              <a:solidFill>
                <a:srgbClr val="FFFFFF"/>
              </a:solidFill>
              <a:latin typeface="Calibri" pitchFamily="-105" charset="0"/>
            </a:endParaRPr>
          </a:p>
        </p:txBody>
      </p:sp>
      <p:sp>
        <p:nvSpPr>
          <p:cNvPr id="66" name="Ellipse 44"/>
          <p:cNvSpPr/>
          <p:nvPr/>
        </p:nvSpPr>
        <p:spPr bwMode="auto">
          <a:xfrm flipH="1">
            <a:off x="3955586" y="1653132"/>
            <a:ext cx="1170142" cy="1170620"/>
          </a:xfrm>
          <a:prstGeom prst="ellipse">
            <a:avLst/>
          </a:prstGeom>
          <a:solidFill>
            <a:srgbClr val="D5D5D5"/>
          </a:solidFill>
          <a:ln w="3175">
            <a:noFill/>
            <a:round/>
            <a:headEnd/>
            <a:tailEnd/>
          </a:ln>
          <a:effectLst>
            <a:innerShdw dist="38100" dir="5400000">
              <a:prstClr val="black">
                <a:alpha val="20000"/>
              </a:prstClr>
            </a:innerShdw>
          </a:effectLst>
        </p:spPr>
        <p:txBody>
          <a:bodyPr anchor="ctr"/>
          <a:lstStyle/>
          <a:p>
            <a:pPr algn="ctr" fontAlgn="auto">
              <a:spcBef>
                <a:spcPts val="0"/>
              </a:spcBef>
              <a:spcAft>
                <a:spcPts val="0"/>
              </a:spcAft>
              <a:defRPr/>
            </a:pPr>
            <a:endParaRPr lang="da-DK" sz="1400" u="sng">
              <a:solidFill>
                <a:srgbClr val="FFFFFF"/>
              </a:solidFill>
              <a:latin typeface="Calibri" pitchFamily="-105" charset="0"/>
              <a:ea typeface="+mn-ea"/>
            </a:endParaRPr>
          </a:p>
        </p:txBody>
      </p:sp>
      <p:sp>
        <p:nvSpPr>
          <p:cNvPr id="68" name="Rektangel 76"/>
          <p:cNvSpPr>
            <a:spLocks noChangeArrowheads="1"/>
          </p:cNvSpPr>
          <p:nvPr/>
        </p:nvSpPr>
        <p:spPr bwMode="auto">
          <a:xfrm>
            <a:off x="2776804" y="4872053"/>
            <a:ext cx="1119083" cy="76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200" b="1" noProof="1">
                <a:solidFill>
                  <a:srgbClr val="1E1C11"/>
                </a:solidFill>
                <a:latin typeface="Calibri" charset="0"/>
                <a:cs typeface="Arial" charset="0"/>
              </a:rPr>
              <a:t>Example text</a:t>
            </a:r>
          </a:p>
          <a:p>
            <a:pPr algn="ctr" defTabSz="914400"/>
            <a:r>
              <a:rPr lang="en-US" sz="1050" noProof="1">
                <a:latin typeface="Calibri" charset="0"/>
                <a:cs typeface="Arial" charset="0"/>
              </a:rPr>
              <a:t>Go ahead and replace it with your own text</a:t>
            </a:r>
            <a:r>
              <a:rPr lang="en-US" sz="1050" noProof="1" smtClean="0">
                <a:latin typeface="Calibri" charset="0"/>
                <a:cs typeface="Arial" charset="0"/>
              </a:rPr>
              <a:t>.</a:t>
            </a:r>
            <a:endParaRPr lang="da-DK" sz="1400" dirty="0">
              <a:solidFill>
                <a:srgbClr val="1E1C11"/>
              </a:solidFill>
              <a:latin typeface="Calibri" charset="0"/>
            </a:endParaRPr>
          </a:p>
        </p:txBody>
      </p:sp>
      <p:sp>
        <p:nvSpPr>
          <p:cNvPr id="70" name="Right Arrow 69"/>
          <p:cNvSpPr>
            <a:spLocks noChangeArrowheads="1"/>
          </p:cNvSpPr>
          <p:nvPr/>
        </p:nvSpPr>
        <p:spPr bwMode="auto">
          <a:xfrm rot="2490468">
            <a:off x="5111909" y="4587795"/>
            <a:ext cx="288361" cy="277317"/>
          </a:xfrm>
          <a:prstGeom prst="rightArrow">
            <a:avLst>
              <a:gd name="adj1" fmla="val 50000"/>
              <a:gd name="adj2" fmla="val 49998"/>
            </a:avLst>
          </a:prstGeom>
          <a:solidFill>
            <a:srgbClr val="7F7F7F"/>
          </a:solidFill>
          <a:ln w="9525">
            <a:noFill/>
            <a:miter lim="800000"/>
            <a:headEnd/>
            <a:tailEnd/>
          </a:ln>
          <a:effectLst/>
        </p:spPr>
        <p:txBody>
          <a:bodyPr anchor="ctr"/>
          <a:lstStyle/>
          <a:p>
            <a:pPr algn="ctr"/>
            <a:endParaRPr lang="en-US" sz="1400">
              <a:solidFill>
                <a:srgbClr val="FFFFFF"/>
              </a:solidFill>
              <a:ea typeface="ＭＳ Ｐゴシック" pitchFamily="-105" charset="-128"/>
              <a:cs typeface="ＭＳ Ｐゴシック" pitchFamily="-105" charset="-128"/>
            </a:endParaRPr>
          </a:p>
        </p:txBody>
      </p:sp>
      <p:sp>
        <p:nvSpPr>
          <p:cNvPr id="73" name="Right Arrow 72"/>
          <p:cNvSpPr>
            <a:spLocks noChangeArrowheads="1"/>
          </p:cNvSpPr>
          <p:nvPr/>
        </p:nvSpPr>
        <p:spPr bwMode="auto">
          <a:xfrm rot="16200000">
            <a:off x="4406960" y="2894028"/>
            <a:ext cx="288361" cy="277317"/>
          </a:xfrm>
          <a:prstGeom prst="rightArrow">
            <a:avLst>
              <a:gd name="adj1" fmla="val 50000"/>
              <a:gd name="adj2" fmla="val 49998"/>
            </a:avLst>
          </a:prstGeom>
          <a:solidFill>
            <a:srgbClr val="7F7F7F"/>
          </a:solidFill>
          <a:ln w="9525">
            <a:noFill/>
            <a:miter lim="800000"/>
            <a:headEnd/>
            <a:tailEnd/>
          </a:ln>
          <a:effectLst/>
        </p:spPr>
        <p:txBody>
          <a:bodyPr anchor="ctr"/>
          <a:lstStyle/>
          <a:p>
            <a:pPr algn="ctr" fontAlgn="auto">
              <a:spcBef>
                <a:spcPts val="0"/>
              </a:spcBef>
              <a:spcAft>
                <a:spcPts val="0"/>
              </a:spcAft>
              <a:defRPr/>
            </a:pPr>
            <a:endParaRPr lang="en-US" sz="1400">
              <a:solidFill>
                <a:srgbClr val="FFFFFF"/>
              </a:solidFill>
              <a:latin typeface="+mn-lt"/>
              <a:ea typeface="ＭＳ Ｐゴシック" pitchFamily="-105" charset="-128"/>
              <a:cs typeface="ＭＳ Ｐゴシック" pitchFamily="-105" charset="-128"/>
            </a:endParaRPr>
          </a:p>
        </p:txBody>
      </p:sp>
      <p:sp>
        <p:nvSpPr>
          <p:cNvPr id="74" name="Right Arrow 73"/>
          <p:cNvSpPr>
            <a:spLocks noChangeArrowheads="1"/>
          </p:cNvSpPr>
          <p:nvPr/>
        </p:nvSpPr>
        <p:spPr bwMode="auto">
          <a:xfrm rot="19983211">
            <a:off x="5356095" y="3513083"/>
            <a:ext cx="288360" cy="277317"/>
          </a:xfrm>
          <a:prstGeom prst="rightArrow">
            <a:avLst>
              <a:gd name="adj1" fmla="val 50000"/>
              <a:gd name="adj2" fmla="val 49998"/>
            </a:avLst>
          </a:prstGeom>
          <a:solidFill>
            <a:srgbClr val="7F7F7F"/>
          </a:solidFill>
          <a:ln w="9525">
            <a:noFill/>
            <a:miter lim="800000"/>
            <a:headEnd/>
            <a:tailEnd/>
          </a:ln>
          <a:effectLst/>
        </p:spPr>
        <p:txBody>
          <a:bodyPr anchor="ctr"/>
          <a:lstStyle/>
          <a:p>
            <a:pPr algn="ctr"/>
            <a:endParaRPr lang="en-US" sz="1400">
              <a:solidFill>
                <a:srgbClr val="FFFFFF"/>
              </a:solidFill>
              <a:ea typeface="ＭＳ Ｐゴシック" pitchFamily="-105" charset="-128"/>
              <a:cs typeface="ＭＳ Ｐゴシック" pitchFamily="-105" charset="-128"/>
            </a:endParaRPr>
          </a:p>
        </p:txBody>
      </p:sp>
      <p:sp>
        <p:nvSpPr>
          <p:cNvPr id="75" name="Right Arrow 74"/>
          <p:cNvSpPr>
            <a:spLocks noChangeArrowheads="1"/>
          </p:cNvSpPr>
          <p:nvPr/>
        </p:nvSpPr>
        <p:spPr bwMode="auto">
          <a:xfrm rot="12552318">
            <a:off x="3527768" y="3471362"/>
            <a:ext cx="288360" cy="277317"/>
          </a:xfrm>
          <a:prstGeom prst="rightArrow">
            <a:avLst>
              <a:gd name="adj1" fmla="val 50000"/>
              <a:gd name="adj2" fmla="val 49998"/>
            </a:avLst>
          </a:prstGeom>
          <a:solidFill>
            <a:srgbClr val="7F7F7F"/>
          </a:solidFill>
          <a:ln w="9525">
            <a:noFill/>
            <a:miter lim="800000"/>
            <a:headEnd/>
            <a:tailEnd/>
          </a:ln>
          <a:effectLst/>
        </p:spPr>
        <p:txBody>
          <a:bodyPr anchor="ctr"/>
          <a:lstStyle/>
          <a:p>
            <a:pPr algn="ctr"/>
            <a:endParaRPr lang="en-US" sz="1400">
              <a:solidFill>
                <a:srgbClr val="FFFFFF"/>
              </a:solidFill>
              <a:ea typeface="ＭＳ Ｐゴシック" pitchFamily="-105" charset="-128"/>
              <a:cs typeface="ＭＳ Ｐゴシック" pitchFamily="-105" charset="-128"/>
            </a:endParaRPr>
          </a:p>
        </p:txBody>
      </p:sp>
      <p:sp>
        <p:nvSpPr>
          <p:cNvPr id="76" name="Right Arrow 75"/>
          <p:cNvSpPr>
            <a:spLocks noChangeArrowheads="1"/>
          </p:cNvSpPr>
          <p:nvPr/>
        </p:nvSpPr>
        <p:spPr bwMode="auto">
          <a:xfrm rot="19109532" flipH="1">
            <a:off x="3743731" y="4579402"/>
            <a:ext cx="288360" cy="277317"/>
          </a:xfrm>
          <a:prstGeom prst="rightArrow">
            <a:avLst>
              <a:gd name="adj1" fmla="val 50000"/>
              <a:gd name="adj2" fmla="val 49998"/>
            </a:avLst>
          </a:prstGeom>
          <a:solidFill>
            <a:srgbClr val="7F7F7F"/>
          </a:solidFill>
          <a:ln w="9525">
            <a:noFill/>
            <a:miter lim="800000"/>
            <a:headEnd/>
            <a:tailEnd/>
          </a:ln>
          <a:effectLst/>
        </p:spPr>
        <p:txBody>
          <a:bodyPr anchor="ctr"/>
          <a:lstStyle/>
          <a:p>
            <a:pPr algn="ctr"/>
            <a:endParaRPr lang="en-US" sz="1400">
              <a:solidFill>
                <a:srgbClr val="FFFFFF"/>
              </a:solidFill>
              <a:ea typeface="ＭＳ Ｐゴシック" pitchFamily="-105" charset="-128"/>
              <a:cs typeface="ＭＳ Ｐゴシック" pitchFamily="-105" charset="-128"/>
            </a:endParaRPr>
          </a:p>
        </p:txBody>
      </p:sp>
      <p:sp>
        <p:nvSpPr>
          <p:cNvPr id="77" name="Rektangel 76"/>
          <p:cNvSpPr>
            <a:spLocks noChangeArrowheads="1"/>
          </p:cNvSpPr>
          <p:nvPr/>
        </p:nvSpPr>
        <p:spPr bwMode="auto">
          <a:xfrm>
            <a:off x="2335060" y="3023970"/>
            <a:ext cx="1119083" cy="76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200" b="1" noProof="1">
                <a:solidFill>
                  <a:srgbClr val="1E1C11"/>
                </a:solidFill>
                <a:latin typeface="Calibri" charset="0"/>
                <a:cs typeface="Arial" charset="0"/>
              </a:rPr>
              <a:t>Example text</a:t>
            </a:r>
          </a:p>
          <a:p>
            <a:pPr algn="ctr" defTabSz="914400"/>
            <a:r>
              <a:rPr lang="en-US" sz="1050" noProof="1">
                <a:latin typeface="Calibri" charset="0"/>
                <a:cs typeface="Arial" charset="0"/>
              </a:rPr>
              <a:t>Go ahead and replace it with your own text</a:t>
            </a:r>
            <a:r>
              <a:rPr lang="en-US" sz="1050" noProof="1" smtClean="0">
                <a:latin typeface="Calibri" charset="0"/>
                <a:cs typeface="Arial" charset="0"/>
              </a:rPr>
              <a:t>.</a:t>
            </a:r>
            <a:endParaRPr lang="da-DK" sz="1400" dirty="0">
              <a:solidFill>
                <a:srgbClr val="1E1C11"/>
              </a:solidFill>
              <a:latin typeface="Calibri" charset="0"/>
            </a:endParaRPr>
          </a:p>
        </p:txBody>
      </p:sp>
      <p:sp>
        <p:nvSpPr>
          <p:cNvPr id="78" name="Rektangel 76"/>
          <p:cNvSpPr>
            <a:spLocks noChangeArrowheads="1"/>
          </p:cNvSpPr>
          <p:nvPr/>
        </p:nvSpPr>
        <p:spPr bwMode="auto">
          <a:xfrm>
            <a:off x="3983009" y="1852245"/>
            <a:ext cx="1119083" cy="76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200" b="1" noProof="1">
                <a:solidFill>
                  <a:srgbClr val="1E1C11"/>
                </a:solidFill>
                <a:latin typeface="Calibri" charset="0"/>
                <a:cs typeface="Arial" charset="0"/>
              </a:rPr>
              <a:t>Example text</a:t>
            </a:r>
          </a:p>
          <a:p>
            <a:pPr algn="ctr" defTabSz="914400"/>
            <a:r>
              <a:rPr lang="en-US" sz="1050" noProof="1">
                <a:latin typeface="Calibri" charset="0"/>
                <a:cs typeface="Arial" charset="0"/>
              </a:rPr>
              <a:t>Go ahead and replace it with your own text</a:t>
            </a:r>
            <a:r>
              <a:rPr lang="en-US" sz="1050" noProof="1" smtClean="0">
                <a:latin typeface="Calibri" charset="0"/>
                <a:cs typeface="Arial" charset="0"/>
              </a:rPr>
              <a:t>.</a:t>
            </a:r>
            <a:endParaRPr lang="da-DK" sz="1400" dirty="0">
              <a:solidFill>
                <a:srgbClr val="1E1C11"/>
              </a:solidFill>
              <a:latin typeface="Calibri" charset="0"/>
            </a:endParaRPr>
          </a:p>
        </p:txBody>
      </p:sp>
      <p:sp>
        <p:nvSpPr>
          <p:cNvPr id="79" name="Rektangel 76"/>
          <p:cNvSpPr>
            <a:spLocks noChangeArrowheads="1"/>
          </p:cNvSpPr>
          <p:nvPr/>
        </p:nvSpPr>
        <p:spPr bwMode="auto">
          <a:xfrm>
            <a:off x="5671450" y="3065261"/>
            <a:ext cx="1119083" cy="76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200" b="1" noProof="1">
                <a:solidFill>
                  <a:srgbClr val="1E1C11"/>
                </a:solidFill>
                <a:latin typeface="Calibri" charset="0"/>
                <a:cs typeface="Arial" charset="0"/>
              </a:rPr>
              <a:t>Example text</a:t>
            </a:r>
          </a:p>
          <a:p>
            <a:pPr algn="ctr" defTabSz="914400"/>
            <a:r>
              <a:rPr lang="en-US" sz="1050" noProof="1">
                <a:latin typeface="Calibri" charset="0"/>
                <a:cs typeface="Arial" charset="0"/>
              </a:rPr>
              <a:t>Go ahead and replace it with your own text</a:t>
            </a:r>
            <a:r>
              <a:rPr lang="en-US" sz="1050" noProof="1" smtClean="0">
                <a:latin typeface="Calibri" charset="0"/>
                <a:cs typeface="Arial" charset="0"/>
              </a:rPr>
              <a:t>.</a:t>
            </a:r>
            <a:endParaRPr lang="da-DK" sz="1400" dirty="0">
              <a:solidFill>
                <a:srgbClr val="1E1C11"/>
              </a:solidFill>
              <a:latin typeface="Calibri" charset="0"/>
            </a:endParaRPr>
          </a:p>
        </p:txBody>
      </p:sp>
      <p:sp>
        <p:nvSpPr>
          <p:cNvPr id="80" name="Rektangel 76"/>
          <p:cNvSpPr>
            <a:spLocks noChangeArrowheads="1"/>
          </p:cNvSpPr>
          <p:nvPr/>
        </p:nvSpPr>
        <p:spPr bwMode="auto">
          <a:xfrm>
            <a:off x="5264065" y="4884753"/>
            <a:ext cx="1119083" cy="76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200" b="1" noProof="1">
                <a:solidFill>
                  <a:srgbClr val="1E1C11"/>
                </a:solidFill>
                <a:latin typeface="Calibri" charset="0"/>
                <a:cs typeface="Arial" charset="0"/>
              </a:rPr>
              <a:t>Example text</a:t>
            </a:r>
          </a:p>
          <a:p>
            <a:pPr algn="ctr" defTabSz="914400"/>
            <a:r>
              <a:rPr lang="en-US" sz="1050" noProof="1">
                <a:latin typeface="Calibri" charset="0"/>
                <a:cs typeface="Arial" charset="0"/>
              </a:rPr>
              <a:t>Go ahead and replace it with your own text</a:t>
            </a:r>
            <a:r>
              <a:rPr lang="en-US" sz="1050" noProof="1" smtClean="0">
                <a:latin typeface="Calibri" charset="0"/>
                <a:cs typeface="Arial" charset="0"/>
              </a:rPr>
              <a:t>.</a:t>
            </a:r>
            <a:endParaRPr lang="da-DK" sz="1400" dirty="0">
              <a:solidFill>
                <a:srgbClr val="1E1C11"/>
              </a:solidFill>
              <a:latin typeface="Calibri" charset="0"/>
            </a:endParaRPr>
          </a:p>
        </p:txBody>
      </p:sp>
    </p:spTree>
    <p:custDataLst>
      <p:tags r:id="rId1"/>
    </p:custDataLst>
    <p:extLst>
      <p:ext uri="{BB962C8B-B14F-4D97-AF65-F5344CB8AC3E}">
        <p14:creationId xmlns:p14="http://schemas.microsoft.com/office/powerpoint/2010/main" val="124610638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3606800" y="3684261"/>
            <a:ext cx="1854200" cy="0"/>
          </a:xfrm>
          <a:prstGeom prst="line">
            <a:avLst/>
          </a:prstGeom>
          <a:ln w="12700">
            <a:solidFill>
              <a:srgbClr val="2A9B18"/>
            </a:solidFill>
          </a:ln>
        </p:spPr>
        <p:style>
          <a:lnRef idx="1">
            <a:schemeClr val="accent1"/>
          </a:lnRef>
          <a:fillRef idx="0">
            <a:schemeClr val="accent1"/>
          </a:fillRef>
          <a:effectRef idx="0">
            <a:schemeClr val="accent1"/>
          </a:effectRef>
          <a:fontRef idx="minor">
            <a:schemeClr val="tx1"/>
          </a:fontRef>
        </p:style>
      </p:cxnSp>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27</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61" name="Oval 60"/>
          <p:cNvSpPr/>
          <p:nvPr/>
        </p:nvSpPr>
        <p:spPr>
          <a:xfrm>
            <a:off x="431801" y="1524001"/>
            <a:ext cx="1862666" cy="1862666"/>
          </a:xfrm>
          <a:prstGeom prst="ellipse">
            <a:avLst/>
          </a:prstGeom>
          <a:solidFill>
            <a:srgbClr val="D5D5D5"/>
          </a:solidFill>
          <a:ln w="3175">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p:cNvSpPr/>
          <p:nvPr/>
        </p:nvSpPr>
        <p:spPr>
          <a:xfrm>
            <a:off x="431801" y="3962400"/>
            <a:ext cx="1862666" cy="1862666"/>
          </a:xfrm>
          <a:prstGeom prst="ellipse">
            <a:avLst/>
          </a:prstGeom>
          <a:solidFill>
            <a:srgbClr val="D5D5D5"/>
          </a:solidFill>
          <a:ln w="3175">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2108200" y="2743201"/>
            <a:ext cx="1862666" cy="1862666"/>
          </a:xfrm>
          <a:prstGeom prst="ellipse">
            <a:avLst/>
          </a:prstGeom>
          <a:solidFill>
            <a:srgbClr val="2A9B18"/>
          </a:solidFill>
          <a:ln w="3175">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5" name="Straight Arrow Connector 64"/>
          <p:cNvCxnSpPr/>
          <p:nvPr/>
        </p:nvCxnSpPr>
        <p:spPr>
          <a:xfrm>
            <a:off x="2294467" y="2455334"/>
            <a:ext cx="3488266" cy="0"/>
          </a:xfrm>
          <a:prstGeom prst="straightConnector1">
            <a:avLst/>
          </a:prstGeom>
          <a:ln w="12700">
            <a:solidFill>
              <a:srgbClr val="0D65AC"/>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2294467" y="4893733"/>
            <a:ext cx="3488266" cy="0"/>
          </a:xfrm>
          <a:prstGeom prst="straightConnector1">
            <a:avLst/>
          </a:prstGeom>
          <a:ln w="12700">
            <a:solidFill>
              <a:srgbClr val="0D65AC"/>
            </a:solidFill>
            <a:tailEnd type="none"/>
          </a:ln>
        </p:spPr>
        <p:style>
          <a:lnRef idx="1">
            <a:schemeClr val="accent1"/>
          </a:lnRef>
          <a:fillRef idx="0">
            <a:schemeClr val="accent1"/>
          </a:fillRef>
          <a:effectRef idx="0">
            <a:schemeClr val="accent1"/>
          </a:effectRef>
          <a:fontRef idx="minor">
            <a:schemeClr val="tx1"/>
          </a:fontRef>
        </p:style>
      </p:cxnSp>
      <p:sp>
        <p:nvSpPr>
          <p:cNvPr id="3" name="Oval 2"/>
          <p:cNvSpPr/>
          <p:nvPr/>
        </p:nvSpPr>
        <p:spPr>
          <a:xfrm>
            <a:off x="4969933" y="1849146"/>
            <a:ext cx="3665149" cy="3665149"/>
          </a:xfrm>
          <a:prstGeom prst="ellipse">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p:cNvGrpSpPr/>
          <p:nvPr/>
        </p:nvGrpSpPr>
        <p:grpSpPr>
          <a:xfrm>
            <a:off x="6415632" y="4650370"/>
            <a:ext cx="790199" cy="567011"/>
            <a:chOff x="1492250" y="4173538"/>
            <a:chExt cx="831850" cy="596900"/>
          </a:xfrm>
          <a:solidFill>
            <a:srgbClr val="0D65AC"/>
          </a:solidFill>
          <a:effectLst/>
        </p:grpSpPr>
        <p:sp>
          <p:nvSpPr>
            <p:cNvPr id="26" name="Freeform 61"/>
            <p:cNvSpPr>
              <a:spLocks noEditPoints="1"/>
            </p:cNvSpPr>
            <p:nvPr/>
          </p:nvSpPr>
          <p:spPr bwMode="auto">
            <a:xfrm>
              <a:off x="1492250" y="4422775"/>
              <a:ext cx="147638" cy="314325"/>
            </a:xfrm>
            <a:custGeom>
              <a:avLst/>
              <a:gdLst>
                <a:gd name="T0" fmla="*/ 0 w 186"/>
                <a:gd name="T1" fmla="*/ 0 h 397"/>
                <a:gd name="T2" fmla="*/ 0 w 186"/>
                <a:gd name="T3" fmla="*/ 333 h 397"/>
                <a:gd name="T4" fmla="*/ 186 w 186"/>
                <a:gd name="T5" fmla="*/ 397 h 397"/>
                <a:gd name="T6" fmla="*/ 186 w 186"/>
                <a:gd name="T7" fmla="*/ 28 h 397"/>
                <a:gd name="T8" fmla="*/ 0 w 186"/>
                <a:gd name="T9" fmla="*/ 0 h 397"/>
                <a:gd name="T10" fmla="*/ 162 w 186"/>
                <a:gd name="T11" fmla="*/ 373 h 397"/>
                <a:gd name="T12" fmla="*/ 8 w 186"/>
                <a:gd name="T13" fmla="*/ 318 h 397"/>
                <a:gd name="T14" fmla="*/ 8 w 186"/>
                <a:gd name="T15" fmla="*/ 28 h 397"/>
                <a:gd name="T16" fmla="*/ 162 w 186"/>
                <a:gd name="T17" fmla="*/ 52 h 397"/>
                <a:gd name="T18" fmla="*/ 162 w 186"/>
                <a:gd name="T19" fmla="*/ 37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397">
                  <a:moveTo>
                    <a:pt x="0" y="0"/>
                  </a:moveTo>
                  <a:lnTo>
                    <a:pt x="0" y="333"/>
                  </a:lnTo>
                  <a:lnTo>
                    <a:pt x="186" y="397"/>
                  </a:lnTo>
                  <a:lnTo>
                    <a:pt x="186" y="28"/>
                  </a:lnTo>
                  <a:lnTo>
                    <a:pt x="0" y="0"/>
                  </a:lnTo>
                  <a:close/>
                  <a:moveTo>
                    <a:pt x="162" y="373"/>
                  </a:moveTo>
                  <a:lnTo>
                    <a:pt x="8" y="318"/>
                  </a:lnTo>
                  <a:lnTo>
                    <a:pt x="8" y="28"/>
                  </a:lnTo>
                  <a:lnTo>
                    <a:pt x="162" y="52"/>
                  </a:lnTo>
                  <a:lnTo>
                    <a:pt x="162" y="3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2"/>
            <p:cNvSpPr>
              <a:spLocks noEditPoints="1"/>
            </p:cNvSpPr>
            <p:nvPr/>
          </p:nvSpPr>
          <p:spPr bwMode="auto">
            <a:xfrm>
              <a:off x="1646238" y="4438650"/>
              <a:ext cx="242888" cy="298450"/>
            </a:xfrm>
            <a:custGeom>
              <a:avLst/>
              <a:gdLst>
                <a:gd name="T0" fmla="*/ 0 w 305"/>
                <a:gd name="T1" fmla="*/ 8 h 377"/>
                <a:gd name="T2" fmla="*/ 0 w 305"/>
                <a:gd name="T3" fmla="*/ 377 h 377"/>
                <a:gd name="T4" fmla="*/ 305 w 305"/>
                <a:gd name="T5" fmla="*/ 353 h 377"/>
                <a:gd name="T6" fmla="*/ 305 w 305"/>
                <a:gd name="T7" fmla="*/ 0 h 377"/>
                <a:gd name="T8" fmla="*/ 0 w 305"/>
                <a:gd name="T9" fmla="*/ 8 h 377"/>
                <a:gd name="T10" fmla="*/ 282 w 305"/>
                <a:gd name="T11" fmla="*/ 329 h 377"/>
                <a:gd name="T12" fmla="*/ 28 w 305"/>
                <a:gd name="T13" fmla="*/ 353 h 377"/>
                <a:gd name="T14" fmla="*/ 28 w 305"/>
                <a:gd name="T15" fmla="*/ 32 h 377"/>
                <a:gd name="T16" fmla="*/ 282 w 305"/>
                <a:gd name="T17" fmla="*/ 28 h 377"/>
                <a:gd name="T18" fmla="*/ 282 w 305"/>
                <a:gd name="T19" fmla="*/ 32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5" h="377">
                  <a:moveTo>
                    <a:pt x="0" y="8"/>
                  </a:moveTo>
                  <a:lnTo>
                    <a:pt x="0" y="377"/>
                  </a:lnTo>
                  <a:lnTo>
                    <a:pt x="305" y="353"/>
                  </a:lnTo>
                  <a:lnTo>
                    <a:pt x="305" y="0"/>
                  </a:lnTo>
                  <a:lnTo>
                    <a:pt x="0" y="8"/>
                  </a:lnTo>
                  <a:close/>
                  <a:moveTo>
                    <a:pt x="282" y="329"/>
                  </a:moveTo>
                  <a:lnTo>
                    <a:pt x="28" y="353"/>
                  </a:lnTo>
                  <a:lnTo>
                    <a:pt x="28" y="32"/>
                  </a:lnTo>
                  <a:lnTo>
                    <a:pt x="282" y="28"/>
                  </a:lnTo>
                  <a:lnTo>
                    <a:pt x="282" y="3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3"/>
            <p:cNvSpPr>
              <a:spLocks/>
            </p:cNvSpPr>
            <p:nvPr/>
          </p:nvSpPr>
          <p:spPr bwMode="auto">
            <a:xfrm>
              <a:off x="1492250" y="4410075"/>
              <a:ext cx="396875" cy="31750"/>
            </a:xfrm>
            <a:custGeom>
              <a:avLst/>
              <a:gdLst>
                <a:gd name="T0" fmla="*/ 0 w 499"/>
                <a:gd name="T1" fmla="*/ 15 h 39"/>
                <a:gd name="T2" fmla="*/ 281 w 499"/>
                <a:gd name="T3" fmla="*/ 0 h 39"/>
                <a:gd name="T4" fmla="*/ 499 w 499"/>
                <a:gd name="T5" fmla="*/ 32 h 39"/>
                <a:gd name="T6" fmla="*/ 194 w 499"/>
                <a:gd name="T7" fmla="*/ 39 h 39"/>
                <a:gd name="T8" fmla="*/ 0 w 499"/>
                <a:gd name="T9" fmla="*/ 15 h 39"/>
              </a:gdLst>
              <a:ahLst/>
              <a:cxnLst>
                <a:cxn ang="0">
                  <a:pos x="T0" y="T1"/>
                </a:cxn>
                <a:cxn ang="0">
                  <a:pos x="T2" y="T3"/>
                </a:cxn>
                <a:cxn ang="0">
                  <a:pos x="T4" y="T5"/>
                </a:cxn>
                <a:cxn ang="0">
                  <a:pos x="T6" y="T7"/>
                </a:cxn>
                <a:cxn ang="0">
                  <a:pos x="T8" y="T9"/>
                </a:cxn>
              </a:cxnLst>
              <a:rect l="0" t="0" r="r" b="b"/>
              <a:pathLst>
                <a:path w="499" h="39">
                  <a:moveTo>
                    <a:pt x="0" y="15"/>
                  </a:moveTo>
                  <a:lnTo>
                    <a:pt x="281" y="0"/>
                  </a:lnTo>
                  <a:lnTo>
                    <a:pt x="499" y="32"/>
                  </a:lnTo>
                  <a:lnTo>
                    <a:pt x="194" y="39"/>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4"/>
            <p:cNvSpPr>
              <a:spLocks/>
            </p:cNvSpPr>
            <p:nvPr/>
          </p:nvSpPr>
          <p:spPr bwMode="auto">
            <a:xfrm>
              <a:off x="2063750" y="4481513"/>
              <a:ext cx="260350" cy="288925"/>
            </a:xfrm>
            <a:custGeom>
              <a:avLst/>
              <a:gdLst>
                <a:gd name="T0" fmla="*/ 0 w 330"/>
                <a:gd name="T1" fmla="*/ 21 h 364"/>
                <a:gd name="T2" fmla="*/ 330 w 330"/>
                <a:gd name="T3" fmla="*/ 0 h 364"/>
                <a:gd name="T4" fmla="*/ 330 w 330"/>
                <a:gd name="T5" fmla="*/ 344 h 364"/>
                <a:gd name="T6" fmla="*/ 0 w 330"/>
                <a:gd name="T7" fmla="*/ 364 h 364"/>
                <a:gd name="T8" fmla="*/ 0 w 330"/>
                <a:gd name="T9" fmla="*/ 21 h 364"/>
              </a:gdLst>
              <a:ahLst/>
              <a:cxnLst>
                <a:cxn ang="0">
                  <a:pos x="T0" y="T1"/>
                </a:cxn>
                <a:cxn ang="0">
                  <a:pos x="T2" y="T3"/>
                </a:cxn>
                <a:cxn ang="0">
                  <a:pos x="T4" y="T5"/>
                </a:cxn>
                <a:cxn ang="0">
                  <a:pos x="T6" y="T7"/>
                </a:cxn>
                <a:cxn ang="0">
                  <a:pos x="T8" y="T9"/>
                </a:cxn>
              </a:cxnLst>
              <a:rect l="0" t="0" r="r" b="b"/>
              <a:pathLst>
                <a:path w="330" h="364">
                  <a:moveTo>
                    <a:pt x="0" y="21"/>
                  </a:moveTo>
                  <a:lnTo>
                    <a:pt x="330" y="0"/>
                  </a:lnTo>
                  <a:lnTo>
                    <a:pt x="330" y="344"/>
                  </a:lnTo>
                  <a:lnTo>
                    <a:pt x="0" y="364"/>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5"/>
            <p:cNvSpPr>
              <a:spLocks/>
            </p:cNvSpPr>
            <p:nvPr/>
          </p:nvSpPr>
          <p:spPr bwMode="auto">
            <a:xfrm>
              <a:off x="1900238" y="4446588"/>
              <a:ext cx="147638" cy="323850"/>
            </a:xfrm>
            <a:custGeom>
              <a:avLst/>
              <a:gdLst>
                <a:gd name="T0" fmla="*/ 186 w 186"/>
                <a:gd name="T1" fmla="*/ 65 h 408"/>
                <a:gd name="T2" fmla="*/ 0 w 186"/>
                <a:gd name="T3" fmla="*/ 0 h 408"/>
                <a:gd name="T4" fmla="*/ 0 w 186"/>
                <a:gd name="T5" fmla="*/ 343 h 408"/>
                <a:gd name="T6" fmla="*/ 186 w 186"/>
                <a:gd name="T7" fmla="*/ 408 h 408"/>
                <a:gd name="T8" fmla="*/ 186 w 186"/>
                <a:gd name="T9" fmla="*/ 65 h 408"/>
              </a:gdLst>
              <a:ahLst/>
              <a:cxnLst>
                <a:cxn ang="0">
                  <a:pos x="T0" y="T1"/>
                </a:cxn>
                <a:cxn ang="0">
                  <a:pos x="T2" y="T3"/>
                </a:cxn>
                <a:cxn ang="0">
                  <a:pos x="T4" y="T5"/>
                </a:cxn>
                <a:cxn ang="0">
                  <a:pos x="T6" y="T7"/>
                </a:cxn>
                <a:cxn ang="0">
                  <a:pos x="T8" y="T9"/>
                </a:cxn>
              </a:cxnLst>
              <a:rect l="0" t="0" r="r" b="b"/>
              <a:pathLst>
                <a:path w="186" h="408">
                  <a:moveTo>
                    <a:pt x="186" y="65"/>
                  </a:moveTo>
                  <a:lnTo>
                    <a:pt x="0" y="0"/>
                  </a:lnTo>
                  <a:lnTo>
                    <a:pt x="0" y="343"/>
                  </a:lnTo>
                  <a:lnTo>
                    <a:pt x="186" y="408"/>
                  </a:lnTo>
                  <a:lnTo>
                    <a:pt x="186"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66"/>
            <p:cNvSpPr>
              <a:spLocks/>
            </p:cNvSpPr>
            <p:nvPr/>
          </p:nvSpPr>
          <p:spPr bwMode="auto">
            <a:xfrm>
              <a:off x="2063750" y="4195763"/>
              <a:ext cx="260350" cy="287338"/>
            </a:xfrm>
            <a:custGeom>
              <a:avLst/>
              <a:gdLst>
                <a:gd name="T0" fmla="*/ 0 w 330"/>
                <a:gd name="T1" fmla="*/ 20 h 362"/>
                <a:gd name="T2" fmla="*/ 330 w 330"/>
                <a:gd name="T3" fmla="*/ 0 h 362"/>
                <a:gd name="T4" fmla="*/ 330 w 330"/>
                <a:gd name="T5" fmla="*/ 343 h 362"/>
                <a:gd name="T6" fmla="*/ 0 w 330"/>
                <a:gd name="T7" fmla="*/ 362 h 362"/>
                <a:gd name="T8" fmla="*/ 0 w 330"/>
                <a:gd name="T9" fmla="*/ 20 h 362"/>
              </a:gdLst>
              <a:ahLst/>
              <a:cxnLst>
                <a:cxn ang="0">
                  <a:pos x="T0" y="T1"/>
                </a:cxn>
                <a:cxn ang="0">
                  <a:pos x="T2" y="T3"/>
                </a:cxn>
                <a:cxn ang="0">
                  <a:pos x="T4" y="T5"/>
                </a:cxn>
                <a:cxn ang="0">
                  <a:pos x="T6" y="T7"/>
                </a:cxn>
                <a:cxn ang="0">
                  <a:pos x="T8" y="T9"/>
                </a:cxn>
              </a:cxnLst>
              <a:rect l="0" t="0" r="r" b="b"/>
              <a:pathLst>
                <a:path w="330" h="362">
                  <a:moveTo>
                    <a:pt x="0" y="20"/>
                  </a:moveTo>
                  <a:lnTo>
                    <a:pt x="330" y="0"/>
                  </a:lnTo>
                  <a:lnTo>
                    <a:pt x="330" y="343"/>
                  </a:lnTo>
                  <a:lnTo>
                    <a:pt x="0" y="362"/>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7"/>
            <p:cNvSpPr>
              <a:spLocks/>
            </p:cNvSpPr>
            <p:nvPr/>
          </p:nvSpPr>
          <p:spPr bwMode="auto">
            <a:xfrm>
              <a:off x="1900238" y="4183063"/>
              <a:ext cx="147638" cy="300038"/>
            </a:xfrm>
            <a:custGeom>
              <a:avLst/>
              <a:gdLst>
                <a:gd name="T0" fmla="*/ 186 w 186"/>
                <a:gd name="T1" fmla="*/ 37 h 379"/>
                <a:gd name="T2" fmla="*/ 0 w 186"/>
                <a:gd name="T3" fmla="*/ 0 h 379"/>
                <a:gd name="T4" fmla="*/ 0 w 186"/>
                <a:gd name="T5" fmla="*/ 315 h 379"/>
                <a:gd name="T6" fmla="*/ 186 w 186"/>
                <a:gd name="T7" fmla="*/ 379 h 379"/>
                <a:gd name="T8" fmla="*/ 186 w 186"/>
                <a:gd name="T9" fmla="*/ 37 h 379"/>
              </a:gdLst>
              <a:ahLst/>
              <a:cxnLst>
                <a:cxn ang="0">
                  <a:pos x="T0" y="T1"/>
                </a:cxn>
                <a:cxn ang="0">
                  <a:pos x="T2" y="T3"/>
                </a:cxn>
                <a:cxn ang="0">
                  <a:pos x="T4" y="T5"/>
                </a:cxn>
                <a:cxn ang="0">
                  <a:pos x="T6" y="T7"/>
                </a:cxn>
                <a:cxn ang="0">
                  <a:pos x="T8" y="T9"/>
                </a:cxn>
              </a:cxnLst>
              <a:rect l="0" t="0" r="r" b="b"/>
              <a:pathLst>
                <a:path w="186" h="379">
                  <a:moveTo>
                    <a:pt x="186" y="37"/>
                  </a:moveTo>
                  <a:lnTo>
                    <a:pt x="0" y="0"/>
                  </a:lnTo>
                  <a:lnTo>
                    <a:pt x="0" y="315"/>
                  </a:lnTo>
                  <a:lnTo>
                    <a:pt x="186" y="379"/>
                  </a:lnTo>
                  <a:lnTo>
                    <a:pt x="18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8"/>
            <p:cNvSpPr>
              <a:spLocks/>
            </p:cNvSpPr>
            <p:nvPr/>
          </p:nvSpPr>
          <p:spPr bwMode="auto">
            <a:xfrm>
              <a:off x="1905000" y="4173538"/>
              <a:ext cx="414338" cy="31750"/>
            </a:xfrm>
            <a:custGeom>
              <a:avLst/>
              <a:gdLst>
                <a:gd name="T0" fmla="*/ 0 w 522"/>
                <a:gd name="T1" fmla="*/ 9 h 41"/>
                <a:gd name="T2" fmla="*/ 301 w 522"/>
                <a:gd name="T3" fmla="*/ 0 h 41"/>
                <a:gd name="T4" fmla="*/ 522 w 522"/>
                <a:gd name="T5" fmla="*/ 20 h 41"/>
                <a:gd name="T6" fmla="*/ 192 w 522"/>
                <a:gd name="T7" fmla="*/ 41 h 41"/>
                <a:gd name="T8" fmla="*/ 0 w 522"/>
                <a:gd name="T9" fmla="*/ 9 h 41"/>
              </a:gdLst>
              <a:ahLst/>
              <a:cxnLst>
                <a:cxn ang="0">
                  <a:pos x="T0" y="T1"/>
                </a:cxn>
                <a:cxn ang="0">
                  <a:pos x="T2" y="T3"/>
                </a:cxn>
                <a:cxn ang="0">
                  <a:pos x="T4" y="T5"/>
                </a:cxn>
                <a:cxn ang="0">
                  <a:pos x="T6" y="T7"/>
                </a:cxn>
                <a:cxn ang="0">
                  <a:pos x="T8" y="T9"/>
                </a:cxn>
              </a:cxnLst>
              <a:rect l="0" t="0" r="r" b="b"/>
              <a:pathLst>
                <a:path w="522" h="41">
                  <a:moveTo>
                    <a:pt x="0" y="9"/>
                  </a:moveTo>
                  <a:lnTo>
                    <a:pt x="301" y="0"/>
                  </a:lnTo>
                  <a:lnTo>
                    <a:pt x="522" y="20"/>
                  </a:lnTo>
                  <a:lnTo>
                    <a:pt x="192" y="41"/>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TextBox 53"/>
          <p:cNvSpPr txBox="1"/>
          <p:nvPr/>
        </p:nvSpPr>
        <p:spPr>
          <a:xfrm>
            <a:off x="6336365" y="2074400"/>
            <a:ext cx="933654" cy="369332"/>
          </a:xfrm>
          <a:prstGeom prst="rect">
            <a:avLst/>
          </a:prstGeom>
          <a:noFill/>
        </p:spPr>
        <p:txBody>
          <a:bodyPr wrap="none" rtlCol="0">
            <a:spAutoFit/>
          </a:bodyPr>
          <a:lstStyle/>
          <a:p>
            <a:r>
              <a:rPr lang="en-US" b="1" dirty="0" smtClean="0"/>
              <a:t>Product</a:t>
            </a:r>
            <a:endParaRPr lang="en-US" b="1" dirty="0"/>
          </a:p>
        </p:txBody>
      </p:sp>
      <p:sp>
        <p:nvSpPr>
          <p:cNvPr id="70" name="Rektangel 76"/>
          <p:cNvSpPr>
            <a:spLocks noChangeArrowheads="1"/>
          </p:cNvSpPr>
          <p:nvPr/>
        </p:nvSpPr>
        <p:spPr bwMode="auto">
          <a:xfrm>
            <a:off x="652251" y="1997455"/>
            <a:ext cx="1489499"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600" b="1" noProof="1">
                <a:solidFill>
                  <a:srgbClr val="1E1C11"/>
                </a:solidFill>
                <a:latin typeface="Calibri" charset="0"/>
                <a:cs typeface="Arial" charset="0"/>
              </a:rPr>
              <a:t>Example text</a:t>
            </a:r>
          </a:p>
          <a:p>
            <a:pPr algn="ctr" defTabSz="914400"/>
            <a:r>
              <a:rPr lang="en-US" sz="1200" noProof="1">
                <a:latin typeface="Calibri" charset="0"/>
                <a:cs typeface="Arial" charset="0"/>
              </a:rPr>
              <a:t>Go ahead and replace it with your own text</a:t>
            </a:r>
            <a:r>
              <a:rPr lang="en-US" sz="1200" noProof="1" smtClean="0">
                <a:latin typeface="Calibri" charset="0"/>
                <a:cs typeface="Arial" charset="0"/>
              </a:rPr>
              <a:t>.</a:t>
            </a:r>
            <a:endParaRPr lang="da-DK" dirty="0">
              <a:solidFill>
                <a:srgbClr val="1E1C11"/>
              </a:solidFill>
              <a:latin typeface="Calibri" charset="0"/>
            </a:endParaRPr>
          </a:p>
        </p:txBody>
      </p:sp>
      <p:sp>
        <p:nvSpPr>
          <p:cNvPr id="71" name="Rektangel 76"/>
          <p:cNvSpPr>
            <a:spLocks noChangeArrowheads="1"/>
          </p:cNvSpPr>
          <p:nvPr/>
        </p:nvSpPr>
        <p:spPr bwMode="auto">
          <a:xfrm>
            <a:off x="2286000" y="3203376"/>
            <a:ext cx="1489499"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600" b="1" noProof="1">
                <a:solidFill>
                  <a:schemeClr val="bg1"/>
                </a:solidFill>
                <a:latin typeface="Calibri" charset="0"/>
                <a:cs typeface="Arial" charset="0"/>
              </a:rPr>
              <a:t>Example text</a:t>
            </a:r>
          </a:p>
          <a:p>
            <a:pPr algn="ctr" defTabSz="914400"/>
            <a:r>
              <a:rPr lang="en-US" sz="1200" noProof="1">
                <a:solidFill>
                  <a:schemeClr val="bg1"/>
                </a:solidFill>
                <a:latin typeface="Calibri" charset="0"/>
                <a:cs typeface="Arial" charset="0"/>
              </a:rPr>
              <a:t>Go ahead and replace it with your own text</a:t>
            </a:r>
            <a:r>
              <a:rPr lang="en-US" sz="1200" noProof="1" smtClean="0">
                <a:solidFill>
                  <a:schemeClr val="bg1"/>
                </a:solidFill>
                <a:latin typeface="Calibri" charset="0"/>
                <a:cs typeface="Arial" charset="0"/>
              </a:rPr>
              <a:t>.</a:t>
            </a:r>
            <a:endParaRPr lang="da-DK" dirty="0">
              <a:solidFill>
                <a:schemeClr val="bg1"/>
              </a:solidFill>
              <a:latin typeface="Calibri" charset="0"/>
            </a:endParaRPr>
          </a:p>
        </p:txBody>
      </p:sp>
      <p:sp>
        <p:nvSpPr>
          <p:cNvPr id="72" name="Rektangel 76"/>
          <p:cNvSpPr>
            <a:spLocks noChangeArrowheads="1"/>
          </p:cNvSpPr>
          <p:nvPr/>
        </p:nvSpPr>
        <p:spPr bwMode="auto">
          <a:xfrm>
            <a:off x="652251" y="4495800"/>
            <a:ext cx="1489499"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600" b="1" noProof="1">
                <a:solidFill>
                  <a:srgbClr val="1E1C11"/>
                </a:solidFill>
                <a:latin typeface="Calibri" charset="0"/>
                <a:cs typeface="Arial" charset="0"/>
              </a:rPr>
              <a:t>Example text</a:t>
            </a:r>
          </a:p>
          <a:p>
            <a:pPr algn="ctr" defTabSz="914400"/>
            <a:r>
              <a:rPr lang="en-US" sz="1200" noProof="1">
                <a:latin typeface="Calibri" charset="0"/>
                <a:cs typeface="Arial" charset="0"/>
              </a:rPr>
              <a:t>Go ahead and replace it with your own text</a:t>
            </a:r>
            <a:r>
              <a:rPr lang="en-US" sz="1200" noProof="1" smtClean="0">
                <a:latin typeface="Calibri" charset="0"/>
                <a:cs typeface="Arial" charset="0"/>
              </a:rPr>
              <a:t>.</a:t>
            </a:r>
            <a:endParaRPr lang="da-DK" dirty="0">
              <a:solidFill>
                <a:srgbClr val="1E1C11"/>
              </a:solidFill>
              <a:latin typeface="Calibri" charset="0"/>
            </a:endParaRPr>
          </a:p>
        </p:txBody>
      </p:sp>
      <p:sp>
        <p:nvSpPr>
          <p:cNvPr id="73" name="Isosceles Triangle 72"/>
          <p:cNvSpPr/>
          <p:nvPr/>
        </p:nvSpPr>
        <p:spPr>
          <a:xfrm rot="5400000">
            <a:off x="3503939" y="2366661"/>
            <a:ext cx="205722" cy="177346"/>
          </a:xfrm>
          <a:prstGeom prst="triangle">
            <a:avLst/>
          </a:prstGeom>
          <a:solidFill>
            <a:srgbClr val="0D6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Isosceles Triangle 73"/>
          <p:cNvSpPr/>
          <p:nvPr/>
        </p:nvSpPr>
        <p:spPr>
          <a:xfrm rot="5400000">
            <a:off x="4358845" y="3595588"/>
            <a:ext cx="205722" cy="177346"/>
          </a:xfrm>
          <a:prstGeom prst="triangle">
            <a:avLst/>
          </a:prstGeom>
          <a:solidFill>
            <a:srgbClr val="2A9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Isosceles Triangle 74"/>
          <p:cNvSpPr/>
          <p:nvPr/>
        </p:nvSpPr>
        <p:spPr>
          <a:xfrm rot="5400000">
            <a:off x="3503939" y="4805060"/>
            <a:ext cx="205722" cy="177346"/>
          </a:xfrm>
          <a:prstGeom prst="triangle">
            <a:avLst/>
          </a:prstGeom>
          <a:solidFill>
            <a:srgbClr val="0D6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5448300" y="2482209"/>
            <a:ext cx="2819400" cy="2123658"/>
          </a:xfrm>
          <a:prstGeom prst="rect">
            <a:avLst/>
          </a:prstGeom>
        </p:spPr>
        <p:txBody>
          <a:bodyPr wrap="square">
            <a:spAutoFit/>
          </a:bodyPr>
          <a:lstStyle/>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text</a:t>
            </a: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text</a:t>
            </a: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text</a:t>
            </a:r>
          </a:p>
        </p:txBody>
      </p:sp>
    </p:spTree>
    <p:custDataLst>
      <p:tags r:id="rId1"/>
    </p:custDataLst>
    <p:extLst>
      <p:ext uri="{BB962C8B-B14F-4D97-AF65-F5344CB8AC3E}">
        <p14:creationId xmlns:p14="http://schemas.microsoft.com/office/powerpoint/2010/main" val="18409764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075733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4" name="Subtitle 3"/>
          <p:cNvSpPr>
            <a:spLocks noGrp="1"/>
          </p:cNvSpPr>
          <p:nvPr>
            <p:ph type="subTitle" idx="1"/>
            <p:custDataLst>
              <p:tags r:id="rId4"/>
            </p:custDataLst>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custDataLst>
              <p:tags r:id="rId5"/>
            </p:custDataLst>
          </p:nvPr>
        </p:nvSpPr>
        <p:spPr/>
        <p:txBody>
          <a:bodyPr/>
          <a:lstStyle/>
          <a:p>
            <a:fld id="{125C11E9-EA40-D54F-953A-82A4C72DAAAD}" type="slidenum">
              <a:rPr lang="en-US" smtClean="0"/>
              <a:pPr/>
              <a:t>28</a:t>
            </a:fld>
            <a:r>
              <a:rPr lang="en-US" dirty="0" smtClean="0"/>
              <a:t> I</a:t>
            </a:r>
            <a:endParaRPr lang="en-US" dirty="0"/>
          </a:p>
        </p:txBody>
      </p:sp>
      <p:sp>
        <p:nvSpPr>
          <p:cNvPr id="2" name="Title 1"/>
          <p:cNvSpPr>
            <a:spLocks noGrp="1"/>
          </p:cNvSpPr>
          <p:nvPr>
            <p:ph type="title"/>
            <p:custDataLst>
              <p:tags r:id="rId6"/>
            </p:custDataLst>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custDataLst>
              <p:tags r:id="rId7"/>
            </p:custDataLst>
          </p:nvPr>
        </p:nvSpPr>
        <p:spPr/>
        <p:txBody>
          <a:bodyPr/>
          <a:lstStyle/>
          <a:p>
            <a:r>
              <a:rPr lang="en-US" smtClean="0"/>
              <a:t>PRESENTER NAME</a:t>
            </a:r>
            <a:endParaRPr lang="en-US"/>
          </a:p>
        </p:txBody>
      </p:sp>
      <p:sp>
        <p:nvSpPr>
          <p:cNvPr id="6" name="Footer Placeholder 5"/>
          <p:cNvSpPr>
            <a:spLocks noGrp="1"/>
          </p:cNvSpPr>
          <p:nvPr>
            <p:ph type="ftr" sz="quarter" idx="11"/>
            <p:custDataLst>
              <p:tags r:id="rId8"/>
            </p:custDataLst>
          </p:nvPr>
        </p:nvSpPr>
        <p:spPr/>
        <p:txBody>
          <a:bodyPr/>
          <a:lstStyle/>
          <a:p>
            <a:r>
              <a:rPr lang="en-US" smtClean="0"/>
              <a:t>COMPANY NAME</a:t>
            </a:r>
            <a:endParaRPr lang="en-US"/>
          </a:p>
        </p:txBody>
      </p:sp>
      <p:sp>
        <p:nvSpPr>
          <p:cNvPr id="18" name="Teardrop 17"/>
          <p:cNvSpPr/>
          <p:nvPr>
            <p:custDataLst>
              <p:tags r:id="rId9"/>
            </p:custDataLst>
          </p:nvPr>
        </p:nvSpPr>
        <p:spPr>
          <a:xfrm>
            <a:off x="2434581" y="3727294"/>
            <a:ext cx="2094068" cy="2094068"/>
          </a:xfrm>
          <a:prstGeom prst="teardrop">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ardrop 18"/>
          <p:cNvSpPr/>
          <p:nvPr>
            <p:custDataLst>
              <p:tags r:id="rId10"/>
            </p:custDataLst>
          </p:nvPr>
        </p:nvSpPr>
        <p:spPr>
          <a:xfrm flipV="1">
            <a:off x="2434581" y="1585913"/>
            <a:ext cx="2094068" cy="2094068"/>
          </a:xfrm>
          <a:prstGeom prst="teardrop">
            <a:avLst/>
          </a:prstGeom>
          <a:solidFill>
            <a:srgbClr val="D5D5D5"/>
          </a:solidFill>
          <a:ln w="3175">
            <a:noFill/>
            <a:round/>
            <a:headEnd/>
            <a:tailEnd/>
          </a:ln>
          <a:effectLst>
            <a:innerShdw dist="38100" dir="150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ardrop 20"/>
          <p:cNvSpPr/>
          <p:nvPr>
            <p:custDataLst>
              <p:tags r:id="rId11"/>
            </p:custDataLst>
          </p:nvPr>
        </p:nvSpPr>
        <p:spPr>
          <a:xfrm flipH="1">
            <a:off x="4580467" y="3727294"/>
            <a:ext cx="2094068" cy="2094068"/>
          </a:xfrm>
          <a:prstGeom prst="teardrop">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ardrop 21"/>
          <p:cNvSpPr/>
          <p:nvPr>
            <p:custDataLst>
              <p:tags r:id="rId12"/>
            </p:custDataLst>
          </p:nvPr>
        </p:nvSpPr>
        <p:spPr>
          <a:xfrm flipH="1" flipV="1">
            <a:off x="4580467" y="1585913"/>
            <a:ext cx="2094068" cy="2094068"/>
          </a:xfrm>
          <a:prstGeom prst="teardrop">
            <a:avLst/>
          </a:prstGeom>
          <a:solidFill>
            <a:srgbClr val="D5D5D5"/>
          </a:solidFill>
          <a:ln w="3175">
            <a:noFill/>
            <a:round/>
            <a:headEnd/>
            <a:tailEnd/>
          </a:ln>
          <a:effectLst>
            <a:innerShdw dist="38100" dir="150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10"/>
          <p:cNvSpPr txBox="1">
            <a:spLocks noChangeArrowheads="1"/>
          </p:cNvSpPr>
          <p:nvPr>
            <p:custDataLst>
              <p:tags r:id="rId13"/>
            </p:custDataLst>
          </p:nvPr>
        </p:nvSpPr>
        <p:spPr bwMode="auto">
          <a:xfrm>
            <a:off x="2625849" y="2055711"/>
            <a:ext cx="1821596" cy="115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r>
              <a:rPr lang="en-US" sz="1200" b="1" dirty="0">
                <a:latin typeface="Calibri" charset="0"/>
              </a:rPr>
              <a:t>Market Trends</a:t>
            </a:r>
          </a:p>
          <a:p>
            <a:pPr algn="ctr" eaLnBrk="1" hangingPunct="1"/>
            <a:endParaRPr lang="en-US" sz="1100" dirty="0">
              <a:latin typeface="Calibri" charset="0"/>
            </a:endParaRPr>
          </a:p>
          <a:p>
            <a:pPr algn="ctr" eaLnBrk="1" hangingPunct="1"/>
            <a:r>
              <a:rPr lang="en-US" sz="1100" noProof="1">
                <a:latin typeface="Calibri" charset="0"/>
                <a:cs typeface="Arial" charset="0"/>
              </a:rPr>
              <a:t>This is an example text. Go ahead an replace it with your own text. This is an example text</a:t>
            </a:r>
            <a:endParaRPr lang="en-US" sz="1100" dirty="0">
              <a:latin typeface="Calibri" charset="0"/>
            </a:endParaRPr>
          </a:p>
        </p:txBody>
      </p:sp>
      <p:sp>
        <p:nvSpPr>
          <p:cNvPr id="26" name="TextBox 11"/>
          <p:cNvSpPr txBox="1">
            <a:spLocks noChangeArrowheads="1"/>
          </p:cNvSpPr>
          <p:nvPr>
            <p:custDataLst>
              <p:tags r:id="rId14"/>
            </p:custDataLst>
          </p:nvPr>
        </p:nvSpPr>
        <p:spPr bwMode="auto">
          <a:xfrm>
            <a:off x="4716703" y="2055711"/>
            <a:ext cx="1821596" cy="115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r>
              <a:rPr lang="en-US" sz="1200" b="1" dirty="0">
                <a:latin typeface="Calibri" charset="0"/>
              </a:rPr>
              <a:t>Market Growth</a:t>
            </a:r>
          </a:p>
          <a:p>
            <a:pPr algn="ctr" eaLnBrk="1" hangingPunct="1"/>
            <a:endParaRPr lang="en-US" sz="1100" dirty="0">
              <a:latin typeface="Calibri" charset="0"/>
            </a:endParaRPr>
          </a:p>
          <a:p>
            <a:pPr algn="ctr" eaLnBrk="1" hangingPunct="1"/>
            <a:r>
              <a:rPr lang="en-US" sz="1100" noProof="1">
                <a:latin typeface="Calibri" charset="0"/>
                <a:cs typeface="Arial" charset="0"/>
              </a:rPr>
              <a:t>This is an example text. Go ahead an replace it with your own text. This is an example text</a:t>
            </a:r>
            <a:endParaRPr lang="en-US" sz="1100" dirty="0">
              <a:latin typeface="Calibri" charset="0"/>
            </a:endParaRPr>
          </a:p>
        </p:txBody>
      </p:sp>
      <p:sp>
        <p:nvSpPr>
          <p:cNvPr id="27" name="TextBox 12"/>
          <p:cNvSpPr txBox="1">
            <a:spLocks noChangeArrowheads="1"/>
          </p:cNvSpPr>
          <p:nvPr>
            <p:custDataLst>
              <p:tags r:id="rId15"/>
            </p:custDataLst>
          </p:nvPr>
        </p:nvSpPr>
        <p:spPr bwMode="auto">
          <a:xfrm>
            <a:off x="2625849" y="4169347"/>
            <a:ext cx="1821596" cy="115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r>
              <a:rPr lang="en-US" sz="1200" b="1" dirty="0">
                <a:latin typeface="Calibri" charset="0"/>
              </a:rPr>
              <a:t>Industry Analysis</a:t>
            </a:r>
          </a:p>
          <a:p>
            <a:pPr algn="ctr" eaLnBrk="1" hangingPunct="1"/>
            <a:endParaRPr lang="en-US" sz="1100" dirty="0">
              <a:latin typeface="Calibri" charset="0"/>
            </a:endParaRPr>
          </a:p>
          <a:p>
            <a:pPr algn="ctr" eaLnBrk="1" hangingPunct="1"/>
            <a:r>
              <a:rPr lang="en-US" sz="1100" noProof="1">
                <a:latin typeface="Calibri" charset="0"/>
                <a:cs typeface="Arial" charset="0"/>
              </a:rPr>
              <a:t>This is an example text. Go ahead an replace it with your own text. This is an example text</a:t>
            </a:r>
            <a:endParaRPr lang="en-US" sz="1100" dirty="0">
              <a:latin typeface="Calibri" charset="0"/>
            </a:endParaRPr>
          </a:p>
        </p:txBody>
      </p:sp>
      <p:sp>
        <p:nvSpPr>
          <p:cNvPr id="28" name="TextBox 13"/>
          <p:cNvSpPr txBox="1">
            <a:spLocks noChangeArrowheads="1"/>
          </p:cNvSpPr>
          <p:nvPr>
            <p:custDataLst>
              <p:tags r:id="rId16"/>
            </p:custDataLst>
          </p:nvPr>
        </p:nvSpPr>
        <p:spPr bwMode="auto">
          <a:xfrm>
            <a:off x="4704003" y="4169347"/>
            <a:ext cx="1821596" cy="115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r>
              <a:rPr lang="en-US" sz="1200" b="1" dirty="0">
                <a:latin typeface="Calibri" charset="0"/>
              </a:rPr>
              <a:t>Main Competitors</a:t>
            </a:r>
          </a:p>
          <a:p>
            <a:pPr algn="ctr" eaLnBrk="1" hangingPunct="1"/>
            <a:endParaRPr lang="en-US" sz="1100" dirty="0">
              <a:latin typeface="Calibri" charset="0"/>
            </a:endParaRPr>
          </a:p>
          <a:p>
            <a:pPr algn="ctr" eaLnBrk="1" hangingPunct="1"/>
            <a:r>
              <a:rPr lang="en-US" sz="1100" noProof="1">
                <a:latin typeface="Calibri" charset="0"/>
                <a:cs typeface="Arial" charset="0"/>
              </a:rPr>
              <a:t>This is an example text. Go ahead an replace it with your own text. This is an example text</a:t>
            </a:r>
            <a:endParaRPr lang="en-US" sz="1100" dirty="0">
              <a:latin typeface="Calibri" charset="0"/>
            </a:endParaRPr>
          </a:p>
        </p:txBody>
      </p:sp>
      <p:sp>
        <p:nvSpPr>
          <p:cNvPr id="20" name="Oval 19"/>
          <p:cNvSpPr/>
          <p:nvPr>
            <p:custDataLst>
              <p:tags r:id="rId17"/>
            </p:custDataLst>
          </p:nvPr>
        </p:nvSpPr>
        <p:spPr>
          <a:xfrm>
            <a:off x="3876675" y="3727294"/>
            <a:ext cx="651975" cy="690952"/>
          </a:xfrm>
          <a:custGeom>
            <a:avLst/>
            <a:gdLst/>
            <a:ahLst/>
            <a:cxnLst/>
            <a:rect l="l" t="t" r="r" b="b"/>
            <a:pathLst>
              <a:path w="651975" h="690952">
                <a:moveTo>
                  <a:pt x="0" y="0"/>
                </a:moveTo>
                <a:lnTo>
                  <a:pt x="651975" y="0"/>
                </a:lnTo>
                <a:lnTo>
                  <a:pt x="651975" y="690952"/>
                </a:lnTo>
                <a:cubicBezTo>
                  <a:pt x="288052" y="671509"/>
                  <a:pt x="1" y="369394"/>
                  <a:pt x="0" y="0"/>
                </a:cubicBezTo>
                <a:close/>
              </a:path>
            </a:pathLst>
          </a:custGeom>
          <a:solidFill>
            <a:srgbClr val="F0B71F"/>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custDataLst>
              <p:tags r:id="rId18"/>
            </p:custDataLst>
          </p:nvPr>
        </p:nvSpPr>
        <p:spPr>
          <a:xfrm>
            <a:off x="4580468" y="3727295"/>
            <a:ext cx="686859" cy="694469"/>
          </a:xfrm>
          <a:custGeom>
            <a:avLst/>
            <a:gdLst/>
            <a:ahLst/>
            <a:cxnLst/>
            <a:rect l="l" t="t" r="r" b="b"/>
            <a:pathLst>
              <a:path w="686859" h="694469">
                <a:moveTo>
                  <a:pt x="0" y="0"/>
                </a:moveTo>
                <a:lnTo>
                  <a:pt x="686859" y="0"/>
                </a:lnTo>
                <a:cubicBezTo>
                  <a:pt x="686858" y="381187"/>
                  <a:pt x="380121" y="690731"/>
                  <a:pt x="0" y="694469"/>
                </a:cubicBezTo>
                <a:close/>
              </a:path>
            </a:pathLst>
          </a:custGeom>
          <a:solidFill>
            <a:srgbClr val="CE202A"/>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custDataLst>
              <p:tags r:id="rId19"/>
            </p:custDataLst>
          </p:nvPr>
        </p:nvSpPr>
        <p:spPr>
          <a:xfrm>
            <a:off x="4580467" y="3032823"/>
            <a:ext cx="682090" cy="647159"/>
          </a:xfrm>
          <a:custGeom>
            <a:avLst/>
            <a:gdLst/>
            <a:ahLst/>
            <a:cxnLst/>
            <a:rect l="l" t="t" r="r" b="b"/>
            <a:pathLst>
              <a:path w="682090" h="647159">
                <a:moveTo>
                  <a:pt x="0" y="0"/>
                </a:moveTo>
                <a:cubicBezTo>
                  <a:pt x="364194" y="3547"/>
                  <a:pt x="661024" y="287876"/>
                  <a:pt x="682090" y="647159"/>
                </a:cubicBezTo>
                <a:lnTo>
                  <a:pt x="0" y="647159"/>
                </a:lnTo>
                <a:close/>
              </a:path>
            </a:pathLst>
          </a:custGeom>
          <a:solidFill>
            <a:srgbClr val="2A9B18"/>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custDataLst>
              <p:tags r:id="rId20"/>
            </p:custDataLst>
          </p:nvPr>
        </p:nvSpPr>
        <p:spPr>
          <a:xfrm>
            <a:off x="3881445" y="3036339"/>
            <a:ext cx="647205" cy="643643"/>
          </a:xfrm>
          <a:custGeom>
            <a:avLst/>
            <a:gdLst/>
            <a:ahLst/>
            <a:cxnLst/>
            <a:rect l="l" t="t" r="r" b="b"/>
            <a:pathLst>
              <a:path w="647205" h="643643">
                <a:moveTo>
                  <a:pt x="647205" y="0"/>
                </a:moveTo>
                <a:lnTo>
                  <a:pt x="647205" y="643643"/>
                </a:lnTo>
                <a:lnTo>
                  <a:pt x="0" y="643643"/>
                </a:lnTo>
                <a:cubicBezTo>
                  <a:pt x="20283" y="295955"/>
                  <a:pt x="299010" y="18472"/>
                  <a:pt x="647205" y="0"/>
                </a:cubicBezTo>
                <a:close/>
              </a:path>
            </a:pathLst>
          </a:custGeom>
          <a:solidFill>
            <a:srgbClr val="0D65AC"/>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custDataLst>
              <p:tags r:id="rId21"/>
            </p:custDataLst>
          </p:nvPr>
        </p:nvSpPr>
        <p:spPr>
          <a:xfrm>
            <a:off x="4110566" y="3265858"/>
            <a:ext cx="922867" cy="922867"/>
          </a:xfrm>
          <a:prstGeom prst="ellipse">
            <a:avLst/>
          </a:prstGeom>
          <a:solidFill>
            <a:srgbClr val="7F7F7F"/>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custDataLst>
              <p:tags r:id="rId22"/>
            </p:custDataLst>
          </p:nvPr>
        </p:nvSpPr>
        <p:spPr>
          <a:xfrm>
            <a:off x="4248256" y="3588793"/>
            <a:ext cx="647485" cy="276999"/>
          </a:xfrm>
          <a:prstGeom prst="rect">
            <a:avLst/>
          </a:prstGeom>
        </p:spPr>
        <p:txBody>
          <a:bodyPr wrap="none">
            <a:spAutoFit/>
          </a:bodyPr>
          <a:lstStyle/>
          <a:p>
            <a:r>
              <a:rPr lang="en-US" sz="1200" b="1" dirty="0">
                <a:solidFill>
                  <a:schemeClr val="bg1"/>
                </a:solidFill>
                <a:latin typeface="Calibri" charset="0"/>
              </a:rPr>
              <a:t>Market</a:t>
            </a:r>
            <a:endParaRPr lang="en-US" sz="1200" b="1" dirty="0"/>
          </a:p>
        </p:txBody>
      </p:sp>
    </p:spTree>
    <p:custDataLst>
      <p:tags r:id="rId2"/>
    </p:custDataLst>
    <p:extLst>
      <p:ext uri="{BB962C8B-B14F-4D97-AF65-F5344CB8AC3E}">
        <p14:creationId xmlns:p14="http://schemas.microsoft.com/office/powerpoint/2010/main" val="248105913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5915636" y="1776549"/>
            <a:ext cx="2413854" cy="4028695"/>
            <a:chOff x="5915636" y="1776549"/>
            <a:chExt cx="2413854" cy="4028695"/>
          </a:xfrm>
        </p:grpSpPr>
        <p:sp>
          <p:nvSpPr>
            <p:cNvPr id="26" name="Rectangle 25"/>
            <p:cNvSpPr/>
            <p:nvPr/>
          </p:nvSpPr>
          <p:spPr>
            <a:xfrm>
              <a:off x="5915636" y="2287390"/>
              <a:ext cx="2413854" cy="3517854"/>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365760" rIns="182880" bIns="91440" rtlCol="0" anchor="t"/>
            <a:lstStyle/>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a:p>
              <a:pPr marL="171450" indent="-171450">
                <a:buFont typeface="Wingdings" panose="05000000000000000000" pitchFamily="2" charset="2"/>
                <a:buChar char="§"/>
              </a:pPr>
              <a:endParaRPr lang="en-US" sz="1200" dirty="0" smtClean="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p:txBody>
        </p:sp>
        <p:sp>
          <p:nvSpPr>
            <p:cNvPr id="30" name="Rectangle 29"/>
            <p:cNvSpPr/>
            <p:nvPr/>
          </p:nvSpPr>
          <p:spPr>
            <a:xfrm>
              <a:off x="5915636" y="1776549"/>
              <a:ext cx="2413854" cy="513075"/>
            </a:xfrm>
            <a:prstGeom prst="rect">
              <a:avLst/>
            </a:prstGeom>
            <a:solidFill>
              <a:srgbClr val="7F7F7F"/>
            </a:solidFill>
            <a:ln w="3175">
              <a:noFill/>
              <a:round/>
              <a:headEnd/>
              <a:tailEnd/>
            </a:ln>
            <a:effectLst/>
          </p:spPr>
          <p:txBody>
            <a:bodyPr rtlCol="0" anchor="ctr"/>
            <a:lstStyle/>
            <a:p>
              <a:pPr algn="ctr" defTabSz="801688">
                <a:spcBef>
                  <a:spcPct val="20000"/>
                </a:spcBef>
              </a:pPr>
              <a:r>
                <a:rPr lang="en-US" sz="1400" b="1" noProof="1">
                  <a:solidFill>
                    <a:schemeClr val="bg1"/>
                  </a:solidFill>
                  <a:latin typeface="Calibri" charset="0"/>
                  <a:cs typeface="Arial" charset="0"/>
                </a:rPr>
                <a:t>Assesment of posibilities on the market</a:t>
              </a:r>
            </a:p>
          </p:txBody>
        </p:sp>
        <p:sp>
          <p:nvSpPr>
            <p:cNvPr id="42" name="Rectangle 41"/>
            <p:cNvSpPr/>
            <p:nvPr/>
          </p:nvSpPr>
          <p:spPr>
            <a:xfrm>
              <a:off x="5915636" y="2291597"/>
              <a:ext cx="2413854" cy="82160"/>
            </a:xfrm>
            <a:prstGeom prst="rect">
              <a:avLst/>
            </a:prstGeom>
            <a:solidFill>
              <a:srgbClr val="CE202A"/>
            </a:solidFill>
            <a:ln w="3175">
              <a:noFill/>
              <a:round/>
              <a:headEnd/>
              <a:tailEnd/>
            </a:ln>
            <a:effectLst>
              <a:innerShdw dist="38100" dir="5400000">
                <a:prstClr val="black">
                  <a:alpha val="20000"/>
                </a:prstClr>
              </a:innerShdw>
            </a:effectLst>
          </p:spPr>
          <p:txBody>
            <a:bodyPr rtlCol="0" anchor="ctr"/>
            <a:lstStyle/>
            <a:p>
              <a:pPr algn="ctr"/>
              <a:endParaRPr lang="en-US"/>
            </a:p>
          </p:txBody>
        </p:sp>
      </p:grpSp>
      <p:grpSp>
        <p:nvGrpSpPr>
          <p:cNvPr id="47" name="Group 46"/>
          <p:cNvGrpSpPr/>
          <p:nvPr/>
        </p:nvGrpSpPr>
        <p:grpSpPr>
          <a:xfrm>
            <a:off x="3365074" y="1776549"/>
            <a:ext cx="2413854" cy="4028695"/>
            <a:chOff x="3365074" y="1776549"/>
            <a:chExt cx="2413854" cy="4028695"/>
          </a:xfrm>
        </p:grpSpPr>
        <p:sp>
          <p:nvSpPr>
            <p:cNvPr id="25" name="Rectangle 24"/>
            <p:cNvSpPr/>
            <p:nvPr/>
          </p:nvSpPr>
          <p:spPr>
            <a:xfrm>
              <a:off x="3365074" y="2287390"/>
              <a:ext cx="2413854" cy="3517854"/>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365760" rIns="182880" bIns="91440" rtlCol="0" anchor="t"/>
            <a:lstStyle/>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a:p>
              <a:pPr marL="171450" indent="-171450">
                <a:buFont typeface="Wingdings" panose="05000000000000000000" pitchFamily="2" charset="2"/>
                <a:buChar char="§"/>
              </a:pPr>
              <a:endParaRPr lang="en-US" sz="1200" dirty="0" smtClean="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p:txBody>
        </p:sp>
        <p:sp>
          <p:nvSpPr>
            <p:cNvPr id="29" name="Rectangle 28"/>
            <p:cNvSpPr/>
            <p:nvPr/>
          </p:nvSpPr>
          <p:spPr>
            <a:xfrm>
              <a:off x="3365074" y="1776549"/>
              <a:ext cx="2413854" cy="513075"/>
            </a:xfrm>
            <a:prstGeom prst="rect">
              <a:avLst/>
            </a:prstGeom>
            <a:solidFill>
              <a:srgbClr val="7F7F7F"/>
            </a:solidFill>
            <a:ln w="3175">
              <a:noFill/>
              <a:round/>
              <a:headEnd/>
              <a:tailEnd/>
            </a:ln>
            <a:effectLst/>
          </p:spPr>
          <p:txBody>
            <a:bodyPr rtlCol="0" anchor="ctr"/>
            <a:lstStyle/>
            <a:p>
              <a:pPr algn="ctr" defTabSz="801688">
                <a:spcBef>
                  <a:spcPct val="20000"/>
                </a:spcBef>
              </a:pPr>
              <a:r>
                <a:rPr lang="en-US" sz="1400" b="1" noProof="1">
                  <a:solidFill>
                    <a:schemeClr val="bg1"/>
                  </a:solidFill>
                  <a:latin typeface="Calibri" charset="0"/>
                  <a:cs typeface="Arial" charset="0"/>
                </a:rPr>
                <a:t>Competitive parameters on the market</a:t>
              </a:r>
            </a:p>
          </p:txBody>
        </p:sp>
        <p:sp>
          <p:nvSpPr>
            <p:cNvPr id="41" name="Rectangle 40"/>
            <p:cNvSpPr/>
            <p:nvPr/>
          </p:nvSpPr>
          <p:spPr>
            <a:xfrm>
              <a:off x="3365074" y="2291597"/>
              <a:ext cx="2413854" cy="82160"/>
            </a:xfrm>
            <a:prstGeom prst="rect">
              <a:avLst/>
            </a:prstGeom>
            <a:solidFill>
              <a:srgbClr val="2A9B18"/>
            </a:solidFill>
            <a:ln w="3175">
              <a:noFill/>
              <a:round/>
              <a:headEnd/>
              <a:tailEnd/>
            </a:ln>
            <a:effectLst>
              <a:innerShdw dist="38100" dir="5400000">
                <a:prstClr val="black">
                  <a:alpha val="20000"/>
                </a:prstClr>
              </a:innerShdw>
            </a:effectLst>
          </p:spPr>
          <p:txBody>
            <a:bodyPr rtlCol="0" anchor="ctr"/>
            <a:lstStyle/>
            <a:p>
              <a:pPr algn="ctr"/>
              <a:endParaRPr lang="en-US"/>
            </a:p>
          </p:txBody>
        </p:sp>
      </p:grpSp>
      <p:grpSp>
        <p:nvGrpSpPr>
          <p:cNvPr id="46" name="Group 45"/>
          <p:cNvGrpSpPr/>
          <p:nvPr/>
        </p:nvGrpSpPr>
        <p:grpSpPr>
          <a:xfrm>
            <a:off x="814511" y="1776549"/>
            <a:ext cx="2413854" cy="4028695"/>
            <a:chOff x="814511" y="1776549"/>
            <a:chExt cx="2413854" cy="4028695"/>
          </a:xfrm>
        </p:grpSpPr>
        <p:sp>
          <p:nvSpPr>
            <p:cNvPr id="24" name="Rectangle 23"/>
            <p:cNvSpPr/>
            <p:nvPr/>
          </p:nvSpPr>
          <p:spPr>
            <a:xfrm>
              <a:off x="814511" y="2287390"/>
              <a:ext cx="2413854" cy="3517854"/>
            </a:xfrm>
            <a:prstGeom prst="rect">
              <a:avLst/>
            </a:prstGeom>
            <a:solidFill>
              <a:srgbClr val="D5D5D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365760" rIns="182880" bIns="91440" rtlCol="0" anchor="t"/>
            <a:lstStyle/>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a:p>
              <a:pPr marL="171450" indent="-171450">
                <a:buFont typeface="Wingdings" panose="05000000000000000000" pitchFamily="2" charset="2"/>
                <a:buChar char="§"/>
              </a:pPr>
              <a:endParaRPr lang="en-US" sz="1200" dirty="0" smtClean="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a:p>
              <a:pPr marL="171450" indent="-171450">
                <a:buFont typeface="Wingdings" panose="05000000000000000000" pitchFamily="2" charset="2"/>
                <a:buChar char="§"/>
              </a:pPr>
              <a:endParaRPr lang="en-US" sz="1200" dirty="0">
                <a:solidFill>
                  <a:srgbClr val="000000"/>
                </a:solidFill>
              </a:endParaRPr>
            </a:p>
            <a:p>
              <a:pPr marL="171450" indent="-171450">
                <a:buFont typeface="Wingdings" panose="05000000000000000000" pitchFamily="2" charset="2"/>
                <a:buChar char="§"/>
              </a:pPr>
              <a:r>
                <a:rPr lang="en-US" sz="1200" dirty="0">
                  <a:solidFill>
                    <a:srgbClr val="000000"/>
                  </a:solidFill>
                </a:rPr>
                <a:t>Place your text here, this is an example text. Go a head replace with your own </a:t>
              </a:r>
              <a:r>
                <a:rPr lang="en-US" sz="1200" dirty="0" smtClean="0">
                  <a:solidFill>
                    <a:srgbClr val="000000"/>
                  </a:solidFill>
                </a:rPr>
                <a:t>text</a:t>
              </a:r>
            </a:p>
          </p:txBody>
        </p:sp>
        <p:sp>
          <p:nvSpPr>
            <p:cNvPr id="28" name="Rectangle 27"/>
            <p:cNvSpPr/>
            <p:nvPr/>
          </p:nvSpPr>
          <p:spPr>
            <a:xfrm>
              <a:off x="814511" y="1776549"/>
              <a:ext cx="2413854" cy="513075"/>
            </a:xfrm>
            <a:prstGeom prst="rect">
              <a:avLst/>
            </a:prstGeom>
            <a:solidFill>
              <a:srgbClr val="7F7F7F"/>
            </a:solidFill>
            <a:ln w="3175">
              <a:noFill/>
              <a:round/>
              <a:headEnd/>
              <a:tailEnd/>
            </a:ln>
            <a:effectLst/>
          </p:spPr>
          <p:txBody>
            <a:bodyPr rtlCol="0" anchor="ctr"/>
            <a:lstStyle/>
            <a:p>
              <a:pPr algn="ctr" defTabSz="801688">
                <a:spcBef>
                  <a:spcPct val="20000"/>
                </a:spcBef>
              </a:pPr>
              <a:r>
                <a:rPr lang="en-US" sz="1400" b="1" noProof="1">
                  <a:solidFill>
                    <a:schemeClr val="bg1"/>
                  </a:solidFill>
                  <a:latin typeface="Calibri" charset="0"/>
                  <a:cs typeface="Arial" charset="0"/>
                </a:rPr>
                <a:t>Important competitiors</a:t>
              </a:r>
            </a:p>
          </p:txBody>
        </p:sp>
      </p:grpSp>
      <p:sp>
        <p:nvSpPr>
          <p:cNvPr id="39" name="Rectangle 38"/>
          <p:cNvSpPr/>
          <p:nvPr/>
        </p:nvSpPr>
        <p:spPr>
          <a:xfrm>
            <a:off x="814511" y="2291597"/>
            <a:ext cx="2413854" cy="82160"/>
          </a:xfrm>
          <a:prstGeom prst="rect">
            <a:avLst/>
          </a:prstGeom>
          <a:solidFill>
            <a:srgbClr val="0D65AC"/>
          </a:solidFill>
          <a:ln w="3175">
            <a:noFill/>
            <a:round/>
            <a:headEnd/>
            <a:tailEnd/>
          </a:ln>
          <a:effectLst>
            <a:innerShdw dist="38100" dir="5400000">
              <a:prstClr val="black">
                <a:alpha val="20000"/>
              </a:prstClr>
            </a:innerShdw>
          </a:effectLst>
        </p:spPr>
        <p:txBody>
          <a:bodyPr rtlCol="0" anchor="ctr"/>
          <a:lstStyle/>
          <a:p>
            <a:pPr algn="ctr"/>
            <a:endParaRPr lang="en-US"/>
          </a:p>
        </p:txBody>
      </p:sp>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29</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grpSp>
        <p:nvGrpSpPr>
          <p:cNvPr id="38" name="Group 37"/>
          <p:cNvGrpSpPr/>
          <p:nvPr/>
        </p:nvGrpSpPr>
        <p:grpSpPr>
          <a:xfrm>
            <a:off x="3119215" y="1847024"/>
            <a:ext cx="2905571" cy="372123"/>
            <a:chOff x="3179033" y="1847024"/>
            <a:chExt cx="2905571" cy="372123"/>
          </a:xfrm>
        </p:grpSpPr>
        <p:sp>
          <p:nvSpPr>
            <p:cNvPr id="31" name="Oval 30"/>
            <p:cNvSpPr/>
            <p:nvPr/>
          </p:nvSpPr>
          <p:spPr>
            <a:xfrm>
              <a:off x="3179033" y="1847024"/>
              <a:ext cx="372123" cy="372123"/>
            </a:xfrm>
            <a:prstGeom prst="ellipse">
              <a:avLst/>
            </a:prstGeom>
            <a:solidFill>
              <a:schemeClr val="bg1"/>
            </a:solidFill>
            <a:ln w="3175">
              <a:noFill/>
              <a:round/>
              <a:headEnd/>
              <a:tailEnd/>
            </a:ln>
            <a:effectLst/>
          </p:spPr>
          <p:txBody>
            <a:bodyPr rtlCol="0" anchor="ctr"/>
            <a:lstStyle/>
            <a:p>
              <a:pPr algn="ctr" defTabSz="801688">
                <a:spcBef>
                  <a:spcPct val="20000"/>
                </a:spcBef>
              </a:pPr>
              <a:r>
                <a:rPr lang="en-US" b="1" dirty="0" smtClean="0">
                  <a:solidFill>
                    <a:srgbClr val="7F7F7F"/>
                  </a:solidFill>
                  <a:latin typeface="Calibri" charset="0"/>
                  <a:cs typeface="Arial" charset="0"/>
                </a:rPr>
                <a:t>+</a:t>
              </a:r>
              <a:endParaRPr lang="en-US" b="1" dirty="0">
                <a:solidFill>
                  <a:srgbClr val="7F7F7F"/>
                </a:solidFill>
                <a:latin typeface="Calibri" charset="0"/>
                <a:cs typeface="Arial" charset="0"/>
              </a:endParaRPr>
            </a:p>
          </p:txBody>
        </p:sp>
        <p:sp>
          <p:nvSpPr>
            <p:cNvPr id="32" name="Oval 31"/>
            <p:cNvSpPr/>
            <p:nvPr/>
          </p:nvSpPr>
          <p:spPr>
            <a:xfrm>
              <a:off x="5712481" y="1847024"/>
              <a:ext cx="372123" cy="372123"/>
            </a:xfrm>
            <a:prstGeom prst="ellipse">
              <a:avLst/>
            </a:prstGeom>
            <a:solidFill>
              <a:schemeClr val="bg1"/>
            </a:solidFill>
            <a:ln w="3175">
              <a:noFill/>
              <a:round/>
              <a:headEnd/>
              <a:tailEnd/>
            </a:ln>
            <a:effectLst/>
          </p:spPr>
          <p:txBody>
            <a:bodyPr rtlCol="0" anchor="ctr"/>
            <a:lstStyle/>
            <a:p>
              <a:pPr algn="ctr" defTabSz="801688">
                <a:spcBef>
                  <a:spcPct val="20000"/>
                </a:spcBef>
              </a:pPr>
              <a:r>
                <a:rPr lang="en-US" b="1" dirty="0" smtClean="0">
                  <a:solidFill>
                    <a:srgbClr val="7F7F7F"/>
                  </a:solidFill>
                  <a:latin typeface="Calibri" charset="0"/>
                  <a:cs typeface="Arial" charset="0"/>
                </a:rPr>
                <a:t>+</a:t>
              </a:r>
              <a:endParaRPr lang="en-US" b="1" dirty="0">
                <a:solidFill>
                  <a:srgbClr val="7F7F7F"/>
                </a:solidFill>
                <a:latin typeface="Calibri" charset="0"/>
                <a:cs typeface="Arial" charset="0"/>
              </a:endParaRPr>
            </a:p>
          </p:txBody>
        </p:sp>
      </p:grpSp>
    </p:spTree>
    <p:custDataLst>
      <p:tags r:id="rId1"/>
    </p:custDataLst>
    <p:extLst>
      <p:ext uri="{BB962C8B-B14F-4D97-AF65-F5344CB8AC3E}">
        <p14:creationId xmlns:p14="http://schemas.microsoft.com/office/powerpoint/2010/main" val="1348317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p:cNvSpPr/>
          <p:nvPr/>
        </p:nvSpPr>
        <p:spPr>
          <a:xfrm>
            <a:off x="6511146" y="1677979"/>
            <a:ext cx="1235854" cy="1235854"/>
          </a:xfrm>
          <a:prstGeom prst="ellipse">
            <a:avLst/>
          </a:prstGeom>
          <a:noFill/>
          <a:ln w="38100">
            <a:solidFill>
              <a:srgbClr val="227C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ubtitle 3"/>
          <p:cNvSpPr>
            <a:spLocks noGrp="1"/>
          </p:cNvSpPr>
          <p:nvPr>
            <p:ph type="subTitle" idx="1"/>
          </p:nvPr>
        </p:nvSpPr>
        <p:spPr>
          <a:xfrm>
            <a:off x="628650" y="866381"/>
            <a:ext cx="7891272" cy="243785"/>
          </a:xfrm>
        </p:spPr>
        <p:txBody>
          <a:bodyPr/>
          <a:lstStyle/>
          <a:p>
            <a:pPr>
              <a:lnSpc>
                <a:spcPct val="80000"/>
              </a:lnSpc>
            </a:pPr>
            <a:r>
              <a:rPr lang="en-US" dirty="0" err="1"/>
              <a:t>Comprendre</a:t>
            </a:r>
            <a:r>
              <a:rPr lang="en-US" dirty="0"/>
              <a:t> qui </a:t>
            </a:r>
            <a:r>
              <a:rPr lang="en-US" dirty="0" err="1"/>
              <a:t>sont</a:t>
            </a:r>
            <a:r>
              <a:rPr lang="en-US" dirty="0"/>
              <a:t> les clients de </a:t>
            </a:r>
            <a:r>
              <a:rPr lang="en-US" dirty="0" err="1"/>
              <a:t>nos</a:t>
            </a:r>
            <a:r>
              <a:rPr lang="en-US" dirty="0"/>
              <a:t> clients.</a:t>
            </a:r>
            <a:endParaRPr lang="en-US" dirty="0"/>
          </a:p>
        </p:txBody>
      </p:sp>
      <p:sp>
        <p:nvSpPr>
          <p:cNvPr id="10" name="Slide Number Placeholder 9"/>
          <p:cNvSpPr>
            <a:spLocks noGrp="1"/>
          </p:cNvSpPr>
          <p:nvPr>
            <p:ph type="sldNum" sz="quarter" idx="12"/>
          </p:nvPr>
        </p:nvSpPr>
        <p:spPr/>
        <p:txBody>
          <a:bodyPr/>
          <a:lstStyle/>
          <a:p>
            <a:fld id="{125C11E9-EA40-D54F-953A-82A4C72DAAAD}" type="slidenum">
              <a:rPr lang="en-US" smtClean="0"/>
              <a:pPr/>
              <a:t>3</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a:t>GOALS</a:t>
            </a:r>
            <a:endParaRPr lang="en-US" dirty="0"/>
          </a:p>
        </p:txBody>
      </p:sp>
      <p:sp>
        <p:nvSpPr>
          <p:cNvPr id="6" name="Footer Placeholder 5"/>
          <p:cNvSpPr>
            <a:spLocks noGrp="1"/>
          </p:cNvSpPr>
          <p:nvPr>
            <p:ph type="ftr" sz="quarter" idx="11"/>
          </p:nvPr>
        </p:nvSpPr>
        <p:spPr/>
        <p:txBody>
          <a:bodyPr/>
          <a:lstStyle/>
          <a:p>
            <a:r>
              <a:rPr lang="en-US" smtClean="0"/>
              <a:t>COMPANY NAME</a:t>
            </a:r>
            <a:endParaRPr lang="en-US"/>
          </a:p>
        </p:txBody>
      </p:sp>
      <p:cxnSp>
        <p:nvCxnSpPr>
          <p:cNvPr id="7" name="Straight Connector 6"/>
          <p:cNvCxnSpPr/>
          <p:nvPr/>
        </p:nvCxnSpPr>
        <p:spPr>
          <a:xfrm flipV="1">
            <a:off x="1813344" y="3591438"/>
            <a:ext cx="1435100" cy="1435100"/>
          </a:xfrm>
          <a:prstGeom prst="line">
            <a:avLst/>
          </a:prstGeom>
          <a:ln w="1270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17850" y="3616838"/>
            <a:ext cx="2838450" cy="0"/>
          </a:xfrm>
          <a:prstGeom prst="line">
            <a:avLst/>
          </a:prstGeom>
          <a:ln w="1270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5744773" y="2283338"/>
            <a:ext cx="1397000" cy="1397000"/>
          </a:xfrm>
          <a:prstGeom prst="line">
            <a:avLst/>
          </a:prstGeom>
          <a:ln w="12700">
            <a:solidFill>
              <a:srgbClr val="7F7F7F"/>
            </a:solidFill>
            <a:prstDash val="solid"/>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1347817" y="4416165"/>
            <a:ext cx="1026304" cy="1026298"/>
          </a:xfrm>
          <a:prstGeom prst="ellipse">
            <a:avLst/>
          </a:prstGeom>
          <a:solidFill>
            <a:srgbClr val="CE202A"/>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solidFill>
                <a:schemeClr val="tx1"/>
              </a:solidFill>
              <a:latin typeface="+mj-lt"/>
            </a:endParaRPr>
          </a:p>
        </p:txBody>
      </p:sp>
      <p:sp>
        <p:nvSpPr>
          <p:cNvPr id="42" name="Oval 41"/>
          <p:cNvSpPr/>
          <p:nvPr/>
        </p:nvSpPr>
        <p:spPr>
          <a:xfrm>
            <a:off x="2741642" y="3120956"/>
            <a:ext cx="1026304" cy="1026298"/>
          </a:xfrm>
          <a:prstGeom prst="ellipse">
            <a:avLst/>
          </a:pr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solidFill>
                <a:schemeClr val="tx1"/>
              </a:solidFill>
              <a:latin typeface="+mj-lt"/>
            </a:endParaRPr>
          </a:p>
        </p:txBody>
      </p:sp>
      <p:sp>
        <p:nvSpPr>
          <p:cNvPr id="43" name="Oval 42"/>
          <p:cNvSpPr/>
          <p:nvPr/>
        </p:nvSpPr>
        <p:spPr>
          <a:xfrm>
            <a:off x="5233598" y="3120956"/>
            <a:ext cx="1026304" cy="1026298"/>
          </a:xfrm>
          <a:prstGeom prst="ellipse">
            <a:avLst/>
          </a:prstGeom>
          <a:solidFill>
            <a:srgbClr val="E99E09"/>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solidFill>
                <a:schemeClr val="tx1"/>
              </a:solidFill>
              <a:latin typeface="+mj-lt"/>
            </a:endParaRPr>
          </a:p>
        </p:txBody>
      </p:sp>
      <p:sp>
        <p:nvSpPr>
          <p:cNvPr id="44" name="Oval 43"/>
          <p:cNvSpPr/>
          <p:nvPr/>
        </p:nvSpPr>
        <p:spPr>
          <a:xfrm>
            <a:off x="6628621" y="1792376"/>
            <a:ext cx="1026304" cy="1026298"/>
          </a:xfrm>
          <a:prstGeom prst="ellipse">
            <a:avLst/>
          </a:prstGeom>
          <a:solidFill>
            <a:srgbClr val="227C13"/>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a:solidFill>
                <a:schemeClr val="tx1"/>
              </a:solidFill>
              <a:latin typeface="+mj-lt"/>
            </a:endParaRPr>
          </a:p>
        </p:txBody>
      </p:sp>
      <p:sp>
        <p:nvSpPr>
          <p:cNvPr id="45" name="Rectangle 33"/>
          <p:cNvSpPr>
            <a:spLocks/>
          </p:cNvSpPr>
          <p:nvPr/>
        </p:nvSpPr>
        <p:spPr bwMode="auto">
          <a:xfrm>
            <a:off x="6298002" y="3012980"/>
            <a:ext cx="1775137"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pPr algn="ctr"/>
            <a:r>
              <a:rPr lang="en-US" sz="1100" b="1" dirty="0" smtClean="0"/>
              <a:t>Profiling :</a:t>
            </a:r>
            <a:r>
              <a:rPr lang="en-US" sz="1100" dirty="0" smtClean="0"/>
              <a:t> </a:t>
            </a:r>
          </a:p>
          <a:p>
            <a:pPr algn="ctr"/>
            <a:r>
              <a:rPr lang="fr-FR" sz="1100" dirty="0" smtClean="0"/>
              <a:t>Le positionnement émotionnel social de notre client peut être compilé.</a:t>
            </a:r>
            <a:endParaRPr lang="en-US" sz="1100" dirty="0"/>
          </a:p>
        </p:txBody>
      </p:sp>
      <p:sp>
        <p:nvSpPr>
          <p:cNvPr id="3" name="Rectangle 2"/>
          <p:cNvSpPr/>
          <p:nvPr/>
        </p:nvSpPr>
        <p:spPr>
          <a:xfrm>
            <a:off x="5057647" y="4180907"/>
            <a:ext cx="1853570" cy="938719"/>
          </a:xfrm>
          <a:prstGeom prst="rect">
            <a:avLst/>
          </a:prstGeom>
        </p:spPr>
        <p:txBody>
          <a:bodyPr wrap="square">
            <a:spAutoFit/>
          </a:bodyPr>
          <a:lstStyle/>
          <a:p>
            <a:pPr algn="ctr"/>
            <a:r>
              <a:rPr lang="en-US" sz="1100" b="1" dirty="0" smtClean="0"/>
              <a:t>Construction </a:t>
            </a:r>
            <a:r>
              <a:rPr lang="en-US" sz="1100" b="1" dirty="0"/>
              <a:t>de </a:t>
            </a:r>
            <a:r>
              <a:rPr lang="en-US" sz="1100" b="1" dirty="0" err="1" smtClean="0"/>
              <a:t>l’émotion</a:t>
            </a:r>
            <a:r>
              <a:rPr lang="en-US" sz="1100" b="1" dirty="0" smtClean="0"/>
              <a:t> : </a:t>
            </a:r>
            <a:r>
              <a:rPr lang="en-US" sz="1100" dirty="0" smtClean="0"/>
              <a:t>Convergence de </a:t>
            </a:r>
            <a:r>
              <a:rPr lang="en-US" sz="1100" dirty="0" err="1" smtClean="0"/>
              <a:t>plusieurs</a:t>
            </a:r>
            <a:r>
              <a:rPr lang="en-US" sz="1100" dirty="0" smtClean="0"/>
              <a:t> </a:t>
            </a:r>
            <a:r>
              <a:rPr lang="en-US" sz="1100" dirty="0" err="1" smtClean="0"/>
              <a:t>indicateurs</a:t>
            </a:r>
            <a:r>
              <a:rPr lang="en-US" sz="1100" dirty="0" smtClean="0"/>
              <a:t> pour dresser le </a:t>
            </a:r>
            <a:r>
              <a:rPr lang="en-US" sz="1100" dirty="0" err="1" smtClean="0"/>
              <a:t>profil</a:t>
            </a:r>
            <a:r>
              <a:rPr lang="en-US" sz="1100" dirty="0" smtClean="0"/>
              <a:t> </a:t>
            </a:r>
            <a:r>
              <a:rPr lang="en-US" sz="1100" dirty="0" err="1" smtClean="0"/>
              <a:t>psycologique</a:t>
            </a:r>
            <a:r>
              <a:rPr lang="en-US" sz="1100" dirty="0" smtClean="0"/>
              <a:t> </a:t>
            </a:r>
            <a:r>
              <a:rPr lang="en-US" sz="1100" dirty="0" err="1" smtClean="0"/>
              <a:t>statistique</a:t>
            </a:r>
            <a:r>
              <a:rPr lang="en-US" sz="1100" dirty="0" smtClean="0"/>
              <a:t> du client </a:t>
            </a:r>
            <a:r>
              <a:rPr lang="en-US" sz="1100" dirty="0" err="1" smtClean="0"/>
              <a:t>cible</a:t>
            </a:r>
            <a:r>
              <a:rPr lang="en-US" sz="1100" dirty="0" smtClean="0"/>
              <a:t>.</a:t>
            </a:r>
            <a:endParaRPr lang="en-US" sz="1100" dirty="0"/>
          </a:p>
        </p:txBody>
      </p:sp>
      <p:sp>
        <p:nvSpPr>
          <p:cNvPr id="21" name="Rectangle 20"/>
          <p:cNvSpPr/>
          <p:nvPr/>
        </p:nvSpPr>
        <p:spPr>
          <a:xfrm>
            <a:off x="2613487" y="4166681"/>
            <a:ext cx="2263313" cy="769441"/>
          </a:xfrm>
          <a:prstGeom prst="rect">
            <a:avLst/>
          </a:prstGeom>
        </p:spPr>
        <p:txBody>
          <a:bodyPr wrap="square">
            <a:spAutoFit/>
          </a:bodyPr>
          <a:lstStyle/>
          <a:p>
            <a:pPr algn="ctr"/>
            <a:r>
              <a:rPr lang="fr-FR" sz="1100" b="1" dirty="0"/>
              <a:t>Réglage adaptatif </a:t>
            </a:r>
            <a:r>
              <a:rPr lang="fr-FR" sz="1100" b="1" dirty="0" smtClean="0"/>
              <a:t>de l’écoute : </a:t>
            </a:r>
            <a:br>
              <a:rPr lang="fr-FR" sz="1100" b="1" dirty="0" smtClean="0"/>
            </a:br>
            <a:r>
              <a:rPr lang="fr-FR" sz="1100" dirty="0" smtClean="0"/>
              <a:t>Le cœur </a:t>
            </a:r>
            <a:r>
              <a:rPr lang="fr-FR" sz="1100" dirty="0" err="1" smtClean="0"/>
              <a:t>DataNest</a:t>
            </a:r>
            <a:r>
              <a:rPr lang="fr-FR" sz="1100" dirty="0" smtClean="0"/>
              <a:t> acquiert de plus en plus d’intelligence à </a:t>
            </a:r>
            <a:r>
              <a:rPr lang="fr-FR" sz="1100" dirty="0" err="1" smtClean="0"/>
              <a:t>selectionner</a:t>
            </a:r>
            <a:r>
              <a:rPr lang="fr-FR" sz="1100" dirty="0" smtClean="0"/>
              <a:t> ses cibles d’écoute.</a:t>
            </a:r>
            <a:endParaRPr lang="en-US" sz="1100" dirty="0"/>
          </a:p>
        </p:txBody>
      </p:sp>
      <p:sp>
        <p:nvSpPr>
          <p:cNvPr id="22" name="Rectangle 21"/>
          <p:cNvSpPr/>
          <p:nvPr/>
        </p:nvSpPr>
        <p:spPr>
          <a:xfrm>
            <a:off x="1156644" y="5425847"/>
            <a:ext cx="1374250" cy="1107996"/>
          </a:xfrm>
          <a:prstGeom prst="rect">
            <a:avLst/>
          </a:prstGeom>
        </p:spPr>
        <p:txBody>
          <a:bodyPr wrap="square">
            <a:spAutoFit/>
          </a:bodyPr>
          <a:lstStyle/>
          <a:p>
            <a:pPr algn="ctr"/>
            <a:r>
              <a:rPr lang="en-US" sz="1100" b="1" dirty="0" err="1" smtClean="0"/>
              <a:t>Ecoute</a:t>
            </a:r>
            <a:r>
              <a:rPr lang="en-US" sz="1100" b="1" dirty="0" smtClean="0"/>
              <a:t> : </a:t>
            </a:r>
          </a:p>
          <a:p>
            <a:pPr algn="ctr"/>
            <a:r>
              <a:rPr lang="en-US" sz="1100" dirty="0" smtClean="0"/>
              <a:t>Capture </a:t>
            </a:r>
            <a:r>
              <a:rPr lang="en-US" sz="1100" dirty="0"/>
              <a:t>en </a:t>
            </a:r>
            <a:r>
              <a:rPr lang="en-US" sz="1100" dirty="0" err="1"/>
              <a:t>profondeur</a:t>
            </a:r>
            <a:r>
              <a:rPr lang="en-US" sz="1100" dirty="0"/>
              <a:t> des discussions en-</a:t>
            </a:r>
            <a:r>
              <a:rPr lang="en-US" sz="1100" dirty="0" err="1"/>
              <a:t>lignes</a:t>
            </a:r>
            <a:r>
              <a:rPr lang="en-US" sz="1100" dirty="0"/>
              <a:t> </a:t>
            </a:r>
            <a:r>
              <a:rPr lang="en-US" sz="1100" dirty="0" err="1"/>
              <a:t>publiques</a:t>
            </a:r>
            <a:r>
              <a:rPr lang="en-US" sz="1100" dirty="0"/>
              <a:t>.</a:t>
            </a:r>
          </a:p>
          <a:p>
            <a:pPr algn="ctr"/>
            <a:endParaRPr lang="en-US" sz="1100" dirty="0"/>
          </a:p>
        </p:txBody>
      </p:sp>
      <p:grpSp>
        <p:nvGrpSpPr>
          <p:cNvPr id="23" name="Group 22"/>
          <p:cNvGrpSpPr/>
          <p:nvPr/>
        </p:nvGrpSpPr>
        <p:grpSpPr>
          <a:xfrm>
            <a:off x="5429157" y="3377184"/>
            <a:ext cx="681986" cy="513842"/>
            <a:chOff x="9074150" y="4032250"/>
            <a:chExt cx="920751" cy="693738"/>
          </a:xfrm>
          <a:solidFill>
            <a:schemeClr val="bg1"/>
          </a:solidFill>
          <a:effectLst/>
        </p:grpSpPr>
        <p:sp>
          <p:nvSpPr>
            <p:cNvPr id="24" name="Freeform 94"/>
            <p:cNvSpPr>
              <a:spLocks/>
            </p:cNvSpPr>
            <p:nvPr/>
          </p:nvSpPr>
          <p:spPr bwMode="auto">
            <a:xfrm>
              <a:off x="9332913" y="4032250"/>
              <a:ext cx="661988" cy="452438"/>
            </a:xfrm>
            <a:custGeom>
              <a:avLst/>
              <a:gdLst>
                <a:gd name="T0" fmla="*/ 0 w 836"/>
                <a:gd name="T1" fmla="*/ 146 h 569"/>
                <a:gd name="T2" fmla="*/ 551 w 836"/>
                <a:gd name="T3" fmla="*/ 146 h 569"/>
                <a:gd name="T4" fmla="*/ 551 w 836"/>
                <a:gd name="T5" fmla="*/ 0 h 569"/>
                <a:gd name="T6" fmla="*/ 836 w 836"/>
                <a:gd name="T7" fmla="*/ 285 h 569"/>
                <a:gd name="T8" fmla="*/ 551 w 836"/>
                <a:gd name="T9" fmla="*/ 569 h 569"/>
                <a:gd name="T10" fmla="*/ 551 w 836"/>
                <a:gd name="T11" fmla="*/ 423 h 569"/>
                <a:gd name="T12" fmla="*/ 0 w 836"/>
                <a:gd name="T13" fmla="*/ 423 h 569"/>
                <a:gd name="T14" fmla="*/ 0 w 836"/>
                <a:gd name="T15" fmla="*/ 146 h 5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6" h="569">
                  <a:moveTo>
                    <a:pt x="0" y="146"/>
                  </a:moveTo>
                  <a:lnTo>
                    <a:pt x="551" y="146"/>
                  </a:lnTo>
                  <a:lnTo>
                    <a:pt x="551" y="0"/>
                  </a:lnTo>
                  <a:lnTo>
                    <a:pt x="836" y="285"/>
                  </a:lnTo>
                  <a:lnTo>
                    <a:pt x="551" y="569"/>
                  </a:lnTo>
                  <a:lnTo>
                    <a:pt x="551" y="423"/>
                  </a:lnTo>
                  <a:lnTo>
                    <a:pt x="0" y="423"/>
                  </a:ln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95"/>
            <p:cNvSpPr>
              <a:spLocks/>
            </p:cNvSpPr>
            <p:nvPr/>
          </p:nvSpPr>
          <p:spPr bwMode="auto">
            <a:xfrm>
              <a:off x="9074150" y="4275138"/>
              <a:ext cx="663575" cy="450850"/>
            </a:xfrm>
            <a:custGeom>
              <a:avLst/>
              <a:gdLst>
                <a:gd name="T0" fmla="*/ 835 w 835"/>
                <a:gd name="T1" fmla="*/ 424 h 570"/>
                <a:gd name="T2" fmla="*/ 284 w 835"/>
                <a:gd name="T3" fmla="*/ 424 h 570"/>
                <a:gd name="T4" fmla="*/ 284 w 835"/>
                <a:gd name="T5" fmla="*/ 570 h 570"/>
                <a:gd name="T6" fmla="*/ 0 w 835"/>
                <a:gd name="T7" fmla="*/ 285 h 570"/>
                <a:gd name="T8" fmla="*/ 284 w 835"/>
                <a:gd name="T9" fmla="*/ 0 h 570"/>
                <a:gd name="T10" fmla="*/ 284 w 835"/>
                <a:gd name="T11" fmla="*/ 146 h 570"/>
                <a:gd name="T12" fmla="*/ 835 w 835"/>
                <a:gd name="T13" fmla="*/ 146 h 570"/>
                <a:gd name="T14" fmla="*/ 835 w 835"/>
                <a:gd name="T15" fmla="*/ 424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5" h="570">
                  <a:moveTo>
                    <a:pt x="835" y="424"/>
                  </a:moveTo>
                  <a:lnTo>
                    <a:pt x="284" y="424"/>
                  </a:lnTo>
                  <a:lnTo>
                    <a:pt x="284" y="570"/>
                  </a:lnTo>
                  <a:lnTo>
                    <a:pt x="0" y="285"/>
                  </a:lnTo>
                  <a:lnTo>
                    <a:pt x="284" y="0"/>
                  </a:lnTo>
                  <a:lnTo>
                    <a:pt x="284" y="146"/>
                  </a:lnTo>
                  <a:lnTo>
                    <a:pt x="835" y="146"/>
                  </a:lnTo>
                  <a:lnTo>
                    <a:pt x="835"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p:cNvGrpSpPr/>
          <p:nvPr/>
        </p:nvGrpSpPr>
        <p:grpSpPr>
          <a:xfrm rot="1365204">
            <a:off x="1570802" y="4673161"/>
            <a:ext cx="618562" cy="474096"/>
            <a:chOff x="625475" y="2439988"/>
            <a:chExt cx="482600" cy="369888"/>
          </a:xfrm>
          <a:solidFill>
            <a:schemeClr val="bg1"/>
          </a:solidFill>
          <a:effectLst/>
        </p:grpSpPr>
        <p:sp>
          <p:nvSpPr>
            <p:cNvPr id="27" name="Freeform 168"/>
            <p:cNvSpPr>
              <a:spLocks noEditPoints="1"/>
            </p:cNvSpPr>
            <p:nvPr/>
          </p:nvSpPr>
          <p:spPr bwMode="auto">
            <a:xfrm>
              <a:off x="625475" y="2439988"/>
              <a:ext cx="482600" cy="369888"/>
            </a:xfrm>
            <a:custGeom>
              <a:avLst/>
              <a:gdLst>
                <a:gd name="T0" fmla="*/ 566 w 1519"/>
                <a:gd name="T1" fmla="*/ 10 h 1165"/>
                <a:gd name="T2" fmla="*/ 675 w 1519"/>
                <a:gd name="T3" fmla="*/ 46 h 1165"/>
                <a:gd name="T4" fmla="*/ 770 w 1519"/>
                <a:gd name="T5" fmla="*/ 107 h 1165"/>
                <a:gd name="T6" fmla="*/ 848 w 1519"/>
                <a:gd name="T7" fmla="*/ 189 h 1165"/>
                <a:gd name="T8" fmla="*/ 904 w 1519"/>
                <a:gd name="T9" fmla="*/ 288 h 1165"/>
                <a:gd name="T10" fmla="*/ 936 w 1519"/>
                <a:gd name="T11" fmla="*/ 399 h 1165"/>
                <a:gd name="T12" fmla="*/ 938 w 1519"/>
                <a:gd name="T13" fmla="*/ 520 h 1165"/>
                <a:gd name="T14" fmla="*/ 912 w 1519"/>
                <a:gd name="T15" fmla="*/ 635 h 1165"/>
                <a:gd name="T16" fmla="*/ 1503 w 1519"/>
                <a:gd name="T17" fmla="*/ 1047 h 1165"/>
                <a:gd name="T18" fmla="*/ 1518 w 1519"/>
                <a:gd name="T19" fmla="*/ 1078 h 1165"/>
                <a:gd name="T20" fmla="*/ 1517 w 1519"/>
                <a:gd name="T21" fmla="*/ 1113 h 1165"/>
                <a:gd name="T22" fmla="*/ 1498 w 1519"/>
                <a:gd name="T23" fmla="*/ 1143 h 1165"/>
                <a:gd name="T24" fmla="*/ 1469 w 1519"/>
                <a:gd name="T25" fmla="*/ 1161 h 1165"/>
                <a:gd name="T26" fmla="*/ 1435 w 1519"/>
                <a:gd name="T27" fmla="*/ 1163 h 1165"/>
                <a:gd name="T28" fmla="*/ 828 w 1519"/>
                <a:gd name="T29" fmla="*/ 778 h 1165"/>
                <a:gd name="T30" fmla="*/ 735 w 1519"/>
                <a:gd name="T31" fmla="*/ 860 h 1165"/>
                <a:gd name="T32" fmla="*/ 623 w 1519"/>
                <a:gd name="T33" fmla="*/ 916 h 1165"/>
                <a:gd name="T34" fmla="*/ 497 w 1519"/>
                <a:gd name="T35" fmla="*/ 941 h 1165"/>
                <a:gd name="T36" fmla="*/ 376 w 1519"/>
                <a:gd name="T37" fmla="*/ 932 h 1165"/>
                <a:gd name="T38" fmla="*/ 266 w 1519"/>
                <a:gd name="T39" fmla="*/ 895 h 1165"/>
                <a:gd name="T40" fmla="*/ 172 w 1519"/>
                <a:gd name="T41" fmla="*/ 834 h 1165"/>
                <a:gd name="T42" fmla="*/ 94 w 1519"/>
                <a:gd name="T43" fmla="*/ 752 h 1165"/>
                <a:gd name="T44" fmla="*/ 37 w 1519"/>
                <a:gd name="T45" fmla="*/ 654 h 1165"/>
                <a:gd name="T46" fmla="*/ 6 w 1519"/>
                <a:gd name="T47" fmla="*/ 542 h 1165"/>
                <a:gd name="T48" fmla="*/ 3 w 1519"/>
                <a:gd name="T49" fmla="*/ 423 h 1165"/>
                <a:gd name="T50" fmla="*/ 29 w 1519"/>
                <a:gd name="T51" fmla="*/ 308 h 1165"/>
                <a:gd name="T52" fmla="*/ 81 w 1519"/>
                <a:gd name="T53" fmla="*/ 208 h 1165"/>
                <a:gd name="T54" fmla="*/ 155 w 1519"/>
                <a:gd name="T55" fmla="*/ 122 h 1165"/>
                <a:gd name="T56" fmla="*/ 246 w 1519"/>
                <a:gd name="T57" fmla="*/ 57 h 1165"/>
                <a:gd name="T58" fmla="*/ 353 w 1519"/>
                <a:gd name="T59" fmla="*/ 15 h 1165"/>
                <a:gd name="T60" fmla="*/ 471 w 1519"/>
                <a:gd name="T61" fmla="*/ 0 h 1165"/>
                <a:gd name="T62" fmla="*/ 543 w 1519"/>
                <a:gd name="T63" fmla="*/ 119 h 1165"/>
                <a:gd name="T64" fmla="*/ 627 w 1519"/>
                <a:gd name="T65" fmla="*/ 147 h 1165"/>
                <a:gd name="T66" fmla="*/ 699 w 1519"/>
                <a:gd name="T67" fmla="*/ 194 h 1165"/>
                <a:gd name="T68" fmla="*/ 759 w 1519"/>
                <a:gd name="T69" fmla="*/ 256 h 1165"/>
                <a:gd name="T70" fmla="*/ 802 w 1519"/>
                <a:gd name="T71" fmla="*/ 331 h 1165"/>
                <a:gd name="T72" fmla="*/ 825 w 1519"/>
                <a:gd name="T73" fmla="*/ 416 h 1165"/>
                <a:gd name="T74" fmla="*/ 828 w 1519"/>
                <a:gd name="T75" fmla="*/ 507 h 1165"/>
                <a:gd name="T76" fmla="*/ 807 w 1519"/>
                <a:gd name="T77" fmla="*/ 594 h 1165"/>
                <a:gd name="T78" fmla="*/ 768 w 1519"/>
                <a:gd name="T79" fmla="*/ 671 h 1165"/>
                <a:gd name="T80" fmla="*/ 713 w 1519"/>
                <a:gd name="T81" fmla="*/ 736 h 1165"/>
                <a:gd name="T82" fmla="*/ 641 w 1519"/>
                <a:gd name="T83" fmla="*/ 786 h 1165"/>
                <a:gd name="T84" fmla="*/ 560 w 1519"/>
                <a:gd name="T85" fmla="*/ 818 h 1165"/>
                <a:gd name="T86" fmla="*/ 471 w 1519"/>
                <a:gd name="T87" fmla="*/ 829 h 1165"/>
                <a:gd name="T88" fmla="*/ 382 w 1519"/>
                <a:gd name="T89" fmla="*/ 818 h 1165"/>
                <a:gd name="T90" fmla="*/ 300 w 1519"/>
                <a:gd name="T91" fmla="*/ 786 h 1165"/>
                <a:gd name="T92" fmla="*/ 229 w 1519"/>
                <a:gd name="T93" fmla="*/ 736 h 1165"/>
                <a:gd name="T94" fmla="*/ 174 w 1519"/>
                <a:gd name="T95" fmla="*/ 671 h 1165"/>
                <a:gd name="T96" fmla="*/ 134 w 1519"/>
                <a:gd name="T97" fmla="*/ 594 h 1165"/>
                <a:gd name="T98" fmla="*/ 114 w 1519"/>
                <a:gd name="T99" fmla="*/ 507 h 1165"/>
                <a:gd name="T100" fmla="*/ 116 w 1519"/>
                <a:gd name="T101" fmla="*/ 416 h 1165"/>
                <a:gd name="T102" fmla="*/ 140 w 1519"/>
                <a:gd name="T103" fmla="*/ 331 h 1165"/>
                <a:gd name="T104" fmla="*/ 183 w 1519"/>
                <a:gd name="T105" fmla="*/ 256 h 1165"/>
                <a:gd name="T106" fmla="*/ 243 w 1519"/>
                <a:gd name="T107" fmla="*/ 194 h 1165"/>
                <a:gd name="T108" fmla="*/ 315 w 1519"/>
                <a:gd name="T109" fmla="*/ 147 h 1165"/>
                <a:gd name="T110" fmla="*/ 399 w 1519"/>
                <a:gd name="T111" fmla="*/ 119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9" h="1165">
                  <a:moveTo>
                    <a:pt x="471" y="0"/>
                  </a:moveTo>
                  <a:lnTo>
                    <a:pt x="495" y="1"/>
                  </a:lnTo>
                  <a:lnTo>
                    <a:pt x="519" y="2"/>
                  </a:lnTo>
                  <a:lnTo>
                    <a:pt x="542" y="6"/>
                  </a:lnTo>
                  <a:lnTo>
                    <a:pt x="566" y="10"/>
                  </a:lnTo>
                  <a:lnTo>
                    <a:pt x="588" y="15"/>
                  </a:lnTo>
                  <a:lnTo>
                    <a:pt x="611" y="22"/>
                  </a:lnTo>
                  <a:lnTo>
                    <a:pt x="632" y="28"/>
                  </a:lnTo>
                  <a:lnTo>
                    <a:pt x="654" y="37"/>
                  </a:lnTo>
                  <a:lnTo>
                    <a:pt x="675" y="46"/>
                  </a:lnTo>
                  <a:lnTo>
                    <a:pt x="696" y="57"/>
                  </a:lnTo>
                  <a:lnTo>
                    <a:pt x="715" y="68"/>
                  </a:lnTo>
                  <a:lnTo>
                    <a:pt x="734" y="80"/>
                  </a:lnTo>
                  <a:lnTo>
                    <a:pt x="752" y="94"/>
                  </a:lnTo>
                  <a:lnTo>
                    <a:pt x="770" y="107"/>
                  </a:lnTo>
                  <a:lnTo>
                    <a:pt x="787" y="122"/>
                  </a:lnTo>
                  <a:lnTo>
                    <a:pt x="804" y="138"/>
                  </a:lnTo>
                  <a:lnTo>
                    <a:pt x="819" y="155"/>
                  </a:lnTo>
                  <a:lnTo>
                    <a:pt x="833" y="172"/>
                  </a:lnTo>
                  <a:lnTo>
                    <a:pt x="848" y="189"/>
                  </a:lnTo>
                  <a:lnTo>
                    <a:pt x="860" y="208"/>
                  </a:lnTo>
                  <a:lnTo>
                    <a:pt x="873" y="227"/>
                  </a:lnTo>
                  <a:lnTo>
                    <a:pt x="884" y="246"/>
                  </a:lnTo>
                  <a:lnTo>
                    <a:pt x="895" y="267"/>
                  </a:lnTo>
                  <a:lnTo>
                    <a:pt x="904" y="288"/>
                  </a:lnTo>
                  <a:lnTo>
                    <a:pt x="912" y="308"/>
                  </a:lnTo>
                  <a:lnTo>
                    <a:pt x="920" y="331"/>
                  </a:lnTo>
                  <a:lnTo>
                    <a:pt x="926" y="354"/>
                  </a:lnTo>
                  <a:lnTo>
                    <a:pt x="932" y="376"/>
                  </a:lnTo>
                  <a:lnTo>
                    <a:pt x="936" y="399"/>
                  </a:lnTo>
                  <a:lnTo>
                    <a:pt x="938" y="423"/>
                  </a:lnTo>
                  <a:lnTo>
                    <a:pt x="941" y="446"/>
                  </a:lnTo>
                  <a:lnTo>
                    <a:pt x="942" y="471"/>
                  </a:lnTo>
                  <a:lnTo>
                    <a:pt x="941" y="495"/>
                  </a:lnTo>
                  <a:lnTo>
                    <a:pt x="938" y="520"/>
                  </a:lnTo>
                  <a:lnTo>
                    <a:pt x="936" y="543"/>
                  </a:lnTo>
                  <a:lnTo>
                    <a:pt x="932" y="567"/>
                  </a:lnTo>
                  <a:lnTo>
                    <a:pt x="926" y="590"/>
                  </a:lnTo>
                  <a:lnTo>
                    <a:pt x="919" y="612"/>
                  </a:lnTo>
                  <a:lnTo>
                    <a:pt x="912" y="635"/>
                  </a:lnTo>
                  <a:lnTo>
                    <a:pt x="903" y="656"/>
                  </a:lnTo>
                  <a:lnTo>
                    <a:pt x="1486" y="1032"/>
                  </a:lnTo>
                  <a:lnTo>
                    <a:pt x="1492" y="1037"/>
                  </a:lnTo>
                  <a:lnTo>
                    <a:pt x="1497" y="1041"/>
                  </a:lnTo>
                  <a:lnTo>
                    <a:pt x="1503" y="1047"/>
                  </a:lnTo>
                  <a:lnTo>
                    <a:pt x="1506" y="1053"/>
                  </a:lnTo>
                  <a:lnTo>
                    <a:pt x="1511" y="1058"/>
                  </a:lnTo>
                  <a:lnTo>
                    <a:pt x="1513" y="1065"/>
                  </a:lnTo>
                  <a:lnTo>
                    <a:pt x="1515" y="1071"/>
                  </a:lnTo>
                  <a:lnTo>
                    <a:pt x="1518" y="1078"/>
                  </a:lnTo>
                  <a:lnTo>
                    <a:pt x="1519" y="1084"/>
                  </a:lnTo>
                  <a:lnTo>
                    <a:pt x="1519" y="1091"/>
                  </a:lnTo>
                  <a:lnTo>
                    <a:pt x="1519" y="1098"/>
                  </a:lnTo>
                  <a:lnTo>
                    <a:pt x="1518" y="1105"/>
                  </a:lnTo>
                  <a:lnTo>
                    <a:pt x="1517" y="1113"/>
                  </a:lnTo>
                  <a:lnTo>
                    <a:pt x="1514" y="1118"/>
                  </a:lnTo>
                  <a:lnTo>
                    <a:pt x="1512" y="1125"/>
                  </a:lnTo>
                  <a:lnTo>
                    <a:pt x="1507" y="1132"/>
                  </a:lnTo>
                  <a:lnTo>
                    <a:pt x="1504" y="1137"/>
                  </a:lnTo>
                  <a:lnTo>
                    <a:pt x="1498" y="1143"/>
                  </a:lnTo>
                  <a:lnTo>
                    <a:pt x="1494" y="1148"/>
                  </a:lnTo>
                  <a:lnTo>
                    <a:pt x="1488" y="1152"/>
                  </a:lnTo>
                  <a:lnTo>
                    <a:pt x="1483" y="1155"/>
                  </a:lnTo>
                  <a:lnTo>
                    <a:pt x="1476" y="1159"/>
                  </a:lnTo>
                  <a:lnTo>
                    <a:pt x="1469" y="1161"/>
                  </a:lnTo>
                  <a:lnTo>
                    <a:pt x="1462" y="1163"/>
                  </a:lnTo>
                  <a:lnTo>
                    <a:pt x="1456" y="1165"/>
                  </a:lnTo>
                  <a:lnTo>
                    <a:pt x="1449" y="1165"/>
                  </a:lnTo>
                  <a:lnTo>
                    <a:pt x="1442" y="1165"/>
                  </a:lnTo>
                  <a:lnTo>
                    <a:pt x="1435" y="1163"/>
                  </a:lnTo>
                  <a:lnTo>
                    <a:pt x="1428" y="1162"/>
                  </a:lnTo>
                  <a:lnTo>
                    <a:pt x="1422" y="1160"/>
                  </a:lnTo>
                  <a:lnTo>
                    <a:pt x="1415" y="1157"/>
                  </a:lnTo>
                  <a:lnTo>
                    <a:pt x="1409" y="1153"/>
                  </a:lnTo>
                  <a:lnTo>
                    <a:pt x="828" y="778"/>
                  </a:lnTo>
                  <a:lnTo>
                    <a:pt x="811" y="796"/>
                  </a:lnTo>
                  <a:lnTo>
                    <a:pt x="793" y="813"/>
                  </a:lnTo>
                  <a:lnTo>
                    <a:pt x="775" y="830"/>
                  </a:lnTo>
                  <a:lnTo>
                    <a:pt x="755" y="846"/>
                  </a:lnTo>
                  <a:lnTo>
                    <a:pt x="735" y="860"/>
                  </a:lnTo>
                  <a:lnTo>
                    <a:pt x="714" y="873"/>
                  </a:lnTo>
                  <a:lnTo>
                    <a:pt x="692" y="886"/>
                  </a:lnTo>
                  <a:lnTo>
                    <a:pt x="670" y="897"/>
                  </a:lnTo>
                  <a:lnTo>
                    <a:pt x="647" y="907"/>
                  </a:lnTo>
                  <a:lnTo>
                    <a:pt x="623" y="916"/>
                  </a:lnTo>
                  <a:lnTo>
                    <a:pt x="600" y="924"/>
                  </a:lnTo>
                  <a:lnTo>
                    <a:pt x="575" y="930"/>
                  </a:lnTo>
                  <a:lnTo>
                    <a:pt x="549" y="935"/>
                  </a:lnTo>
                  <a:lnTo>
                    <a:pt x="524" y="939"/>
                  </a:lnTo>
                  <a:lnTo>
                    <a:pt x="497" y="941"/>
                  </a:lnTo>
                  <a:lnTo>
                    <a:pt x="471" y="941"/>
                  </a:lnTo>
                  <a:lnTo>
                    <a:pt x="447" y="941"/>
                  </a:lnTo>
                  <a:lnTo>
                    <a:pt x="422" y="939"/>
                  </a:lnTo>
                  <a:lnTo>
                    <a:pt x="400" y="935"/>
                  </a:lnTo>
                  <a:lnTo>
                    <a:pt x="376" y="932"/>
                  </a:lnTo>
                  <a:lnTo>
                    <a:pt x="353" y="926"/>
                  </a:lnTo>
                  <a:lnTo>
                    <a:pt x="331" y="921"/>
                  </a:lnTo>
                  <a:lnTo>
                    <a:pt x="309" y="913"/>
                  </a:lnTo>
                  <a:lnTo>
                    <a:pt x="288" y="905"/>
                  </a:lnTo>
                  <a:lnTo>
                    <a:pt x="266" y="895"/>
                  </a:lnTo>
                  <a:lnTo>
                    <a:pt x="246" y="884"/>
                  </a:lnTo>
                  <a:lnTo>
                    <a:pt x="227" y="873"/>
                  </a:lnTo>
                  <a:lnTo>
                    <a:pt x="208" y="861"/>
                  </a:lnTo>
                  <a:lnTo>
                    <a:pt x="190" y="848"/>
                  </a:lnTo>
                  <a:lnTo>
                    <a:pt x="172" y="834"/>
                  </a:lnTo>
                  <a:lnTo>
                    <a:pt x="155" y="819"/>
                  </a:lnTo>
                  <a:lnTo>
                    <a:pt x="138" y="803"/>
                  </a:lnTo>
                  <a:lnTo>
                    <a:pt x="123" y="787"/>
                  </a:lnTo>
                  <a:lnTo>
                    <a:pt x="108" y="770"/>
                  </a:lnTo>
                  <a:lnTo>
                    <a:pt x="94" y="752"/>
                  </a:lnTo>
                  <a:lnTo>
                    <a:pt x="81" y="734"/>
                  </a:lnTo>
                  <a:lnTo>
                    <a:pt x="69" y="715"/>
                  </a:lnTo>
                  <a:lnTo>
                    <a:pt x="58" y="695"/>
                  </a:lnTo>
                  <a:lnTo>
                    <a:pt x="46" y="674"/>
                  </a:lnTo>
                  <a:lnTo>
                    <a:pt x="37" y="654"/>
                  </a:lnTo>
                  <a:lnTo>
                    <a:pt x="29" y="633"/>
                  </a:lnTo>
                  <a:lnTo>
                    <a:pt x="21" y="611"/>
                  </a:lnTo>
                  <a:lnTo>
                    <a:pt x="16" y="589"/>
                  </a:lnTo>
                  <a:lnTo>
                    <a:pt x="10" y="566"/>
                  </a:lnTo>
                  <a:lnTo>
                    <a:pt x="6" y="542"/>
                  </a:lnTo>
                  <a:lnTo>
                    <a:pt x="3" y="519"/>
                  </a:lnTo>
                  <a:lnTo>
                    <a:pt x="1" y="495"/>
                  </a:lnTo>
                  <a:lnTo>
                    <a:pt x="0" y="471"/>
                  </a:lnTo>
                  <a:lnTo>
                    <a:pt x="1" y="446"/>
                  </a:lnTo>
                  <a:lnTo>
                    <a:pt x="3" y="423"/>
                  </a:lnTo>
                  <a:lnTo>
                    <a:pt x="6" y="399"/>
                  </a:lnTo>
                  <a:lnTo>
                    <a:pt x="10" y="376"/>
                  </a:lnTo>
                  <a:lnTo>
                    <a:pt x="16" y="354"/>
                  </a:lnTo>
                  <a:lnTo>
                    <a:pt x="21" y="331"/>
                  </a:lnTo>
                  <a:lnTo>
                    <a:pt x="29" y="308"/>
                  </a:lnTo>
                  <a:lnTo>
                    <a:pt x="37" y="288"/>
                  </a:lnTo>
                  <a:lnTo>
                    <a:pt x="46" y="267"/>
                  </a:lnTo>
                  <a:lnTo>
                    <a:pt x="58" y="246"/>
                  </a:lnTo>
                  <a:lnTo>
                    <a:pt x="69" y="227"/>
                  </a:lnTo>
                  <a:lnTo>
                    <a:pt x="81" y="208"/>
                  </a:lnTo>
                  <a:lnTo>
                    <a:pt x="94" y="189"/>
                  </a:lnTo>
                  <a:lnTo>
                    <a:pt x="108" y="172"/>
                  </a:lnTo>
                  <a:lnTo>
                    <a:pt x="123" y="155"/>
                  </a:lnTo>
                  <a:lnTo>
                    <a:pt x="138" y="138"/>
                  </a:lnTo>
                  <a:lnTo>
                    <a:pt x="155" y="122"/>
                  </a:lnTo>
                  <a:lnTo>
                    <a:pt x="172" y="107"/>
                  </a:lnTo>
                  <a:lnTo>
                    <a:pt x="190" y="94"/>
                  </a:lnTo>
                  <a:lnTo>
                    <a:pt x="208" y="80"/>
                  </a:lnTo>
                  <a:lnTo>
                    <a:pt x="227" y="68"/>
                  </a:lnTo>
                  <a:lnTo>
                    <a:pt x="246" y="57"/>
                  </a:lnTo>
                  <a:lnTo>
                    <a:pt x="266" y="46"/>
                  </a:lnTo>
                  <a:lnTo>
                    <a:pt x="288" y="37"/>
                  </a:lnTo>
                  <a:lnTo>
                    <a:pt x="309" y="28"/>
                  </a:lnTo>
                  <a:lnTo>
                    <a:pt x="331" y="22"/>
                  </a:lnTo>
                  <a:lnTo>
                    <a:pt x="353" y="15"/>
                  </a:lnTo>
                  <a:lnTo>
                    <a:pt x="376" y="10"/>
                  </a:lnTo>
                  <a:lnTo>
                    <a:pt x="400" y="6"/>
                  </a:lnTo>
                  <a:lnTo>
                    <a:pt x="422" y="2"/>
                  </a:lnTo>
                  <a:lnTo>
                    <a:pt x="447" y="1"/>
                  </a:lnTo>
                  <a:lnTo>
                    <a:pt x="471" y="0"/>
                  </a:lnTo>
                  <a:close/>
                  <a:moveTo>
                    <a:pt x="471" y="112"/>
                  </a:moveTo>
                  <a:lnTo>
                    <a:pt x="489" y="112"/>
                  </a:lnTo>
                  <a:lnTo>
                    <a:pt x="507" y="114"/>
                  </a:lnTo>
                  <a:lnTo>
                    <a:pt x="525" y="116"/>
                  </a:lnTo>
                  <a:lnTo>
                    <a:pt x="543" y="119"/>
                  </a:lnTo>
                  <a:lnTo>
                    <a:pt x="560" y="123"/>
                  </a:lnTo>
                  <a:lnTo>
                    <a:pt x="577" y="128"/>
                  </a:lnTo>
                  <a:lnTo>
                    <a:pt x="594" y="133"/>
                  </a:lnTo>
                  <a:lnTo>
                    <a:pt x="611" y="140"/>
                  </a:lnTo>
                  <a:lnTo>
                    <a:pt x="627" y="147"/>
                  </a:lnTo>
                  <a:lnTo>
                    <a:pt x="641" y="155"/>
                  </a:lnTo>
                  <a:lnTo>
                    <a:pt x="657" y="164"/>
                  </a:lnTo>
                  <a:lnTo>
                    <a:pt x="672" y="173"/>
                  </a:lnTo>
                  <a:lnTo>
                    <a:pt x="685" y="183"/>
                  </a:lnTo>
                  <a:lnTo>
                    <a:pt x="699" y="194"/>
                  </a:lnTo>
                  <a:lnTo>
                    <a:pt x="713" y="206"/>
                  </a:lnTo>
                  <a:lnTo>
                    <a:pt x="725" y="217"/>
                  </a:lnTo>
                  <a:lnTo>
                    <a:pt x="736" y="229"/>
                  </a:lnTo>
                  <a:lnTo>
                    <a:pt x="748" y="243"/>
                  </a:lnTo>
                  <a:lnTo>
                    <a:pt x="759" y="256"/>
                  </a:lnTo>
                  <a:lnTo>
                    <a:pt x="768" y="270"/>
                  </a:lnTo>
                  <a:lnTo>
                    <a:pt x="778" y="285"/>
                  </a:lnTo>
                  <a:lnTo>
                    <a:pt x="786" y="299"/>
                  </a:lnTo>
                  <a:lnTo>
                    <a:pt x="794" y="315"/>
                  </a:lnTo>
                  <a:lnTo>
                    <a:pt x="802" y="331"/>
                  </a:lnTo>
                  <a:lnTo>
                    <a:pt x="807" y="347"/>
                  </a:lnTo>
                  <a:lnTo>
                    <a:pt x="813" y="364"/>
                  </a:lnTo>
                  <a:lnTo>
                    <a:pt x="819" y="381"/>
                  </a:lnTo>
                  <a:lnTo>
                    <a:pt x="822" y="399"/>
                  </a:lnTo>
                  <a:lnTo>
                    <a:pt x="825" y="416"/>
                  </a:lnTo>
                  <a:lnTo>
                    <a:pt x="828" y="434"/>
                  </a:lnTo>
                  <a:lnTo>
                    <a:pt x="829" y="452"/>
                  </a:lnTo>
                  <a:lnTo>
                    <a:pt x="830" y="471"/>
                  </a:lnTo>
                  <a:lnTo>
                    <a:pt x="829" y="489"/>
                  </a:lnTo>
                  <a:lnTo>
                    <a:pt x="828" y="507"/>
                  </a:lnTo>
                  <a:lnTo>
                    <a:pt x="825" y="525"/>
                  </a:lnTo>
                  <a:lnTo>
                    <a:pt x="822" y="543"/>
                  </a:lnTo>
                  <a:lnTo>
                    <a:pt x="819" y="560"/>
                  </a:lnTo>
                  <a:lnTo>
                    <a:pt x="813" y="577"/>
                  </a:lnTo>
                  <a:lnTo>
                    <a:pt x="807" y="594"/>
                  </a:lnTo>
                  <a:lnTo>
                    <a:pt x="802" y="610"/>
                  </a:lnTo>
                  <a:lnTo>
                    <a:pt x="794" y="626"/>
                  </a:lnTo>
                  <a:lnTo>
                    <a:pt x="786" y="642"/>
                  </a:lnTo>
                  <a:lnTo>
                    <a:pt x="778" y="656"/>
                  </a:lnTo>
                  <a:lnTo>
                    <a:pt x="768" y="671"/>
                  </a:lnTo>
                  <a:lnTo>
                    <a:pt x="759" y="686"/>
                  </a:lnTo>
                  <a:lnTo>
                    <a:pt x="748" y="699"/>
                  </a:lnTo>
                  <a:lnTo>
                    <a:pt x="736" y="712"/>
                  </a:lnTo>
                  <a:lnTo>
                    <a:pt x="725" y="724"/>
                  </a:lnTo>
                  <a:lnTo>
                    <a:pt x="713" y="736"/>
                  </a:lnTo>
                  <a:lnTo>
                    <a:pt x="699" y="748"/>
                  </a:lnTo>
                  <a:lnTo>
                    <a:pt x="685" y="758"/>
                  </a:lnTo>
                  <a:lnTo>
                    <a:pt x="672" y="768"/>
                  </a:lnTo>
                  <a:lnTo>
                    <a:pt x="657" y="777"/>
                  </a:lnTo>
                  <a:lnTo>
                    <a:pt x="641" y="786"/>
                  </a:lnTo>
                  <a:lnTo>
                    <a:pt x="627" y="794"/>
                  </a:lnTo>
                  <a:lnTo>
                    <a:pt x="611" y="801"/>
                  </a:lnTo>
                  <a:lnTo>
                    <a:pt x="594" y="808"/>
                  </a:lnTo>
                  <a:lnTo>
                    <a:pt x="577" y="813"/>
                  </a:lnTo>
                  <a:lnTo>
                    <a:pt x="560" y="818"/>
                  </a:lnTo>
                  <a:lnTo>
                    <a:pt x="543" y="822"/>
                  </a:lnTo>
                  <a:lnTo>
                    <a:pt x="525" y="826"/>
                  </a:lnTo>
                  <a:lnTo>
                    <a:pt x="507" y="828"/>
                  </a:lnTo>
                  <a:lnTo>
                    <a:pt x="489" y="829"/>
                  </a:lnTo>
                  <a:lnTo>
                    <a:pt x="471" y="829"/>
                  </a:lnTo>
                  <a:lnTo>
                    <a:pt x="453" y="829"/>
                  </a:lnTo>
                  <a:lnTo>
                    <a:pt x="434" y="828"/>
                  </a:lnTo>
                  <a:lnTo>
                    <a:pt x="417" y="826"/>
                  </a:lnTo>
                  <a:lnTo>
                    <a:pt x="399" y="822"/>
                  </a:lnTo>
                  <a:lnTo>
                    <a:pt x="382" y="818"/>
                  </a:lnTo>
                  <a:lnTo>
                    <a:pt x="365" y="813"/>
                  </a:lnTo>
                  <a:lnTo>
                    <a:pt x="348" y="808"/>
                  </a:lnTo>
                  <a:lnTo>
                    <a:pt x="331" y="801"/>
                  </a:lnTo>
                  <a:lnTo>
                    <a:pt x="315" y="794"/>
                  </a:lnTo>
                  <a:lnTo>
                    <a:pt x="300" y="786"/>
                  </a:lnTo>
                  <a:lnTo>
                    <a:pt x="285" y="777"/>
                  </a:lnTo>
                  <a:lnTo>
                    <a:pt x="270" y="768"/>
                  </a:lnTo>
                  <a:lnTo>
                    <a:pt x="256" y="758"/>
                  </a:lnTo>
                  <a:lnTo>
                    <a:pt x="243" y="748"/>
                  </a:lnTo>
                  <a:lnTo>
                    <a:pt x="229" y="736"/>
                  </a:lnTo>
                  <a:lnTo>
                    <a:pt x="217" y="724"/>
                  </a:lnTo>
                  <a:lnTo>
                    <a:pt x="206" y="712"/>
                  </a:lnTo>
                  <a:lnTo>
                    <a:pt x="194" y="699"/>
                  </a:lnTo>
                  <a:lnTo>
                    <a:pt x="183" y="686"/>
                  </a:lnTo>
                  <a:lnTo>
                    <a:pt x="174" y="671"/>
                  </a:lnTo>
                  <a:lnTo>
                    <a:pt x="164" y="656"/>
                  </a:lnTo>
                  <a:lnTo>
                    <a:pt x="156" y="642"/>
                  </a:lnTo>
                  <a:lnTo>
                    <a:pt x="148" y="626"/>
                  </a:lnTo>
                  <a:lnTo>
                    <a:pt x="140" y="610"/>
                  </a:lnTo>
                  <a:lnTo>
                    <a:pt x="134" y="594"/>
                  </a:lnTo>
                  <a:lnTo>
                    <a:pt x="129" y="577"/>
                  </a:lnTo>
                  <a:lnTo>
                    <a:pt x="123" y="560"/>
                  </a:lnTo>
                  <a:lnTo>
                    <a:pt x="120" y="543"/>
                  </a:lnTo>
                  <a:lnTo>
                    <a:pt x="116" y="525"/>
                  </a:lnTo>
                  <a:lnTo>
                    <a:pt x="114" y="507"/>
                  </a:lnTo>
                  <a:lnTo>
                    <a:pt x="113" y="489"/>
                  </a:lnTo>
                  <a:lnTo>
                    <a:pt x="112" y="471"/>
                  </a:lnTo>
                  <a:lnTo>
                    <a:pt x="113" y="452"/>
                  </a:lnTo>
                  <a:lnTo>
                    <a:pt x="114" y="434"/>
                  </a:lnTo>
                  <a:lnTo>
                    <a:pt x="116" y="416"/>
                  </a:lnTo>
                  <a:lnTo>
                    <a:pt x="120" y="399"/>
                  </a:lnTo>
                  <a:lnTo>
                    <a:pt x="123" y="381"/>
                  </a:lnTo>
                  <a:lnTo>
                    <a:pt x="129" y="364"/>
                  </a:lnTo>
                  <a:lnTo>
                    <a:pt x="134" y="347"/>
                  </a:lnTo>
                  <a:lnTo>
                    <a:pt x="140" y="331"/>
                  </a:lnTo>
                  <a:lnTo>
                    <a:pt x="148" y="315"/>
                  </a:lnTo>
                  <a:lnTo>
                    <a:pt x="156" y="299"/>
                  </a:lnTo>
                  <a:lnTo>
                    <a:pt x="164" y="285"/>
                  </a:lnTo>
                  <a:lnTo>
                    <a:pt x="174" y="270"/>
                  </a:lnTo>
                  <a:lnTo>
                    <a:pt x="183" y="256"/>
                  </a:lnTo>
                  <a:lnTo>
                    <a:pt x="194" y="243"/>
                  </a:lnTo>
                  <a:lnTo>
                    <a:pt x="206" y="229"/>
                  </a:lnTo>
                  <a:lnTo>
                    <a:pt x="217" y="217"/>
                  </a:lnTo>
                  <a:lnTo>
                    <a:pt x="229" y="206"/>
                  </a:lnTo>
                  <a:lnTo>
                    <a:pt x="243" y="194"/>
                  </a:lnTo>
                  <a:lnTo>
                    <a:pt x="256" y="183"/>
                  </a:lnTo>
                  <a:lnTo>
                    <a:pt x="270" y="173"/>
                  </a:lnTo>
                  <a:lnTo>
                    <a:pt x="285" y="164"/>
                  </a:lnTo>
                  <a:lnTo>
                    <a:pt x="300" y="155"/>
                  </a:lnTo>
                  <a:lnTo>
                    <a:pt x="315" y="147"/>
                  </a:lnTo>
                  <a:lnTo>
                    <a:pt x="331" y="140"/>
                  </a:lnTo>
                  <a:lnTo>
                    <a:pt x="348" y="133"/>
                  </a:lnTo>
                  <a:lnTo>
                    <a:pt x="365" y="128"/>
                  </a:lnTo>
                  <a:lnTo>
                    <a:pt x="382" y="123"/>
                  </a:lnTo>
                  <a:lnTo>
                    <a:pt x="399" y="119"/>
                  </a:lnTo>
                  <a:lnTo>
                    <a:pt x="417" y="116"/>
                  </a:lnTo>
                  <a:lnTo>
                    <a:pt x="434" y="114"/>
                  </a:lnTo>
                  <a:lnTo>
                    <a:pt x="453" y="112"/>
                  </a:lnTo>
                  <a:lnTo>
                    <a:pt x="471"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71"/>
            <p:cNvSpPr>
              <a:spLocks/>
            </p:cNvSpPr>
            <p:nvPr/>
          </p:nvSpPr>
          <p:spPr bwMode="auto">
            <a:xfrm>
              <a:off x="677863" y="2493963"/>
              <a:ext cx="93663" cy="138113"/>
            </a:xfrm>
            <a:custGeom>
              <a:avLst/>
              <a:gdLst>
                <a:gd name="T0" fmla="*/ 279 w 294"/>
                <a:gd name="T1" fmla="*/ 0 h 433"/>
                <a:gd name="T2" fmla="*/ 287 w 294"/>
                <a:gd name="T3" fmla="*/ 22 h 433"/>
                <a:gd name="T4" fmla="*/ 294 w 294"/>
                <a:gd name="T5" fmla="*/ 44 h 433"/>
                <a:gd name="T6" fmla="*/ 279 w 294"/>
                <a:gd name="T7" fmla="*/ 44 h 433"/>
                <a:gd name="T8" fmla="*/ 255 w 294"/>
                <a:gd name="T9" fmla="*/ 46 h 433"/>
                <a:gd name="T10" fmla="*/ 232 w 294"/>
                <a:gd name="T11" fmla="*/ 49 h 433"/>
                <a:gd name="T12" fmla="*/ 209 w 294"/>
                <a:gd name="T13" fmla="*/ 55 h 433"/>
                <a:gd name="T14" fmla="*/ 188 w 294"/>
                <a:gd name="T15" fmla="*/ 63 h 433"/>
                <a:gd name="T16" fmla="*/ 147 w 294"/>
                <a:gd name="T17" fmla="*/ 85 h 433"/>
                <a:gd name="T18" fmla="*/ 113 w 294"/>
                <a:gd name="T19" fmla="*/ 113 h 433"/>
                <a:gd name="T20" fmla="*/ 84 w 294"/>
                <a:gd name="T21" fmla="*/ 148 h 433"/>
                <a:gd name="T22" fmla="*/ 62 w 294"/>
                <a:gd name="T23" fmla="*/ 188 h 433"/>
                <a:gd name="T24" fmla="*/ 54 w 294"/>
                <a:gd name="T25" fmla="*/ 209 h 433"/>
                <a:gd name="T26" fmla="*/ 49 w 294"/>
                <a:gd name="T27" fmla="*/ 232 h 433"/>
                <a:gd name="T28" fmla="*/ 45 w 294"/>
                <a:gd name="T29" fmla="*/ 256 h 433"/>
                <a:gd name="T30" fmla="*/ 44 w 294"/>
                <a:gd name="T31" fmla="*/ 279 h 433"/>
                <a:gd name="T32" fmla="*/ 47 w 294"/>
                <a:gd name="T33" fmla="*/ 319 h 433"/>
                <a:gd name="T34" fmla="*/ 57 w 294"/>
                <a:gd name="T35" fmla="*/ 355 h 433"/>
                <a:gd name="T36" fmla="*/ 71 w 294"/>
                <a:gd name="T37" fmla="*/ 390 h 433"/>
                <a:gd name="T38" fmla="*/ 91 w 294"/>
                <a:gd name="T39" fmla="*/ 421 h 433"/>
                <a:gd name="T40" fmla="*/ 69 w 294"/>
                <a:gd name="T41" fmla="*/ 427 h 433"/>
                <a:gd name="T42" fmla="*/ 45 w 294"/>
                <a:gd name="T43" fmla="*/ 433 h 433"/>
                <a:gd name="T44" fmla="*/ 26 w 294"/>
                <a:gd name="T45" fmla="*/ 398 h 433"/>
                <a:gd name="T46" fmla="*/ 12 w 294"/>
                <a:gd name="T47" fmla="*/ 361 h 433"/>
                <a:gd name="T48" fmla="*/ 3 w 294"/>
                <a:gd name="T49" fmla="*/ 321 h 433"/>
                <a:gd name="T50" fmla="*/ 0 w 294"/>
                <a:gd name="T51" fmla="*/ 279 h 433"/>
                <a:gd name="T52" fmla="*/ 1 w 294"/>
                <a:gd name="T53" fmla="*/ 251 h 433"/>
                <a:gd name="T54" fmla="*/ 6 w 294"/>
                <a:gd name="T55" fmla="*/ 223 h 433"/>
                <a:gd name="T56" fmla="*/ 13 w 294"/>
                <a:gd name="T57" fmla="*/ 197 h 433"/>
                <a:gd name="T58" fmla="*/ 22 w 294"/>
                <a:gd name="T59" fmla="*/ 171 h 433"/>
                <a:gd name="T60" fmla="*/ 34 w 294"/>
                <a:gd name="T61" fmla="*/ 146 h 433"/>
                <a:gd name="T62" fmla="*/ 48 w 294"/>
                <a:gd name="T63" fmla="*/ 124 h 433"/>
                <a:gd name="T64" fmla="*/ 63 w 294"/>
                <a:gd name="T65" fmla="*/ 102 h 433"/>
                <a:gd name="T66" fmla="*/ 82 w 294"/>
                <a:gd name="T67" fmla="*/ 82 h 433"/>
                <a:gd name="T68" fmla="*/ 102 w 294"/>
                <a:gd name="T69" fmla="*/ 65 h 433"/>
                <a:gd name="T70" fmla="*/ 123 w 294"/>
                <a:gd name="T71" fmla="*/ 48 h 433"/>
                <a:gd name="T72" fmla="*/ 146 w 294"/>
                <a:gd name="T73" fmla="*/ 34 h 433"/>
                <a:gd name="T74" fmla="*/ 171 w 294"/>
                <a:gd name="T75" fmla="*/ 23 h 433"/>
                <a:gd name="T76" fmla="*/ 196 w 294"/>
                <a:gd name="T77" fmla="*/ 13 h 433"/>
                <a:gd name="T78" fmla="*/ 223 w 294"/>
                <a:gd name="T79" fmla="*/ 6 h 433"/>
                <a:gd name="T80" fmla="*/ 251 w 294"/>
                <a:gd name="T81" fmla="*/ 2 h 433"/>
                <a:gd name="T82" fmla="*/ 279 w 294"/>
                <a:gd name="T83"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4" h="433">
                  <a:moveTo>
                    <a:pt x="279" y="0"/>
                  </a:moveTo>
                  <a:lnTo>
                    <a:pt x="279" y="0"/>
                  </a:lnTo>
                  <a:lnTo>
                    <a:pt x="284" y="12"/>
                  </a:lnTo>
                  <a:lnTo>
                    <a:pt x="287" y="22"/>
                  </a:lnTo>
                  <a:lnTo>
                    <a:pt x="290" y="33"/>
                  </a:lnTo>
                  <a:lnTo>
                    <a:pt x="294" y="44"/>
                  </a:lnTo>
                  <a:lnTo>
                    <a:pt x="286" y="44"/>
                  </a:lnTo>
                  <a:lnTo>
                    <a:pt x="279" y="44"/>
                  </a:lnTo>
                  <a:lnTo>
                    <a:pt x="267" y="44"/>
                  </a:lnTo>
                  <a:lnTo>
                    <a:pt x="255" y="46"/>
                  </a:lnTo>
                  <a:lnTo>
                    <a:pt x="243" y="47"/>
                  </a:lnTo>
                  <a:lnTo>
                    <a:pt x="232" y="49"/>
                  </a:lnTo>
                  <a:lnTo>
                    <a:pt x="220" y="51"/>
                  </a:lnTo>
                  <a:lnTo>
                    <a:pt x="209" y="55"/>
                  </a:lnTo>
                  <a:lnTo>
                    <a:pt x="198" y="59"/>
                  </a:lnTo>
                  <a:lnTo>
                    <a:pt x="188" y="63"/>
                  </a:lnTo>
                  <a:lnTo>
                    <a:pt x="167" y="73"/>
                  </a:lnTo>
                  <a:lnTo>
                    <a:pt x="147" y="85"/>
                  </a:lnTo>
                  <a:lnTo>
                    <a:pt x="129" y="98"/>
                  </a:lnTo>
                  <a:lnTo>
                    <a:pt x="113" y="113"/>
                  </a:lnTo>
                  <a:lnTo>
                    <a:pt x="97" y="130"/>
                  </a:lnTo>
                  <a:lnTo>
                    <a:pt x="84" y="148"/>
                  </a:lnTo>
                  <a:lnTo>
                    <a:pt x="73" y="168"/>
                  </a:lnTo>
                  <a:lnTo>
                    <a:pt x="62" y="188"/>
                  </a:lnTo>
                  <a:lnTo>
                    <a:pt x="58" y="199"/>
                  </a:lnTo>
                  <a:lnTo>
                    <a:pt x="54" y="209"/>
                  </a:lnTo>
                  <a:lnTo>
                    <a:pt x="51" y="221"/>
                  </a:lnTo>
                  <a:lnTo>
                    <a:pt x="49" y="232"/>
                  </a:lnTo>
                  <a:lnTo>
                    <a:pt x="47" y="244"/>
                  </a:lnTo>
                  <a:lnTo>
                    <a:pt x="45" y="256"/>
                  </a:lnTo>
                  <a:lnTo>
                    <a:pt x="44" y="268"/>
                  </a:lnTo>
                  <a:lnTo>
                    <a:pt x="44" y="279"/>
                  </a:lnTo>
                  <a:lnTo>
                    <a:pt x="44" y="300"/>
                  </a:lnTo>
                  <a:lnTo>
                    <a:pt x="47" y="319"/>
                  </a:lnTo>
                  <a:lnTo>
                    <a:pt x="51" y="337"/>
                  </a:lnTo>
                  <a:lnTo>
                    <a:pt x="57" y="355"/>
                  </a:lnTo>
                  <a:lnTo>
                    <a:pt x="62" y="373"/>
                  </a:lnTo>
                  <a:lnTo>
                    <a:pt x="71" y="390"/>
                  </a:lnTo>
                  <a:lnTo>
                    <a:pt x="80" y="406"/>
                  </a:lnTo>
                  <a:lnTo>
                    <a:pt x="91" y="421"/>
                  </a:lnTo>
                  <a:lnTo>
                    <a:pt x="79" y="424"/>
                  </a:lnTo>
                  <a:lnTo>
                    <a:pt x="69" y="427"/>
                  </a:lnTo>
                  <a:lnTo>
                    <a:pt x="58" y="431"/>
                  </a:lnTo>
                  <a:lnTo>
                    <a:pt x="45" y="433"/>
                  </a:lnTo>
                  <a:lnTo>
                    <a:pt x="35" y="416"/>
                  </a:lnTo>
                  <a:lnTo>
                    <a:pt x="26" y="398"/>
                  </a:lnTo>
                  <a:lnTo>
                    <a:pt x="18" y="380"/>
                  </a:lnTo>
                  <a:lnTo>
                    <a:pt x="12" y="361"/>
                  </a:lnTo>
                  <a:lnTo>
                    <a:pt x="7" y="341"/>
                  </a:lnTo>
                  <a:lnTo>
                    <a:pt x="3" y="321"/>
                  </a:lnTo>
                  <a:lnTo>
                    <a:pt x="0" y="301"/>
                  </a:lnTo>
                  <a:lnTo>
                    <a:pt x="0" y="279"/>
                  </a:lnTo>
                  <a:lnTo>
                    <a:pt x="0" y="266"/>
                  </a:lnTo>
                  <a:lnTo>
                    <a:pt x="1" y="251"/>
                  </a:lnTo>
                  <a:lnTo>
                    <a:pt x="4" y="238"/>
                  </a:lnTo>
                  <a:lnTo>
                    <a:pt x="6" y="223"/>
                  </a:lnTo>
                  <a:lnTo>
                    <a:pt x="8" y="209"/>
                  </a:lnTo>
                  <a:lnTo>
                    <a:pt x="13" y="197"/>
                  </a:lnTo>
                  <a:lnTo>
                    <a:pt x="17" y="183"/>
                  </a:lnTo>
                  <a:lnTo>
                    <a:pt x="22" y="171"/>
                  </a:lnTo>
                  <a:lnTo>
                    <a:pt x="27" y="159"/>
                  </a:lnTo>
                  <a:lnTo>
                    <a:pt x="34" y="146"/>
                  </a:lnTo>
                  <a:lnTo>
                    <a:pt x="40" y="135"/>
                  </a:lnTo>
                  <a:lnTo>
                    <a:pt x="48" y="124"/>
                  </a:lnTo>
                  <a:lnTo>
                    <a:pt x="56" y="112"/>
                  </a:lnTo>
                  <a:lnTo>
                    <a:pt x="63" y="102"/>
                  </a:lnTo>
                  <a:lnTo>
                    <a:pt x="73" y="92"/>
                  </a:lnTo>
                  <a:lnTo>
                    <a:pt x="82" y="82"/>
                  </a:lnTo>
                  <a:lnTo>
                    <a:pt x="92" y="73"/>
                  </a:lnTo>
                  <a:lnTo>
                    <a:pt x="102" y="65"/>
                  </a:lnTo>
                  <a:lnTo>
                    <a:pt x="112" y="56"/>
                  </a:lnTo>
                  <a:lnTo>
                    <a:pt x="123" y="48"/>
                  </a:lnTo>
                  <a:lnTo>
                    <a:pt x="135" y="41"/>
                  </a:lnTo>
                  <a:lnTo>
                    <a:pt x="146" y="34"/>
                  </a:lnTo>
                  <a:lnTo>
                    <a:pt x="158" y="28"/>
                  </a:lnTo>
                  <a:lnTo>
                    <a:pt x="171" y="23"/>
                  </a:lnTo>
                  <a:lnTo>
                    <a:pt x="183" y="17"/>
                  </a:lnTo>
                  <a:lnTo>
                    <a:pt x="196" y="13"/>
                  </a:lnTo>
                  <a:lnTo>
                    <a:pt x="209" y="9"/>
                  </a:lnTo>
                  <a:lnTo>
                    <a:pt x="223" y="6"/>
                  </a:lnTo>
                  <a:lnTo>
                    <a:pt x="236" y="4"/>
                  </a:lnTo>
                  <a:lnTo>
                    <a:pt x="251" y="2"/>
                  </a:lnTo>
                  <a:lnTo>
                    <a:pt x="264" y="0"/>
                  </a:lnTo>
                  <a:lnTo>
                    <a:pt x="2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3011853" y="3422910"/>
            <a:ext cx="508310" cy="466338"/>
            <a:chOff x="-1447800" y="2895600"/>
            <a:chExt cx="346075" cy="317501"/>
          </a:xfrm>
          <a:solidFill>
            <a:schemeClr val="bg1"/>
          </a:solidFill>
          <a:effectLst/>
        </p:grpSpPr>
        <p:sp>
          <p:nvSpPr>
            <p:cNvPr id="30" name="Freeform 5"/>
            <p:cNvSpPr>
              <a:spLocks noEditPoints="1"/>
            </p:cNvSpPr>
            <p:nvPr/>
          </p:nvSpPr>
          <p:spPr bwMode="auto">
            <a:xfrm>
              <a:off x="-1447800" y="2895600"/>
              <a:ext cx="225425" cy="227013"/>
            </a:xfrm>
            <a:custGeom>
              <a:avLst/>
              <a:gdLst/>
              <a:ahLst/>
              <a:cxnLst>
                <a:cxn ang="0">
                  <a:pos x="51" y="27"/>
                </a:cxn>
                <a:cxn ang="0">
                  <a:pos x="46" y="23"/>
                </a:cxn>
                <a:cxn ang="0">
                  <a:pos x="52" y="20"/>
                </a:cxn>
                <a:cxn ang="0">
                  <a:pos x="49" y="13"/>
                </a:cxn>
                <a:cxn ang="0">
                  <a:pos x="47" y="12"/>
                </a:cxn>
                <a:cxn ang="0">
                  <a:pos x="40" y="13"/>
                </a:cxn>
                <a:cxn ang="0">
                  <a:pos x="43" y="7"/>
                </a:cxn>
                <a:cxn ang="0">
                  <a:pos x="37" y="2"/>
                </a:cxn>
                <a:cxn ang="0">
                  <a:pos x="32" y="7"/>
                </a:cxn>
                <a:cxn ang="0">
                  <a:pos x="29" y="1"/>
                </a:cxn>
                <a:cxn ang="0">
                  <a:pos x="27" y="0"/>
                </a:cxn>
                <a:cxn ang="0">
                  <a:pos x="19" y="2"/>
                </a:cxn>
                <a:cxn ang="0">
                  <a:pos x="18" y="9"/>
                </a:cxn>
                <a:cxn ang="0">
                  <a:pos x="12" y="4"/>
                </a:cxn>
                <a:cxn ang="0">
                  <a:pos x="6" y="10"/>
                </a:cxn>
                <a:cxn ang="0">
                  <a:pos x="10" y="15"/>
                </a:cxn>
                <a:cxn ang="0">
                  <a:pos x="3" y="16"/>
                </a:cxn>
                <a:cxn ang="0">
                  <a:pos x="2" y="17"/>
                </a:cxn>
                <a:cxn ang="0">
                  <a:pos x="0" y="25"/>
                </a:cxn>
                <a:cxn ang="0">
                  <a:pos x="7" y="27"/>
                </a:cxn>
                <a:cxn ang="0">
                  <a:pos x="2" y="31"/>
                </a:cxn>
                <a:cxn ang="0">
                  <a:pos x="4" y="39"/>
                </a:cxn>
                <a:cxn ang="0">
                  <a:pos x="6" y="40"/>
                </a:cxn>
                <a:cxn ang="0">
                  <a:pos x="12" y="40"/>
                </a:cxn>
                <a:cxn ang="0">
                  <a:pos x="10" y="47"/>
                </a:cxn>
                <a:cxn ang="0">
                  <a:pos x="17" y="50"/>
                </a:cxn>
                <a:cxn ang="0">
                  <a:pos x="21" y="45"/>
                </a:cxn>
                <a:cxn ang="0">
                  <a:pos x="23" y="51"/>
                </a:cxn>
                <a:cxn ang="0">
                  <a:pos x="24" y="52"/>
                </a:cxn>
                <a:cxn ang="0">
                  <a:pos x="32" y="52"/>
                </a:cxn>
                <a:cxn ang="0">
                  <a:pos x="33" y="50"/>
                </a:cxn>
                <a:cxn ang="0">
                  <a:pos x="35" y="44"/>
                </a:cxn>
                <a:cxn ang="0">
                  <a:pos x="40" y="48"/>
                </a:cxn>
                <a:cxn ang="0">
                  <a:pos x="46" y="43"/>
                </a:cxn>
                <a:cxn ang="0">
                  <a:pos x="46" y="41"/>
                </a:cxn>
                <a:cxn ang="0">
                  <a:pos x="43" y="35"/>
                </a:cxn>
                <a:cxn ang="0">
                  <a:pos x="50" y="36"/>
                </a:cxn>
                <a:cxn ang="0">
                  <a:pos x="52" y="29"/>
                </a:cxn>
                <a:cxn ang="0">
                  <a:pos x="33" y="28"/>
                </a:cxn>
                <a:cxn ang="0">
                  <a:pos x="19" y="25"/>
                </a:cxn>
                <a:cxn ang="0">
                  <a:pos x="33" y="28"/>
                </a:cxn>
              </a:cxnLst>
              <a:rect l="0" t="0" r="r" b="b"/>
              <a:pathLst>
                <a:path w="52" h="52">
                  <a:moveTo>
                    <a:pt x="52" y="27"/>
                  </a:moveTo>
                  <a:cubicBezTo>
                    <a:pt x="52" y="27"/>
                    <a:pt x="52" y="27"/>
                    <a:pt x="51" y="27"/>
                  </a:cubicBezTo>
                  <a:cubicBezTo>
                    <a:pt x="46" y="26"/>
                    <a:pt x="46" y="26"/>
                    <a:pt x="46" y="26"/>
                  </a:cubicBezTo>
                  <a:cubicBezTo>
                    <a:pt x="46" y="23"/>
                    <a:pt x="46" y="23"/>
                    <a:pt x="46" y="23"/>
                  </a:cubicBezTo>
                  <a:cubicBezTo>
                    <a:pt x="51" y="21"/>
                    <a:pt x="51" y="21"/>
                    <a:pt x="51" y="21"/>
                  </a:cubicBezTo>
                  <a:cubicBezTo>
                    <a:pt x="51" y="21"/>
                    <a:pt x="51" y="21"/>
                    <a:pt x="52" y="20"/>
                  </a:cubicBezTo>
                  <a:cubicBezTo>
                    <a:pt x="52" y="20"/>
                    <a:pt x="52" y="20"/>
                    <a:pt x="51" y="19"/>
                  </a:cubicBezTo>
                  <a:cubicBezTo>
                    <a:pt x="49" y="13"/>
                    <a:pt x="49" y="13"/>
                    <a:pt x="49" y="13"/>
                  </a:cubicBezTo>
                  <a:cubicBezTo>
                    <a:pt x="49" y="12"/>
                    <a:pt x="48" y="12"/>
                    <a:pt x="48" y="12"/>
                  </a:cubicBezTo>
                  <a:cubicBezTo>
                    <a:pt x="48" y="12"/>
                    <a:pt x="47" y="12"/>
                    <a:pt x="47" y="12"/>
                  </a:cubicBezTo>
                  <a:cubicBezTo>
                    <a:pt x="42" y="14"/>
                    <a:pt x="42" y="14"/>
                    <a:pt x="42" y="14"/>
                  </a:cubicBezTo>
                  <a:cubicBezTo>
                    <a:pt x="40" y="13"/>
                    <a:pt x="40" y="13"/>
                    <a:pt x="40" y="13"/>
                  </a:cubicBezTo>
                  <a:cubicBezTo>
                    <a:pt x="43" y="8"/>
                    <a:pt x="43" y="8"/>
                    <a:pt x="43" y="8"/>
                  </a:cubicBezTo>
                  <a:cubicBezTo>
                    <a:pt x="43" y="7"/>
                    <a:pt x="43" y="7"/>
                    <a:pt x="43" y="7"/>
                  </a:cubicBezTo>
                  <a:cubicBezTo>
                    <a:pt x="43" y="6"/>
                    <a:pt x="43" y="6"/>
                    <a:pt x="43" y="6"/>
                  </a:cubicBezTo>
                  <a:cubicBezTo>
                    <a:pt x="37" y="2"/>
                    <a:pt x="37" y="2"/>
                    <a:pt x="37" y="2"/>
                  </a:cubicBezTo>
                  <a:cubicBezTo>
                    <a:pt x="36" y="2"/>
                    <a:pt x="35" y="2"/>
                    <a:pt x="35" y="3"/>
                  </a:cubicBezTo>
                  <a:cubicBezTo>
                    <a:pt x="32" y="7"/>
                    <a:pt x="32" y="7"/>
                    <a:pt x="32" y="7"/>
                  </a:cubicBezTo>
                  <a:cubicBezTo>
                    <a:pt x="30" y="7"/>
                    <a:pt x="30" y="7"/>
                    <a:pt x="30" y="7"/>
                  </a:cubicBezTo>
                  <a:cubicBezTo>
                    <a:pt x="29" y="1"/>
                    <a:pt x="29" y="1"/>
                    <a:pt x="29" y="1"/>
                  </a:cubicBezTo>
                  <a:cubicBezTo>
                    <a:pt x="29" y="1"/>
                    <a:pt x="29" y="1"/>
                    <a:pt x="29" y="0"/>
                  </a:cubicBezTo>
                  <a:cubicBezTo>
                    <a:pt x="28" y="0"/>
                    <a:pt x="28" y="0"/>
                    <a:pt x="27" y="0"/>
                  </a:cubicBezTo>
                  <a:cubicBezTo>
                    <a:pt x="20" y="1"/>
                    <a:pt x="20" y="1"/>
                    <a:pt x="20" y="1"/>
                  </a:cubicBezTo>
                  <a:cubicBezTo>
                    <a:pt x="20" y="1"/>
                    <a:pt x="19" y="1"/>
                    <a:pt x="19" y="2"/>
                  </a:cubicBezTo>
                  <a:cubicBezTo>
                    <a:pt x="20" y="8"/>
                    <a:pt x="20" y="8"/>
                    <a:pt x="20" y="8"/>
                  </a:cubicBezTo>
                  <a:cubicBezTo>
                    <a:pt x="18" y="9"/>
                    <a:pt x="18" y="9"/>
                    <a:pt x="18" y="9"/>
                  </a:cubicBezTo>
                  <a:cubicBezTo>
                    <a:pt x="14" y="4"/>
                    <a:pt x="14" y="4"/>
                    <a:pt x="14" y="4"/>
                  </a:cubicBezTo>
                  <a:cubicBezTo>
                    <a:pt x="13" y="4"/>
                    <a:pt x="12" y="4"/>
                    <a:pt x="12" y="4"/>
                  </a:cubicBezTo>
                  <a:cubicBezTo>
                    <a:pt x="7" y="9"/>
                    <a:pt x="7" y="9"/>
                    <a:pt x="7" y="9"/>
                  </a:cubicBezTo>
                  <a:cubicBezTo>
                    <a:pt x="6" y="9"/>
                    <a:pt x="6" y="9"/>
                    <a:pt x="6" y="10"/>
                  </a:cubicBezTo>
                  <a:cubicBezTo>
                    <a:pt x="6" y="10"/>
                    <a:pt x="6" y="11"/>
                    <a:pt x="6" y="11"/>
                  </a:cubicBezTo>
                  <a:cubicBezTo>
                    <a:pt x="10" y="15"/>
                    <a:pt x="10" y="15"/>
                    <a:pt x="10" y="15"/>
                  </a:cubicBezTo>
                  <a:cubicBezTo>
                    <a:pt x="9" y="17"/>
                    <a:pt x="9" y="17"/>
                    <a:pt x="9" y="17"/>
                  </a:cubicBezTo>
                  <a:cubicBezTo>
                    <a:pt x="3" y="16"/>
                    <a:pt x="3" y="16"/>
                    <a:pt x="3" y="16"/>
                  </a:cubicBezTo>
                  <a:cubicBezTo>
                    <a:pt x="3" y="16"/>
                    <a:pt x="3" y="16"/>
                    <a:pt x="2" y="16"/>
                  </a:cubicBezTo>
                  <a:cubicBezTo>
                    <a:pt x="2" y="16"/>
                    <a:pt x="2" y="16"/>
                    <a:pt x="2" y="17"/>
                  </a:cubicBezTo>
                  <a:cubicBezTo>
                    <a:pt x="0" y="24"/>
                    <a:pt x="0" y="24"/>
                    <a:pt x="0" y="24"/>
                  </a:cubicBezTo>
                  <a:cubicBezTo>
                    <a:pt x="0" y="24"/>
                    <a:pt x="0" y="24"/>
                    <a:pt x="0" y="25"/>
                  </a:cubicBezTo>
                  <a:cubicBezTo>
                    <a:pt x="1" y="25"/>
                    <a:pt x="1" y="25"/>
                    <a:pt x="1" y="25"/>
                  </a:cubicBezTo>
                  <a:cubicBezTo>
                    <a:pt x="7" y="27"/>
                    <a:pt x="7" y="27"/>
                    <a:pt x="7" y="27"/>
                  </a:cubicBezTo>
                  <a:cubicBezTo>
                    <a:pt x="7" y="29"/>
                    <a:pt x="7" y="29"/>
                    <a:pt x="7" y="29"/>
                  </a:cubicBezTo>
                  <a:cubicBezTo>
                    <a:pt x="2" y="31"/>
                    <a:pt x="2" y="31"/>
                    <a:pt x="2" y="31"/>
                  </a:cubicBezTo>
                  <a:cubicBezTo>
                    <a:pt x="1" y="31"/>
                    <a:pt x="1" y="32"/>
                    <a:pt x="1" y="33"/>
                  </a:cubicBezTo>
                  <a:cubicBezTo>
                    <a:pt x="4" y="39"/>
                    <a:pt x="4" y="39"/>
                    <a:pt x="4" y="39"/>
                  </a:cubicBezTo>
                  <a:cubicBezTo>
                    <a:pt x="4" y="40"/>
                    <a:pt x="4" y="40"/>
                    <a:pt x="5" y="40"/>
                  </a:cubicBezTo>
                  <a:cubicBezTo>
                    <a:pt x="5" y="40"/>
                    <a:pt x="5" y="40"/>
                    <a:pt x="6" y="40"/>
                  </a:cubicBezTo>
                  <a:cubicBezTo>
                    <a:pt x="11" y="38"/>
                    <a:pt x="11" y="38"/>
                    <a:pt x="11" y="38"/>
                  </a:cubicBezTo>
                  <a:cubicBezTo>
                    <a:pt x="12" y="40"/>
                    <a:pt x="12" y="40"/>
                    <a:pt x="12" y="40"/>
                  </a:cubicBezTo>
                  <a:cubicBezTo>
                    <a:pt x="9" y="45"/>
                    <a:pt x="9" y="45"/>
                    <a:pt x="9" y="45"/>
                  </a:cubicBezTo>
                  <a:cubicBezTo>
                    <a:pt x="9" y="45"/>
                    <a:pt x="9" y="46"/>
                    <a:pt x="10" y="47"/>
                  </a:cubicBezTo>
                  <a:cubicBezTo>
                    <a:pt x="16" y="50"/>
                    <a:pt x="16" y="50"/>
                    <a:pt x="16" y="50"/>
                  </a:cubicBezTo>
                  <a:cubicBezTo>
                    <a:pt x="16" y="50"/>
                    <a:pt x="17" y="50"/>
                    <a:pt x="17" y="50"/>
                  </a:cubicBezTo>
                  <a:cubicBezTo>
                    <a:pt x="17" y="50"/>
                    <a:pt x="18" y="50"/>
                    <a:pt x="18" y="50"/>
                  </a:cubicBezTo>
                  <a:cubicBezTo>
                    <a:pt x="21" y="45"/>
                    <a:pt x="21" y="45"/>
                    <a:pt x="21" y="45"/>
                  </a:cubicBezTo>
                  <a:cubicBezTo>
                    <a:pt x="23" y="45"/>
                    <a:pt x="23" y="45"/>
                    <a:pt x="23" y="45"/>
                  </a:cubicBezTo>
                  <a:cubicBezTo>
                    <a:pt x="23" y="51"/>
                    <a:pt x="23" y="51"/>
                    <a:pt x="23" y="51"/>
                  </a:cubicBezTo>
                  <a:cubicBezTo>
                    <a:pt x="23" y="51"/>
                    <a:pt x="24" y="52"/>
                    <a:pt x="24" y="52"/>
                  </a:cubicBezTo>
                  <a:cubicBezTo>
                    <a:pt x="24" y="52"/>
                    <a:pt x="24" y="52"/>
                    <a:pt x="24" y="52"/>
                  </a:cubicBezTo>
                  <a:cubicBezTo>
                    <a:pt x="25" y="52"/>
                    <a:pt x="25" y="52"/>
                    <a:pt x="25" y="52"/>
                  </a:cubicBezTo>
                  <a:cubicBezTo>
                    <a:pt x="32" y="52"/>
                    <a:pt x="32" y="52"/>
                    <a:pt x="32" y="52"/>
                  </a:cubicBezTo>
                  <a:cubicBezTo>
                    <a:pt x="32" y="52"/>
                    <a:pt x="33" y="51"/>
                    <a:pt x="33" y="51"/>
                  </a:cubicBezTo>
                  <a:cubicBezTo>
                    <a:pt x="33" y="51"/>
                    <a:pt x="33" y="50"/>
                    <a:pt x="33" y="50"/>
                  </a:cubicBezTo>
                  <a:cubicBezTo>
                    <a:pt x="33" y="44"/>
                    <a:pt x="33" y="44"/>
                    <a:pt x="33" y="44"/>
                  </a:cubicBezTo>
                  <a:cubicBezTo>
                    <a:pt x="35" y="44"/>
                    <a:pt x="35" y="44"/>
                    <a:pt x="35" y="44"/>
                  </a:cubicBezTo>
                  <a:cubicBezTo>
                    <a:pt x="39" y="48"/>
                    <a:pt x="39" y="48"/>
                    <a:pt x="39" y="48"/>
                  </a:cubicBezTo>
                  <a:cubicBezTo>
                    <a:pt x="39" y="48"/>
                    <a:pt x="39" y="48"/>
                    <a:pt x="40" y="48"/>
                  </a:cubicBezTo>
                  <a:cubicBezTo>
                    <a:pt x="40" y="48"/>
                    <a:pt x="40" y="48"/>
                    <a:pt x="41" y="48"/>
                  </a:cubicBezTo>
                  <a:cubicBezTo>
                    <a:pt x="46" y="43"/>
                    <a:pt x="46" y="43"/>
                    <a:pt x="46" y="43"/>
                  </a:cubicBezTo>
                  <a:cubicBezTo>
                    <a:pt x="46" y="43"/>
                    <a:pt x="46" y="43"/>
                    <a:pt x="46" y="42"/>
                  </a:cubicBezTo>
                  <a:cubicBezTo>
                    <a:pt x="46" y="42"/>
                    <a:pt x="46" y="42"/>
                    <a:pt x="46" y="41"/>
                  </a:cubicBezTo>
                  <a:cubicBezTo>
                    <a:pt x="42" y="37"/>
                    <a:pt x="42" y="37"/>
                    <a:pt x="42" y="37"/>
                  </a:cubicBezTo>
                  <a:cubicBezTo>
                    <a:pt x="43" y="35"/>
                    <a:pt x="43" y="35"/>
                    <a:pt x="43" y="35"/>
                  </a:cubicBezTo>
                  <a:cubicBezTo>
                    <a:pt x="49" y="36"/>
                    <a:pt x="49" y="36"/>
                    <a:pt x="49" y="36"/>
                  </a:cubicBezTo>
                  <a:cubicBezTo>
                    <a:pt x="49" y="37"/>
                    <a:pt x="50" y="36"/>
                    <a:pt x="50" y="36"/>
                  </a:cubicBezTo>
                  <a:cubicBezTo>
                    <a:pt x="50" y="36"/>
                    <a:pt x="51" y="36"/>
                    <a:pt x="51" y="35"/>
                  </a:cubicBezTo>
                  <a:cubicBezTo>
                    <a:pt x="52" y="29"/>
                    <a:pt x="52" y="29"/>
                    <a:pt x="52" y="29"/>
                  </a:cubicBezTo>
                  <a:cubicBezTo>
                    <a:pt x="52" y="28"/>
                    <a:pt x="52" y="28"/>
                    <a:pt x="52" y="27"/>
                  </a:cubicBezTo>
                  <a:close/>
                  <a:moveTo>
                    <a:pt x="33" y="28"/>
                  </a:moveTo>
                  <a:cubicBezTo>
                    <a:pt x="32" y="31"/>
                    <a:pt x="28" y="34"/>
                    <a:pt x="25" y="33"/>
                  </a:cubicBezTo>
                  <a:cubicBezTo>
                    <a:pt x="21" y="32"/>
                    <a:pt x="18" y="28"/>
                    <a:pt x="19" y="25"/>
                  </a:cubicBezTo>
                  <a:cubicBezTo>
                    <a:pt x="20" y="21"/>
                    <a:pt x="24" y="18"/>
                    <a:pt x="28" y="19"/>
                  </a:cubicBezTo>
                  <a:cubicBezTo>
                    <a:pt x="32" y="20"/>
                    <a:pt x="34" y="24"/>
                    <a:pt x="33" y="28"/>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lt1"/>
                </a:solidFill>
              </a:endParaRPr>
            </a:p>
          </p:txBody>
        </p:sp>
        <p:sp>
          <p:nvSpPr>
            <p:cNvPr id="31" name="Freeform 6"/>
            <p:cNvSpPr>
              <a:spLocks noEditPoints="1"/>
            </p:cNvSpPr>
            <p:nvPr/>
          </p:nvSpPr>
          <p:spPr bwMode="auto">
            <a:xfrm>
              <a:off x="-1262063" y="3052763"/>
              <a:ext cx="160338" cy="160338"/>
            </a:xfrm>
            <a:custGeom>
              <a:avLst/>
              <a:gdLst/>
              <a:ahLst/>
              <a:cxnLst>
                <a:cxn ang="0">
                  <a:pos x="33" y="29"/>
                </a:cxn>
                <a:cxn ang="0">
                  <a:pos x="31" y="24"/>
                </a:cxn>
                <a:cxn ang="0">
                  <a:pos x="36" y="25"/>
                </a:cxn>
                <a:cxn ang="0">
                  <a:pos x="37" y="20"/>
                </a:cxn>
                <a:cxn ang="0">
                  <a:pos x="36" y="18"/>
                </a:cxn>
                <a:cxn ang="0">
                  <a:pos x="32" y="16"/>
                </a:cxn>
                <a:cxn ang="0">
                  <a:pos x="37" y="14"/>
                </a:cxn>
                <a:cxn ang="0">
                  <a:pos x="35" y="9"/>
                </a:cxn>
                <a:cxn ang="0">
                  <a:pos x="30" y="10"/>
                </a:cxn>
                <a:cxn ang="0">
                  <a:pos x="31" y="5"/>
                </a:cxn>
                <a:cxn ang="0">
                  <a:pos x="30" y="4"/>
                </a:cxn>
                <a:cxn ang="0">
                  <a:pos x="24" y="2"/>
                </a:cxn>
                <a:cxn ang="0">
                  <a:pos x="21" y="5"/>
                </a:cxn>
                <a:cxn ang="0">
                  <a:pos x="19" y="0"/>
                </a:cxn>
                <a:cxn ang="0">
                  <a:pos x="14" y="1"/>
                </a:cxn>
                <a:cxn ang="0">
                  <a:pos x="14" y="5"/>
                </a:cxn>
                <a:cxn ang="0">
                  <a:pos x="10" y="3"/>
                </a:cxn>
                <a:cxn ang="0">
                  <a:pos x="8" y="3"/>
                </a:cxn>
                <a:cxn ang="0">
                  <a:pos x="4" y="7"/>
                </a:cxn>
                <a:cxn ang="0">
                  <a:pos x="7" y="11"/>
                </a:cxn>
                <a:cxn ang="0">
                  <a:pos x="3" y="11"/>
                </a:cxn>
                <a:cxn ang="0">
                  <a:pos x="0" y="17"/>
                </a:cxn>
                <a:cxn ang="0">
                  <a:pos x="1" y="18"/>
                </a:cxn>
                <a:cxn ang="0">
                  <a:pos x="5" y="20"/>
                </a:cxn>
                <a:cxn ang="0">
                  <a:pos x="1" y="23"/>
                </a:cxn>
                <a:cxn ang="0">
                  <a:pos x="4" y="28"/>
                </a:cxn>
                <a:cxn ang="0">
                  <a:pos x="8" y="27"/>
                </a:cxn>
                <a:cxn ang="0">
                  <a:pos x="7" y="31"/>
                </a:cxn>
                <a:cxn ang="0">
                  <a:pos x="7" y="33"/>
                </a:cxn>
                <a:cxn ang="0">
                  <a:pos x="12" y="35"/>
                </a:cxn>
                <a:cxn ang="0">
                  <a:pos x="13" y="35"/>
                </a:cxn>
                <a:cxn ang="0">
                  <a:pos x="17" y="32"/>
                </a:cxn>
                <a:cxn ang="0">
                  <a:pos x="17" y="37"/>
                </a:cxn>
                <a:cxn ang="0">
                  <a:pos x="23" y="36"/>
                </a:cxn>
                <a:cxn ang="0">
                  <a:pos x="24" y="35"/>
                </a:cxn>
                <a:cxn ang="0">
                  <a:pos x="25" y="31"/>
                </a:cxn>
                <a:cxn ang="0">
                  <a:pos x="28" y="34"/>
                </a:cxn>
                <a:cxn ang="0">
                  <a:pos x="33" y="30"/>
                </a:cxn>
                <a:cxn ang="0">
                  <a:pos x="22" y="22"/>
                </a:cxn>
                <a:cxn ang="0">
                  <a:pos x="15" y="15"/>
                </a:cxn>
                <a:cxn ang="0">
                  <a:pos x="22" y="22"/>
                </a:cxn>
              </a:cxnLst>
              <a:rect l="0" t="0" r="r" b="b"/>
              <a:pathLst>
                <a:path w="37" h="37">
                  <a:moveTo>
                    <a:pt x="33" y="29"/>
                  </a:moveTo>
                  <a:cubicBezTo>
                    <a:pt x="33" y="29"/>
                    <a:pt x="33" y="29"/>
                    <a:pt x="33" y="29"/>
                  </a:cubicBezTo>
                  <a:cubicBezTo>
                    <a:pt x="30" y="26"/>
                    <a:pt x="30" y="26"/>
                    <a:pt x="30" y="26"/>
                  </a:cubicBezTo>
                  <a:cubicBezTo>
                    <a:pt x="31" y="24"/>
                    <a:pt x="31" y="24"/>
                    <a:pt x="31" y="24"/>
                  </a:cubicBezTo>
                  <a:cubicBezTo>
                    <a:pt x="35" y="25"/>
                    <a:pt x="35" y="25"/>
                    <a:pt x="35" y="25"/>
                  </a:cubicBezTo>
                  <a:cubicBezTo>
                    <a:pt x="35" y="25"/>
                    <a:pt x="36" y="25"/>
                    <a:pt x="36" y="25"/>
                  </a:cubicBezTo>
                  <a:cubicBezTo>
                    <a:pt x="36" y="25"/>
                    <a:pt x="36" y="25"/>
                    <a:pt x="36" y="24"/>
                  </a:cubicBezTo>
                  <a:cubicBezTo>
                    <a:pt x="37" y="20"/>
                    <a:pt x="37" y="20"/>
                    <a:pt x="37" y="20"/>
                  </a:cubicBezTo>
                  <a:cubicBezTo>
                    <a:pt x="37" y="19"/>
                    <a:pt x="37" y="19"/>
                    <a:pt x="37" y="19"/>
                  </a:cubicBezTo>
                  <a:cubicBezTo>
                    <a:pt x="37" y="19"/>
                    <a:pt x="37" y="18"/>
                    <a:pt x="36" y="18"/>
                  </a:cubicBezTo>
                  <a:cubicBezTo>
                    <a:pt x="33" y="18"/>
                    <a:pt x="33" y="18"/>
                    <a:pt x="33" y="18"/>
                  </a:cubicBezTo>
                  <a:cubicBezTo>
                    <a:pt x="32" y="16"/>
                    <a:pt x="32" y="16"/>
                    <a:pt x="32" y="16"/>
                  </a:cubicBezTo>
                  <a:cubicBezTo>
                    <a:pt x="36" y="14"/>
                    <a:pt x="36" y="14"/>
                    <a:pt x="36" y="14"/>
                  </a:cubicBezTo>
                  <a:cubicBezTo>
                    <a:pt x="36" y="14"/>
                    <a:pt x="37" y="14"/>
                    <a:pt x="37" y="14"/>
                  </a:cubicBezTo>
                  <a:cubicBezTo>
                    <a:pt x="37" y="14"/>
                    <a:pt x="37" y="13"/>
                    <a:pt x="37" y="13"/>
                  </a:cubicBezTo>
                  <a:cubicBezTo>
                    <a:pt x="35" y="9"/>
                    <a:pt x="35" y="9"/>
                    <a:pt x="35" y="9"/>
                  </a:cubicBezTo>
                  <a:cubicBezTo>
                    <a:pt x="34" y="8"/>
                    <a:pt x="34" y="8"/>
                    <a:pt x="33" y="8"/>
                  </a:cubicBezTo>
                  <a:cubicBezTo>
                    <a:pt x="30" y="10"/>
                    <a:pt x="30" y="10"/>
                    <a:pt x="30" y="10"/>
                  </a:cubicBezTo>
                  <a:cubicBezTo>
                    <a:pt x="29" y="8"/>
                    <a:pt x="29" y="8"/>
                    <a:pt x="29" y="8"/>
                  </a:cubicBezTo>
                  <a:cubicBezTo>
                    <a:pt x="31" y="5"/>
                    <a:pt x="31" y="5"/>
                    <a:pt x="31" y="5"/>
                  </a:cubicBezTo>
                  <a:cubicBezTo>
                    <a:pt x="31" y="5"/>
                    <a:pt x="31" y="4"/>
                    <a:pt x="31" y="4"/>
                  </a:cubicBezTo>
                  <a:cubicBezTo>
                    <a:pt x="31" y="4"/>
                    <a:pt x="30" y="4"/>
                    <a:pt x="30" y="4"/>
                  </a:cubicBezTo>
                  <a:cubicBezTo>
                    <a:pt x="26" y="1"/>
                    <a:pt x="26" y="1"/>
                    <a:pt x="26" y="1"/>
                  </a:cubicBezTo>
                  <a:cubicBezTo>
                    <a:pt x="25" y="1"/>
                    <a:pt x="25" y="1"/>
                    <a:pt x="24" y="2"/>
                  </a:cubicBezTo>
                  <a:cubicBezTo>
                    <a:pt x="22" y="5"/>
                    <a:pt x="22" y="5"/>
                    <a:pt x="22" y="5"/>
                  </a:cubicBezTo>
                  <a:cubicBezTo>
                    <a:pt x="21" y="5"/>
                    <a:pt x="21" y="5"/>
                    <a:pt x="21" y="5"/>
                  </a:cubicBezTo>
                  <a:cubicBezTo>
                    <a:pt x="21" y="1"/>
                    <a:pt x="21" y="1"/>
                    <a:pt x="21" y="1"/>
                  </a:cubicBezTo>
                  <a:cubicBezTo>
                    <a:pt x="20" y="0"/>
                    <a:pt x="20" y="0"/>
                    <a:pt x="19" y="0"/>
                  </a:cubicBezTo>
                  <a:cubicBezTo>
                    <a:pt x="14" y="0"/>
                    <a:pt x="14" y="0"/>
                    <a:pt x="14" y="0"/>
                  </a:cubicBezTo>
                  <a:cubicBezTo>
                    <a:pt x="14" y="0"/>
                    <a:pt x="14" y="0"/>
                    <a:pt x="14" y="1"/>
                  </a:cubicBezTo>
                  <a:cubicBezTo>
                    <a:pt x="14" y="1"/>
                    <a:pt x="14" y="1"/>
                    <a:pt x="14" y="1"/>
                  </a:cubicBezTo>
                  <a:cubicBezTo>
                    <a:pt x="14" y="5"/>
                    <a:pt x="14" y="5"/>
                    <a:pt x="14" y="5"/>
                  </a:cubicBezTo>
                  <a:cubicBezTo>
                    <a:pt x="13" y="6"/>
                    <a:pt x="13" y="6"/>
                    <a:pt x="13" y="6"/>
                  </a:cubicBezTo>
                  <a:cubicBezTo>
                    <a:pt x="10" y="3"/>
                    <a:pt x="10" y="3"/>
                    <a:pt x="10" y="3"/>
                  </a:cubicBezTo>
                  <a:cubicBezTo>
                    <a:pt x="10" y="3"/>
                    <a:pt x="9" y="3"/>
                    <a:pt x="9" y="3"/>
                  </a:cubicBezTo>
                  <a:cubicBezTo>
                    <a:pt x="9" y="3"/>
                    <a:pt x="9" y="3"/>
                    <a:pt x="8" y="3"/>
                  </a:cubicBezTo>
                  <a:cubicBezTo>
                    <a:pt x="5" y="6"/>
                    <a:pt x="5" y="6"/>
                    <a:pt x="5" y="6"/>
                  </a:cubicBezTo>
                  <a:cubicBezTo>
                    <a:pt x="5" y="6"/>
                    <a:pt x="4" y="7"/>
                    <a:pt x="4" y="7"/>
                  </a:cubicBezTo>
                  <a:cubicBezTo>
                    <a:pt x="4" y="7"/>
                    <a:pt x="4" y="8"/>
                    <a:pt x="5" y="8"/>
                  </a:cubicBezTo>
                  <a:cubicBezTo>
                    <a:pt x="7" y="11"/>
                    <a:pt x="7" y="11"/>
                    <a:pt x="7" y="11"/>
                  </a:cubicBezTo>
                  <a:cubicBezTo>
                    <a:pt x="7" y="12"/>
                    <a:pt x="7" y="12"/>
                    <a:pt x="7" y="12"/>
                  </a:cubicBezTo>
                  <a:cubicBezTo>
                    <a:pt x="3" y="11"/>
                    <a:pt x="3" y="11"/>
                    <a:pt x="3" y="11"/>
                  </a:cubicBezTo>
                  <a:cubicBezTo>
                    <a:pt x="2" y="11"/>
                    <a:pt x="2" y="11"/>
                    <a:pt x="1" y="12"/>
                  </a:cubicBezTo>
                  <a:cubicBezTo>
                    <a:pt x="0" y="17"/>
                    <a:pt x="0" y="17"/>
                    <a:pt x="0" y="17"/>
                  </a:cubicBezTo>
                  <a:cubicBezTo>
                    <a:pt x="0" y="17"/>
                    <a:pt x="0" y="17"/>
                    <a:pt x="1" y="18"/>
                  </a:cubicBezTo>
                  <a:cubicBezTo>
                    <a:pt x="1" y="18"/>
                    <a:pt x="1" y="18"/>
                    <a:pt x="1" y="18"/>
                  </a:cubicBezTo>
                  <a:cubicBezTo>
                    <a:pt x="5" y="19"/>
                    <a:pt x="5" y="19"/>
                    <a:pt x="5" y="19"/>
                  </a:cubicBezTo>
                  <a:cubicBezTo>
                    <a:pt x="5" y="20"/>
                    <a:pt x="5" y="20"/>
                    <a:pt x="5" y="20"/>
                  </a:cubicBezTo>
                  <a:cubicBezTo>
                    <a:pt x="2" y="22"/>
                    <a:pt x="2" y="22"/>
                    <a:pt x="2" y="22"/>
                  </a:cubicBezTo>
                  <a:cubicBezTo>
                    <a:pt x="1" y="22"/>
                    <a:pt x="1" y="23"/>
                    <a:pt x="1" y="23"/>
                  </a:cubicBezTo>
                  <a:cubicBezTo>
                    <a:pt x="3" y="28"/>
                    <a:pt x="3" y="28"/>
                    <a:pt x="3" y="28"/>
                  </a:cubicBezTo>
                  <a:cubicBezTo>
                    <a:pt x="3" y="28"/>
                    <a:pt x="3" y="28"/>
                    <a:pt x="4" y="28"/>
                  </a:cubicBezTo>
                  <a:cubicBezTo>
                    <a:pt x="4" y="29"/>
                    <a:pt x="4" y="29"/>
                    <a:pt x="4" y="28"/>
                  </a:cubicBezTo>
                  <a:cubicBezTo>
                    <a:pt x="8" y="27"/>
                    <a:pt x="8" y="27"/>
                    <a:pt x="8" y="27"/>
                  </a:cubicBezTo>
                  <a:cubicBezTo>
                    <a:pt x="9" y="28"/>
                    <a:pt x="9" y="28"/>
                    <a:pt x="9" y="28"/>
                  </a:cubicBezTo>
                  <a:cubicBezTo>
                    <a:pt x="7" y="31"/>
                    <a:pt x="7" y="31"/>
                    <a:pt x="7" y="31"/>
                  </a:cubicBezTo>
                  <a:cubicBezTo>
                    <a:pt x="7" y="32"/>
                    <a:pt x="7" y="32"/>
                    <a:pt x="7" y="32"/>
                  </a:cubicBezTo>
                  <a:cubicBezTo>
                    <a:pt x="7" y="32"/>
                    <a:pt x="7" y="33"/>
                    <a:pt x="7" y="33"/>
                  </a:cubicBezTo>
                  <a:cubicBezTo>
                    <a:pt x="7" y="33"/>
                    <a:pt x="7" y="33"/>
                    <a:pt x="7" y="33"/>
                  </a:cubicBezTo>
                  <a:cubicBezTo>
                    <a:pt x="12" y="35"/>
                    <a:pt x="12" y="35"/>
                    <a:pt x="12" y="35"/>
                  </a:cubicBezTo>
                  <a:cubicBezTo>
                    <a:pt x="12" y="35"/>
                    <a:pt x="12" y="35"/>
                    <a:pt x="13" y="35"/>
                  </a:cubicBezTo>
                  <a:cubicBezTo>
                    <a:pt x="13" y="35"/>
                    <a:pt x="13" y="35"/>
                    <a:pt x="13" y="35"/>
                  </a:cubicBezTo>
                  <a:cubicBezTo>
                    <a:pt x="15" y="31"/>
                    <a:pt x="15" y="31"/>
                    <a:pt x="15" y="31"/>
                  </a:cubicBezTo>
                  <a:cubicBezTo>
                    <a:pt x="17" y="32"/>
                    <a:pt x="17" y="32"/>
                    <a:pt x="17" y="32"/>
                  </a:cubicBezTo>
                  <a:cubicBezTo>
                    <a:pt x="17" y="36"/>
                    <a:pt x="17" y="36"/>
                    <a:pt x="17" y="36"/>
                  </a:cubicBezTo>
                  <a:cubicBezTo>
                    <a:pt x="17" y="36"/>
                    <a:pt x="17" y="36"/>
                    <a:pt x="17" y="37"/>
                  </a:cubicBezTo>
                  <a:cubicBezTo>
                    <a:pt x="18" y="37"/>
                    <a:pt x="18" y="37"/>
                    <a:pt x="18" y="37"/>
                  </a:cubicBezTo>
                  <a:cubicBezTo>
                    <a:pt x="23" y="36"/>
                    <a:pt x="23" y="36"/>
                    <a:pt x="23" y="36"/>
                  </a:cubicBezTo>
                  <a:cubicBezTo>
                    <a:pt x="23" y="36"/>
                    <a:pt x="24" y="36"/>
                    <a:pt x="24" y="36"/>
                  </a:cubicBezTo>
                  <a:cubicBezTo>
                    <a:pt x="24" y="36"/>
                    <a:pt x="24" y="35"/>
                    <a:pt x="24" y="35"/>
                  </a:cubicBezTo>
                  <a:cubicBezTo>
                    <a:pt x="24" y="31"/>
                    <a:pt x="24" y="31"/>
                    <a:pt x="24" y="31"/>
                  </a:cubicBezTo>
                  <a:cubicBezTo>
                    <a:pt x="25" y="31"/>
                    <a:pt x="25" y="31"/>
                    <a:pt x="25" y="31"/>
                  </a:cubicBezTo>
                  <a:cubicBezTo>
                    <a:pt x="28" y="33"/>
                    <a:pt x="28" y="33"/>
                    <a:pt x="28" y="33"/>
                  </a:cubicBezTo>
                  <a:cubicBezTo>
                    <a:pt x="28" y="34"/>
                    <a:pt x="28" y="34"/>
                    <a:pt x="28" y="34"/>
                  </a:cubicBezTo>
                  <a:cubicBezTo>
                    <a:pt x="29" y="34"/>
                    <a:pt x="29" y="34"/>
                    <a:pt x="29" y="34"/>
                  </a:cubicBezTo>
                  <a:cubicBezTo>
                    <a:pt x="33" y="30"/>
                    <a:pt x="33" y="30"/>
                    <a:pt x="33" y="30"/>
                  </a:cubicBezTo>
                  <a:cubicBezTo>
                    <a:pt x="33" y="30"/>
                    <a:pt x="33" y="30"/>
                    <a:pt x="33" y="29"/>
                  </a:cubicBezTo>
                  <a:close/>
                  <a:moveTo>
                    <a:pt x="22" y="22"/>
                  </a:moveTo>
                  <a:cubicBezTo>
                    <a:pt x="20" y="24"/>
                    <a:pt x="17" y="24"/>
                    <a:pt x="15" y="22"/>
                  </a:cubicBezTo>
                  <a:cubicBezTo>
                    <a:pt x="13" y="20"/>
                    <a:pt x="13" y="16"/>
                    <a:pt x="15" y="15"/>
                  </a:cubicBezTo>
                  <a:cubicBezTo>
                    <a:pt x="17" y="13"/>
                    <a:pt x="21" y="13"/>
                    <a:pt x="23" y="15"/>
                  </a:cubicBezTo>
                  <a:cubicBezTo>
                    <a:pt x="24" y="17"/>
                    <a:pt x="24" y="20"/>
                    <a:pt x="22" y="22"/>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lt1"/>
                </a:solidFill>
              </a:endParaRPr>
            </a:p>
          </p:txBody>
        </p:sp>
      </p:grpSp>
      <p:grpSp>
        <p:nvGrpSpPr>
          <p:cNvPr id="32" name="Group 31"/>
          <p:cNvGrpSpPr/>
          <p:nvPr/>
        </p:nvGrpSpPr>
        <p:grpSpPr>
          <a:xfrm>
            <a:off x="6911217" y="1967494"/>
            <a:ext cx="548706" cy="631688"/>
            <a:chOff x="5818111" y="5572453"/>
            <a:chExt cx="770621" cy="887165"/>
          </a:xfrm>
          <a:solidFill>
            <a:schemeClr val="bg1"/>
          </a:solidFill>
        </p:grpSpPr>
        <p:sp>
          <p:nvSpPr>
            <p:cNvPr id="33" name="Freeform 33"/>
            <p:cNvSpPr>
              <a:spLocks/>
            </p:cNvSpPr>
            <p:nvPr/>
          </p:nvSpPr>
          <p:spPr bwMode="auto">
            <a:xfrm>
              <a:off x="5951305" y="6055280"/>
              <a:ext cx="332984" cy="404338"/>
            </a:xfrm>
            <a:custGeom>
              <a:avLst/>
              <a:gdLst>
                <a:gd name="T0" fmla="*/ 0 w 840"/>
                <a:gd name="T1" fmla="*/ 0 h 1020"/>
                <a:gd name="T2" fmla="*/ 210 w 840"/>
                <a:gd name="T3" fmla="*/ 262 h 1020"/>
                <a:gd name="T4" fmla="*/ 408 w 840"/>
                <a:gd name="T5" fmla="*/ 168 h 1020"/>
                <a:gd name="T6" fmla="*/ 651 w 840"/>
                <a:gd name="T7" fmla="*/ 237 h 1020"/>
                <a:gd name="T8" fmla="*/ 826 w 840"/>
                <a:gd name="T9" fmla="*/ 0 h 1020"/>
                <a:gd name="T10" fmla="*/ 840 w 840"/>
                <a:gd name="T11" fmla="*/ 1020 h 1020"/>
                <a:gd name="T12" fmla="*/ 412 w 840"/>
                <a:gd name="T13" fmla="*/ 672 h 1020"/>
                <a:gd name="T14" fmla="*/ 15 w 840"/>
                <a:gd name="T15" fmla="*/ 1020 h 1020"/>
                <a:gd name="T16" fmla="*/ 0 w 840"/>
                <a:gd name="T17" fmla="*/ 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0" h="1020">
                  <a:moveTo>
                    <a:pt x="0" y="0"/>
                  </a:moveTo>
                  <a:lnTo>
                    <a:pt x="210" y="262"/>
                  </a:lnTo>
                  <a:lnTo>
                    <a:pt x="408" y="168"/>
                  </a:lnTo>
                  <a:lnTo>
                    <a:pt x="651" y="237"/>
                  </a:lnTo>
                  <a:lnTo>
                    <a:pt x="826" y="0"/>
                  </a:lnTo>
                  <a:lnTo>
                    <a:pt x="840" y="1020"/>
                  </a:lnTo>
                  <a:lnTo>
                    <a:pt x="412" y="672"/>
                  </a:lnTo>
                  <a:lnTo>
                    <a:pt x="15" y="102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30"/>
            <p:cNvSpPr>
              <a:spLocks noEditPoints="1"/>
            </p:cNvSpPr>
            <p:nvPr/>
          </p:nvSpPr>
          <p:spPr bwMode="auto">
            <a:xfrm>
              <a:off x="5818111" y="5579588"/>
              <a:ext cx="612454" cy="604128"/>
            </a:xfrm>
            <a:custGeom>
              <a:avLst/>
              <a:gdLst>
                <a:gd name="T0" fmla="*/ 774 w 1546"/>
                <a:gd name="T1" fmla="*/ 0 h 1524"/>
                <a:gd name="T2" fmla="*/ 1001 w 1546"/>
                <a:gd name="T3" fmla="*/ 224 h 1524"/>
                <a:gd name="T4" fmla="*/ 1278 w 1546"/>
                <a:gd name="T5" fmla="*/ 184 h 1524"/>
                <a:gd name="T6" fmla="*/ 1309 w 1546"/>
                <a:gd name="T7" fmla="*/ 502 h 1524"/>
                <a:gd name="T8" fmla="*/ 1546 w 1546"/>
                <a:gd name="T9" fmla="*/ 649 h 1524"/>
                <a:gd name="T10" fmla="*/ 1367 w 1546"/>
                <a:gd name="T11" fmla="*/ 913 h 1524"/>
                <a:gd name="T12" fmla="*/ 1454 w 1546"/>
                <a:gd name="T13" fmla="*/ 1179 h 1524"/>
                <a:gd name="T14" fmla="*/ 1145 w 1546"/>
                <a:gd name="T15" fmla="*/ 1265 h 1524"/>
                <a:gd name="T16" fmla="*/ 1042 w 1546"/>
                <a:gd name="T17" fmla="*/ 1524 h 1524"/>
                <a:gd name="T18" fmla="*/ 751 w 1546"/>
                <a:gd name="T19" fmla="*/ 1392 h 1524"/>
                <a:gd name="T20" fmla="*/ 504 w 1546"/>
                <a:gd name="T21" fmla="*/ 1524 h 1524"/>
                <a:gd name="T22" fmla="*/ 366 w 1546"/>
                <a:gd name="T23" fmla="*/ 1236 h 1524"/>
                <a:gd name="T24" fmla="*/ 92 w 1546"/>
                <a:gd name="T25" fmla="*/ 1179 h 1524"/>
                <a:gd name="T26" fmla="*/ 172 w 1546"/>
                <a:gd name="T27" fmla="*/ 869 h 1524"/>
                <a:gd name="T28" fmla="*/ 0 w 1546"/>
                <a:gd name="T29" fmla="*/ 649 h 1524"/>
                <a:gd name="T30" fmla="*/ 259 w 1546"/>
                <a:gd name="T31" fmla="*/ 463 h 1524"/>
                <a:gd name="T32" fmla="*/ 267 w 1546"/>
                <a:gd name="T33" fmla="*/ 184 h 1524"/>
                <a:gd name="T34" fmla="*/ 587 w 1546"/>
                <a:gd name="T35" fmla="*/ 208 h 1524"/>
                <a:gd name="T36" fmla="*/ 774 w 1546"/>
                <a:gd name="T37" fmla="*/ 0 h 1524"/>
                <a:gd name="T38" fmla="*/ 774 w 1546"/>
                <a:gd name="T39" fmla="*/ 120 h 1524"/>
                <a:gd name="T40" fmla="*/ 965 w 1546"/>
                <a:gd name="T41" fmla="*/ 308 h 1524"/>
                <a:gd name="T42" fmla="*/ 1199 w 1546"/>
                <a:gd name="T43" fmla="*/ 275 h 1524"/>
                <a:gd name="T44" fmla="*/ 1225 w 1546"/>
                <a:gd name="T45" fmla="*/ 543 h 1524"/>
                <a:gd name="T46" fmla="*/ 1425 w 1546"/>
                <a:gd name="T47" fmla="*/ 667 h 1524"/>
                <a:gd name="T48" fmla="*/ 1273 w 1546"/>
                <a:gd name="T49" fmla="*/ 889 h 1524"/>
                <a:gd name="T50" fmla="*/ 1346 w 1546"/>
                <a:gd name="T51" fmla="*/ 1113 h 1524"/>
                <a:gd name="T52" fmla="*/ 1087 w 1546"/>
                <a:gd name="T53" fmla="*/ 1186 h 1524"/>
                <a:gd name="T54" fmla="*/ 1000 w 1546"/>
                <a:gd name="T55" fmla="*/ 1405 h 1524"/>
                <a:gd name="T56" fmla="*/ 755 w 1546"/>
                <a:gd name="T57" fmla="*/ 1293 h 1524"/>
                <a:gd name="T58" fmla="*/ 546 w 1546"/>
                <a:gd name="T59" fmla="*/ 1405 h 1524"/>
                <a:gd name="T60" fmla="*/ 431 w 1546"/>
                <a:gd name="T61" fmla="*/ 1161 h 1524"/>
                <a:gd name="T62" fmla="*/ 200 w 1546"/>
                <a:gd name="T63" fmla="*/ 1113 h 1524"/>
                <a:gd name="T64" fmla="*/ 266 w 1546"/>
                <a:gd name="T65" fmla="*/ 852 h 1524"/>
                <a:gd name="T66" fmla="*/ 121 w 1546"/>
                <a:gd name="T67" fmla="*/ 667 h 1524"/>
                <a:gd name="T68" fmla="*/ 340 w 1546"/>
                <a:gd name="T69" fmla="*/ 511 h 1524"/>
                <a:gd name="T70" fmla="*/ 347 w 1546"/>
                <a:gd name="T71" fmla="*/ 275 h 1524"/>
                <a:gd name="T72" fmla="*/ 616 w 1546"/>
                <a:gd name="T73" fmla="*/ 295 h 1524"/>
                <a:gd name="T74" fmla="*/ 774 w 1546"/>
                <a:gd name="T75" fmla="*/ 120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6" h="1524">
                  <a:moveTo>
                    <a:pt x="774" y="0"/>
                  </a:moveTo>
                  <a:lnTo>
                    <a:pt x="1001" y="224"/>
                  </a:lnTo>
                  <a:lnTo>
                    <a:pt x="1278" y="184"/>
                  </a:lnTo>
                  <a:lnTo>
                    <a:pt x="1309" y="502"/>
                  </a:lnTo>
                  <a:lnTo>
                    <a:pt x="1546" y="649"/>
                  </a:lnTo>
                  <a:lnTo>
                    <a:pt x="1367" y="913"/>
                  </a:lnTo>
                  <a:lnTo>
                    <a:pt x="1454" y="1179"/>
                  </a:lnTo>
                  <a:lnTo>
                    <a:pt x="1145" y="1265"/>
                  </a:lnTo>
                  <a:lnTo>
                    <a:pt x="1042" y="1524"/>
                  </a:lnTo>
                  <a:lnTo>
                    <a:pt x="751" y="1392"/>
                  </a:lnTo>
                  <a:lnTo>
                    <a:pt x="504" y="1524"/>
                  </a:lnTo>
                  <a:lnTo>
                    <a:pt x="366" y="1236"/>
                  </a:lnTo>
                  <a:lnTo>
                    <a:pt x="92" y="1179"/>
                  </a:lnTo>
                  <a:lnTo>
                    <a:pt x="172" y="869"/>
                  </a:lnTo>
                  <a:lnTo>
                    <a:pt x="0" y="649"/>
                  </a:lnTo>
                  <a:lnTo>
                    <a:pt x="259" y="463"/>
                  </a:lnTo>
                  <a:lnTo>
                    <a:pt x="267" y="184"/>
                  </a:lnTo>
                  <a:lnTo>
                    <a:pt x="587" y="208"/>
                  </a:lnTo>
                  <a:lnTo>
                    <a:pt x="774" y="0"/>
                  </a:lnTo>
                  <a:close/>
                  <a:moveTo>
                    <a:pt x="774" y="120"/>
                  </a:moveTo>
                  <a:lnTo>
                    <a:pt x="965" y="308"/>
                  </a:lnTo>
                  <a:lnTo>
                    <a:pt x="1199" y="275"/>
                  </a:lnTo>
                  <a:lnTo>
                    <a:pt x="1225" y="543"/>
                  </a:lnTo>
                  <a:lnTo>
                    <a:pt x="1425" y="667"/>
                  </a:lnTo>
                  <a:lnTo>
                    <a:pt x="1273" y="889"/>
                  </a:lnTo>
                  <a:lnTo>
                    <a:pt x="1346" y="1113"/>
                  </a:lnTo>
                  <a:lnTo>
                    <a:pt x="1087" y="1186"/>
                  </a:lnTo>
                  <a:lnTo>
                    <a:pt x="1000" y="1405"/>
                  </a:lnTo>
                  <a:lnTo>
                    <a:pt x="755" y="1293"/>
                  </a:lnTo>
                  <a:lnTo>
                    <a:pt x="546" y="1405"/>
                  </a:lnTo>
                  <a:lnTo>
                    <a:pt x="431" y="1161"/>
                  </a:lnTo>
                  <a:lnTo>
                    <a:pt x="200" y="1113"/>
                  </a:lnTo>
                  <a:lnTo>
                    <a:pt x="266" y="852"/>
                  </a:lnTo>
                  <a:lnTo>
                    <a:pt x="121" y="667"/>
                  </a:lnTo>
                  <a:lnTo>
                    <a:pt x="340" y="511"/>
                  </a:lnTo>
                  <a:lnTo>
                    <a:pt x="347" y="275"/>
                  </a:lnTo>
                  <a:lnTo>
                    <a:pt x="616" y="295"/>
                  </a:lnTo>
                  <a:lnTo>
                    <a:pt x="774" y="12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35"/>
            <p:cNvSpPr>
              <a:spLocks/>
            </p:cNvSpPr>
            <p:nvPr/>
          </p:nvSpPr>
          <p:spPr bwMode="auto">
            <a:xfrm>
              <a:off x="5944169" y="5572453"/>
              <a:ext cx="644563" cy="447150"/>
            </a:xfrm>
            <a:custGeom>
              <a:avLst/>
              <a:gdLst>
                <a:gd name="T0" fmla="*/ 0 w 1626"/>
                <a:gd name="T1" fmla="*/ 678 h 1128"/>
                <a:gd name="T2" fmla="*/ 498 w 1626"/>
                <a:gd name="T3" fmla="*/ 1128 h 1128"/>
                <a:gd name="T4" fmla="*/ 1626 w 1626"/>
                <a:gd name="T5" fmla="*/ 0 h 1128"/>
                <a:gd name="T6" fmla="*/ 486 w 1626"/>
                <a:gd name="T7" fmla="*/ 888 h 1128"/>
                <a:gd name="T8" fmla="*/ 0 w 1626"/>
                <a:gd name="T9" fmla="*/ 678 h 1128"/>
              </a:gdLst>
              <a:ahLst/>
              <a:cxnLst>
                <a:cxn ang="0">
                  <a:pos x="T0" y="T1"/>
                </a:cxn>
                <a:cxn ang="0">
                  <a:pos x="T2" y="T3"/>
                </a:cxn>
                <a:cxn ang="0">
                  <a:pos x="T4" y="T5"/>
                </a:cxn>
                <a:cxn ang="0">
                  <a:pos x="T6" y="T7"/>
                </a:cxn>
                <a:cxn ang="0">
                  <a:pos x="T8" y="T9"/>
                </a:cxn>
              </a:cxnLst>
              <a:rect l="0" t="0" r="r" b="b"/>
              <a:pathLst>
                <a:path w="1626" h="1128">
                  <a:moveTo>
                    <a:pt x="0" y="678"/>
                  </a:moveTo>
                  <a:lnTo>
                    <a:pt x="498" y="1128"/>
                  </a:lnTo>
                  <a:lnTo>
                    <a:pt x="1626" y="0"/>
                  </a:lnTo>
                  <a:lnTo>
                    <a:pt x="486" y="888"/>
                  </a:lnTo>
                  <a:lnTo>
                    <a:pt x="0" y="67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6" name="Date Placeholder 4"/>
          <p:cNvSpPr>
            <a:spLocks noGrp="1"/>
          </p:cNvSpPr>
          <p:nvPr>
            <p:ph type="dt" sz="half" idx="10"/>
          </p:nvPr>
        </p:nvSpPr>
        <p:spPr>
          <a:xfrm>
            <a:off x="6858000" y="6483841"/>
            <a:ext cx="2133600" cy="383193"/>
          </a:xfrm>
        </p:spPr>
        <p:txBody>
          <a:bodyPr/>
          <a:lstStyle/>
          <a:p>
            <a:r>
              <a:rPr lang="fr-FR" dirty="0" smtClean="0"/>
              <a:t>02 Février 2015</a:t>
            </a:r>
            <a:endParaRPr lang="en-US" dirty="0"/>
          </a:p>
        </p:txBody>
      </p:sp>
    </p:spTree>
    <p:custDataLst>
      <p:tags r:id="rId1"/>
    </p:custDataLst>
    <p:extLst>
      <p:ext uri="{BB962C8B-B14F-4D97-AF65-F5344CB8AC3E}">
        <p14:creationId xmlns:p14="http://schemas.microsoft.com/office/powerpoint/2010/main" val="12684447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3"/>
            </p:custDataLst>
            <p:extLst>
              <p:ext uri="{D42A27DB-BD31-4B8C-83A1-F6EECF244321}">
                <p14:modId xmlns:p14="http://schemas.microsoft.com/office/powerpoint/2010/main" val="3549754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Subtitle 3"/>
          <p:cNvSpPr>
            <a:spLocks noGrp="1"/>
          </p:cNvSpPr>
          <p:nvPr>
            <p:ph type="subTitle" idx="1"/>
            <p:custDataLst>
              <p:tags r:id="rId4"/>
            </p:custDataLst>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custDataLst>
              <p:tags r:id="rId5"/>
            </p:custDataLst>
          </p:nvPr>
        </p:nvSpPr>
        <p:spPr/>
        <p:txBody>
          <a:bodyPr/>
          <a:lstStyle/>
          <a:p>
            <a:fld id="{125C11E9-EA40-D54F-953A-82A4C72DAAAD}" type="slidenum">
              <a:rPr lang="en-US" smtClean="0"/>
              <a:pPr/>
              <a:t>30</a:t>
            </a:fld>
            <a:r>
              <a:rPr lang="en-US" dirty="0" smtClean="0"/>
              <a:t> I</a:t>
            </a:r>
            <a:endParaRPr lang="en-US" dirty="0"/>
          </a:p>
        </p:txBody>
      </p:sp>
      <p:sp>
        <p:nvSpPr>
          <p:cNvPr id="2" name="Title 1"/>
          <p:cNvSpPr>
            <a:spLocks noGrp="1"/>
          </p:cNvSpPr>
          <p:nvPr>
            <p:ph type="title"/>
            <p:custDataLst>
              <p:tags r:id="rId6"/>
            </p:custDataLst>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custDataLst>
              <p:tags r:id="rId7"/>
            </p:custDataLst>
          </p:nvPr>
        </p:nvSpPr>
        <p:spPr/>
        <p:txBody>
          <a:bodyPr/>
          <a:lstStyle/>
          <a:p>
            <a:r>
              <a:rPr lang="en-US" smtClean="0"/>
              <a:t>PRESENTER NAME</a:t>
            </a:r>
            <a:endParaRPr lang="en-US"/>
          </a:p>
        </p:txBody>
      </p:sp>
      <p:sp>
        <p:nvSpPr>
          <p:cNvPr id="6" name="Footer Placeholder 5"/>
          <p:cNvSpPr>
            <a:spLocks noGrp="1"/>
          </p:cNvSpPr>
          <p:nvPr>
            <p:ph type="ftr" sz="quarter" idx="11"/>
            <p:custDataLst>
              <p:tags r:id="rId8"/>
            </p:custDataLst>
          </p:nvPr>
        </p:nvSpPr>
        <p:spPr/>
        <p:txBody>
          <a:bodyPr/>
          <a:lstStyle/>
          <a:p>
            <a:r>
              <a:rPr lang="en-US" smtClean="0"/>
              <a:t>COMPANY NAME</a:t>
            </a:r>
            <a:endParaRPr lang="en-US"/>
          </a:p>
        </p:txBody>
      </p:sp>
      <p:grpSp>
        <p:nvGrpSpPr>
          <p:cNvPr id="45" name="Group 44"/>
          <p:cNvGrpSpPr/>
          <p:nvPr/>
        </p:nvGrpSpPr>
        <p:grpSpPr>
          <a:xfrm>
            <a:off x="1572944" y="1694822"/>
            <a:ext cx="5998112" cy="3886506"/>
            <a:chOff x="1672581" y="1694822"/>
            <a:chExt cx="5998112" cy="3886506"/>
          </a:xfrm>
        </p:grpSpPr>
        <p:grpSp>
          <p:nvGrpSpPr>
            <p:cNvPr id="24" name="Group 23"/>
            <p:cNvGrpSpPr/>
            <p:nvPr>
              <p:custDataLst>
                <p:tags r:id="rId9"/>
              </p:custDataLst>
            </p:nvPr>
          </p:nvGrpSpPr>
          <p:grpSpPr>
            <a:xfrm>
              <a:off x="1672581" y="3746584"/>
              <a:ext cx="1756419" cy="1834744"/>
              <a:chOff x="1672581" y="3632459"/>
              <a:chExt cx="2095459" cy="2188903"/>
            </a:xfrm>
          </p:grpSpPr>
          <p:sp>
            <p:nvSpPr>
              <p:cNvPr id="14" name="Teardrop 13"/>
              <p:cNvSpPr/>
              <p:nvPr/>
            </p:nvSpPr>
            <p:spPr>
              <a:xfrm>
                <a:off x="1672581" y="3727294"/>
                <a:ext cx="2094068" cy="2094068"/>
              </a:xfrm>
              <a:prstGeom prst="teardrop">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4"/>
              <p:cNvSpPr>
                <a:spLocks noChangeArrowheads="1"/>
              </p:cNvSpPr>
              <p:nvPr/>
            </p:nvSpPr>
            <p:spPr bwMode="auto">
              <a:xfrm rot="2503993" flipV="1">
                <a:off x="3296721" y="3632459"/>
                <a:ext cx="471319" cy="683703"/>
              </a:xfrm>
              <a:custGeom>
                <a:avLst/>
                <a:gdLst>
                  <a:gd name="T0" fmla="*/ 0 w 928694"/>
                  <a:gd name="T1" fmla="*/ 220409 h 1082973"/>
                  <a:gd name="T2" fmla="*/ 142434 w 928694"/>
                  <a:gd name="T3" fmla="*/ 0 h 1082973"/>
                  <a:gd name="T4" fmla="*/ 284869 w 928694"/>
                  <a:gd name="T5" fmla="*/ 220409 h 1082973"/>
                  <a:gd name="T6" fmla="*/ 213652 w 928694"/>
                  <a:gd name="T7" fmla="*/ 220409 h 1082973"/>
                  <a:gd name="T8" fmla="*/ 150835 w 928694"/>
                  <a:gd name="T9" fmla="*/ 514050 h 1082973"/>
                  <a:gd name="T10" fmla="*/ 150815 w 928694"/>
                  <a:gd name="T11" fmla="*/ 512543 h 1082973"/>
                  <a:gd name="T12" fmla="*/ 71217 w 928694"/>
                  <a:gd name="T13" fmla="*/ 220409 h 1082973"/>
                  <a:gd name="T14" fmla="*/ 0 w 928694"/>
                  <a:gd name="T15" fmla="*/ 220409 h 1082973"/>
                  <a:gd name="T16" fmla="*/ 0 60000 65536"/>
                  <a:gd name="T17" fmla="*/ 0 60000 65536"/>
                  <a:gd name="T18" fmla="*/ 0 60000 65536"/>
                  <a:gd name="T19" fmla="*/ 0 60000 65536"/>
                  <a:gd name="T20" fmla="*/ 0 60000 65536"/>
                  <a:gd name="T21" fmla="*/ 0 60000 65536"/>
                  <a:gd name="T22" fmla="*/ 0 60000 65536"/>
                  <a:gd name="T23" fmla="*/ 0 60000 65536"/>
                  <a:gd name="T24" fmla="*/ 0 w 928694"/>
                  <a:gd name="T25" fmla="*/ 0 h 1082973"/>
                  <a:gd name="T26" fmla="*/ 928694 w 928694"/>
                  <a:gd name="T27" fmla="*/ 1082973 h 10829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28694" h="1082973">
                    <a:moveTo>
                      <a:pt x="0" y="464347"/>
                    </a:moveTo>
                    <a:lnTo>
                      <a:pt x="464347" y="0"/>
                    </a:lnTo>
                    <a:lnTo>
                      <a:pt x="928694" y="464347"/>
                    </a:lnTo>
                    <a:lnTo>
                      <a:pt x="696521" y="464347"/>
                    </a:lnTo>
                    <a:lnTo>
                      <a:pt x="491733" y="1082973"/>
                    </a:lnTo>
                    <a:cubicBezTo>
                      <a:pt x="491711" y="1081914"/>
                      <a:pt x="491690" y="1080856"/>
                      <a:pt x="491668" y="1079797"/>
                    </a:cubicBezTo>
                    <a:lnTo>
                      <a:pt x="232174" y="464347"/>
                    </a:lnTo>
                    <a:lnTo>
                      <a:pt x="0" y="464347"/>
                    </a:lnTo>
                    <a:close/>
                  </a:path>
                </a:pathLst>
              </a:custGeom>
              <a:solidFill>
                <a:srgbClr val="0D65AC"/>
              </a:solidFill>
              <a:ln w="3175">
                <a:noFill/>
                <a:round/>
                <a:headEnd/>
                <a:tailEnd/>
              </a:ln>
              <a:effectLst>
                <a:innerShdw dist="38100" dir="5400000">
                  <a:prstClr val="black">
                    <a:alpha val="20000"/>
                  </a:prstClr>
                </a:innerShdw>
              </a:effectLst>
            </p:spPr>
            <p:txBody>
              <a:bodyPr anchor="ctr"/>
              <a:lstStyle/>
              <a:p>
                <a:endParaRPr lang="en-US" sz="1600"/>
              </a:p>
            </p:txBody>
          </p:sp>
          <p:sp>
            <p:nvSpPr>
              <p:cNvPr id="18" name="Rectangle 17"/>
              <p:cNvSpPr/>
              <p:nvPr/>
            </p:nvSpPr>
            <p:spPr>
              <a:xfrm>
                <a:off x="1778924" y="4549011"/>
                <a:ext cx="1893251" cy="919802"/>
              </a:xfrm>
              <a:prstGeom prst="rect">
                <a:avLst/>
              </a:prstGeom>
            </p:spPr>
            <p:txBody>
              <a:bodyPr wrap="square">
                <a:spAutoFit/>
              </a:bodyPr>
              <a:lstStyle/>
              <a:p>
                <a:pPr marL="171450" indent="-171450">
                  <a:spcBef>
                    <a:spcPct val="20000"/>
                  </a:spcBef>
                  <a:buFont typeface="Arial" pitchFamily="34" charset="0"/>
                  <a:buChar char="•"/>
                </a:pPr>
                <a:r>
                  <a:rPr lang="en-US" sz="1050" noProof="1" smtClean="0">
                    <a:solidFill>
                      <a:srgbClr val="080808"/>
                    </a:solidFill>
                    <a:latin typeface="Calibri" charset="0"/>
                    <a:cs typeface="Arial" charset="0"/>
                  </a:rPr>
                  <a:t>This is an example text. </a:t>
                </a:r>
              </a:p>
              <a:p>
                <a:pPr marL="171450" indent="-171450">
                  <a:spcBef>
                    <a:spcPct val="20000"/>
                  </a:spcBef>
                  <a:buFont typeface="Arial" pitchFamily="34" charset="0"/>
                  <a:buChar char="•"/>
                </a:pPr>
                <a:r>
                  <a:rPr lang="en-US" sz="1050" noProof="1" smtClean="0">
                    <a:solidFill>
                      <a:srgbClr val="080808"/>
                    </a:solidFill>
                    <a:latin typeface="Calibri" charset="0"/>
                    <a:cs typeface="Arial" charset="0"/>
                  </a:rPr>
                  <a:t>Go ahead an replace it with your own text. </a:t>
                </a:r>
                <a:endParaRPr lang="en-US" sz="1050" noProof="1">
                  <a:solidFill>
                    <a:srgbClr val="080808"/>
                  </a:solidFill>
                  <a:latin typeface="Calibri" charset="0"/>
                  <a:cs typeface="Arial" charset="0"/>
                </a:endParaRPr>
              </a:p>
            </p:txBody>
          </p:sp>
          <p:sp>
            <p:nvSpPr>
              <p:cNvPr id="22" name="Rectangle 21"/>
              <p:cNvSpPr/>
              <p:nvPr/>
            </p:nvSpPr>
            <p:spPr>
              <a:xfrm>
                <a:off x="2013847" y="4179679"/>
                <a:ext cx="1369911" cy="367187"/>
              </a:xfrm>
              <a:prstGeom prst="rect">
                <a:avLst/>
              </a:prstGeom>
            </p:spPr>
            <p:txBody>
              <a:bodyPr wrap="none">
                <a:spAutoFit/>
              </a:bodyPr>
              <a:lstStyle/>
              <a:p>
                <a:pPr>
                  <a:spcBef>
                    <a:spcPct val="20000"/>
                  </a:spcBef>
                </a:pPr>
                <a:r>
                  <a:rPr lang="en-US" sz="1400" b="1" noProof="1">
                    <a:solidFill>
                      <a:srgbClr val="080808"/>
                    </a:solidFill>
                    <a:latin typeface="Calibri" charset="0"/>
                    <a:cs typeface="Arial" charset="0"/>
                  </a:rPr>
                  <a:t>Example text</a:t>
                </a:r>
              </a:p>
            </p:txBody>
          </p:sp>
        </p:grpSp>
        <p:sp>
          <p:nvSpPr>
            <p:cNvPr id="12" name="Rectangle 47"/>
            <p:cNvSpPr>
              <a:spLocks noChangeArrowheads="1"/>
            </p:cNvSpPr>
            <p:nvPr/>
          </p:nvSpPr>
          <p:spPr bwMode="auto">
            <a:xfrm>
              <a:off x="3412962" y="3439947"/>
              <a:ext cx="2517938" cy="410205"/>
            </a:xfrm>
            <a:prstGeom prst="rect">
              <a:avLst/>
            </a:prstGeom>
            <a:solidFill>
              <a:srgbClr val="0D65AC"/>
            </a:solidFill>
            <a:ln w="3175">
              <a:noFill/>
              <a:round/>
              <a:headEnd/>
              <a:tailEnd/>
            </a:ln>
            <a:effectLst/>
          </p:spPr>
          <p:txBody>
            <a:bodyPr anchor="ctr"/>
            <a:lstStyle/>
            <a:p>
              <a:pPr algn="ctr"/>
              <a:endParaRPr lang="en-US" sz="1600">
                <a:solidFill>
                  <a:srgbClr val="FFFFFF"/>
                </a:solidFill>
                <a:latin typeface="Calibri" charset="0"/>
              </a:endParaRPr>
            </a:p>
          </p:txBody>
        </p:sp>
        <p:sp>
          <p:nvSpPr>
            <p:cNvPr id="13" name="Rektangel 33"/>
            <p:cNvSpPr>
              <a:spLocks noChangeArrowheads="1"/>
            </p:cNvSpPr>
            <p:nvPr/>
          </p:nvSpPr>
          <p:spPr bwMode="auto">
            <a:xfrm>
              <a:off x="3580511" y="3506550"/>
              <a:ext cx="2196607" cy="276999"/>
            </a:xfrm>
            <a:prstGeom prst="rect">
              <a:avLst/>
            </a:prstGeom>
            <a:noFill/>
            <a:ln w="3175">
              <a:noFill/>
              <a:round/>
              <a:headEnd/>
              <a:tailEnd/>
            </a:ln>
            <a:effectLst>
              <a:innerShdw dist="38100" dir="5400000">
                <a:prstClr val="black">
                  <a:alpha val="20000"/>
                </a:prstClr>
              </a:innerShdw>
            </a:effectLst>
            <a:extLst/>
          </p:spPr>
          <p:txBody>
            <a:bodyPr>
              <a:spAutoFit/>
            </a:bodyPr>
            <a:lstStyle/>
            <a:p>
              <a:pPr algn="ctr" defTabSz="801688">
                <a:spcBef>
                  <a:spcPct val="20000"/>
                </a:spcBef>
              </a:pPr>
              <a:r>
                <a:rPr lang="en-US" sz="1200" b="1" noProof="1">
                  <a:solidFill>
                    <a:schemeClr val="bg1"/>
                  </a:solidFill>
                  <a:latin typeface="Calibri" charset="0"/>
                  <a:cs typeface="Arial" charset="0"/>
                </a:rPr>
                <a:t>Management </a:t>
              </a:r>
              <a:r>
                <a:rPr lang="en-US" sz="1200" b="1" noProof="1" smtClean="0">
                  <a:solidFill>
                    <a:schemeClr val="bg1"/>
                  </a:solidFill>
                  <a:latin typeface="Calibri" charset="0"/>
                  <a:cs typeface="Arial" charset="0"/>
                </a:rPr>
                <a:t>responsibilities</a:t>
              </a:r>
              <a:r>
                <a:rPr lang="en-US" sz="1100" noProof="1" smtClean="0">
                  <a:solidFill>
                    <a:schemeClr val="bg1"/>
                  </a:solidFill>
                  <a:latin typeface="Calibri" charset="0"/>
                  <a:cs typeface="Arial" charset="0"/>
                </a:rPr>
                <a:t> </a:t>
              </a:r>
              <a:endParaRPr lang="en-US" sz="1100" noProof="1">
                <a:solidFill>
                  <a:schemeClr val="bg1"/>
                </a:solidFill>
                <a:latin typeface="Calibri" charset="0"/>
                <a:cs typeface="Arial" charset="0"/>
              </a:endParaRPr>
            </a:p>
          </p:txBody>
        </p:sp>
        <p:grpSp>
          <p:nvGrpSpPr>
            <p:cNvPr id="31" name="Group 30"/>
            <p:cNvGrpSpPr/>
            <p:nvPr/>
          </p:nvGrpSpPr>
          <p:grpSpPr>
            <a:xfrm flipV="1">
              <a:off x="1672581" y="1694822"/>
              <a:ext cx="1756419" cy="1834744"/>
              <a:chOff x="1672581" y="1476175"/>
              <a:chExt cx="1756419" cy="1834744"/>
            </a:xfrm>
          </p:grpSpPr>
          <p:sp>
            <p:nvSpPr>
              <p:cNvPr id="27" name="Teardrop 26"/>
              <p:cNvSpPr/>
              <p:nvPr/>
            </p:nvSpPr>
            <p:spPr>
              <a:xfrm>
                <a:off x="1672581" y="1555666"/>
                <a:ext cx="1755253" cy="1755253"/>
              </a:xfrm>
              <a:prstGeom prst="teardrop">
                <a:avLst/>
              </a:prstGeom>
              <a:solidFill>
                <a:srgbClr val="D5D5D5"/>
              </a:solidFill>
              <a:ln w="3175">
                <a:noFill/>
                <a:round/>
                <a:headEnd/>
                <a:tailEnd/>
              </a:ln>
              <a:effectLst>
                <a:innerShdw dist="38100" dir="162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4"/>
              <p:cNvSpPr>
                <a:spLocks noChangeArrowheads="1"/>
              </p:cNvSpPr>
              <p:nvPr/>
            </p:nvSpPr>
            <p:spPr bwMode="auto">
              <a:xfrm rot="2503993" flipV="1">
                <a:off x="3033939" y="1476175"/>
                <a:ext cx="395061" cy="573082"/>
              </a:xfrm>
              <a:custGeom>
                <a:avLst/>
                <a:gdLst>
                  <a:gd name="T0" fmla="*/ 0 w 928694"/>
                  <a:gd name="T1" fmla="*/ 220409 h 1082973"/>
                  <a:gd name="T2" fmla="*/ 142434 w 928694"/>
                  <a:gd name="T3" fmla="*/ 0 h 1082973"/>
                  <a:gd name="T4" fmla="*/ 284869 w 928694"/>
                  <a:gd name="T5" fmla="*/ 220409 h 1082973"/>
                  <a:gd name="T6" fmla="*/ 213652 w 928694"/>
                  <a:gd name="T7" fmla="*/ 220409 h 1082973"/>
                  <a:gd name="T8" fmla="*/ 150835 w 928694"/>
                  <a:gd name="T9" fmla="*/ 514050 h 1082973"/>
                  <a:gd name="T10" fmla="*/ 150815 w 928694"/>
                  <a:gd name="T11" fmla="*/ 512543 h 1082973"/>
                  <a:gd name="T12" fmla="*/ 71217 w 928694"/>
                  <a:gd name="T13" fmla="*/ 220409 h 1082973"/>
                  <a:gd name="T14" fmla="*/ 0 w 928694"/>
                  <a:gd name="T15" fmla="*/ 220409 h 1082973"/>
                  <a:gd name="T16" fmla="*/ 0 60000 65536"/>
                  <a:gd name="T17" fmla="*/ 0 60000 65536"/>
                  <a:gd name="T18" fmla="*/ 0 60000 65536"/>
                  <a:gd name="T19" fmla="*/ 0 60000 65536"/>
                  <a:gd name="T20" fmla="*/ 0 60000 65536"/>
                  <a:gd name="T21" fmla="*/ 0 60000 65536"/>
                  <a:gd name="T22" fmla="*/ 0 60000 65536"/>
                  <a:gd name="T23" fmla="*/ 0 60000 65536"/>
                  <a:gd name="T24" fmla="*/ 0 w 928694"/>
                  <a:gd name="T25" fmla="*/ 0 h 1082973"/>
                  <a:gd name="T26" fmla="*/ 928694 w 928694"/>
                  <a:gd name="T27" fmla="*/ 1082973 h 10829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28694" h="1082973">
                    <a:moveTo>
                      <a:pt x="0" y="464347"/>
                    </a:moveTo>
                    <a:lnTo>
                      <a:pt x="464347" y="0"/>
                    </a:lnTo>
                    <a:lnTo>
                      <a:pt x="928694" y="464347"/>
                    </a:lnTo>
                    <a:lnTo>
                      <a:pt x="696521" y="464347"/>
                    </a:lnTo>
                    <a:lnTo>
                      <a:pt x="491733" y="1082973"/>
                    </a:lnTo>
                    <a:cubicBezTo>
                      <a:pt x="491711" y="1081914"/>
                      <a:pt x="491690" y="1080856"/>
                      <a:pt x="491668" y="1079797"/>
                    </a:cubicBezTo>
                    <a:lnTo>
                      <a:pt x="232174" y="464347"/>
                    </a:lnTo>
                    <a:lnTo>
                      <a:pt x="0" y="464347"/>
                    </a:lnTo>
                    <a:close/>
                  </a:path>
                </a:pathLst>
              </a:custGeom>
              <a:solidFill>
                <a:srgbClr val="0D65AC"/>
              </a:solidFill>
              <a:ln w="3175">
                <a:noFill/>
                <a:round/>
                <a:headEnd/>
                <a:tailEnd/>
              </a:ln>
              <a:effectLst>
                <a:innerShdw dist="38100" dir="5400000">
                  <a:prstClr val="black">
                    <a:alpha val="20000"/>
                  </a:prstClr>
                </a:innerShdw>
              </a:effectLst>
            </p:spPr>
            <p:txBody>
              <a:bodyPr anchor="ctr"/>
              <a:lstStyle/>
              <a:p>
                <a:endParaRPr lang="en-US" sz="1600"/>
              </a:p>
            </p:txBody>
          </p:sp>
        </p:grpSp>
        <p:sp>
          <p:nvSpPr>
            <p:cNvPr id="29" name="Rectangle 28"/>
            <p:cNvSpPr/>
            <p:nvPr/>
          </p:nvSpPr>
          <p:spPr>
            <a:xfrm>
              <a:off x="1761718" y="2253983"/>
              <a:ext cx="1586928" cy="770980"/>
            </a:xfrm>
            <a:prstGeom prst="rect">
              <a:avLst/>
            </a:prstGeom>
          </p:spPr>
          <p:txBody>
            <a:bodyPr wrap="square">
              <a:spAutoFit/>
            </a:bodyPr>
            <a:lstStyle/>
            <a:p>
              <a:pPr marL="171450" indent="-171450">
                <a:spcBef>
                  <a:spcPct val="20000"/>
                </a:spcBef>
                <a:buFont typeface="Arial" pitchFamily="34" charset="0"/>
                <a:buChar char="•"/>
              </a:pPr>
              <a:r>
                <a:rPr lang="en-US" sz="1050" noProof="1" smtClean="0">
                  <a:solidFill>
                    <a:srgbClr val="080808"/>
                  </a:solidFill>
                  <a:latin typeface="Calibri" charset="0"/>
                  <a:cs typeface="Arial" charset="0"/>
                </a:rPr>
                <a:t>This is an example text. </a:t>
              </a:r>
            </a:p>
            <a:p>
              <a:pPr marL="171450" indent="-171450">
                <a:spcBef>
                  <a:spcPct val="20000"/>
                </a:spcBef>
                <a:buFont typeface="Arial" pitchFamily="34" charset="0"/>
                <a:buChar char="•"/>
              </a:pPr>
              <a:r>
                <a:rPr lang="en-US" sz="1050" noProof="1" smtClean="0">
                  <a:solidFill>
                    <a:srgbClr val="080808"/>
                  </a:solidFill>
                  <a:latin typeface="Calibri" charset="0"/>
                  <a:cs typeface="Arial" charset="0"/>
                </a:rPr>
                <a:t>Go ahead an replace it with your own text. </a:t>
              </a:r>
              <a:endParaRPr lang="en-US" sz="1050" noProof="1">
                <a:solidFill>
                  <a:srgbClr val="080808"/>
                </a:solidFill>
                <a:latin typeface="Calibri" charset="0"/>
                <a:cs typeface="Arial" charset="0"/>
              </a:endParaRPr>
            </a:p>
          </p:txBody>
        </p:sp>
        <p:sp>
          <p:nvSpPr>
            <p:cNvPr id="30" name="Rectangle 29"/>
            <p:cNvSpPr/>
            <p:nvPr/>
          </p:nvSpPr>
          <p:spPr>
            <a:xfrm>
              <a:off x="1958631" y="1944408"/>
              <a:ext cx="1148263" cy="307777"/>
            </a:xfrm>
            <a:prstGeom prst="rect">
              <a:avLst/>
            </a:prstGeom>
          </p:spPr>
          <p:txBody>
            <a:bodyPr wrap="none">
              <a:spAutoFit/>
            </a:bodyPr>
            <a:lstStyle/>
            <a:p>
              <a:pPr>
                <a:spcBef>
                  <a:spcPct val="20000"/>
                </a:spcBef>
              </a:pPr>
              <a:r>
                <a:rPr lang="en-US" sz="1400" b="1" noProof="1">
                  <a:solidFill>
                    <a:srgbClr val="080808"/>
                  </a:solidFill>
                  <a:latin typeface="Calibri" charset="0"/>
                  <a:cs typeface="Arial" charset="0"/>
                </a:rPr>
                <a:t>Example text</a:t>
              </a:r>
            </a:p>
          </p:txBody>
        </p:sp>
        <p:grpSp>
          <p:nvGrpSpPr>
            <p:cNvPr id="43" name="Group 42"/>
            <p:cNvGrpSpPr/>
            <p:nvPr/>
          </p:nvGrpSpPr>
          <p:grpSpPr>
            <a:xfrm flipH="1">
              <a:off x="5914274" y="3746584"/>
              <a:ext cx="1756419" cy="1834744"/>
              <a:chOff x="5930900" y="3986618"/>
              <a:chExt cx="1756419" cy="1834744"/>
            </a:xfrm>
          </p:grpSpPr>
          <p:sp>
            <p:nvSpPr>
              <p:cNvPr id="33" name="Teardrop 32"/>
              <p:cNvSpPr/>
              <p:nvPr/>
            </p:nvSpPr>
            <p:spPr>
              <a:xfrm>
                <a:off x="5930900" y="4066109"/>
                <a:ext cx="1755253" cy="1755253"/>
              </a:xfrm>
              <a:prstGeom prst="teardrop">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4"/>
              <p:cNvSpPr>
                <a:spLocks noChangeArrowheads="1"/>
              </p:cNvSpPr>
              <p:nvPr/>
            </p:nvSpPr>
            <p:spPr bwMode="auto">
              <a:xfrm rot="2503993" flipV="1">
                <a:off x="7292258" y="3986618"/>
                <a:ext cx="395061" cy="573082"/>
              </a:xfrm>
              <a:custGeom>
                <a:avLst/>
                <a:gdLst>
                  <a:gd name="T0" fmla="*/ 0 w 928694"/>
                  <a:gd name="T1" fmla="*/ 220409 h 1082973"/>
                  <a:gd name="T2" fmla="*/ 142434 w 928694"/>
                  <a:gd name="T3" fmla="*/ 0 h 1082973"/>
                  <a:gd name="T4" fmla="*/ 284869 w 928694"/>
                  <a:gd name="T5" fmla="*/ 220409 h 1082973"/>
                  <a:gd name="T6" fmla="*/ 213652 w 928694"/>
                  <a:gd name="T7" fmla="*/ 220409 h 1082973"/>
                  <a:gd name="T8" fmla="*/ 150835 w 928694"/>
                  <a:gd name="T9" fmla="*/ 514050 h 1082973"/>
                  <a:gd name="T10" fmla="*/ 150815 w 928694"/>
                  <a:gd name="T11" fmla="*/ 512543 h 1082973"/>
                  <a:gd name="T12" fmla="*/ 71217 w 928694"/>
                  <a:gd name="T13" fmla="*/ 220409 h 1082973"/>
                  <a:gd name="T14" fmla="*/ 0 w 928694"/>
                  <a:gd name="T15" fmla="*/ 220409 h 1082973"/>
                  <a:gd name="T16" fmla="*/ 0 60000 65536"/>
                  <a:gd name="T17" fmla="*/ 0 60000 65536"/>
                  <a:gd name="T18" fmla="*/ 0 60000 65536"/>
                  <a:gd name="T19" fmla="*/ 0 60000 65536"/>
                  <a:gd name="T20" fmla="*/ 0 60000 65536"/>
                  <a:gd name="T21" fmla="*/ 0 60000 65536"/>
                  <a:gd name="T22" fmla="*/ 0 60000 65536"/>
                  <a:gd name="T23" fmla="*/ 0 60000 65536"/>
                  <a:gd name="T24" fmla="*/ 0 w 928694"/>
                  <a:gd name="T25" fmla="*/ 0 h 1082973"/>
                  <a:gd name="T26" fmla="*/ 928694 w 928694"/>
                  <a:gd name="T27" fmla="*/ 1082973 h 10829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28694" h="1082973">
                    <a:moveTo>
                      <a:pt x="0" y="464347"/>
                    </a:moveTo>
                    <a:lnTo>
                      <a:pt x="464347" y="0"/>
                    </a:lnTo>
                    <a:lnTo>
                      <a:pt x="928694" y="464347"/>
                    </a:lnTo>
                    <a:lnTo>
                      <a:pt x="696521" y="464347"/>
                    </a:lnTo>
                    <a:lnTo>
                      <a:pt x="491733" y="1082973"/>
                    </a:lnTo>
                    <a:cubicBezTo>
                      <a:pt x="491711" y="1081914"/>
                      <a:pt x="491690" y="1080856"/>
                      <a:pt x="491668" y="1079797"/>
                    </a:cubicBezTo>
                    <a:lnTo>
                      <a:pt x="232174" y="464347"/>
                    </a:lnTo>
                    <a:lnTo>
                      <a:pt x="0" y="464347"/>
                    </a:lnTo>
                    <a:close/>
                  </a:path>
                </a:pathLst>
              </a:custGeom>
              <a:solidFill>
                <a:srgbClr val="0D65AC"/>
              </a:solidFill>
              <a:ln w="3175">
                <a:noFill/>
                <a:round/>
                <a:headEnd/>
                <a:tailEnd/>
              </a:ln>
              <a:effectLst>
                <a:innerShdw dist="38100" dir="5400000">
                  <a:prstClr val="black">
                    <a:alpha val="20000"/>
                  </a:prstClr>
                </a:innerShdw>
              </a:effectLst>
            </p:spPr>
            <p:txBody>
              <a:bodyPr anchor="ctr"/>
              <a:lstStyle/>
              <a:p>
                <a:endParaRPr lang="en-US" sz="1600"/>
              </a:p>
            </p:txBody>
          </p:sp>
        </p:grpSp>
        <p:sp>
          <p:nvSpPr>
            <p:cNvPr id="35" name="Rectangle 34"/>
            <p:cNvSpPr/>
            <p:nvPr/>
          </p:nvSpPr>
          <p:spPr>
            <a:xfrm>
              <a:off x="6020037" y="4514840"/>
              <a:ext cx="1586928" cy="770980"/>
            </a:xfrm>
            <a:prstGeom prst="rect">
              <a:avLst/>
            </a:prstGeom>
          </p:spPr>
          <p:txBody>
            <a:bodyPr wrap="square">
              <a:spAutoFit/>
            </a:bodyPr>
            <a:lstStyle/>
            <a:p>
              <a:pPr marL="171450" indent="-171450">
                <a:spcBef>
                  <a:spcPct val="20000"/>
                </a:spcBef>
                <a:buFont typeface="Arial" pitchFamily="34" charset="0"/>
                <a:buChar char="•"/>
              </a:pPr>
              <a:r>
                <a:rPr lang="en-US" sz="1050" noProof="1" smtClean="0">
                  <a:solidFill>
                    <a:srgbClr val="080808"/>
                  </a:solidFill>
                  <a:latin typeface="Calibri" charset="0"/>
                  <a:cs typeface="Arial" charset="0"/>
                </a:rPr>
                <a:t>This is an example text. </a:t>
              </a:r>
            </a:p>
            <a:p>
              <a:pPr marL="171450" indent="-171450">
                <a:spcBef>
                  <a:spcPct val="20000"/>
                </a:spcBef>
                <a:buFont typeface="Arial" pitchFamily="34" charset="0"/>
                <a:buChar char="•"/>
              </a:pPr>
              <a:r>
                <a:rPr lang="en-US" sz="1050" noProof="1" smtClean="0">
                  <a:solidFill>
                    <a:srgbClr val="080808"/>
                  </a:solidFill>
                  <a:latin typeface="Calibri" charset="0"/>
                  <a:cs typeface="Arial" charset="0"/>
                </a:rPr>
                <a:t>Go ahead an replace it with your own text. </a:t>
              </a:r>
              <a:endParaRPr lang="en-US" sz="1050" noProof="1">
                <a:solidFill>
                  <a:srgbClr val="080808"/>
                </a:solidFill>
                <a:latin typeface="Calibri" charset="0"/>
                <a:cs typeface="Arial" charset="0"/>
              </a:endParaRPr>
            </a:p>
          </p:txBody>
        </p:sp>
        <p:sp>
          <p:nvSpPr>
            <p:cNvPr id="36" name="Rectangle 35"/>
            <p:cNvSpPr/>
            <p:nvPr/>
          </p:nvSpPr>
          <p:spPr>
            <a:xfrm>
              <a:off x="6216949" y="4205265"/>
              <a:ext cx="1148263" cy="307777"/>
            </a:xfrm>
            <a:prstGeom prst="rect">
              <a:avLst/>
            </a:prstGeom>
          </p:spPr>
          <p:txBody>
            <a:bodyPr wrap="none">
              <a:spAutoFit/>
            </a:bodyPr>
            <a:lstStyle/>
            <a:p>
              <a:pPr>
                <a:spcBef>
                  <a:spcPct val="20000"/>
                </a:spcBef>
              </a:pPr>
              <a:r>
                <a:rPr lang="en-US" sz="1400" b="1" noProof="1">
                  <a:solidFill>
                    <a:srgbClr val="080808"/>
                  </a:solidFill>
                  <a:latin typeface="Calibri" charset="0"/>
                  <a:cs typeface="Arial" charset="0"/>
                </a:rPr>
                <a:t>Example text</a:t>
              </a:r>
            </a:p>
          </p:txBody>
        </p:sp>
        <p:grpSp>
          <p:nvGrpSpPr>
            <p:cNvPr id="42" name="Group 41"/>
            <p:cNvGrpSpPr/>
            <p:nvPr/>
          </p:nvGrpSpPr>
          <p:grpSpPr>
            <a:xfrm flipH="1">
              <a:off x="5914274" y="1694822"/>
              <a:ext cx="1756419" cy="1834744"/>
              <a:chOff x="5930900" y="1934856"/>
              <a:chExt cx="1756419" cy="1834744"/>
            </a:xfrm>
          </p:grpSpPr>
          <p:sp>
            <p:nvSpPr>
              <p:cNvPr id="38" name="Teardrop 37"/>
              <p:cNvSpPr/>
              <p:nvPr/>
            </p:nvSpPr>
            <p:spPr>
              <a:xfrm flipV="1">
                <a:off x="5930900" y="1934856"/>
                <a:ext cx="1755253" cy="1755253"/>
              </a:xfrm>
              <a:prstGeom prst="teardrop">
                <a:avLst/>
              </a:prstGeom>
              <a:solidFill>
                <a:srgbClr val="D5D5D5"/>
              </a:solidFill>
              <a:ln w="3175">
                <a:noFill/>
                <a:round/>
                <a:headEnd/>
                <a:tailEnd/>
              </a:ln>
              <a:effectLst>
                <a:innerShdw dist="38100" dir="162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4"/>
              <p:cNvSpPr>
                <a:spLocks noChangeArrowheads="1"/>
              </p:cNvSpPr>
              <p:nvPr/>
            </p:nvSpPr>
            <p:spPr bwMode="auto">
              <a:xfrm rot="19096007">
                <a:off x="7292258" y="3196518"/>
                <a:ext cx="395061" cy="573082"/>
              </a:xfrm>
              <a:custGeom>
                <a:avLst/>
                <a:gdLst>
                  <a:gd name="T0" fmla="*/ 0 w 928694"/>
                  <a:gd name="T1" fmla="*/ 220409 h 1082973"/>
                  <a:gd name="T2" fmla="*/ 142434 w 928694"/>
                  <a:gd name="T3" fmla="*/ 0 h 1082973"/>
                  <a:gd name="T4" fmla="*/ 284869 w 928694"/>
                  <a:gd name="T5" fmla="*/ 220409 h 1082973"/>
                  <a:gd name="T6" fmla="*/ 213652 w 928694"/>
                  <a:gd name="T7" fmla="*/ 220409 h 1082973"/>
                  <a:gd name="T8" fmla="*/ 150835 w 928694"/>
                  <a:gd name="T9" fmla="*/ 514050 h 1082973"/>
                  <a:gd name="T10" fmla="*/ 150815 w 928694"/>
                  <a:gd name="T11" fmla="*/ 512543 h 1082973"/>
                  <a:gd name="T12" fmla="*/ 71217 w 928694"/>
                  <a:gd name="T13" fmla="*/ 220409 h 1082973"/>
                  <a:gd name="T14" fmla="*/ 0 w 928694"/>
                  <a:gd name="T15" fmla="*/ 220409 h 1082973"/>
                  <a:gd name="T16" fmla="*/ 0 60000 65536"/>
                  <a:gd name="T17" fmla="*/ 0 60000 65536"/>
                  <a:gd name="T18" fmla="*/ 0 60000 65536"/>
                  <a:gd name="T19" fmla="*/ 0 60000 65536"/>
                  <a:gd name="T20" fmla="*/ 0 60000 65536"/>
                  <a:gd name="T21" fmla="*/ 0 60000 65536"/>
                  <a:gd name="T22" fmla="*/ 0 60000 65536"/>
                  <a:gd name="T23" fmla="*/ 0 60000 65536"/>
                  <a:gd name="T24" fmla="*/ 0 w 928694"/>
                  <a:gd name="T25" fmla="*/ 0 h 1082973"/>
                  <a:gd name="T26" fmla="*/ 928694 w 928694"/>
                  <a:gd name="T27" fmla="*/ 1082973 h 10829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28694" h="1082973">
                    <a:moveTo>
                      <a:pt x="0" y="464347"/>
                    </a:moveTo>
                    <a:lnTo>
                      <a:pt x="464347" y="0"/>
                    </a:lnTo>
                    <a:lnTo>
                      <a:pt x="928694" y="464347"/>
                    </a:lnTo>
                    <a:lnTo>
                      <a:pt x="696521" y="464347"/>
                    </a:lnTo>
                    <a:lnTo>
                      <a:pt x="491733" y="1082973"/>
                    </a:lnTo>
                    <a:cubicBezTo>
                      <a:pt x="491711" y="1081914"/>
                      <a:pt x="491690" y="1080856"/>
                      <a:pt x="491668" y="1079797"/>
                    </a:cubicBezTo>
                    <a:lnTo>
                      <a:pt x="232174" y="464347"/>
                    </a:lnTo>
                    <a:lnTo>
                      <a:pt x="0" y="464347"/>
                    </a:lnTo>
                    <a:close/>
                  </a:path>
                </a:pathLst>
              </a:custGeom>
              <a:solidFill>
                <a:srgbClr val="0D65AC"/>
              </a:solidFill>
              <a:ln w="3175">
                <a:noFill/>
                <a:round/>
                <a:headEnd/>
                <a:tailEnd/>
              </a:ln>
              <a:effectLst>
                <a:innerShdw dist="38100" dir="5400000">
                  <a:prstClr val="black">
                    <a:alpha val="20000"/>
                  </a:prstClr>
                </a:innerShdw>
              </a:effectLst>
            </p:spPr>
            <p:txBody>
              <a:bodyPr anchor="ctr"/>
              <a:lstStyle/>
              <a:p>
                <a:endParaRPr lang="en-US" sz="1600"/>
              </a:p>
            </p:txBody>
          </p:sp>
        </p:grpSp>
        <p:sp>
          <p:nvSpPr>
            <p:cNvPr id="40" name="Rectangle 39"/>
            <p:cNvSpPr/>
            <p:nvPr/>
          </p:nvSpPr>
          <p:spPr>
            <a:xfrm>
              <a:off x="6020037" y="2253983"/>
              <a:ext cx="1586928" cy="770980"/>
            </a:xfrm>
            <a:prstGeom prst="rect">
              <a:avLst/>
            </a:prstGeom>
          </p:spPr>
          <p:txBody>
            <a:bodyPr wrap="square">
              <a:spAutoFit/>
            </a:bodyPr>
            <a:lstStyle/>
            <a:p>
              <a:pPr marL="171450" indent="-171450">
                <a:spcBef>
                  <a:spcPct val="20000"/>
                </a:spcBef>
                <a:buFont typeface="Arial" pitchFamily="34" charset="0"/>
                <a:buChar char="•"/>
              </a:pPr>
              <a:r>
                <a:rPr lang="en-US" sz="1050" noProof="1" smtClean="0">
                  <a:solidFill>
                    <a:srgbClr val="080808"/>
                  </a:solidFill>
                  <a:latin typeface="Calibri" charset="0"/>
                  <a:cs typeface="Arial" charset="0"/>
                </a:rPr>
                <a:t>This is an example text. </a:t>
              </a:r>
            </a:p>
            <a:p>
              <a:pPr marL="171450" indent="-171450">
                <a:spcBef>
                  <a:spcPct val="20000"/>
                </a:spcBef>
                <a:buFont typeface="Arial" pitchFamily="34" charset="0"/>
                <a:buChar char="•"/>
              </a:pPr>
              <a:r>
                <a:rPr lang="en-US" sz="1050" noProof="1" smtClean="0">
                  <a:solidFill>
                    <a:srgbClr val="080808"/>
                  </a:solidFill>
                  <a:latin typeface="Calibri" charset="0"/>
                  <a:cs typeface="Arial" charset="0"/>
                </a:rPr>
                <a:t>Go ahead an replace it with your own text. </a:t>
              </a:r>
              <a:endParaRPr lang="en-US" sz="1050" noProof="1">
                <a:solidFill>
                  <a:srgbClr val="080808"/>
                </a:solidFill>
                <a:latin typeface="Calibri" charset="0"/>
                <a:cs typeface="Arial" charset="0"/>
              </a:endParaRPr>
            </a:p>
          </p:txBody>
        </p:sp>
        <p:sp>
          <p:nvSpPr>
            <p:cNvPr id="41" name="Rectangle 40"/>
            <p:cNvSpPr/>
            <p:nvPr/>
          </p:nvSpPr>
          <p:spPr>
            <a:xfrm>
              <a:off x="6216950" y="1944408"/>
              <a:ext cx="1148263" cy="307777"/>
            </a:xfrm>
            <a:prstGeom prst="rect">
              <a:avLst/>
            </a:prstGeom>
          </p:spPr>
          <p:txBody>
            <a:bodyPr wrap="none">
              <a:spAutoFit/>
            </a:bodyPr>
            <a:lstStyle/>
            <a:p>
              <a:pPr>
                <a:spcBef>
                  <a:spcPct val="20000"/>
                </a:spcBef>
              </a:pPr>
              <a:r>
                <a:rPr lang="en-US" sz="1400" b="1" noProof="1">
                  <a:solidFill>
                    <a:srgbClr val="080808"/>
                  </a:solidFill>
                  <a:latin typeface="Calibri" charset="0"/>
                  <a:cs typeface="Arial" charset="0"/>
                </a:rPr>
                <a:t>Example text</a:t>
              </a:r>
            </a:p>
          </p:txBody>
        </p:sp>
      </p:grpSp>
    </p:spTree>
    <p:custDataLst>
      <p:tags r:id="rId2"/>
    </p:custDataLst>
    <p:extLst>
      <p:ext uri="{BB962C8B-B14F-4D97-AF65-F5344CB8AC3E}">
        <p14:creationId xmlns:p14="http://schemas.microsoft.com/office/powerpoint/2010/main" val="1004583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5" name="Group 114"/>
          <p:cNvGrpSpPr/>
          <p:nvPr/>
        </p:nvGrpSpPr>
        <p:grpSpPr>
          <a:xfrm>
            <a:off x="7349067" y="2783840"/>
            <a:ext cx="152083" cy="2756921"/>
            <a:chOff x="8145482" y="2783840"/>
            <a:chExt cx="152083" cy="2756921"/>
          </a:xfrm>
        </p:grpSpPr>
        <p:cxnSp>
          <p:nvCxnSpPr>
            <p:cNvPr id="116" name="Straight Connector 115"/>
            <p:cNvCxnSpPr>
              <a:endCxn id="117" idx="4"/>
            </p:cNvCxnSpPr>
            <p:nvPr/>
          </p:nvCxnSpPr>
          <p:spPr>
            <a:xfrm>
              <a:off x="8221524" y="2783840"/>
              <a:ext cx="0" cy="2756921"/>
            </a:xfrm>
            <a:prstGeom prst="line">
              <a:avLst/>
            </a:prstGeom>
            <a:ln>
              <a:solidFill>
                <a:srgbClr val="0D65AC"/>
              </a:solidFill>
            </a:ln>
          </p:spPr>
          <p:style>
            <a:lnRef idx="1">
              <a:schemeClr val="accent1"/>
            </a:lnRef>
            <a:fillRef idx="0">
              <a:schemeClr val="accent1"/>
            </a:fillRef>
            <a:effectRef idx="0">
              <a:schemeClr val="accent1"/>
            </a:effectRef>
            <a:fontRef idx="minor">
              <a:schemeClr val="tx1"/>
            </a:fontRef>
          </p:style>
        </p:cxnSp>
        <p:sp>
          <p:nvSpPr>
            <p:cNvPr id="117" name="Oval 116"/>
            <p:cNvSpPr/>
            <p:nvPr/>
          </p:nvSpPr>
          <p:spPr>
            <a:xfrm>
              <a:off x="8145482" y="5388678"/>
              <a:ext cx="152083" cy="152083"/>
            </a:xfrm>
            <a:prstGeom prst="ellipse">
              <a:avLst/>
            </a:prstGeom>
            <a:solidFill>
              <a:srgbClr val="D5D5D5"/>
            </a:solidFill>
            <a:ln w="38100">
              <a:solidFill>
                <a:srgbClr val="0D65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31</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grpSp>
        <p:nvGrpSpPr>
          <p:cNvPr id="61" name="Group 60"/>
          <p:cNvGrpSpPr/>
          <p:nvPr/>
        </p:nvGrpSpPr>
        <p:grpSpPr>
          <a:xfrm>
            <a:off x="571431" y="2783840"/>
            <a:ext cx="152083" cy="2751437"/>
            <a:chOff x="631117" y="2783840"/>
            <a:chExt cx="152083" cy="2751437"/>
          </a:xfrm>
        </p:grpSpPr>
        <p:cxnSp>
          <p:nvCxnSpPr>
            <p:cNvPr id="62" name="Straight Connector 61"/>
            <p:cNvCxnSpPr>
              <a:endCxn id="63" idx="4"/>
            </p:cNvCxnSpPr>
            <p:nvPr/>
          </p:nvCxnSpPr>
          <p:spPr>
            <a:xfrm>
              <a:off x="707159" y="2783840"/>
              <a:ext cx="0" cy="2751437"/>
            </a:xfrm>
            <a:prstGeom prst="line">
              <a:avLst/>
            </a:prstGeom>
            <a:ln>
              <a:solidFill>
                <a:srgbClr val="0D65AC"/>
              </a:solidFill>
            </a:ln>
          </p:spPr>
          <p:style>
            <a:lnRef idx="1">
              <a:schemeClr val="accent1"/>
            </a:lnRef>
            <a:fillRef idx="0">
              <a:schemeClr val="accent1"/>
            </a:fillRef>
            <a:effectRef idx="0">
              <a:schemeClr val="accent1"/>
            </a:effectRef>
            <a:fontRef idx="minor">
              <a:schemeClr val="tx1"/>
            </a:fontRef>
          </p:style>
        </p:cxnSp>
        <p:sp>
          <p:nvSpPr>
            <p:cNvPr id="63" name="Oval 62"/>
            <p:cNvSpPr/>
            <p:nvPr/>
          </p:nvSpPr>
          <p:spPr>
            <a:xfrm>
              <a:off x="631117" y="5383194"/>
              <a:ext cx="152083" cy="152083"/>
            </a:xfrm>
            <a:prstGeom prst="ellipse">
              <a:avLst/>
            </a:prstGeom>
            <a:solidFill>
              <a:srgbClr val="D5D5D5"/>
            </a:solidFill>
            <a:ln w="38100">
              <a:solidFill>
                <a:srgbClr val="0D65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4" name="Group 63"/>
          <p:cNvGrpSpPr/>
          <p:nvPr/>
        </p:nvGrpSpPr>
        <p:grpSpPr>
          <a:xfrm>
            <a:off x="1926958" y="2783840"/>
            <a:ext cx="152083" cy="2756921"/>
            <a:chOff x="2514758" y="2783840"/>
            <a:chExt cx="152083" cy="2756921"/>
          </a:xfrm>
        </p:grpSpPr>
        <p:cxnSp>
          <p:nvCxnSpPr>
            <p:cNvPr id="65" name="Straight Connector 64"/>
            <p:cNvCxnSpPr>
              <a:endCxn id="66" idx="4"/>
            </p:cNvCxnSpPr>
            <p:nvPr/>
          </p:nvCxnSpPr>
          <p:spPr>
            <a:xfrm>
              <a:off x="2590800" y="2783840"/>
              <a:ext cx="0" cy="2756921"/>
            </a:xfrm>
            <a:prstGeom prst="line">
              <a:avLst/>
            </a:prstGeom>
            <a:ln>
              <a:solidFill>
                <a:srgbClr val="0D65AC"/>
              </a:solidFill>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2514758" y="5388678"/>
              <a:ext cx="152083" cy="152083"/>
            </a:xfrm>
            <a:prstGeom prst="ellipse">
              <a:avLst/>
            </a:prstGeom>
            <a:solidFill>
              <a:srgbClr val="D5D5D5"/>
            </a:solidFill>
            <a:ln w="38100">
              <a:solidFill>
                <a:srgbClr val="0D65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p:cNvGrpSpPr/>
          <p:nvPr/>
        </p:nvGrpSpPr>
        <p:grpSpPr>
          <a:xfrm>
            <a:off x="3282485" y="2783840"/>
            <a:ext cx="152083" cy="2756921"/>
            <a:chOff x="4343558" y="2783840"/>
            <a:chExt cx="152083" cy="2756921"/>
          </a:xfrm>
        </p:grpSpPr>
        <p:cxnSp>
          <p:nvCxnSpPr>
            <p:cNvPr id="90" name="Straight Connector 89"/>
            <p:cNvCxnSpPr>
              <a:endCxn id="91" idx="4"/>
            </p:cNvCxnSpPr>
            <p:nvPr/>
          </p:nvCxnSpPr>
          <p:spPr>
            <a:xfrm>
              <a:off x="4419600" y="2783840"/>
              <a:ext cx="0" cy="2756921"/>
            </a:xfrm>
            <a:prstGeom prst="line">
              <a:avLst/>
            </a:prstGeom>
            <a:ln>
              <a:solidFill>
                <a:srgbClr val="0D65AC"/>
              </a:solidFill>
            </a:ln>
          </p:spPr>
          <p:style>
            <a:lnRef idx="1">
              <a:schemeClr val="accent1"/>
            </a:lnRef>
            <a:fillRef idx="0">
              <a:schemeClr val="accent1"/>
            </a:fillRef>
            <a:effectRef idx="0">
              <a:schemeClr val="accent1"/>
            </a:effectRef>
            <a:fontRef idx="minor">
              <a:schemeClr val="tx1"/>
            </a:fontRef>
          </p:style>
        </p:cxnSp>
        <p:sp>
          <p:nvSpPr>
            <p:cNvPr id="91" name="Oval 90"/>
            <p:cNvSpPr/>
            <p:nvPr/>
          </p:nvSpPr>
          <p:spPr>
            <a:xfrm>
              <a:off x="4343558" y="5388678"/>
              <a:ext cx="152083" cy="152083"/>
            </a:xfrm>
            <a:prstGeom prst="ellipse">
              <a:avLst/>
            </a:prstGeom>
            <a:solidFill>
              <a:srgbClr val="D5D5D5"/>
            </a:solidFill>
            <a:ln w="38100">
              <a:solidFill>
                <a:srgbClr val="0D65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2" name="Group 91"/>
          <p:cNvGrpSpPr/>
          <p:nvPr/>
        </p:nvGrpSpPr>
        <p:grpSpPr>
          <a:xfrm>
            <a:off x="4638012" y="2783840"/>
            <a:ext cx="152083" cy="2756921"/>
            <a:chOff x="6096158" y="2783840"/>
            <a:chExt cx="152083" cy="2756921"/>
          </a:xfrm>
        </p:grpSpPr>
        <p:cxnSp>
          <p:nvCxnSpPr>
            <p:cNvPr id="93" name="Straight Connector 92"/>
            <p:cNvCxnSpPr>
              <a:endCxn id="94" idx="4"/>
            </p:cNvCxnSpPr>
            <p:nvPr/>
          </p:nvCxnSpPr>
          <p:spPr>
            <a:xfrm>
              <a:off x="6172200" y="2783840"/>
              <a:ext cx="0" cy="2756921"/>
            </a:xfrm>
            <a:prstGeom prst="line">
              <a:avLst/>
            </a:prstGeom>
            <a:ln>
              <a:solidFill>
                <a:srgbClr val="0D65AC"/>
              </a:solidFill>
            </a:ln>
          </p:spPr>
          <p:style>
            <a:lnRef idx="1">
              <a:schemeClr val="accent1"/>
            </a:lnRef>
            <a:fillRef idx="0">
              <a:schemeClr val="accent1"/>
            </a:fillRef>
            <a:effectRef idx="0">
              <a:schemeClr val="accent1"/>
            </a:effectRef>
            <a:fontRef idx="minor">
              <a:schemeClr val="tx1"/>
            </a:fontRef>
          </p:style>
        </p:cxnSp>
        <p:sp>
          <p:nvSpPr>
            <p:cNvPr id="94" name="Oval 93"/>
            <p:cNvSpPr/>
            <p:nvPr/>
          </p:nvSpPr>
          <p:spPr>
            <a:xfrm>
              <a:off x="6096158" y="5388678"/>
              <a:ext cx="152083" cy="152083"/>
            </a:xfrm>
            <a:prstGeom prst="ellipse">
              <a:avLst/>
            </a:prstGeom>
            <a:solidFill>
              <a:srgbClr val="D5D5D5"/>
            </a:solidFill>
            <a:ln w="38100">
              <a:solidFill>
                <a:srgbClr val="0D65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5" name="Group 94"/>
          <p:cNvGrpSpPr/>
          <p:nvPr/>
        </p:nvGrpSpPr>
        <p:grpSpPr>
          <a:xfrm>
            <a:off x="5993539" y="2783840"/>
            <a:ext cx="152083" cy="2756921"/>
            <a:chOff x="8145482" y="2783840"/>
            <a:chExt cx="152083" cy="2756921"/>
          </a:xfrm>
        </p:grpSpPr>
        <p:cxnSp>
          <p:nvCxnSpPr>
            <p:cNvPr id="96" name="Straight Connector 95"/>
            <p:cNvCxnSpPr>
              <a:endCxn id="97" idx="4"/>
            </p:cNvCxnSpPr>
            <p:nvPr/>
          </p:nvCxnSpPr>
          <p:spPr>
            <a:xfrm>
              <a:off x="8221524" y="2783840"/>
              <a:ext cx="0" cy="2756921"/>
            </a:xfrm>
            <a:prstGeom prst="line">
              <a:avLst/>
            </a:prstGeom>
            <a:ln>
              <a:solidFill>
                <a:srgbClr val="2A9B18"/>
              </a:solidFill>
            </a:ln>
          </p:spPr>
          <p:style>
            <a:lnRef idx="1">
              <a:schemeClr val="accent1"/>
            </a:lnRef>
            <a:fillRef idx="0">
              <a:schemeClr val="accent1"/>
            </a:fillRef>
            <a:effectRef idx="0">
              <a:schemeClr val="accent1"/>
            </a:effectRef>
            <a:fontRef idx="minor">
              <a:schemeClr val="tx1"/>
            </a:fontRef>
          </p:style>
        </p:cxnSp>
        <p:sp>
          <p:nvSpPr>
            <p:cNvPr id="97" name="Oval 96"/>
            <p:cNvSpPr/>
            <p:nvPr/>
          </p:nvSpPr>
          <p:spPr>
            <a:xfrm>
              <a:off x="8145482" y="5388678"/>
              <a:ext cx="152083" cy="152083"/>
            </a:xfrm>
            <a:prstGeom prst="ellipse">
              <a:avLst/>
            </a:prstGeom>
            <a:solidFill>
              <a:srgbClr val="D5D5D5"/>
            </a:solidFill>
            <a:ln w="38100">
              <a:solidFill>
                <a:srgbClr val="2A9B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8" name="Rectangle 97"/>
          <p:cNvSpPr/>
          <p:nvPr/>
        </p:nvSpPr>
        <p:spPr>
          <a:xfrm>
            <a:off x="647473" y="4373015"/>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99" name="Rectangle 98"/>
          <p:cNvSpPr/>
          <p:nvPr/>
        </p:nvSpPr>
        <p:spPr>
          <a:xfrm>
            <a:off x="2011498" y="4373015"/>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00" name="Rectangle 99"/>
          <p:cNvSpPr/>
          <p:nvPr/>
        </p:nvSpPr>
        <p:spPr>
          <a:xfrm>
            <a:off x="3375523" y="4373015"/>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01" name="Rectangle 100"/>
          <p:cNvSpPr/>
          <p:nvPr/>
        </p:nvSpPr>
        <p:spPr>
          <a:xfrm>
            <a:off x="4739548" y="4373015"/>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02" name="Rectangle 101"/>
          <p:cNvSpPr/>
          <p:nvPr/>
        </p:nvSpPr>
        <p:spPr>
          <a:xfrm>
            <a:off x="6103573" y="4373015"/>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03" name="Oval 102"/>
          <p:cNvSpPr/>
          <p:nvPr/>
        </p:nvSpPr>
        <p:spPr>
          <a:xfrm>
            <a:off x="334963" y="2269920"/>
            <a:ext cx="613186" cy="613186"/>
          </a:xfrm>
          <a:prstGeom prst="ellipse">
            <a:avLst/>
          </a:pr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1"/>
                </a:solidFill>
                <a:latin typeface="Calibri" pitchFamily="34" charset="0"/>
                <a:cs typeface="Calibri" pitchFamily="34" charset="0"/>
              </a:rPr>
              <a:t>2010</a:t>
            </a:r>
            <a:endParaRPr lang="en-US" sz="900" b="1" dirty="0">
              <a:solidFill>
                <a:schemeClr val="bg1"/>
              </a:solidFill>
              <a:latin typeface="Calibri" pitchFamily="34" charset="0"/>
              <a:cs typeface="Calibri" pitchFamily="34" charset="0"/>
            </a:endParaRPr>
          </a:p>
        </p:txBody>
      </p:sp>
      <p:sp>
        <p:nvSpPr>
          <p:cNvPr id="104" name="Oval 103"/>
          <p:cNvSpPr/>
          <p:nvPr/>
        </p:nvSpPr>
        <p:spPr>
          <a:xfrm>
            <a:off x="1692106" y="2269920"/>
            <a:ext cx="613186" cy="613186"/>
          </a:xfrm>
          <a:prstGeom prst="ellipse">
            <a:avLst/>
          </a:pr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1"/>
                </a:solidFill>
                <a:latin typeface="Calibri" pitchFamily="34" charset="0"/>
                <a:cs typeface="Calibri" pitchFamily="34" charset="0"/>
              </a:rPr>
              <a:t>2011</a:t>
            </a:r>
            <a:endParaRPr lang="en-US" sz="900" b="1" dirty="0">
              <a:solidFill>
                <a:schemeClr val="bg1"/>
              </a:solidFill>
              <a:latin typeface="Calibri" pitchFamily="34" charset="0"/>
              <a:cs typeface="Calibri" pitchFamily="34" charset="0"/>
            </a:endParaRPr>
          </a:p>
        </p:txBody>
      </p:sp>
      <p:sp>
        <p:nvSpPr>
          <p:cNvPr id="105" name="Oval 104"/>
          <p:cNvSpPr/>
          <p:nvPr/>
        </p:nvSpPr>
        <p:spPr>
          <a:xfrm>
            <a:off x="3049249" y="2269920"/>
            <a:ext cx="613186" cy="613186"/>
          </a:xfrm>
          <a:prstGeom prst="ellipse">
            <a:avLst/>
          </a:pr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1"/>
                </a:solidFill>
                <a:latin typeface="Calibri" pitchFamily="34" charset="0"/>
                <a:cs typeface="Calibri" pitchFamily="34" charset="0"/>
              </a:rPr>
              <a:t>2012</a:t>
            </a:r>
            <a:endParaRPr lang="en-US" sz="900" b="1" dirty="0">
              <a:solidFill>
                <a:schemeClr val="bg1"/>
              </a:solidFill>
              <a:latin typeface="Calibri" pitchFamily="34" charset="0"/>
              <a:cs typeface="Calibri" pitchFamily="34" charset="0"/>
            </a:endParaRPr>
          </a:p>
        </p:txBody>
      </p:sp>
      <p:sp>
        <p:nvSpPr>
          <p:cNvPr id="106" name="Oval 105"/>
          <p:cNvSpPr/>
          <p:nvPr/>
        </p:nvSpPr>
        <p:spPr>
          <a:xfrm>
            <a:off x="4406392" y="2269920"/>
            <a:ext cx="613186" cy="613186"/>
          </a:xfrm>
          <a:prstGeom prst="ellipse">
            <a:avLst/>
          </a:pr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1"/>
                </a:solidFill>
                <a:latin typeface="Calibri" pitchFamily="34" charset="0"/>
                <a:cs typeface="Calibri" pitchFamily="34" charset="0"/>
              </a:rPr>
              <a:t>2013</a:t>
            </a:r>
            <a:endParaRPr lang="en-US" sz="900" b="1" dirty="0">
              <a:solidFill>
                <a:schemeClr val="bg1"/>
              </a:solidFill>
              <a:latin typeface="Calibri" pitchFamily="34" charset="0"/>
              <a:cs typeface="Calibri" pitchFamily="34" charset="0"/>
            </a:endParaRPr>
          </a:p>
        </p:txBody>
      </p:sp>
      <p:sp>
        <p:nvSpPr>
          <p:cNvPr id="107" name="Oval 106"/>
          <p:cNvSpPr/>
          <p:nvPr/>
        </p:nvSpPr>
        <p:spPr>
          <a:xfrm>
            <a:off x="5763535" y="2269920"/>
            <a:ext cx="613186" cy="613186"/>
          </a:xfrm>
          <a:prstGeom prst="ellipse">
            <a:avLst/>
          </a:prstGeom>
          <a:solidFill>
            <a:srgbClr val="2A9B18"/>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1"/>
                </a:solidFill>
                <a:latin typeface="Calibri" pitchFamily="34" charset="0"/>
                <a:cs typeface="Calibri" pitchFamily="34" charset="0"/>
              </a:rPr>
              <a:t>2014</a:t>
            </a:r>
            <a:endParaRPr lang="en-US" sz="900" b="1" dirty="0">
              <a:solidFill>
                <a:schemeClr val="bg1"/>
              </a:solidFill>
              <a:latin typeface="Calibri" pitchFamily="34" charset="0"/>
              <a:cs typeface="Calibri" pitchFamily="34" charset="0"/>
            </a:endParaRPr>
          </a:p>
        </p:txBody>
      </p:sp>
      <p:sp>
        <p:nvSpPr>
          <p:cNvPr id="108" name="Rectangle 107"/>
          <p:cNvSpPr/>
          <p:nvPr/>
        </p:nvSpPr>
        <p:spPr>
          <a:xfrm>
            <a:off x="647473" y="3014483"/>
            <a:ext cx="8190140" cy="194316"/>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647473" y="3051314"/>
            <a:ext cx="5422107" cy="120655"/>
          </a:xfrm>
          <a:prstGeom prst="rect">
            <a:avLst/>
          </a:prstGeom>
          <a:solidFill>
            <a:srgbClr val="0D6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647473" y="3268133"/>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11" name="Rectangle 110"/>
          <p:cNvSpPr/>
          <p:nvPr/>
        </p:nvSpPr>
        <p:spPr>
          <a:xfrm>
            <a:off x="2011498" y="3268133"/>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12" name="Rectangle 111"/>
          <p:cNvSpPr/>
          <p:nvPr/>
        </p:nvSpPr>
        <p:spPr>
          <a:xfrm>
            <a:off x="3375523" y="3268133"/>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13" name="Rectangle 112"/>
          <p:cNvSpPr/>
          <p:nvPr/>
        </p:nvSpPr>
        <p:spPr>
          <a:xfrm>
            <a:off x="4739548" y="3268133"/>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14" name="Rectangle 113"/>
          <p:cNvSpPr/>
          <p:nvPr/>
        </p:nvSpPr>
        <p:spPr>
          <a:xfrm>
            <a:off x="6103573" y="3268133"/>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18" name="Oval 117"/>
          <p:cNvSpPr/>
          <p:nvPr/>
        </p:nvSpPr>
        <p:spPr>
          <a:xfrm>
            <a:off x="7120676" y="2269920"/>
            <a:ext cx="613186" cy="613186"/>
          </a:xfrm>
          <a:prstGeom prst="ellipse">
            <a:avLst/>
          </a:prstGeom>
          <a:solidFill>
            <a:srgbClr val="0D65AC"/>
          </a:solidFill>
          <a:ln>
            <a:noFill/>
          </a:ln>
          <a:effectLst>
            <a:innerShdw dist="38100" dir="5400000">
              <a:prstClr val="black">
                <a:alpha val="2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smtClean="0">
                <a:solidFill>
                  <a:schemeClr val="bg1"/>
                </a:solidFill>
                <a:latin typeface="Calibri" pitchFamily="34" charset="0"/>
                <a:cs typeface="Calibri" pitchFamily="34" charset="0"/>
              </a:rPr>
              <a:t>2015</a:t>
            </a:r>
            <a:endParaRPr lang="en-US" sz="900" b="1" dirty="0">
              <a:solidFill>
                <a:schemeClr val="bg1"/>
              </a:solidFill>
              <a:latin typeface="Calibri" pitchFamily="34" charset="0"/>
              <a:cs typeface="Calibri" pitchFamily="34" charset="0"/>
            </a:endParaRPr>
          </a:p>
        </p:txBody>
      </p:sp>
      <p:sp>
        <p:nvSpPr>
          <p:cNvPr id="119" name="Rectangle 118"/>
          <p:cNvSpPr/>
          <p:nvPr/>
        </p:nvSpPr>
        <p:spPr>
          <a:xfrm>
            <a:off x="7467600" y="4373015"/>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120" name="Rectangle 119"/>
          <p:cNvSpPr/>
          <p:nvPr/>
        </p:nvSpPr>
        <p:spPr>
          <a:xfrm>
            <a:off x="7467600" y="3268133"/>
            <a:ext cx="1210235" cy="1015663"/>
          </a:xfrm>
          <a:prstGeom prst="rect">
            <a:avLst/>
          </a:prstGeom>
        </p:spPr>
        <p:txBody>
          <a:bodyPr wrap="square">
            <a:spAutoFit/>
          </a:bodyPr>
          <a:lstStyle/>
          <a:p>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Tree>
    <p:custDataLst>
      <p:tags r:id="rId1"/>
    </p:custDataLst>
    <p:extLst>
      <p:ext uri="{BB962C8B-B14F-4D97-AF65-F5344CB8AC3E}">
        <p14:creationId xmlns:p14="http://schemas.microsoft.com/office/powerpoint/2010/main" val="66535898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32</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3" name="Pentagon 2"/>
          <p:cNvSpPr/>
          <p:nvPr/>
        </p:nvSpPr>
        <p:spPr>
          <a:xfrm>
            <a:off x="739866" y="1662113"/>
            <a:ext cx="1790170" cy="657754"/>
          </a:xfrm>
          <a:prstGeom prst="homePlate">
            <a:avLst/>
          </a:prstGeom>
          <a:solidFill>
            <a:srgbClr val="CE202A"/>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charset="0"/>
                <a:cs typeface="ＭＳ Ｐゴシック" charset="-128"/>
              </a:rPr>
              <a:t>Step 1</a:t>
            </a:r>
          </a:p>
        </p:txBody>
      </p:sp>
      <p:sp>
        <p:nvSpPr>
          <p:cNvPr id="14" name="Chevron 13"/>
          <p:cNvSpPr/>
          <p:nvPr/>
        </p:nvSpPr>
        <p:spPr>
          <a:xfrm>
            <a:off x="2240291" y="1662113"/>
            <a:ext cx="1811867" cy="657754"/>
          </a:xfrm>
          <a:prstGeom prst="chevron">
            <a:avLst/>
          </a:prstGeom>
          <a:solidFill>
            <a:srgbClr val="F0B71F"/>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charset="0"/>
                <a:cs typeface="ＭＳ Ｐゴシック" charset="-128"/>
              </a:rPr>
              <a:t>Step 2</a:t>
            </a:r>
          </a:p>
        </p:txBody>
      </p:sp>
      <p:sp>
        <p:nvSpPr>
          <p:cNvPr id="33" name="Chevron 32"/>
          <p:cNvSpPr/>
          <p:nvPr/>
        </p:nvSpPr>
        <p:spPr>
          <a:xfrm>
            <a:off x="3762413" y="1662113"/>
            <a:ext cx="1811867" cy="657754"/>
          </a:xfrm>
          <a:prstGeom prst="chevron">
            <a:avLst/>
          </a:prstGeom>
          <a:solidFill>
            <a:srgbClr val="0D65AC"/>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charset="0"/>
                <a:cs typeface="ＭＳ Ｐゴシック" charset="-128"/>
              </a:rPr>
              <a:t>Step 3</a:t>
            </a:r>
          </a:p>
        </p:txBody>
      </p:sp>
      <p:sp>
        <p:nvSpPr>
          <p:cNvPr id="34" name="Chevron 33"/>
          <p:cNvSpPr/>
          <p:nvPr/>
        </p:nvSpPr>
        <p:spPr>
          <a:xfrm>
            <a:off x="5284535" y="1662113"/>
            <a:ext cx="1811867" cy="657754"/>
          </a:xfrm>
          <a:prstGeom prst="chevron">
            <a:avLst/>
          </a:prstGeom>
          <a:solidFill>
            <a:srgbClr val="073D69"/>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charset="0"/>
                <a:cs typeface="ＭＳ Ｐゴシック" charset="-128"/>
              </a:rPr>
              <a:t>Step </a:t>
            </a:r>
            <a:r>
              <a:rPr lang="en-US" b="1" dirty="0" smtClean="0">
                <a:solidFill>
                  <a:schemeClr val="bg1"/>
                </a:solidFill>
                <a:latin typeface="Calibri" charset="0"/>
                <a:cs typeface="ＭＳ Ｐゴシック" charset="-128"/>
              </a:rPr>
              <a:t>4</a:t>
            </a:r>
            <a:endParaRPr lang="en-US" b="1" dirty="0">
              <a:solidFill>
                <a:schemeClr val="bg1"/>
              </a:solidFill>
              <a:latin typeface="Calibri" charset="0"/>
              <a:cs typeface="ＭＳ Ｐゴシック" charset="-128"/>
            </a:endParaRPr>
          </a:p>
        </p:txBody>
      </p:sp>
      <p:sp>
        <p:nvSpPr>
          <p:cNvPr id="35" name="Chevron 34"/>
          <p:cNvSpPr/>
          <p:nvPr/>
        </p:nvSpPr>
        <p:spPr>
          <a:xfrm>
            <a:off x="6806657" y="1662113"/>
            <a:ext cx="1811867" cy="657754"/>
          </a:xfrm>
          <a:prstGeom prst="chevron">
            <a:avLst/>
          </a:prstGeom>
          <a:solidFill>
            <a:srgbClr val="2A9B18"/>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charset="0"/>
                <a:cs typeface="ＭＳ Ｐゴシック" charset="-128"/>
              </a:rPr>
              <a:t>Step </a:t>
            </a:r>
            <a:r>
              <a:rPr lang="en-US" b="1" dirty="0" smtClean="0">
                <a:solidFill>
                  <a:schemeClr val="bg1"/>
                </a:solidFill>
                <a:latin typeface="Calibri" charset="0"/>
                <a:cs typeface="ＭＳ Ｐゴシック" charset="-128"/>
              </a:rPr>
              <a:t>5</a:t>
            </a:r>
            <a:endParaRPr lang="en-US" b="1" dirty="0">
              <a:solidFill>
                <a:schemeClr val="bg1"/>
              </a:solidFill>
              <a:latin typeface="Calibri" charset="0"/>
              <a:cs typeface="ＭＳ Ｐゴシック" charset="-128"/>
            </a:endParaRPr>
          </a:p>
        </p:txBody>
      </p:sp>
      <p:sp>
        <p:nvSpPr>
          <p:cNvPr id="40" name="Rectangle 39"/>
          <p:cNvSpPr/>
          <p:nvPr/>
        </p:nvSpPr>
        <p:spPr>
          <a:xfrm>
            <a:off x="6806657" y="2387600"/>
            <a:ext cx="1500135" cy="1667933"/>
          </a:xfrm>
          <a:prstGeom prst="rect">
            <a:avLst/>
          </a:prstGeom>
          <a:solidFill>
            <a:srgbClr val="2A9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rPr>
              <a:t>Lorem</a:t>
            </a:r>
            <a:r>
              <a:rPr lang="en-US" sz="1200" b="1" dirty="0">
                <a:solidFill>
                  <a:schemeClr val="bg1"/>
                </a:solidFill>
              </a:rPr>
              <a:t> </a:t>
            </a:r>
            <a:r>
              <a:rPr lang="en-US" sz="1200" b="1" dirty="0" err="1">
                <a:solidFill>
                  <a:schemeClr val="bg1"/>
                </a:solidFill>
              </a:rPr>
              <a:t>Ipsum</a:t>
            </a:r>
            <a:r>
              <a:rPr lang="en-US" sz="1200" b="1" dirty="0">
                <a:solidFill>
                  <a:schemeClr val="bg1"/>
                </a:solidFill>
              </a:rPr>
              <a:t> </a:t>
            </a:r>
            <a:r>
              <a:rPr lang="en-US" sz="1200" dirty="0">
                <a:solidFill>
                  <a:schemeClr val="bg1"/>
                </a:solidFill>
              </a:rPr>
              <a:t>is simply dummy text of the printing and typesetting</a:t>
            </a:r>
          </a:p>
        </p:txBody>
      </p:sp>
      <p:sp>
        <p:nvSpPr>
          <p:cNvPr id="45" name="Rectangle 44"/>
          <p:cNvSpPr/>
          <p:nvPr/>
        </p:nvSpPr>
        <p:spPr>
          <a:xfrm>
            <a:off x="6806657" y="4080932"/>
            <a:ext cx="1500135" cy="499535"/>
          </a:xfrm>
          <a:prstGeom prst="rect">
            <a:avLst/>
          </a:prstGeom>
          <a:solidFill>
            <a:srgbClr val="2A9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Example Text</a:t>
            </a:r>
          </a:p>
        </p:txBody>
      </p:sp>
      <p:sp>
        <p:nvSpPr>
          <p:cNvPr id="46" name="Rectangle 45"/>
          <p:cNvSpPr/>
          <p:nvPr/>
        </p:nvSpPr>
        <p:spPr>
          <a:xfrm>
            <a:off x="5291259" y="2387600"/>
            <a:ext cx="1500135" cy="1667933"/>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47" name="Rectangle 46"/>
          <p:cNvSpPr/>
          <p:nvPr/>
        </p:nvSpPr>
        <p:spPr>
          <a:xfrm>
            <a:off x="5291259" y="4080932"/>
            <a:ext cx="1500135" cy="49953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0000"/>
                </a:solidFill>
              </a:rPr>
              <a:t>Example Text</a:t>
            </a:r>
          </a:p>
        </p:txBody>
      </p:sp>
      <p:sp>
        <p:nvSpPr>
          <p:cNvPr id="48" name="Rectangle 47"/>
          <p:cNvSpPr/>
          <p:nvPr/>
        </p:nvSpPr>
        <p:spPr>
          <a:xfrm>
            <a:off x="3775862" y="2387600"/>
            <a:ext cx="1500135" cy="1667933"/>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49" name="Rectangle 48"/>
          <p:cNvSpPr/>
          <p:nvPr/>
        </p:nvSpPr>
        <p:spPr>
          <a:xfrm>
            <a:off x="3775862" y="4080932"/>
            <a:ext cx="1500135" cy="49953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0000"/>
                </a:solidFill>
              </a:rPr>
              <a:t>Example Text</a:t>
            </a:r>
          </a:p>
        </p:txBody>
      </p:sp>
      <p:sp>
        <p:nvSpPr>
          <p:cNvPr id="50" name="Rectangle 49"/>
          <p:cNvSpPr/>
          <p:nvPr/>
        </p:nvSpPr>
        <p:spPr>
          <a:xfrm>
            <a:off x="2260465" y="2387600"/>
            <a:ext cx="1500135" cy="1667933"/>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52" name="Rectangle 51"/>
          <p:cNvSpPr/>
          <p:nvPr/>
        </p:nvSpPr>
        <p:spPr>
          <a:xfrm>
            <a:off x="2260465" y="4080932"/>
            <a:ext cx="1500135" cy="49953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0000"/>
                </a:solidFill>
              </a:rPr>
              <a:t>Example Text</a:t>
            </a:r>
          </a:p>
        </p:txBody>
      </p:sp>
      <p:sp>
        <p:nvSpPr>
          <p:cNvPr id="59" name="Rectangle 58"/>
          <p:cNvSpPr/>
          <p:nvPr/>
        </p:nvSpPr>
        <p:spPr>
          <a:xfrm>
            <a:off x="745068" y="2387600"/>
            <a:ext cx="1500135" cy="1667933"/>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of the printing and typesetting</a:t>
            </a:r>
          </a:p>
        </p:txBody>
      </p:sp>
      <p:sp>
        <p:nvSpPr>
          <p:cNvPr id="71" name="Rectangle 70"/>
          <p:cNvSpPr/>
          <p:nvPr/>
        </p:nvSpPr>
        <p:spPr>
          <a:xfrm>
            <a:off x="745068" y="4080932"/>
            <a:ext cx="1500135" cy="499535"/>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000000"/>
                </a:solidFill>
              </a:rPr>
              <a:t>Example Text</a:t>
            </a:r>
            <a:endParaRPr lang="en-US" sz="1200" dirty="0">
              <a:solidFill>
                <a:srgbClr val="000000"/>
              </a:solidFill>
            </a:endParaRPr>
          </a:p>
        </p:txBody>
      </p:sp>
      <p:sp>
        <p:nvSpPr>
          <p:cNvPr id="72" name="Rectangle 71"/>
          <p:cNvSpPr/>
          <p:nvPr/>
        </p:nvSpPr>
        <p:spPr>
          <a:xfrm>
            <a:off x="6806657" y="4605865"/>
            <a:ext cx="1500135" cy="1015547"/>
          </a:xfrm>
          <a:prstGeom prst="rect">
            <a:avLst/>
          </a:prstGeom>
          <a:solidFill>
            <a:srgbClr val="2A9B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rPr>
              <a:t>Lorem</a:t>
            </a:r>
            <a:r>
              <a:rPr lang="en-US" sz="1200" b="1" dirty="0">
                <a:solidFill>
                  <a:schemeClr val="bg1"/>
                </a:solidFill>
              </a:rPr>
              <a:t> </a:t>
            </a:r>
            <a:r>
              <a:rPr lang="en-US" sz="1200" b="1" dirty="0" err="1">
                <a:solidFill>
                  <a:schemeClr val="bg1"/>
                </a:solidFill>
              </a:rPr>
              <a:t>Ipsum</a:t>
            </a:r>
            <a:r>
              <a:rPr lang="en-US" sz="1200" b="1" dirty="0">
                <a:solidFill>
                  <a:schemeClr val="bg1"/>
                </a:solidFill>
              </a:rPr>
              <a:t> </a:t>
            </a:r>
            <a:r>
              <a:rPr lang="en-US" sz="1200" dirty="0">
                <a:solidFill>
                  <a:schemeClr val="bg1"/>
                </a:solidFill>
              </a:rPr>
              <a:t>is simply dummy text </a:t>
            </a:r>
          </a:p>
        </p:txBody>
      </p:sp>
      <p:sp>
        <p:nvSpPr>
          <p:cNvPr id="73" name="Rectangle 72"/>
          <p:cNvSpPr/>
          <p:nvPr/>
        </p:nvSpPr>
        <p:spPr>
          <a:xfrm>
            <a:off x="5291259" y="4605865"/>
            <a:ext cx="1500135" cy="1015547"/>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a:t>
            </a:r>
            <a:endParaRPr lang="en-US" sz="1200" dirty="0"/>
          </a:p>
        </p:txBody>
      </p:sp>
      <p:sp>
        <p:nvSpPr>
          <p:cNvPr id="74" name="Rectangle 73"/>
          <p:cNvSpPr/>
          <p:nvPr/>
        </p:nvSpPr>
        <p:spPr>
          <a:xfrm>
            <a:off x="3775862" y="4605865"/>
            <a:ext cx="1500135" cy="1015547"/>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a:t>
            </a:r>
            <a:endParaRPr lang="en-US" sz="1200" dirty="0"/>
          </a:p>
        </p:txBody>
      </p:sp>
      <p:sp>
        <p:nvSpPr>
          <p:cNvPr id="75" name="Rectangle 74"/>
          <p:cNvSpPr/>
          <p:nvPr/>
        </p:nvSpPr>
        <p:spPr>
          <a:xfrm>
            <a:off x="2260465" y="4605865"/>
            <a:ext cx="1500135" cy="1015547"/>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a:t>
            </a:r>
            <a:endParaRPr lang="en-US" sz="1200" dirty="0"/>
          </a:p>
        </p:txBody>
      </p:sp>
      <p:sp>
        <p:nvSpPr>
          <p:cNvPr id="76" name="Rectangle 75"/>
          <p:cNvSpPr/>
          <p:nvPr/>
        </p:nvSpPr>
        <p:spPr>
          <a:xfrm>
            <a:off x="745068" y="4605865"/>
            <a:ext cx="1500135" cy="1015547"/>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000"/>
                </a:solidFill>
              </a:rPr>
              <a:t>Lorem</a:t>
            </a:r>
            <a:r>
              <a:rPr lang="en-US" sz="1200" b="1" dirty="0">
                <a:solidFill>
                  <a:srgbClr val="000000"/>
                </a:solidFill>
              </a:rPr>
              <a:t> </a:t>
            </a:r>
            <a:r>
              <a:rPr lang="en-US" sz="1200" b="1" dirty="0" err="1">
                <a:solidFill>
                  <a:srgbClr val="000000"/>
                </a:solidFill>
              </a:rPr>
              <a:t>Ipsum</a:t>
            </a:r>
            <a:r>
              <a:rPr lang="en-US" sz="1200" b="1" dirty="0">
                <a:solidFill>
                  <a:srgbClr val="000000"/>
                </a:solidFill>
              </a:rPr>
              <a:t> </a:t>
            </a:r>
            <a:r>
              <a:rPr lang="en-US" sz="1200" dirty="0">
                <a:solidFill>
                  <a:srgbClr val="000000"/>
                </a:solidFill>
              </a:rPr>
              <a:t>is simply dummy text </a:t>
            </a:r>
            <a:endParaRPr lang="en-US" sz="1200" dirty="0"/>
          </a:p>
        </p:txBody>
      </p:sp>
    </p:spTree>
    <p:custDataLst>
      <p:tags r:id="rId1"/>
    </p:custDataLst>
    <p:extLst>
      <p:ext uri="{BB962C8B-B14F-4D97-AF65-F5344CB8AC3E}">
        <p14:creationId xmlns:p14="http://schemas.microsoft.com/office/powerpoint/2010/main" val="26122494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33</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8" name="Line 33"/>
          <p:cNvSpPr>
            <a:spLocks noChangeShapeType="1"/>
          </p:cNvSpPr>
          <p:nvPr/>
        </p:nvSpPr>
        <p:spPr bwMode="auto">
          <a:xfrm rot="10800000" flipH="1">
            <a:off x="4954052" y="1985544"/>
            <a:ext cx="972729" cy="976442"/>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sp>
        <p:nvSpPr>
          <p:cNvPr id="9" name="Line 33"/>
          <p:cNvSpPr>
            <a:spLocks noChangeShapeType="1"/>
          </p:cNvSpPr>
          <p:nvPr/>
        </p:nvSpPr>
        <p:spPr bwMode="auto">
          <a:xfrm rot="10800000">
            <a:off x="4954052" y="4266383"/>
            <a:ext cx="972729" cy="976441"/>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sp>
        <p:nvSpPr>
          <p:cNvPr id="11" name="Line 33"/>
          <p:cNvSpPr>
            <a:spLocks noChangeShapeType="1"/>
          </p:cNvSpPr>
          <p:nvPr/>
        </p:nvSpPr>
        <p:spPr bwMode="auto">
          <a:xfrm rot="5400000" flipH="1" flipV="1">
            <a:off x="4239975" y="3652549"/>
            <a:ext cx="1425679" cy="2475"/>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sp>
        <p:nvSpPr>
          <p:cNvPr id="13" name="Line 33"/>
          <p:cNvSpPr>
            <a:spLocks noChangeShapeType="1"/>
          </p:cNvSpPr>
          <p:nvPr/>
        </p:nvSpPr>
        <p:spPr bwMode="auto">
          <a:xfrm rot="10800000" flipH="1">
            <a:off x="2011113" y="2450870"/>
            <a:ext cx="1157126" cy="1204155"/>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sp>
        <p:nvSpPr>
          <p:cNvPr id="14" name="Line 33"/>
          <p:cNvSpPr>
            <a:spLocks noChangeShapeType="1"/>
          </p:cNvSpPr>
          <p:nvPr/>
        </p:nvSpPr>
        <p:spPr bwMode="auto">
          <a:xfrm rot="10800000" flipH="1" flipV="1">
            <a:off x="2011113" y="3652550"/>
            <a:ext cx="1157126" cy="1193016"/>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sp>
        <p:nvSpPr>
          <p:cNvPr id="15" name="Line 33"/>
          <p:cNvSpPr>
            <a:spLocks noChangeShapeType="1"/>
          </p:cNvSpPr>
          <p:nvPr/>
        </p:nvSpPr>
        <p:spPr bwMode="auto">
          <a:xfrm rot="10800000" flipH="1">
            <a:off x="3851377" y="2674870"/>
            <a:ext cx="972729" cy="977679"/>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sp>
        <p:nvSpPr>
          <p:cNvPr id="16" name="Line 33"/>
          <p:cNvSpPr>
            <a:spLocks noChangeShapeType="1"/>
          </p:cNvSpPr>
          <p:nvPr/>
        </p:nvSpPr>
        <p:spPr bwMode="auto">
          <a:xfrm rot="10800000" flipH="1" flipV="1">
            <a:off x="3866228" y="3652550"/>
            <a:ext cx="1084110" cy="949215"/>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grpSp>
        <p:nvGrpSpPr>
          <p:cNvPr id="42" name="Group 41"/>
          <p:cNvGrpSpPr/>
          <p:nvPr/>
        </p:nvGrpSpPr>
        <p:grpSpPr>
          <a:xfrm>
            <a:off x="4364969" y="2352841"/>
            <a:ext cx="1145989" cy="1091535"/>
            <a:chOff x="4364969" y="2352841"/>
            <a:chExt cx="1145989" cy="1091535"/>
          </a:xfrm>
        </p:grpSpPr>
        <p:sp>
          <p:nvSpPr>
            <p:cNvPr id="21" name="Rounded Rectangle 20"/>
            <p:cNvSpPr/>
            <p:nvPr/>
          </p:nvSpPr>
          <p:spPr bwMode="auto">
            <a:xfrm>
              <a:off x="4364969" y="2352841"/>
              <a:ext cx="1145989" cy="1091535"/>
            </a:xfrm>
            <a:prstGeom prst="roundRect">
              <a:avLst>
                <a:gd name="adj" fmla="val 6103"/>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 name="Rektangel 63"/>
            <p:cNvSpPr>
              <a:spLocks noChangeArrowheads="1"/>
            </p:cNvSpPr>
            <p:nvPr/>
          </p:nvSpPr>
          <p:spPr bwMode="auto">
            <a:xfrm>
              <a:off x="4423134" y="2581598"/>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rgbClr val="080808"/>
                  </a:solidFill>
                  <a:latin typeface="Calibri" charset="0"/>
                  <a:cs typeface="Arial" charset="0"/>
                </a:rPr>
                <a:t>Example text</a:t>
              </a:r>
            </a:p>
            <a:p>
              <a:pPr defTabSz="801688">
                <a:spcBef>
                  <a:spcPct val="20000"/>
                </a:spcBef>
              </a:pPr>
              <a:r>
                <a:rPr lang="en-US" sz="1100" noProof="1">
                  <a:solidFill>
                    <a:srgbClr val="080808"/>
                  </a:solidFill>
                  <a:latin typeface="Calibri" charset="0"/>
                  <a:cs typeface="Arial" charset="0"/>
                </a:rPr>
                <a:t>This is an example text. </a:t>
              </a:r>
            </a:p>
          </p:txBody>
        </p:sp>
      </p:grpSp>
      <p:grpSp>
        <p:nvGrpSpPr>
          <p:cNvPr id="47" name="Group 46"/>
          <p:cNvGrpSpPr/>
          <p:nvPr/>
        </p:nvGrpSpPr>
        <p:grpSpPr>
          <a:xfrm>
            <a:off x="4364969" y="3893091"/>
            <a:ext cx="1145989" cy="1091535"/>
            <a:chOff x="4364969" y="3893091"/>
            <a:chExt cx="1145989" cy="1091535"/>
          </a:xfrm>
        </p:grpSpPr>
        <p:sp>
          <p:nvSpPr>
            <p:cNvPr id="22" name="Rounded Rectangle 21"/>
            <p:cNvSpPr/>
            <p:nvPr/>
          </p:nvSpPr>
          <p:spPr bwMode="auto">
            <a:xfrm>
              <a:off x="4364969" y="3893091"/>
              <a:ext cx="1145989" cy="1091535"/>
            </a:xfrm>
            <a:prstGeom prst="roundRect">
              <a:avLst>
                <a:gd name="adj" fmla="val 6103"/>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1" name="Rektangel 63"/>
            <p:cNvSpPr>
              <a:spLocks noChangeArrowheads="1"/>
            </p:cNvSpPr>
            <p:nvPr/>
          </p:nvSpPr>
          <p:spPr bwMode="auto">
            <a:xfrm>
              <a:off x="4423134" y="4121848"/>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rgbClr val="080808"/>
                  </a:solidFill>
                  <a:latin typeface="Calibri" charset="0"/>
                  <a:cs typeface="Arial" charset="0"/>
                </a:rPr>
                <a:t>Example text</a:t>
              </a:r>
            </a:p>
            <a:p>
              <a:pPr defTabSz="801688">
                <a:spcBef>
                  <a:spcPct val="20000"/>
                </a:spcBef>
              </a:pPr>
              <a:r>
                <a:rPr lang="en-US" sz="1100" noProof="1">
                  <a:solidFill>
                    <a:srgbClr val="080808"/>
                  </a:solidFill>
                  <a:latin typeface="Calibri" charset="0"/>
                  <a:cs typeface="Arial" charset="0"/>
                </a:rPr>
                <a:t>This is an example text. </a:t>
              </a:r>
            </a:p>
          </p:txBody>
        </p:sp>
      </p:grpSp>
      <p:grpSp>
        <p:nvGrpSpPr>
          <p:cNvPr id="40" name="Group 39"/>
          <p:cNvGrpSpPr/>
          <p:nvPr/>
        </p:nvGrpSpPr>
        <p:grpSpPr>
          <a:xfrm>
            <a:off x="2943002" y="1583335"/>
            <a:ext cx="1145989" cy="1091535"/>
            <a:chOff x="2943002" y="1583335"/>
            <a:chExt cx="1145989" cy="1091535"/>
          </a:xfrm>
        </p:grpSpPr>
        <p:sp>
          <p:nvSpPr>
            <p:cNvPr id="19" name="Rounded Rectangle 18"/>
            <p:cNvSpPr/>
            <p:nvPr/>
          </p:nvSpPr>
          <p:spPr bwMode="auto">
            <a:xfrm>
              <a:off x="2943002" y="1583335"/>
              <a:ext cx="1145989" cy="1091535"/>
            </a:xfrm>
            <a:prstGeom prst="roundRect">
              <a:avLst>
                <a:gd name="adj" fmla="val 6103"/>
              </a:avLst>
            </a:prstGeom>
            <a:solidFill>
              <a:srgbClr val="F0B71F"/>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Rektangel 63"/>
            <p:cNvSpPr>
              <a:spLocks noChangeArrowheads="1"/>
            </p:cNvSpPr>
            <p:nvPr/>
          </p:nvSpPr>
          <p:spPr bwMode="auto">
            <a:xfrm>
              <a:off x="2990030" y="1812092"/>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rgbClr val="080808"/>
                  </a:solidFill>
                  <a:latin typeface="Calibri" charset="0"/>
                  <a:cs typeface="Arial" charset="0"/>
                </a:rPr>
                <a:t>Example text</a:t>
              </a:r>
            </a:p>
            <a:p>
              <a:pPr defTabSz="801688">
                <a:spcBef>
                  <a:spcPct val="20000"/>
                </a:spcBef>
              </a:pPr>
              <a:r>
                <a:rPr lang="en-US" sz="1100" noProof="1">
                  <a:solidFill>
                    <a:srgbClr val="080808"/>
                  </a:solidFill>
                  <a:latin typeface="Calibri" charset="0"/>
                  <a:cs typeface="Arial" charset="0"/>
                </a:rPr>
                <a:t>This is an example text. </a:t>
              </a:r>
            </a:p>
          </p:txBody>
        </p:sp>
      </p:grpSp>
      <p:grpSp>
        <p:nvGrpSpPr>
          <p:cNvPr id="41" name="Group 40"/>
          <p:cNvGrpSpPr/>
          <p:nvPr/>
        </p:nvGrpSpPr>
        <p:grpSpPr>
          <a:xfrm>
            <a:off x="5879753" y="1583335"/>
            <a:ext cx="1145989" cy="1091535"/>
            <a:chOff x="5879753" y="1583335"/>
            <a:chExt cx="1145989" cy="1091535"/>
          </a:xfrm>
        </p:grpSpPr>
        <p:sp>
          <p:nvSpPr>
            <p:cNvPr id="24" name="Rounded Rectangle 23"/>
            <p:cNvSpPr/>
            <p:nvPr/>
          </p:nvSpPr>
          <p:spPr bwMode="auto">
            <a:xfrm>
              <a:off x="5879753" y="1583335"/>
              <a:ext cx="1145989" cy="1091535"/>
            </a:xfrm>
            <a:prstGeom prst="roundRect">
              <a:avLst>
                <a:gd name="adj" fmla="val 6103"/>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Rektangel 63"/>
            <p:cNvSpPr>
              <a:spLocks noChangeArrowheads="1"/>
            </p:cNvSpPr>
            <p:nvPr/>
          </p:nvSpPr>
          <p:spPr bwMode="auto">
            <a:xfrm>
              <a:off x="5926781" y="1812092"/>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rgbClr val="080808"/>
                  </a:solidFill>
                  <a:latin typeface="Calibri" charset="0"/>
                  <a:cs typeface="Arial" charset="0"/>
                </a:rPr>
                <a:t>Example text</a:t>
              </a:r>
            </a:p>
            <a:p>
              <a:pPr defTabSz="801688">
                <a:spcBef>
                  <a:spcPct val="20000"/>
                </a:spcBef>
              </a:pPr>
              <a:r>
                <a:rPr lang="en-US" sz="1100" noProof="1">
                  <a:solidFill>
                    <a:srgbClr val="080808"/>
                  </a:solidFill>
                  <a:latin typeface="Calibri" charset="0"/>
                  <a:cs typeface="Arial" charset="0"/>
                </a:rPr>
                <a:t>This is an example text. </a:t>
              </a:r>
            </a:p>
          </p:txBody>
        </p:sp>
      </p:grpSp>
      <p:sp>
        <p:nvSpPr>
          <p:cNvPr id="7" name="Line 33"/>
          <p:cNvSpPr>
            <a:spLocks noChangeShapeType="1"/>
          </p:cNvSpPr>
          <p:nvPr/>
        </p:nvSpPr>
        <p:spPr bwMode="auto">
          <a:xfrm rot="10800000" flipH="1" flipV="1">
            <a:off x="4959002" y="3667495"/>
            <a:ext cx="1425679" cy="2475"/>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sp>
        <p:nvSpPr>
          <p:cNvPr id="12" name="Line 33"/>
          <p:cNvSpPr>
            <a:spLocks noChangeShapeType="1"/>
          </p:cNvSpPr>
          <p:nvPr/>
        </p:nvSpPr>
        <p:spPr bwMode="auto">
          <a:xfrm rot="10800000" flipH="1" flipV="1">
            <a:off x="2011113" y="3667495"/>
            <a:ext cx="1425679" cy="2475"/>
          </a:xfrm>
          <a:prstGeom prst="line">
            <a:avLst/>
          </a:prstGeom>
          <a:noFill/>
          <a:ln w="19050">
            <a:solidFill>
              <a:srgbClr val="7F7F7F"/>
            </a:solidFill>
            <a:prstDash val="sysDot"/>
            <a:round/>
            <a:headEnd/>
            <a:tailEnd/>
          </a:ln>
          <a:effectLst/>
        </p:spPr>
        <p:txBody>
          <a:bodyPr/>
          <a:lstStyle/>
          <a:p>
            <a:endParaRPr lang="da-DK" sz="1100" kern="0">
              <a:solidFill>
                <a:sysClr val="windowText" lastClr="000000"/>
              </a:solidFill>
              <a:latin typeface="Arial" pitchFamily="34" charset="0"/>
              <a:ea typeface="ＭＳ Ｐゴシック" pitchFamily="-65" charset="-128"/>
              <a:cs typeface="ＭＳ Ｐゴシック" pitchFamily="-65" charset="-128"/>
            </a:endParaRPr>
          </a:p>
        </p:txBody>
      </p:sp>
      <p:grpSp>
        <p:nvGrpSpPr>
          <p:cNvPr id="46" name="Group 45"/>
          <p:cNvGrpSpPr/>
          <p:nvPr/>
        </p:nvGrpSpPr>
        <p:grpSpPr>
          <a:xfrm>
            <a:off x="1508660" y="3122347"/>
            <a:ext cx="1145989" cy="1092773"/>
            <a:chOff x="1508660" y="3122347"/>
            <a:chExt cx="1145989" cy="1092773"/>
          </a:xfrm>
        </p:grpSpPr>
        <p:sp>
          <p:nvSpPr>
            <p:cNvPr id="17" name="Rounded Rectangle 5"/>
            <p:cNvSpPr>
              <a:spLocks noChangeArrowheads="1"/>
            </p:cNvSpPr>
            <p:nvPr/>
          </p:nvSpPr>
          <p:spPr bwMode="auto">
            <a:xfrm>
              <a:off x="1508660" y="3122347"/>
              <a:ext cx="1145989" cy="1092773"/>
            </a:xfrm>
            <a:prstGeom prst="roundRect">
              <a:avLst>
                <a:gd name="adj" fmla="val 6102"/>
              </a:avLst>
            </a:prstGeom>
            <a:solidFill>
              <a:srgbClr val="2A9B18"/>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6" name="Rektangel 63"/>
            <p:cNvSpPr>
              <a:spLocks noChangeArrowheads="1"/>
            </p:cNvSpPr>
            <p:nvPr/>
          </p:nvSpPr>
          <p:spPr bwMode="auto">
            <a:xfrm>
              <a:off x="1559400" y="3351723"/>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chemeClr val="bg1"/>
                  </a:solidFill>
                  <a:latin typeface="Calibri" charset="0"/>
                  <a:cs typeface="Arial" charset="0"/>
                </a:rPr>
                <a:t>Example text</a:t>
              </a:r>
            </a:p>
            <a:p>
              <a:pPr defTabSz="801688">
                <a:spcBef>
                  <a:spcPct val="20000"/>
                </a:spcBef>
              </a:pPr>
              <a:r>
                <a:rPr lang="en-US" sz="1100" noProof="1">
                  <a:solidFill>
                    <a:schemeClr val="bg1"/>
                  </a:solidFill>
                  <a:latin typeface="Calibri" charset="0"/>
                  <a:cs typeface="Arial" charset="0"/>
                </a:rPr>
                <a:t>This is an example text. </a:t>
              </a:r>
            </a:p>
          </p:txBody>
        </p:sp>
      </p:grpSp>
      <p:grpSp>
        <p:nvGrpSpPr>
          <p:cNvPr id="44" name="Group 43"/>
          <p:cNvGrpSpPr/>
          <p:nvPr/>
        </p:nvGrpSpPr>
        <p:grpSpPr>
          <a:xfrm>
            <a:off x="2943002" y="3122347"/>
            <a:ext cx="1145989" cy="1092773"/>
            <a:chOff x="2943002" y="3122347"/>
            <a:chExt cx="1145989" cy="1092773"/>
          </a:xfrm>
        </p:grpSpPr>
        <p:sp>
          <p:nvSpPr>
            <p:cNvPr id="18" name="Rounded Rectangle 17"/>
            <p:cNvSpPr/>
            <p:nvPr/>
          </p:nvSpPr>
          <p:spPr bwMode="auto">
            <a:xfrm>
              <a:off x="2943002" y="3122347"/>
              <a:ext cx="1145989" cy="1092773"/>
            </a:xfrm>
            <a:prstGeom prst="roundRect">
              <a:avLst>
                <a:gd name="adj" fmla="val 6103"/>
              </a:avLst>
            </a:prstGeom>
            <a:solidFill>
              <a:srgbClr val="BFBFBF"/>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Rektangel 63"/>
            <p:cNvSpPr>
              <a:spLocks noChangeArrowheads="1"/>
            </p:cNvSpPr>
            <p:nvPr/>
          </p:nvSpPr>
          <p:spPr bwMode="auto">
            <a:xfrm>
              <a:off x="2990030" y="3351723"/>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rgbClr val="080808"/>
                  </a:solidFill>
                  <a:latin typeface="Calibri" charset="0"/>
                  <a:cs typeface="Arial" charset="0"/>
                </a:rPr>
                <a:t>Example text</a:t>
              </a:r>
            </a:p>
            <a:p>
              <a:pPr defTabSz="801688">
                <a:spcBef>
                  <a:spcPct val="20000"/>
                </a:spcBef>
              </a:pPr>
              <a:r>
                <a:rPr lang="en-US" sz="1100" noProof="1">
                  <a:solidFill>
                    <a:srgbClr val="080808"/>
                  </a:solidFill>
                  <a:latin typeface="Calibri" charset="0"/>
                  <a:cs typeface="Arial" charset="0"/>
                </a:rPr>
                <a:t>This is an example text. </a:t>
              </a:r>
            </a:p>
          </p:txBody>
        </p:sp>
      </p:grpSp>
      <p:grpSp>
        <p:nvGrpSpPr>
          <p:cNvPr id="43" name="Group 42"/>
          <p:cNvGrpSpPr/>
          <p:nvPr/>
        </p:nvGrpSpPr>
        <p:grpSpPr>
          <a:xfrm>
            <a:off x="5879753" y="3122347"/>
            <a:ext cx="1145989" cy="1092773"/>
            <a:chOff x="5879753" y="3122347"/>
            <a:chExt cx="1145989" cy="1092773"/>
          </a:xfrm>
        </p:grpSpPr>
        <p:sp>
          <p:nvSpPr>
            <p:cNvPr id="23" name="Rounded Rectangle 22"/>
            <p:cNvSpPr/>
            <p:nvPr/>
          </p:nvSpPr>
          <p:spPr bwMode="auto">
            <a:xfrm>
              <a:off x="5879753" y="3122347"/>
              <a:ext cx="1145989" cy="1092773"/>
            </a:xfrm>
            <a:prstGeom prst="roundRect">
              <a:avLst>
                <a:gd name="adj" fmla="val 6103"/>
              </a:avLst>
            </a:prstGeom>
            <a:solidFill>
              <a:srgbClr val="0D65AC"/>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Rektangel 63"/>
            <p:cNvSpPr>
              <a:spLocks noChangeArrowheads="1"/>
            </p:cNvSpPr>
            <p:nvPr/>
          </p:nvSpPr>
          <p:spPr bwMode="auto">
            <a:xfrm>
              <a:off x="5926781" y="3351723"/>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chemeClr val="bg1"/>
                  </a:solidFill>
                  <a:latin typeface="Calibri" charset="0"/>
                  <a:cs typeface="Arial" charset="0"/>
                </a:rPr>
                <a:t>Example text</a:t>
              </a:r>
            </a:p>
            <a:p>
              <a:pPr defTabSz="801688">
                <a:spcBef>
                  <a:spcPct val="20000"/>
                </a:spcBef>
              </a:pPr>
              <a:r>
                <a:rPr lang="en-US" sz="1100" noProof="1">
                  <a:solidFill>
                    <a:schemeClr val="bg1"/>
                  </a:solidFill>
                  <a:latin typeface="Calibri" charset="0"/>
                  <a:cs typeface="Arial" charset="0"/>
                </a:rPr>
                <a:t>This is an example text. </a:t>
              </a:r>
            </a:p>
          </p:txBody>
        </p:sp>
      </p:grpSp>
      <p:sp>
        <p:nvSpPr>
          <p:cNvPr id="20" name="Rounded Rectangle 19"/>
          <p:cNvSpPr/>
          <p:nvPr/>
        </p:nvSpPr>
        <p:spPr bwMode="auto">
          <a:xfrm>
            <a:off x="2943002" y="4662598"/>
            <a:ext cx="1145989" cy="1091535"/>
          </a:xfrm>
          <a:prstGeom prst="roundRect">
            <a:avLst>
              <a:gd name="adj" fmla="val 6103"/>
            </a:avLst>
          </a:prstGeom>
          <a:solidFill>
            <a:srgbClr val="F0B71F"/>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Rektangel 63"/>
          <p:cNvSpPr>
            <a:spLocks noChangeArrowheads="1"/>
          </p:cNvSpPr>
          <p:nvPr/>
        </p:nvSpPr>
        <p:spPr bwMode="auto">
          <a:xfrm>
            <a:off x="2990030" y="4891355"/>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rgbClr val="080808"/>
                </a:solidFill>
                <a:latin typeface="Calibri" charset="0"/>
                <a:cs typeface="Arial" charset="0"/>
              </a:rPr>
              <a:t>Example text</a:t>
            </a:r>
          </a:p>
          <a:p>
            <a:pPr defTabSz="801688">
              <a:spcBef>
                <a:spcPct val="20000"/>
              </a:spcBef>
            </a:pPr>
            <a:r>
              <a:rPr lang="en-US" sz="1100" noProof="1">
                <a:solidFill>
                  <a:srgbClr val="080808"/>
                </a:solidFill>
                <a:latin typeface="Calibri" charset="0"/>
                <a:cs typeface="Arial" charset="0"/>
              </a:rPr>
              <a:t>This is an example text. </a:t>
            </a:r>
          </a:p>
        </p:txBody>
      </p:sp>
      <p:grpSp>
        <p:nvGrpSpPr>
          <p:cNvPr id="48" name="Group 47"/>
          <p:cNvGrpSpPr/>
          <p:nvPr/>
        </p:nvGrpSpPr>
        <p:grpSpPr>
          <a:xfrm>
            <a:off x="5879753" y="4662598"/>
            <a:ext cx="1145989" cy="1091535"/>
            <a:chOff x="5879753" y="4662598"/>
            <a:chExt cx="1145989" cy="1091535"/>
          </a:xfrm>
        </p:grpSpPr>
        <p:sp>
          <p:nvSpPr>
            <p:cNvPr id="25" name="Rounded Rectangle 24"/>
            <p:cNvSpPr/>
            <p:nvPr/>
          </p:nvSpPr>
          <p:spPr bwMode="auto">
            <a:xfrm>
              <a:off x="5879753" y="4662598"/>
              <a:ext cx="1145989" cy="1091535"/>
            </a:xfrm>
            <a:prstGeom prst="roundRect">
              <a:avLst>
                <a:gd name="adj" fmla="val 6103"/>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4" name="Rektangel 63"/>
            <p:cNvSpPr>
              <a:spLocks noChangeArrowheads="1"/>
            </p:cNvSpPr>
            <p:nvPr/>
          </p:nvSpPr>
          <p:spPr bwMode="auto">
            <a:xfrm>
              <a:off x="5926781" y="4891355"/>
              <a:ext cx="1013569"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pPr>
              <a:r>
                <a:rPr lang="en-US" sz="1100" b="1" noProof="1">
                  <a:solidFill>
                    <a:srgbClr val="080808"/>
                  </a:solidFill>
                  <a:latin typeface="Calibri" charset="0"/>
                  <a:cs typeface="Arial" charset="0"/>
                </a:rPr>
                <a:t>Example text</a:t>
              </a:r>
            </a:p>
            <a:p>
              <a:pPr defTabSz="801688">
                <a:spcBef>
                  <a:spcPct val="20000"/>
                </a:spcBef>
              </a:pPr>
              <a:r>
                <a:rPr lang="en-US" sz="1100" noProof="1">
                  <a:solidFill>
                    <a:srgbClr val="080808"/>
                  </a:solidFill>
                  <a:latin typeface="Calibri" charset="0"/>
                  <a:cs typeface="Arial" charset="0"/>
                </a:rPr>
                <a:t>This is an example text. </a:t>
              </a:r>
            </a:p>
          </p:txBody>
        </p:sp>
      </p:grpSp>
    </p:spTree>
    <p:custDataLst>
      <p:tags r:id="rId1"/>
    </p:custDataLst>
    <p:extLst>
      <p:ext uri="{BB962C8B-B14F-4D97-AF65-F5344CB8AC3E}">
        <p14:creationId xmlns:p14="http://schemas.microsoft.com/office/powerpoint/2010/main" val="1076281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Ellipse 44"/>
          <p:cNvSpPr/>
          <p:nvPr/>
        </p:nvSpPr>
        <p:spPr bwMode="auto">
          <a:xfrm>
            <a:off x="3516162" y="2609851"/>
            <a:ext cx="2111677" cy="2109885"/>
          </a:xfrm>
          <a:prstGeom prst="ellipse">
            <a:avLst/>
          </a:prstGeom>
          <a:solidFill>
            <a:srgbClr val="2A9B18"/>
          </a:solidFill>
          <a:ln w="3175">
            <a:noFill/>
            <a:round/>
            <a:headEnd/>
            <a:tailEnd/>
          </a:ln>
          <a:effectLst>
            <a:innerShdw dist="38100" dir="5400000">
              <a:prstClr val="black">
                <a:alpha val="20000"/>
              </a:prstClr>
            </a:innerShdw>
          </a:effectLst>
        </p:spPr>
        <p:txBody>
          <a:bodyPr anchor="ctr"/>
          <a:lstStyle/>
          <a:p>
            <a:pPr algn="ctr" fontAlgn="auto">
              <a:spcBef>
                <a:spcPts val="0"/>
              </a:spcBef>
              <a:spcAft>
                <a:spcPts val="0"/>
              </a:spcAft>
              <a:defRPr/>
            </a:pPr>
            <a:endParaRPr lang="da-DK" sz="1400" u="sng">
              <a:solidFill>
                <a:srgbClr val="FFFFFF"/>
              </a:solidFill>
              <a:latin typeface="Calibri" pitchFamily="-105" charset="0"/>
              <a:ea typeface="+mn-ea"/>
            </a:endParaRPr>
          </a:p>
        </p:txBody>
      </p:sp>
      <p:sp>
        <p:nvSpPr>
          <p:cNvPr id="4" name="Subtitle 3"/>
          <p:cNvSpPr>
            <a:spLocks noGrp="1"/>
          </p:cNvSpPr>
          <p:nvPr>
            <p:ph type="subTitle" idx="1"/>
          </p:nvPr>
        </p:nvSpPr>
        <p:spPr>
          <a:xfrm>
            <a:off x="628650" y="866381"/>
            <a:ext cx="7891272" cy="243785"/>
          </a:xfrm>
        </p:spPr>
        <p:txBody>
          <a:bodyPr/>
          <a:lstStyle/>
          <a:p>
            <a:pPr>
              <a:lnSpc>
                <a:spcPct val="80000"/>
              </a:lnSpc>
            </a:pPr>
            <a:r>
              <a:rPr lang="en-US" dirty="0"/>
              <a:t>Replace this text</a:t>
            </a:r>
          </a:p>
        </p:txBody>
      </p:sp>
      <p:sp>
        <p:nvSpPr>
          <p:cNvPr id="10" name="Slide Number Placeholder 9"/>
          <p:cNvSpPr>
            <a:spLocks noGrp="1"/>
          </p:cNvSpPr>
          <p:nvPr>
            <p:ph type="sldNum" sz="quarter" idx="12"/>
          </p:nvPr>
        </p:nvSpPr>
        <p:spPr/>
        <p:txBody>
          <a:bodyPr/>
          <a:lstStyle/>
          <a:p>
            <a:fld id="{125C11E9-EA40-D54F-953A-82A4C72DAAAD}" type="slidenum">
              <a:rPr lang="en-US" smtClean="0"/>
              <a:pPr/>
              <a:t>34</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a:t>BUSINESS PLAN</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grpSp>
        <p:nvGrpSpPr>
          <p:cNvPr id="7" name="Group 16"/>
          <p:cNvGrpSpPr>
            <a:grpSpLocks/>
          </p:cNvGrpSpPr>
          <p:nvPr/>
        </p:nvGrpSpPr>
        <p:grpSpPr bwMode="auto">
          <a:xfrm flipH="1">
            <a:off x="6201841" y="2060576"/>
            <a:ext cx="549274" cy="3292475"/>
            <a:chOff x="2388428" y="1417622"/>
            <a:chExt cx="548975" cy="3291840"/>
          </a:xfrm>
        </p:grpSpPr>
        <p:sp>
          <p:nvSpPr>
            <p:cNvPr id="8" name="Line 33"/>
            <p:cNvSpPr>
              <a:spLocks noChangeShapeType="1"/>
            </p:cNvSpPr>
            <p:nvPr/>
          </p:nvSpPr>
          <p:spPr bwMode="auto">
            <a:xfrm rot="5400000">
              <a:off x="1287780" y="3063542"/>
              <a:ext cx="3291840" cy="0"/>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kern="0">
                <a:solidFill>
                  <a:sysClr val="windowText" lastClr="000000"/>
                </a:solidFill>
                <a:latin typeface="Arial" pitchFamily="34" charset="0"/>
                <a:ea typeface="ＭＳ Ｐゴシック" pitchFamily="-65" charset="-128"/>
                <a:cs typeface="ＭＳ Ｐゴシック" pitchFamily="-65" charset="-128"/>
              </a:endParaRPr>
            </a:p>
          </p:txBody>
        </p:sp>
        <p:sp>
          <p:nvSpPr>
            <p:cNvPr id="9" name="Line 33"/>
            <p:cNvSpPr>
              <a:spLocks noChangeShapeType="1"/>
            </p:cNvSpPr>
            <p:nvPr/>
          </p:nvSpPr>
          <p:spPr bwMode="auto">
            <a:xfrm>
              <a:off x="2388428" y="1427145"/>
              <a:ext cx="548975" cy="0"/>
            </a:xfrm>
            <a:prstGeom prst="line">
              <a:avLst/>
            </a:prstGeom>
            <a:noFill/>
            <a:ln w="19050">
              <a:solidFill>
                <a:srgbClr val="7F7F7F"/>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mn-ea"/>
              </a:endParaRPr>
            </a:p>
          </p:txBody>
        </p:sp>
        <p:sp>
          <p:nvSpPr>
            <p:cNvPr id="11" name="Line 33"/>
            <p:cNvSpPr>
              <a:spLocks noChangeShapeType="1"/>
            </p:cNvSpPr>
            <p:nvPr/>
          </p:nvSpPr>
          <p:spPr bwMode="auto">
            <a:xfrm>
              <a:off x="2388428" y="4680893"/>
              <a:ext cx="548975" cy="0"/>
            </a:xfrm>
            <a:prstGeom prst="line">
              <a:avLst/>
            </a:prstGeom>
            <a:noFill/>
            <a:ln w="19050">
              <a:solidFill>
                <a:srgbClr val="7F7F7F"/>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mn-ea"/>
              </a:endParaRPr>
            </a:p>
          </p:txBody>
        </p:sp>
        <p:sp>
          <p:nvSpPr>
            <p:cNvPr id="12" name="Line 33"/>
            <p:cNvSpPr>
              <a:spLocks noChangeShapeType="1"/>
            </p:cNvSpPr>
            <p:nvPr/>
          </p:nvSpPr>
          <p:spPr bwMode="auto">
            <a:xfrm>
              <a:off x="2388428" y="3000054"/>
              <a:ext cx="548975" cy="0"/>
            </a:xfrm>
            <a:prstGeom prst="line">
              <a:avLst/>
            </a:prstGeom>
            <a:noFill/>
            <a:ln w="19050">
              <a:solidFill>
                <a:srgbClr val="7F7F7F"/>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mn-ea"/>
              </a:endParaRPr>
            </a:p>
          </p:txBody>
        </p:sp>
      </p:grpSp>
      <p:grpSp>
        <p:nvGrpSpPr>
          <p:cNvPr id="13" name="Group 15"/>
          <p:cNvGrpSpPr>
            <a:grpSpLocks/>
          </p:cNvGrpSpPr>
          <p:nvPr/>
        </p:nvGrpSpPr>
        <p:grpSpPr bwMode="auto">
          <a:xfrm>
            <a:off x="2354263" y="2060576"/>
            <a:ext cx="3867150" cy="3292475"/>
            <a:chOff x="2354580" y="1417622"/>
            <a:chExt cx="3866186" cy="3291840"/>
          </a:xfrm>
        </p:grpSpPr>
        <p:sp>
          <p:nvSpPr>
            <p:cNvPr id="14" name="Line 33"/>
            <p:cNvSpPr>
              <a:spLocks noChangeShapeType="1"/>
            </p:cNvSpPr>
            <p:nvPr/>
          </p:nvSpPr>
          <p:spPr bwMode="auto">
            <a:xfrm rot="5400000">
              <a:off x="1287952" y="3063542"/>
              <a:ext cx="3291840" cy="0"/>
            </a:xfrm>
            <a:prstGeom prst="line">
              <a:avLst/>
            </a:prstGeom>
            <a:noFill/>
            <a:ln w="19050">
              <a:solidFill>
                <a:srgbClr val="7F7F7F"/>
              </a:solidFill>
              <a:prstDash val="sysDot"/>
              <a:round/>
              <a:headEnd/>
              <a:tailEnd/>
            </a:ln>
            <a:effectLst/>
          </p:spPr>
          <p:txBody>
            <a:bodyPr/>
            <a:lstStyle/>
            <a:p>
              <a:pPr fontAlgn="auto">
                <a:spcBef>
                  <a:spcPts val="0"/>
                </a:spcBef>
                <a:spcAft>
                  <a:spcPts val="0"/>
                </a:spcAft>
                <a:defRPr/>
              </a:pPr>
              <a:endParaRPr lang="da-DK" kern="0">
                <a:solidFill>
                  <a:sysClr val="windowText" lastClr="000000"/>
                </a:solidFill>
                <a:latin typeface="Arial" pitchFamily="34" charset="0"/>
                <a:ea typeface="ＭＳ Ｐゴシック" pitchFamily="-65" charset="-128"/>
                <a:cs typeface="ＭＳ Ｐゴシック" pitchFamily="-65" charset="-128"/>
              </a:endParaRPr>
            </a:p>
          </p:txBody>
        </p:sp>
        <p:sp>
          <p:nvSpPr>
            <p:cNvPr id="15" name="Line 33"/>
            <p:cNvSpPr>
              <a:spLocks noChangeShapeType="1"/>
            </p:cNvSpPr>
            <p:nvPr/>
          </p:nvSpPr>
          <p:spPr bwMode="auto">
            <a:xfrm>
              <a:off x="2354580" y="1427145"/>
              <a:ext cx="549138" cy="0"/>
            </a:xfrm>
            <a:prstGeom prst="line">
              <a:avLst/>
            </a:prstGeom>
            <a:noFill/>
            <a:ln w="19050">
              <a:solidFill>
                <a:srgbClr val="7F7F7F"/>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mn-ea"/>
              </a:endParaRPr>
            </a:p>
          </p:txBody>
        </p:sp>
        <p:sp>
          <p:nvSpPr>
            <p:cNvPr id="16" name="Line 33"/>
            <p:cNvSpPr>
              <a:spLocks noChangeShapeType="1"/>
            </p:cNvSpPr>
            <p:nvPr/>
          </p:nvSpPr>
          <p:spPr bwMode="auto">
            <a:xfrm>
              <a:off x="2354580" y="4680893"/>
              <a:ext cx="549138" cy="0"/>
            </a:xfrm>
            <a:prstGeom prst="line">
              <a:avLst/>
            </a:prstGeom>
            <a:noFill/>
            <a:ln w="19050">
              <a:solidFill>
                <a:srgbClr val="7F7F7F"/>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mn-ea"/>
              </a:endParaRPr>
            </a:p>
          </p:txBody>
        </p:sp>
        <p:sp>
          <p:nvSpPr>
            <p:cNvPr id="17" name="Line 33"/>
            <p:cNvSpPr>
              <a:spLocks noChangeShapeType="1"/>
            </p:cNvSpPr>
            <p:nvPr/>
          </p:nvSpPr>
          <p:spPr bwMode="auto">
            <a:xfrm>
              <a:off x="2354580" y="3000054"/>
              <a:ext cx="549138" cy="0"/>
            </a:xfrm>
            <a:prstGeom prst="line">
              <a:avLst/>
            </a:prstGeom>
            <a:noFill/>
            <a:ln w="19050">
              <a:solidFill>
                <a:srgbClr val="7F7F7F"/>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mn-ea"/>
              </a:endParaRPr>
            </a:p>
          </p:txBody>
        </p:sp>
        <p:sp>
          <p:nvSpPr>
            <p:cNvPr id="18" name="Line 33"/>
            <p:cNvSpPr>
              <a:spLocks noChangeShapeType="1"/>
            </p:cNvSpPr>
            <p:nvPr/>
          </p:nvSpPr>
          <p:spPr bwMode="auto">
            <a:xfrm>
              <a:off x="2929112" y="3000054"/>
              <a:ext cx="3291654" cy="0"/>
            </a:xfrm>
            <a:prstGeom prst="line">
              <a:avLst/>
            </a:prstGeom>
            <a:noFill/>
            <a:ln w="19050">
              <a:solidFill>
                <a:srgbClr val="7F7F7F"/>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mn-ea"/>
              </a:endParaRPr>
            </a:p>
          </p:txBody>
        </p:sp>
      </p:grpSp>
      <p:grpSp>
        <p:nvGrpSpPr>
          <p:cNvPr id="38" name="Group 37"/>
          <p:cNvGrpSpPr/>
          <p:nvPr/>
        </p:nvGrpSpPr>
        <p:grpSpPr>
          <a:xfrm>
            <a:off x="6768041" y="1490663"/>
            <a:ext cx="1954213" cy="1119188"/>
            <a:chOff x="6768041" y="1490663"/>
            <a:chExt cx="1954213" cy="1119188"/>
          </a:xfrm>
        </p:grpSpPr>
        <p:sp>
          <p:nvSpPr>
            <p:cNvPr id="20" name="Rectangle 19"/>
            <p:cNvSpPr>
              <a:spLocks noChangeArrowheads="1"/>
            </p:cNvSpPr>
            <p:nvPr/>
          </p:nvSpPr>
          <p:spPr bwMode="auto">
            <a:xfrm>
              <a:off x="6768041" y="1490663"/>
              <a:ext cx="1954213" cy="1119188"/>
            </a:xfrm>
            <a:prstGeom prst="rect">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6" name="TextBox 29"/>
            <p:cNvSpPr txBox="1">
              <a:spLocks noChangeArrowheads="1"/>
            </p:cNvSpPr>
            <p:nvPr/>
          </p:nvSpPr>
          <p:spPr bwMode="auto">
            <a:xfrm>
              <a:off x="6858529" y="1623987"/>
              <a:ext cx="1693862" cy="85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Arial" charset="0"/>
                  <a:ea typeface="ＭＳ Ｐゴシック" charset="-128"/>
                </a:defRPr>
              </a:lvl1pPr>
              <a:lvl2pPr marL="742950" indent="-285750" defTabSz="801688" eaLnBrk="0" hangingPunct="0">
                <a:defRPr>
                  <a:solidFill>
                    <a:schemeClr val="tx1"/>
                  </a:solidFill>
                  <a:latin typeface="Arial" charset="0"/>
                  <a:ea typeface="ＭＳ Ｐゴシック" charset="-128"/>
                </a:defRPr>
              </a:lvl2pPr>
              <a:lvl3pPr marL="1143000" indent="-228600" defTabSz="801688" eaLnBrk="0" hangingPunct="0">
                <a:defRPr>
                  <a:solidFill>
                    <a:schemeClr val="tx1"/>
                  </a:solidFill>
                  <a:latin typeface="Arial" charset="0"/>
                  <a:ea typeface="ＭＳ Ｐゴシック" charset="-128"/>
                </a:defRPr>
              </a:lvl3pPr>
              <a:lvl4pPr marL="1600200" indent="-228600" defTabSz="801688" eaLnBrk="0" hangingPunct="0">
                <a:defRPr>
                  <a:solidFill>
                    <a:schemeClr val="tx1"/>
                  </a:solidFill>
                  <a:latin typeface="Arial" charset="0"/>
                  <a:ea typeface="ＭＳ Ｐゴシック" charset="-128"/>
                </a:defRPr>
              </a:lvl4pPr>
              <a:lvl5pPr marL="2057400" indent="-228600" defTabSz="801688" eaLnBrk="0" hangingPunct="0">
                <a:defRPr>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a:solidFill>
                    <a:schemeClr val="tx1"/>
                  </a:solidFill>
                  <a:latin typeface="Arial" charset="0"/>
                  <a:ea typeface="ＭＳ Ｐゴシック" charset="-128"/>
                </a:defRPr>
              </a:lvl9pPr>
            </a:lstStyle>
            <a:p>
              <a:pPr eaLnBrk="1" hangingPunct="1">
                <a:spcBef>
                  <a:spcPct val="20000"/>
                </a:spcBef>
              </a:pPr>
              <a:r>
                <a:rPr lang="en-US" sz="1200" noProof="1" smtClean="0">
                  <a:solidFill>
                    <a:srgbClr val="000000"/>
                  </a:solidFill>
                  <a:latin typeface="Calibri" charset="0"/>
                  <a:cs typeface="Arial" charset="0"/>
                </a:rPr>
                <a:t>Expense</a:t>
              </a:r>
              <a:endParaRPr lang="en-US" sz="1200" noProof="1">
                <a:solidFill>
                  <a:srgbClr val="000000"/>
                </a:solidFill>
                <a:latin typeface="Calibri" charset="0"/>
                <a:cs typeface="Arial" charset="0"/>
              </a:endParaRPr>
            </a:p>
            <a:p>
              <a:pPr marL="171450" indent="-171450" eaLnBrk="1" hangingPunct="1">
                <a:spcBef>
                  <a:spcPct val="20000"/>
                </a:spcBef>
                <a:buFont typeface="Arial" pitchFamily="34" charset="0"/>
                <a:buChar char="•"/>
              </a:pPr>
              <a:r>
                <a:rPr lang="en-US" sz="1100" noProof="1">
                  <a:solidFill>
                    <a:srgbClr val="000000"/>
                  </a:solidFill>
                  <a:latin typeface="Calibri" charset="0"/>
                  <a:cs typeface="Arial" charset="0"/>
                </a:rPr>
                <a:t>This is an example text. </a:t>
              </a:r>
            </a:p>
            <a:p>
              <a:pPr marL="171450" indent="-171450" eaLnBrk="1" hangingPunct="1">
                <a:spcBef>
                  <a:spcPct val="20000"/>
                </a:spcBef>
                <a:buFont typeface="Arial" pitchFamily="34" charset="0"/>
                <a:buChar char="•"/>
              </a:pPr>
              <a:r>
                <a:rPr lang="en-US" sz="1100" noProof="1">
                  <a:solidFill>
                    <a:srgbClr val="000000"/>
                  </a:solidFill>
                  <a:latin typeface="Calibri" charset="0"/>
                  <a:cs typeface="Arial" charset="0"/>
                </a:rPr>
                <a:t> Go ahead and replace it with your own text.</a:t>
              </a:r>
              <a:endParaRPr lang="en-US" sz="1600" dirty="0">
                <a:solidFill>
                  <a:srgbClr val="000000"/>
                </a:solidFill>
                <a:latin typeface="Calibri" charset="0"/>
              </a:endParaRPr>
            </a:p>
          </p:txBody>
        </p:sp>
      </p:grpSp>
      <p:grpSp>
        <p:nvGrpSpPr>
          <p:cNvPr id="37" name="Group 36"/>
          <p:cNvGrpSpPr/>
          <p:nvPr/>
        </p:nvGrpSpPr>
        <p:grpSpPr>
          <a:xfrm>
            <a:off x="6768041" y="3119438"/>
            <a:ext cx="1954213" cy="1119188"/>
            <a:chOff x="6768041" y="3119438"/>
            <a:chExt cx="1954213" cy="1119188"/>
          </a:xfrm>
        </p:grpSpPr>
        <p:sp>
          <p:nvSpPr>
            <p:cNvPr id="21" name="Rectangle 20"/>
            <p:cNvSpPr>
              <a:spLocks noChangeArrowheads="1"/>
            </p:cNvSpPr>
            <p:nvPr/>
          </p:nvSpPr>
          <p:spPr bwMode="auto">
            <a:xfrm>
              <a:off x="6768041" y="3119438"/>
              <a:ext cx="1954213" cy="1119188"/>
            </a:xfrm>
            <a:prstGeom prst="rect">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7" name="TextBox 29"/>
            <p:cNvSpPr txBox="1">
              <a:spLocks noChangeArrowheads="1"/>
            </p:cNvSpPr>
            <p:nvPr/>
          </p:nvSpPr>
          <p:spPr bwMode="auto">
            <a:xfrm>
              <a:off x="6858529" y="3252762"/>
              <a:ext cx="1693862" cy="85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Arial" charset="0"/>
                  <a:ea typeface="ＭＳ Ｐゴシック" charset="-128"/>
                </a:defRPr>
              </a:lvl1pPr>
              <a:lvl2pPr marL="742950" indent="-285750" defTabSz="801688" eaLnBrk="0" hangingPunct="0">
                <a:defRPr>
                  <a:solidFill>
                    <a:schemeClr val="tx1"/>
                  </a:solidFill>
                  <a:latin typeface="Arial" charset="0"/>
                  <a:ea typeface="ＭＳ Ｐゴシック" charset="-128"/>
                </a:defRPr>
              </a:lvl2pPr>
              <a:lvl3pPr marL="1143000" indent="-228600" defTabSz="801688" eaLnBrk="0" hangingPunct="0">
                <a:defRPr>
                  <a:solidFill>
                    <a:schemeClr val="tx1"/>
                  </a:solidFill>
                  <a:latin typeface="Arial" charset="0"/>
                  <a:ea typeface="ＭＳ Ｐゴシック" charset="-128"/>
                </a:defRPr>
              </a:lvl3pPr>
              <a:lvl4pPr marL="1600200" indent="-228600" defTabSz="801688" eaLnBrk="0" hangingPunct="0">
                <a:defRPr>
                  <a:solidFill>
                    <a:schemeClr val="tx1"/>
                  </a:solidFill>
                  <a:latin typeface="Arial" charset="0"/>
                  <a:ea typeface="ＭＳ Ｐゴシック" charset="-128"/>
                </a:defRPr>
              </a:lvl4pPr>
              <a:lvl5pPr marL="2057400" indent="-228600" defTabSz="801688" eaLnBrk="0" hangingPunct="0">
                <a:defRPr>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a:solidFill>
                    <a:schemeClr val="tx1"/>
                  </a:solidFill>
                  <a:latin typeface="Arial" charset="0"/>
                  <a:ea typeface="ＭＳ Ｐゴシック" charset="-128"/>
                </a:defRPr>
              </a:lvl9pPr>
            </a:lstStyle>
            <a:p>
              <a:pPr eaLnBrk="1" hangingPunct="1">
                <a:spcBef>
                  <a:spcPct val="20000"/>
                </a:spcBef>
              </a:pPr>
              <a:r>
                <a:rPr lang="en-US" sz="1200" noProof="1">
                  <a:solidFill>
                    <a:srgbClr val="000000"/>
                  </a:solidFill>
                  <a:latin typeface="Calibri" charset="0"/>
                  <a:cs typeface="Arial" charset="0"/>
                </a:rPr>
                <a:t>Expense</a:t>
              </a:r>
            </a:p>
            <a:p>
              <a:pPr marL="171450" indent="-171450" eaLnBrk="1" hangingPunct="1">
                <a:spcBef>
                  <a:spcPct val="20000"/>
                </a:spcBef>
                <a:buFont typeface="Arial" pitchFamily="34" charset="0"/>
                <a:buChar char="•"/>
              </a:pPr>
              <a:r>
                <a:rPr lang="en-US" sz="1100" noProof="1" smtClean="0">
                  <a:solidFill>
                    <a:srgbClr val="000000"/>
                  </a:solidFill>
                  <a:latin typeface="Calibri" charset="0"/>
                  <a:cs typeface="Arial" charset="0"/>
                </a:rPr>
                <a:t>This </a:t>
              </a:r>
              <a:r>
                <a:rPr lang="en-US" sz="1100" noProof="1">
                  <a:solidFill>
                    <a:srgbClr val="000000"/>
                  </a:solidFill>
                  <a:latin typeface="Calibri" charset="0"/>
                  <a:cs typeface="Arial" charset="0"/>
                </a:rPr>
                <a:t>is an example text. </a:t>
              </a:r>
            </a:p>
            <a:p>
              <a:pPr marL="171450" indent="-171450" eaLnBrk="1" hangingPunct="1">
                <a:spcBef>
                  <a:spcPct val="20000"/>
                </a:spcBef>
                <a:buFont typeface="Arial" pitchFamily="34" charset="0"/>
                <a:buChar char="•"/>
              </a:pPr>
              <a:r>
                <a:rPr lang="en-US" sz="1100" noProof="1">
                  <a:solidFill>
                    <a:srgbClr val="000000"/>
                  </a:solidFill>
                  <a:latin typeface="Calibri" charset="0"/>
                  <a:cs typeface="Arial" charset="0"/>
                </a:rPr>
                <a:t> Go ahead and replace it with your own text.</a:t>
              </a:r>
              <a:endParaRPr lang="en-US" sz="1600" dirty="0">
                <a:solidFill>
                  <a:srgbClr val="000000"/>
                </a:solidFill>
                <a:latin typeface="Calibri" charset="0"/>
              </a:endParaRPr>
            </a:p>
          </p:txBody>
        </p:sp>
      </p:grpSp>
      <p:grpSp>
        <p:nvGrpSpPr>
          <p:cNvPr id="35" name="Group 34"/>
          <p:cNvGrpSpPr/>
          <p:nvPr/>
        </p:nvGrpSpPr>
        <p:grpSpPr>
          <a:xfrm>
            <a:off x="6768041" y="4683126"/>
            <a:ext cx="1954213" cy="1119187"/>
            <a:chOff x="6768041" y="4683126"/>
            <a:chExt cx="1954213" cy="1119187"/>
          </a:xfrm>
        </p:grpSpPr>
        <p:sp>
          <p:nvSpPr>
            <p:cNvPr id="22" name="Rectangle 21"/>
            <p:cNvSpPr>
              <a:spLocks noChangeArrowheads="1"/>
            </p:cNvSpPr>
            <p:nvPr/>
          </p:nvSpPr>
          <p:spPr bwMode="auto">
            <a:xfrm>
              <a:off x="6768041" y="4683126"/>
              <a:ext cx="1954213" cy="1119187"/>
            </a:xfrm>
            <a:prstGeom prst="rect">
              <a:avLst/>
            </a:prstGeom>
            <a:solidFill>
              <a:srgbClr val="D5D5D5"/>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8" name="TextBox 29"/>
            <p:cNvSpPr txBox="1">
              <a:spLocks noChangeArrowheads="1"/>
            </p:cNvSpPr>
            <p:nvPr/>
          </p:nvSpPr>
          <p:spPr bwMode="auto">
            <a:xfrm>
              <a:off x="6858529" y="4816449"/>
              <a:ext cx="1693862" cy="85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Arial" charset="0"/>
                  <a:ea typeface="ＭＳ Ｐゴシック" charset="-128"/>
                </a:defRPr>
              </a:lvl1pPr>
              <a:lvl2pPr marL="742950" indent="-285750" defTabSz="801688" eaLnBrk="0" hangingPunct="0">
                <a:defRPr>
                  <a:solidFill>
                    <a:schemeClr val="tx1"/>
                  </a:solidFill>
                  <a:latin typeface="Arial" charset="0"/>
                  <a:ea typeface="ＭＳ Ｐゴシック" charset="-128"/>
                </a:defRPr>
              </a:lvl2pPr>
              <a:lvl3pPr marL="1143000" indent="-228600" defTabSz="801688" eaLnBrk="0" hangingPunct="0">
                <a:defRPr>
                  <a:solidFill>
                    <a:schemeClr val="tx1"/>
                  </a:solidFill>
                  <a:latin typeface="Arial" charset="0"/>
                  <a:ea typeface="ＭＳ Ｐゴシック" charset="-128"/>
                </a:defRPr>
              </a:lvl3pPr>
              <a:lvl4pPr marL="1600200" indent="-228600" defTabSz="801688" eaLnBrk="0" hangingPunct="0">
                <a:defRPr>
                  <a:solidFill>
                    <a:schemeClr val="tx1"/>
                  </a:solidFill>
                  <a:latin typeface="Arial" charset="0"/>
                  <a:ea typeface="ＭＳ Ｐゴシック" charset="-128"/>
                </a:defRPr>
              </a:lvl4pPr>
              <a:lvl5pPr marL="2057400" indent="-228600" defTabSz="801688" eaLnBrk="0" hangingPunct="0">
                <a:defRPr>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a:solidFill>
                    <a:schemeClr val="tx1"/>
                  </a:solidFill>
                  <a:latin typeface="Arial" charset="0"/>
                  <a:ea typeface="ＭＳ Ｐゴシック" charset="-128"/>
                </a:defRPr>
              </a:lvl9pPr>
            </a:lstStyle>
            <a:p>
              <a:pPr eaLnBrk="1" hangingPunct="1">
                <a:spcBef>
                  <a:spcPct val="20000"/>
                </a:spcBef>
              </a:pPr>
              <a:r>
                <a:rPr lang="en-US" sz="1200" noProof="1">
                  <a:solidFill>
                    <a:srgbClr val="000000"/>
                  </a:solidFill>
                  <a:latin typeface="Calibri" charset="0"/>
                  <a:cs typeface="Arial" charset="0"/>
                </a:rPr>
                <a:t>Expense</a:t>
              </a:r>
            </a:p>
            <a:p>
              <a:pPr marL="171450" indent="-171450" eaLnBrk="1" hangingPunct="1">
                <a:spcBef>
                  <a:spcPct val="20000"/>
                </a:spcBef>
                <a:buFont typeface="Arial" pitchFamily="34" charset="0"/>
                <a:buChar char="•"/>
              </a:pPr>
              <a:r>
                <a:rPr lang="en-US" sz="1100" noProof="1" smtClean="0">
                  <a:solidFill>
                    <a:srgbClr val="000000"/>
                  </a:solidFill>
                  <a:latin typeface="Calibri" charset="0"/>
                  <a:cs typeface="Arial" charset="0"/>
                </a:rPr>
                <a:t>This </a:t>
              </a:r>
              <a:r>
                <a:rPr lang="en-US" sz="1100" noProof="1">
                  <a:solidFill>
                    <a:srgbClr val="000000"/>
                  </a:solidFill>
                  <a:latin typeface="Calibri" charset="0"/>
                  <a:cs typeface="Arial" charset="0"/>
                </a:rPr>
                <a:t>is an example text. </a:t>
              </a:r>
            </a:p>
            <a:p>
              <a:pPr marL="171450" indent="-171450" eaLnBrk="1" hangingPunct="1">
                <a:spcBef>
                  <a:spcPct val="20000"/>
                </a:spcBef>
                <a:buFont typeface="Arial" pitchFamily="34" charset="0"/>
                <a:buChar char="•"/>
              </a:pPr>
              <a:r>
                <a:rPr lang="en-US" sz="1100" noProof="1">
                  <a:solidFill>
                    <a:srgbClr val="000000"/>
                  </a:solidFill>
                  <a:latin typeface="Calibri" charset="0"/>
                  <a:cs typeface="Arial" charset="0"/>
                </a:rPr>
                <a:t> Go ahead and replace it with your own text.</a:t>
              </a:r>
              <a:endParaRPr lang="en-US" sz="1600" dirty="0">
                <a:solidFill>
                  <a:srgbClr val="000000"/>
                </a:solidFill>
                <a:latin typeface="Calibri" charset="0"/>
              </a:endParaRPr>
            </a:p>
          </p:txBody>
        </p:sp>
      </p:grpSp>
      <p:grpSp>
        <p:nvGrpSpPr>
          <p:cNvPr id="3" name="Group 2"/>
          <p:cNvGrpSpPr/>
          <p:nvPr/>
        </p:nvGrpSpPr>
        <p:grpSpPr>
          <a:xfrm>
            <a:off x="400050" y="1490663"/>
            <a:ext cx="1954213" cy="1119188"/>
            <a:chOff x="400050" y="1490663"/>
            <a:chExt cx="1954213" cy="1119188"/>
          </a:xfrm>
        </p:grpSpPr>
        <p:sp>
          <p:nvSpPr>
            <p:cNvPr id="23" name="Rectangle 22"/>
            <p:cNvSpPr>
              <a:spLocks noChangeArrowheads="1"/>
            </p:cNvSpPr>
            <p:nvPr/>
          </p:nvSpPr>
          <p:spPr bwMode="auto">
            <a:xfrm>
              <a:off x="400050" y="1490663"/>
              <a:ext cx="1954213" cy="1119188"/>
            </a:xfrm>
            <a:prstGeom prst="rect">
              <a:avLst/>
            </a:prstGeom>
            <a:solidFill>
              <a:srgbClr val="0D65AC"/>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9" name="TextBox 31"/>
            <p:cNvSpPr txBox="1">
              <a:spLocks noChangeArrowheads="1"/>
            </p:cNvSpPr>
            <p:nvPr/>
          </p:nvSpPr>
          <p:spPr bwMode="auto">
            <a:xfrm>
              <a:off x="514350" y="1623987"/>
              <a:ext cx="1693863" cy="85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Arial" charset="0"/>
                  <a:ea typeface="ＭＳ Ｐゴシック" charset="-128"/>
                </a:defRPr>
              </a:lvl1pPr>
              <a:lvl2pPr marL="742950" indent="-285750" defTabSz="801688" eaLnBrk="0" hangingPunct="0">
                <a:defRPr>
                  <a:solidFill>
                    <a:schemeClr val="tx1"/>
                  </a:solidFill>
                  <a:latin typeface="Arial" charset="0"/>
                  <a:ea typeface="ＭＳ Ｐゴシック" charset="-128"/>
                </a:defRPr>
              </a:lvl2pPr>
              <a:lvl3pPr marL="1143000" indent="-228600" defTabSz="801688" eaLnBrk="0" hangingPunct="0">
                <a:defRPr>
                  <a:solidFill>
                    <a:schemeClr val="tx1"/>
                  </a:solidFill>
                  <a:latin typeface="Arial" charset="0"/>
                  <a:ea typeface="ＭＳ Ｐゴシック" charset="-128"/>
                </a:defRPr>
              </a:lvl3pPr>
              <a:lvl4pPr marL="1600200" indent="-228600" defTabSz="801688" eaLnBrk="0" hangingPunct="0">
                <a:defRPr>
                  <a:solidFill>
                    <a:schemeClr val="tx1"/>
                  </a:solidFill>
                  <a:latin typeface="Arial" charset="0"/>
                  <a:ea typeface="ＭＳ Ｐゴシック" charset="-128"/>
                </a:defRPr>
              </a:lvl4pPr>
              <a:lvl5pPr marL="2057400" indent="-228600" defTabSz="801688" eaLnBrk="0" hangingPunct="0">
                <a:defRPr>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a:solidFill>
                    <a:schemeClr val="tx1"/>
                  </a:solidFill>
                  <a:latin typeface="Arial" charset="0"/>
                  <a:ea typeface="ＭＳ Ｐゴシック" charset="-128"/>
                </a:defRPr>
              </a:lvl9pPr>
            </a:lstStyle>
            <a:p>
              <a:pPr eaLnBrk="1" hangingPunct="1">
                <a:spcBef>
                  <a:spcPct val="20000"/>
                </a:spcBef>
              </a:pPr>
              <a:r>
                <a:rPr lang="en-US" sz="1200" noProof="1">
                  <a:solidFill>
                    <a:schemeClr val="bg1"/>
                  </a:solidFill>
                  <a:latin typeface="Calibri" charset="0"/>
                  <a:cs typeface="Arial" charset="0"/>
                </a:rPr>
                <a:t>Income</a:t>
              </a:r>
            </a:p>
            <a:p>
              <a:pPr marL="171450" indent="-171450" eaLnBrk="1" hangingPunct="1">
                <a:spcBef>
                  <a:spcPct val="20000"/>
                </a:spcBef>
                <a:buFont typeface="Arial" pitchFamily="34" charset="0"/>
                <a:buChar char="•"/>
              </a:pPr>
              <a:r>
                <a:rPr lang="en-US" sz="1100" noProof="1">
                  <a:solidFill>
                    <a:schemeClr val="bg1"/>
                  </a:solidFill>
                  <a:latin typeface="Calibri" charset="0"/>
                  <a:cs typeface="Arial" charset="0"/>
                </a:rPr>
                <a:t>This is an example text. </a:t>
              </a:r>
            </a:p>
            <a:p>
              <a:pPr marL="171450" indent="-171450" eaLnBrk="1" hangingPunct="1">
                <a:spcBef>
                  <a:spcPct val="20000"/>
                </a:spcBef>
                <a:buFont typeface="Arial" pitchFamily="34" charset="0"/>
                <a:buChar char="•"/>
              </a:pPr>
              <a:r>
                <a:rPr lang="en-US" sz="1100" noProof="1">
                  <a:solidFill>
                    <a:schemeClr val="bg1"/>
                  </a:solidFill>
                  <a:latin typeface="Calibri" charset="0"/>
                  <a:cs typeface="Arial" charset="0"/>
                </a:rPr>
                <a:t> Go ahead and replace it with your own text.</a:t>
              </a:r>
              <a:endParaRPr lang="en-US" sz="1600" dirty="0">
                <a:solidFill>
                  <a:schemeClr val="bg1"/>
                </a:solidFill>
                <a:latin typeface="Calibri" charset="0"/>
              </a:endParaRPr>
            </a:p>
          </p:txBody>
        </p:sp>
      </p:grpSp>
      <p:grpSp>
        <p:nvGrpSpPr>
          <p:cNvPr id="19" name="Group 18"/>
          <p:cNvGrpSpPr/>
          <p:nvPr/>
        </p:nvGrpSpPr>
        <p:grpSpPr>
          <a:xfrm>
            <a:off x="400050" y="3119438"/>
            <a:ext cx="1954213" cy="1119188"/>
            <a:chOff x="400050" y="3119438"/>
            <a:chExt cx="1954213" cy="1119188"/>
          </a:xfrm>
        </p:grpSpPr>
        <p:sp>
          <p:nvSpPr>
            <p:cNvPr id="24" name="Rectangle 23"/>
            <p:cNvSpPr>
              <a:spLocks noChangeArrowheads="1"/>
            </p:cNvSpPr>
            <p:nvPr/>
          </p:nvSpPr>
          <p:spPr bwMode="auto">
            <a:xfrm>
              <a:off x="400050" y="3119438"/>
              <a:ext cx="1954213" cy="1119188"/>
            </a:xfrm>
            <a:prstGeom prst="rect">
              <a:avLst/>
            </a:prstGeom>
            <a:solidFill>
              <a:srgbClr val="0D65AC"/>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30" name="TextBox 31"/>
            <p:cNvSpPr txBox="1">
              <a:spLocks noChangeArrowheads="1"/>
            </p:cNvSpPr>
            <p:nvPr/>
          </p:nvSpPr>
          <p:spPr bwMode="auto">
            <a:xfrm>
              <a:off x="514350" y="3252762"/>
              <a:ext cx="1693863" cy="85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Arial" charset="0"/>
                  <a:ea typeface="ＭＳ Ｐゴシック" charset="-128"/>
                </a:defRPr>
              </a:lvl1pPr>
              <a:lvl2pPr marL="742950" indent="-285750" defTabSz="801688" eaLnBrk="0" hangingPunct="0">
                <a:defRPr>
                  <a:solidFill>
                    <a:schemeClr val="tx1"/>
                  </a:solidFill>
                  <a:latin typeface="Arial" charset="0"/>
                  <a:ea typeface="ＭＳ Ｐゴシック" charset="-128"/>
                </a:defRPr>
              </a:lvl2pPr>
              <a:lvl3pPr marL="1143000" indent="-228600" defTabSz="801688" eaLnBrk="0" hangingPunct="0">
                <a:defRPr>
                  <a:solidFill>
                    <a:schemeClr val="tx1"/>
                  </a:solidFill>
                  <a:latin typeface="Arial" charset="0"/>
                  <a:ea typeface="ＭＳ Ｐゴシック" charset="-128"/>
                </a:defRPr>
              </a:lvl3pPr>
              <a:lvl4pPr marL="1600200" indent="-228600" defTabSz="801688" eaLnBrk="0" hangingPunct="0">
                <a:defRPr>
                  <a:solidFill>
                    <a:schemeClr val="tx1"/>
                  </a:solidFill>
                  <a:latin typeface="Arial" charset="0"/>
                  <a:ea typeface="ＭＳ Ｐゴシック" charset="-128"/>
                </a:defRPr>
              </a:lvl4pPr>
              <a:lvl5pPr marL="2057400" indent="-228600" defTabSz="801688" eaLnBrk="0" hangingPunct="0">
                <a:defRPr>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a:solidFill>
                    <a:schemeClr val="tx1"/>
                  </a:solidFill>
                  <a:latin typeface="Arial" charset="0"/>
                  <a:ea typeface="ＭＳ Ｐゴシック" charset="-128"/>
                </a:defRPr>
              </a:lvl9pPr>
            </a:lstStyle>
            <a:p>
              <a:pPr eaLnBrk="1" hangingPunct="1">
                <a:spcBef>
                  <a:spcPct val="20000"/>
                </a:spcBef>
              </a:pPr>
              <a:r>
                <a:rPr lang="en-US" sz="1200" noProof="1">
                  <a:solidFill>
                    <a:schemeClr val="bg1"/>
                  </a:solidFill>
                  <a:latin typeface="Calibri" charset="0"/>
                  <a:cs typeface="Arial" charset="0"/>
                </a:rPr>
                <a:t>Income</a:t>
              </a:r>
            </a:p>
            <a:p>
              <a:pPr marL="171450" indent="-171450" eaLnBrk="1" hangingPunct="1">
                <a:spcBef>
                  <a:spcPct val="20000"/>
                </a:spcBef>
                <a:buFont typeface="Arial" pitchFamily="34" charset="0"/>
                <a:buChar char="•"/>
              </a:pPr>
              <a:r>
                <a:rPr lang="en-US" sz="1100" noProof="1">
                  <a:solidFill>
                    <a:schemeClr val="bg1"/>
                  </a:solidFill>
                  <a:latin typeface="Calibri" charset="0"/>
                  <a:cs typeface="Arial" charset="0"/>
                </a:rPr>
                <a:t>This is an example text. </a:t>
              </a:r>
            </a:p>
            <a:p>
              <a:pPr marL="171450" indent="-171450" eaLnBrk="1" hangingPunct="1">
                <a:spcBef>
                  <a:spcPct val="20000"/>
                </a:spcBef>
                <a:buFont typeface="Arial" pitchFamily="34" charset="0"/>
                <a:buChar char="•"/>
              </a:pPr>
              <a:r>
                <a:rPr lang="en-US" sz="1100" noProof="1">
                  <a:solidFill>
                    <a:schemeClr val="bg1"/>
                  </a:solidFill>
                  <a:latin typeface="Calibri" charset="0"/>
                  <a:cs typeface="Arial" charset="0"/>
                </a:rPr>
                <a:t> Go ahead and replace it with your own text.</a:t>
              </a:r>
              <a:endParaRPr lang="en-US" sz="1600" dirty="0">
                <a:solidFill>
                  <a:schemeClr val="bg1"/>
                </a:solidFill>
                <a:latin typeface="Calibri" charset="0"/>
              </a:endParaRPr>
            </a:p>
          </p:txBody>
        </p:sp>
      </p:grpSp>
      <p:grpSp>
        <p:nvGrpSpPr>
          <p:cNvPr id="34" name="Group 33"/>
          <p:cNvGrpSpPr/>
          <p:nvPr/>
        </p:nvGrpSpPr>
        <p:grpSpPr>
          <a:xfrm>
            <a:off x="400050" y="4683126"/>
            <a:ext cx="1954213" cy="1119187"/>
            <a:chOff x="400050" y="4683126"/>
            <a:chExt cx="1954213" cy="1119187"/>
          </a:xfrm>
        </p:grpSpPr>
        <p:sp>
          <p:nvSpPr>
            <p:cNvPr id="25" name="Rectangle 24"/>
            <p:cNvSpPr>
              <a:spLocks noChangeArrowheads="1"/>
            </p:cNvSpPr>
            <p:nvPr/>
          </p:nvSpPr>
          <p:spPr bwMode="auto">
            <a:xfrm>
              <a:off x="400050" y="4683126"/>
              <a:ext cx="1954213" cy="1119187"/>
            </a:xfrm>
            <a:prstGeom prst="rect">
              <a:avLst/>
            </a:prstGeom>
            <a:solidFill>
              <a:srgbClr val="0D65AC"/>
            </a:solidFill>
            <a:ln w="3175">
              <a:noFill/>
              <a:round/>
              <a:headEnd/>
              <a:tailEnd/>
            </a:ln>
            <a:effectLst>
              <a:innerShdw dist="38100" dir="54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31" name="TextBox 31"/>
            <p:cNvSpPr txBox="1">
              <a:spLocks noChangeArrowheads="1"/>
            </p:cNvSpPr>
            <p:nvPr/>
          </p:nvSpPr>
          <p:spPr bwMode="auto">
            <a:xfrm>
              <a:off x="514350" y="4816449"/>
              <a:ext cx="1693863" cy="85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Arial" charset="0"/>
                  <a:ea typeface="ＭＳ Ｐゴシック" charset="-128"/>
                </a:defRPr>
              </a:lvl1pPr>
              <a:lvl2pPr marL="742950" indent="-285750" defTabSz="801688" eaLnBrk="0" hangingPunct="0">
                <a:defRPr>
                  <a:solidFill>
                    <a:schemeClr val="tx1"/>
                  </a:solidFill>
                  <a:latin typeface="Arial" charset="0"/>
                  <a:ea typeface="ＭＳ Ｐゴシック" charset="-128"/>
                </a:defRPr>
              </a:lvl2pPr>
              <a:lvl3pPr marL="1143000" indent="-228600" defTabSz="801688" eaLnBrk="0" hangingPunct="0">
                <a:defRPr>
                  <a:solidFill>
                    <a:schemeClr val="tx1"/>
                  </a:solidFill>
                  <a:latin typeface="Arial" charset="0"/>
                  <a:ea typeface="ＭＳ Ｐゴシック" charset="-128"/>
                </a:defRPr>
              </a:lvl3pPr>
              <a:lvl4pPr marL="1600200" indent="-228600" defTabSz="801688" eaLnBrk="0" hangingPunct="0">
                <a:defRPr>
                  <a:solidFill>
                    <a:schemeClr val="tx1"/>
                  </a:solidFill>
                  <a:latin typeface="Arial" charset="0"/>
                  <a:ea typeface="ＭＳ Ｐゴシック" charset="-128"/>
                </a:defRPr>
              </a:lvl4pPr>
              <a:lvl5pPr marL="2057400" indent="-228600" defTabSz="801688" eaLnBrk="0" hangingPunct="0">
                <a:defRPr>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a:solidFill>
                    <a:schemeClr val="tx1"/>
                  </a:solidFill>
                  <a:latin typeface="Arial" charset="0"/>
                  <a:ea typeface="ＭＳ Ｐゴシック" charset="-128"/>
                </a:defRPr>
              </a:lvl9pPr>
            </a:lstStyle>
            <a:p>
              <a:pPr eaLnBrk="1" hangingPunct="1">
                <a:spcBef>
                  <a:spcPct val="20000"/>
                </a:spcBef>
              </a:pPr>
              <a:r>
                <a:rPr lang="en-US" sz="1200" noProof="1">
                  <a:solidFill>
                    <a:schemeClr val="bg1"/>
                  </a:solidFill>
                  <a:latin typeface="Calibri" charset="0"/>
                  <a:cs typeface="Arial" charset="0"/>
                </a:rPr>
                <a:t>Income</a:t>
              </a:r>
            </a:p>
            <a:p>
              <a:pPr marL="171450" indent="-171450" eaLnBrk="1" hangingPunct="1">
                <a:spcBef>
                  <a:spcPct val="20000"/>
                </a:spcBef>
                <a:buFont typeface="Arial" pitchFamily="34" charset="0"/>
                <a:buChar char="•"/>
              </a:pPr>
              <a:r>
                <a:rPr lang="en-US" sz="1100" noProof="1">
                  <a:solidFill>
                    <a:schemeClr val="bg1"/>
                  </a:solidFill>
                  <a:latin typeface="Calibri" charset="0"/>
                  <a:cs typeface="Arial" charset="0"/>
                </a:rPr>
                <a:t>This is an example text. </a:t>
              </a:r>
            </a:p>
            <a:p>
              <a:pPr marL="171450" indent="-171450" eaLnBrk="1" hangingPunct="1">
                <a:spcBef>
                  <a:spcPct val="20000"/>
                </a:spcBef>
                <a:buFont typeface="Arial" pitchFamily="34" charset="0"/>
                <a:buChar char="•"/>
              </a:pPr>
              <a:r>
                <a:rPr lang="en-US" sz="1100" noProof="1">
                  <a:solidFill>
                    <a:schemeClr val="bg1"/>
                  </a:solidFill>
                  <a:latin typeface="Calibri" charset="0"/>
                  <a:cs typeface="Arial" charset="0"/>
                </a:rPr>
                <a:t> Go ahead and replace it with your own text.</a:t>
              </a:r>
              <a:endParaRPr lang="en-US" sz="1600" dirty="0">
                <a:solidFill>
                  <a:schemeClr val="bg1"/>
                </a:solidFill>
                <a:latin typeface="Calibri" charset="0"/>
              </a:endParaRPr>
            </a:p>
          </p:txBody>
        </p:sp>
      </p:grpSp>
      <p:sp>
        <p:nvSpPr>
          <p:cNvPr id="32" name="TextBox 29"/>
          <p:cNvSpPr txBox="1">
            <a:spLocks noChangeArrowheads="1"/>
          </p:cNvSpPr>
          <p:nvPr/>
        </p:nvSpPr>
        <p:spPr bwMode="auto">
          <a:xfrm>
            <a:off x="3551238" y="3181584"/>
            <a:ext cx="2044700" cy="966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Arial" charset="0"/>
                <a:ea typeface="ＭＳ Ｐゴシック" charset="-128"/>
              </a:defRPr>
            </a:lvl1pPr>
            <a:lvl2pPr marL="742950" indent="-285750" defTabSz="801688" eaLnBrk="0" hangingPunct="0">
              <a:defRPr>
                <a:solidFill>
                  <a:schemeClr val="tx1"/>
                </a:solidFill>
                <a:latin typeface="Arial" charset="0"/>
                <a:ea typeface="ＭＳ Ｐゴシック" charset="-128"/>
              </a:defRPr>
            </a:lvl2pPr>
            <a:lvl3pPr marL="1143000" indent="-228600" defTabSz="801688" eaLnBrk="0" hangingPunct="0">
              <a:defRPr>
                <a:solidFill>
                  <a:schemeClr val="tx1"/>
                </a:solidFill>
                <a:latin typeface="Arial" charset="0"/>
                <a:ea typeface="ＭＳ Ｐゴシック" charset="-128"/>
              </a:defRPr>
            </a:lvl3pPr>
            <a:lvl4pPr marL="1600200" indent="-228600" defTabSz="801688" eaLnBrk="0" hangingPunct="0">
              <a:defRPr>
                <a:solidFill>
                  <a:schemeClr val="tx1"/>
                </a:solidFill>
                <a:latin typeface="Arial" charset="0"/>
                <a:ea typeface="ＭＳ Ｐゴシック" charset="-128"/>
              </a:defRPr>
            </a:lvl4pPr>
            <a:lvl5pPr marL="2057400" indent="-228600" defTabSz="801688" eaLnBrk="0" hangingPunct="0">
              <a:defRPr>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spcBef>
                <a:spcPct val="20000"/>
              </a:spcBef>
            </a:pPr>
            <a:r>
              <a:rPr lang="en-US" sz="1600" b="1" noProof="1">
                <a:solidFill>
                  <a:schemeClr val="bg1"/>
                </a:solidFill>
                <a:latin typeface="Calibri" charset="0"/>
                <a:cs typeface="Arial" charset="0"/>
              </a:rPr>
              <a:t>Budget</a:t>
            </a:r>
          </a:p>
          <a:p>
            <a:pPr marL="174625" indent="-174625" eaLnBrk="1" hangingPunct="1">
              <a:spcBef>
                <a:spcPct val="20000"/>
              </a:spcBef>
              <a:buFont typeface="Arial" pitchFamily="34" charset="0"/>
              <a:buChar char="•"/>
            </a:pPr>
            <a:r>
              <a:rPr lang="en-US" sz="1200" noProof="1" smtClean="0">
                <a:solidFill>
                  <a:schemeClr val="bg1"/>
                </a:solidFill>
                <a:latin typeface="Calibri" charset="0"/>
                <a:cs typeface="Arial" charset="0"/>
              </a:rPr>
              <a:t>This </a:t>
            </a:r>
            <a:r>
              <a:rPr lang="en-US" sz="1200" noProof="1">
                <a:solidFill>
                  <a:schemeClr val="bg1"/>
                </a:solidFill>
                <a:latin typeface="Calibri" charset="0"/>
                <a:cs typeface="Arial" charset="0"/>
              </a:rPr>
              <a:t>is an example text. </a:t>
            </a:r>
          </a:p>
          <a:p>
            <a:pPr marL="174625" indent="-174625" eaLnBrk="1" hangingPunct="1">
              <a:spcBef>
                <a:spcPct val="20000"/>
              </a:spcBef>
              <a:buFont typeface="Arial" pitchFamily="34" charset="0"/>
              <a:buChar char="•"/>
            </a:pPr>
            <a:r>
              <a:rPr lang="en-US" sz="1200" noProof="1">
                <a:solidFill>
                  <a:schemeClr val="bg1"/>
                </a:solidFill>
                <a:latin typeface="Calibri" charset="0"/>
                <a:cs typeface="Arial" charset="0"/>
              </a:rPr>
              <a:t> Go ahead and replace it with your own text.</a:t>
            </a:r>
            <a:endParaRPr lang="en-US" sz="1200" dirty="0">
              <a:solidFill>
                <a:schemeClr val="bg1"/>
              </a:solidFill>
              <a:latin typeface="Calibri" charset="0"/>
            </a:endParaRPr>
          </a:p>
        </p:txBody>
      </p:sp>
    </p:spTree>
    <p:custDataLst>
      <p:tags r:id="rId1"/>
    </p:custDataLst>
    <p:extLst>
      <p:ext uri="{BB962C8B-B14F-4D97-AF65-F5344CB8AC3E}">
        <p14:creationId xmlns:p14="http://schemas.microsoft.com/office/powerpoint/2010/main" val="144843527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37" name="Group 288"/>
          <p:cNvGrpSpPr>
            <a:grpSpLocks/>
          </p:cNvGrpSpPr>
          <p:nvPr/>
        </p:nvGrpSpPr>
        <p:grpSpPr bwMode="auto">
          <a:xfrm>
            <a:off x="1778000" y="1323975"/>
            <a:ext cx="5588000" cy="4376738"/>
            <a:chOff x="1767389" y="1831927"/>
            <a:chExt cx="5587120" cy="4376703"/>
          </a:xfrm>
        </p:grpSpPr>
        <p:sp>
          <p:nvSpPr>
            <p:cNvPr id="14338" name="TextBox 3"/>
            <p:cNvSpPr txBox="1">
              <a:spLocks noChangeArrowheads="1"/>
            </p:cNvSpPr>
            <p:nvPr/>
          </p:nvSpPr>
          <p:spPr bwMode="auto">
            <a:xfrm>
              <a:off x="1767389" y="4731302"/>
              <a:ext cx="558712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3600" b="1">
                  <a:solidFill>
                    <a:srgbClr val="404040"/>
                  </a:solidFill>
                </a:rPr>
                <a:t>BUSINESS EXCELLENCE MODEL</a:t>
              </a:r>
            </a:p>
            <a:p>
              <a:pPr algn="ctr" eaLnBrk="1" hangingPunct="1"/>
              <a:r>
                <a:rPr lang="en-US" sz="1800" i="1">
                  <a:solidFill>
                    <a:srgbClr val="404040"/>
                  </a:solidFill>
                </a:rPr>
                <a:t>- sub-headline here -</a:t>
              </a:r>
            </a:p>
          </p:txBody>
        </p:sp>
        <p:grpSp>
          <p:nvGrpSpPr>
            <p:cNvPr id="14339" name="Group 290"/>
            <p:cNvGrpSpPr>
              <a:grpSpLocks/>
            </p:cNvGrpSpPr>
            <p:nvPr/>
          </p:nvGrpSpPr>
          <p:grpSpPr bwMode="auto">
            <a:xfrm>
              <a:off x="2046495" y="1831927"/>
              <a:ext cx="5028908" cy="2899375"/>
              <a:chOff x="890588" y="1185863"/>
              <a:chExt cx="7362825" cy="4244975"/>
            </a:xfrm>
          </p:grpSpPr>
          <p:cxnSp>
            <p:nvCxnSpPr>
              <p:cNvPr id="292" name="Straight Connector 291"/>
              <p:cNvCxnSpPr>
                <a:endCxn id="320" idx="3"/>
              </p:cNvCxnSpPr>
              <p:nvPr/>
            </p:nvCxnSpPr>
            <p:spPr>
              <a:xfrm flipV="1">
                <a:off x="4978683" y="2224799"/>
                <a:ext cx="697168" cy="66008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93" name="Straight Connector 292"/>
              <p:cNvCxnSpPr>
                <a:endCxn id="321" idx="1"/>
              </p:cNvCxnSpPr>
              <p:nvPr/>
            </p:nvCxnSpPr>
            <p:spPr>
              <a:xfrm>
                <a:off x="5048399" y="3770418"/>
                <a:ext cx="627451" cy="618248"/>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p:cNvCxnSpPr>
                <a:stCxn id="332" idx="1"/>
                <a:endCxn id="318" idx="5"/>
              </p:cNvCxnSpPr>
              <p:nvPr/>
            </p:nvCxnSpPr>
            <p:spPr>
              <a:xfrm flipH="1" flipV="1">
                <a:off x="3449561" y="2224799"/>
                <a:ext cx="664633" cy="66008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p:cNvCxnSpPr>
                <a:stCxn id="332" idx="3"/>
                <a:endCxn id="319" idx="7"/>
              </p:cNvCxnSpPr>
              <p:nvPr/>
            </p:nvCxnSpPr>
            <p:spPr>
              <a:xfrm flipH="1">
                <a:off x="3449561" y="3744852"/>
                <a:ext cx="664633" cy="64381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97" name="Straight Connector 296"/>
              <p:cNvCxnSpPr>
                <a:stCxn id="317" idx="1"/>
                <a:endCxn id="320" idx="5"/>
              </p:cNvCxnSpPr>
              <p:nvPr/>
            </p:nvCxnSpPr>
            <p:spPr>
              <a:xfrm flipH="1" flipV="1">
                <a:off x="6535691" y="2224799"/>
                <a:ext cx="678577" cy="66008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06" name="Straight Connector 305"/>
              <p:cNvCxnSpPr>
                <a:stCxn id="317" idx="3"/>
                <a:endCxn id="321" idx="7"/>
              </p:cNvCxnSpPr>
              <p:nvPr/>
            </p:nvCxnSpPr>
            <p:spPr>
              <a:xfrm flipH="1">
                <a:off x="6535691" y="3744852"/>
                <a:ext cx="678577" cy="64381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a:stCxn id="320" idx="4"/>
                <a:endCxn id="321" idx="0"/>
              </p:cNvCxnSpPr>
              <p:nvPr/>
            </p:nvCxnSpPr>
            <p:spPr>
              <a:xfrm>
                <a:off x="6105770" y="2401441"/>
                <a:ext cx="0" cy="1810582"/>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p:cNvCxnSpPr>
                <a:stCxn id="316" idx="6"/>
                <a:endCxn id="317" idx="2"/>
              </p:cNvCxnSpPr>
              <p:nvPr/>
            </p:nvCxnSpPr>
            <p:spPr>
              <a:xfrm>
                <a:off x="2108674" y="3312544"/>
                <a:ext cx="4926653" cy="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a:stCxn id="316" idx="7"/>
                <a:endCxn id="318" idx="3"/>
              </p:cNvCxnSpPr>
              <p:nvPr/>
            </p:nvCxnSpPr>
            <p:spPr>
              <a:xfrm flipV="1">
                <a:off x="1929735" y="2224799"/>
                <a:ext cx="659986" cy="66008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a:stCxn id="316" idx="5"/>
                <a:endCxn id="319" idx="1"/>
              </p:cNvCxnSpPr>
              <p:nvPr/>
            </p:nvCxnSpPr>
            <p:spPr>
              <a:xfrm>
                <a:off x="1929735" y="3744852"/>
                <a:ext cx="659986" cy="64381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p:cNvCxnSpPr>
                <a:stCxn id="318" idx="4"/>
                <a:endCxn id="319" idx="0"/>
              </p:cNvCxnSpPr>
              <p:nvPr/>
            </p:nvCxnSpPr>
            <p:spPr>
              <a:xfrm>
                <a:off x="3019640" y="2401441"/>
                <a:ext cx="0" cy="1810582"/>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16" name="Oval 315"/>
              <p:cNvSpPr/>
              <p:nvPr/>
            </p:nvSpPr>
            <p:spPr>
              <a:xfrm>
                <a:off x="890954" y="2705916"/>
                <a:ext cx="1217720" cy="121557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7" name="Oval 316"/>
              <p:cNvSpPr/>
              <p:nvPr/>
            </p:nvSpPr>
            <p:spPr>
              <a:xfrm>
                <a:off x="7035327" y="2705916"/>
                <a:ext cx="1217720" cy="121557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8" name="Oval 317"/>
              <p:cNvSpPr/>
              <p:nvPr/>
            </p:nvSpPr>
            <p:spPr>
              <a:xfrm>
                <a:off x="2410780" y="1185863"/>
                <a:ext cx="1217720" cy="121557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9" name="Oval 318"/>
              <p:cNvSpPr/>
              <p:nvPr/>
            </p:nvSpPr>
            <p:spPr>
              <a:xfrm>
                <a:off x="2410780" y="4212024"/>
                <a:ext cx="1217720" cy="121790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20" name="Oval 319"/>
              <p:cNvSpPr/>
              <p:nvPr/>
            </p:nvSpPr>
            <p:spPr>
              <a:xfrm>
                <a:off x="5496910" y="1185863"/>
                <a:ext cx="1215397" cy="121557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21" name="Oval 320"/>
              <p:cNvSpPr/>
              <p:nvPr/>
            </p:nvSpPr>
            <p:spPr>
              <a:xfrm>
                <a:off x="5496910" y="4212024"/>
                <a:ext cx="1215397" cy="121790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22" name="Oval 321"/>
              <p:cNvSpPr/>
              <p:nvPr/>
            </p:nvSpPr>
            <p:spPr>
              <a:xfrm>
                <a:off x="5496910" y="2705916"/>
                <a:ext cx="1215397" cy="121557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23" name="Oval 322"/>
              <p:cNvSpPr/>
              <p:nvPr/>
            </p:nvSpPr>
            <p:spPr>
              <a:xfrm>
                <a:off x="2410780" y="2705916"/>
                <a:ext cx="1217720" cy="121557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324" name="Group 165"/>
              <p:cNvGrpSpPr>
                <a:grpSpLocks/>
              </p:cNvGrpSpPr>
              <p:nvPr/>
            </p:nvGrpSpPr>
            <p:grpSpPr bwMode="auto">
              <a:xfrm>
                <a:off x="1312863" y="2852738"/>
                <a:ext cx="354012" cy="968375"/>
                <a:chOff x="-39797" y="1590244"/>
                <a:chExt cx="825079" cy="2412051"/>
              </a:xfrm>
              <a:solidFill>
                <a:schemeClr val="bg1">
                  <a:lumMod val="85000"/>
                </a:schemeClr>
              </a:solidFill>
            </p:grpSpPr>
            <p:sp>
              <p:nvSpPr>
                <p:cNvPr id="469" name="Freeform 1578"/>
                <p:cNvSpPr>
                  <a:spLocks/>
                </p:cNvSpPr>
                <p:nvPr/>
              </p:nvSpPr>
              <p:spPr bwMode="auto">
                <a:xfrm>
                  <a:off x="348692" y="3725502"/>
                  <a:ext cx="403291" cy="193754"/>
                </a:xfrm>
                <a:custGeom>
                  <a:avLst/>
                  <a:gdLst>
                    <a:gd name="T0" fmla="*/ 2147483647 w 470"/>
                    <a:gd name="T1" fmla="*/ 0 h 225"/>
                    <a:gd name="T2" fmla="*/ 2147483647 w 470"/>
                    <a:gd name="T3" fmla="*/ 0 h 225"/>
                    <a:gd name="T4" fmla="*/ 0 w 470"/>
                    <a:gd name="T5" fmla="*/ 2147483647 h 225"/>
                    <a:gd name="T6" fmla="*/ 0 w 470"/>
                    <a:gd name="T7" fmla="*/ 2147483647 h 225"/>
                    <a:gd name="T8" fmla="*/ 0 w 470"/>
                    <a:gd name="T9" fmla="*/ 2147483647 h 225"/>
                    <a:gd name="T10" fmla="*/ 0 w 470"/>
                    <a:gd name="T11" fmla="*/ 2147483647 h 225"/>
                    <a:gd name="T12" fmla="*/ 2147483647 w 470"/>
                    <a:gd name="T13" fmla="*/ 2147483647 h 225"/>
                    <a:gd name="T14" fmla="*/ 2147483647 w 470"/>
                    <a:gd name="T15" fmla="*/ 2147483647 h 225"/>
                    <a:gd name="T16" fmla="*/ 2147483647 w 470"/>
                    <a:gd name="T17" fmla="*/ 2147483647 h 225"/>
                    <a:gd name="T18" fmla="*/ 2147483647 w 470"/>
                    <a:gd name="T19" fmla="*/ 2147483647 h 225"/>
                    <a:gd name="T20" fmla="*/ 2147483647 w 470"/>
                    <a:gd name="T21" fmla="*/ 2147483647 h 225"/>
                    <a:gd name="T22" fmla="*/ 2147483647 w 470"/>
                    <a:gd name="T23" fmla="*/ 2147483647 h 225"/>
                    <a:gd name="T24" fmla="*/ 2147483647 w 470"/>
                    <a:gd name="T25" fmla="*/ 2147483647 h 225"/>
                    <a:gd name="T26" fmla="*/ 2147483647 w 470"/>
                    <a:gd name="T27" fmla="*/ 2147483647 h 225"/>
                    <a:gd name="T28" fmla="*/ 2147483647 w 470"/>
                    <a:gd name="T29" fmla="*/ 2147483647 h 225"/>
                    <a:gd name="T30" fmla="*/ 2147483647 w 470"/>
                    <a:gd name="T31" fmla="*/ 2147483647 h 225"/>
                    <a:gd name="T32" fmla="*/ 2147483647 w 470"/>
                    <a:gd name="T33" fmla="*/ 2147483647 h 225"/>
                    <a:gd name="T34" fmla="*/ 2147483647 w 470"/>
                    <a:gd name="T35" fmla="*/ 2147483647 h 225"/>
                    <a:gd name="T36" fmla="*/ 2147483647 w 470"/>
                    <a:gd name="T37" fmla="*/ 2147483647 h 225"/>
                    <a:gd name="T38" fmla="*/ 2147483647 w 470"/>
                    <a:gd name="T39" fmla="*/ 2147483647 h 225"/>
                    <a:gd name="T40" fmla="*/ 2147483647 w 470"/>
                    <a:gd name="T41" fmla="*/ 2147483647 h 225"/>
                    <a:gd name="T42" fmla="*/ 2147483647 w 470"/>
                    <a:gd name="T43" fmla="*/ 2147483647 h 225"/>
                    <a:gd name="T44" fmla="*/ 2147483647 w 470"/>
                    <a:gd name="T45" fmla="*/ 2147483647 h 225"/>
                    <a:gd name="T46" fmla="*/ 2147483647 w 470"/>
                    <a:gd name="T47" fmla="*/ 2147483647 h 225"/>
                    <a:gd name="T48" fmla="*/ 2147483647 w 470"/>
                    <a:gd name="T49" fmla="*/ 2147483647 h 225"/>
                    <a:gd name="T50" fmla="*/ 2147483647 w 470"/>
                    <a:gd name="T51" fmla="*/ 2147483647 h 225"/>
                    <a:gd name="T52" fmla="*/ 2147483647 w 470"/>
                    <a:gd name="T53" fmla="*/ 2147483647 h 225"/>
                    <a:gd name="T54" fmla="*/ 2147483647 w 470"/>
                    <a:gd name="T55" fmla="*/ 2147483647 h 225"/>
                    <a:gd name="T56" fmla="*/ 2147483647 w 470"/>
                    <a:gd name="T57" fmla="*/ 2147483647 h 225"/>
                    <a:gd name="T58" fmla="*/ 2147483647 w 470"/>
                    <a:gd name="T59" fmla="*/ 2147483647 h 225"/>
                    <a:gd name="T60" fmla="*/ 2147483647 w 470"/>
                    <a:gd name="T61" fmla="*/ 2147483647 h 225"/>
                    <a:gd name="T62" fmla="*/ 2147483647 w 470"/>
                    <a:gd name="T63" fmla="*/ 2147483647 h 225"/>
                    <a:gd name="T64" fmla="*/ 2147483647 w 470"/>
                    <a:gd name="T65" fmla="*/ 2147483647 h 225"/>
                    <a:gd name="T66" fmla="*/ 2147483647 w 470"/>
                    <a:gd name="T67" fmla="*/ 2147483647 h 225"/>
                    <a:gd name="T68" fmla="*/ 2147483647 w 470"/>
                    <a:gd name="T69" fmla="*/ 2147483647 h 225"/>
                    <a:gd name="T70" fmla="*/ 2147483647 w 470"/>
                    <a:gd name="T71" fmla="*/ 2147483647 h 225"/>
                    <a:gd name="T72" fmla="*/ 2147483647 w 470"/>
                    <a:gd name="T73" fmla="*/ 2147483647 h 225"/>
                    <a:gd name="T74" fmla="*/ 2147483647 w 470"/>
                    <a:gd name="T75" fmla="*/ 2147483647 h 225"/>
                    <a:gd name="T76" fmla="*/ 2147483647 w 470"/>
                    <a:gd name="T77" fmla="*/ 2147483647 h 225"/>
                    <a:gd name="T78" fmla="*/ 2147483647 w 470"/>
                    <a:gd name="T79" fmla="*/ 2147483647 h 225"/>
                    <a:gd name="T80" fmla="*/ 2147483647 w 470"/>
                    <a:gd name="T81" fmla="*/ 2147483647 h 225"/>
                    <a:gd name="T82" fmla="*/ 2147483647 w 470"/>
                    <a:gd name="T83" fmla="*/ 2147483647 h 225"/>
                    <a:gd name="T84" fmla="*/ 2147483647 w 470"/>
                    <a:gd name="T85" fmla="*/ 2147483647 h 225"/>
                    <a:gd name="T86" fmla="*/ 2147483647 w 470"/>
                    <a:gd name="T87" fmla="*/ 2147483647 h 225"/>
                    <a:gd name="T88" fmla="*/ 2147483647 w 470"/>
                    <a:gd name="T89" fmla="*/ 2147483647 h 225"/>
                    <a:gd name="T90" fmla="*/ 2147483647 w 470"/>
                    <a:gd name="T91" fmla="*/ 0 h 225"/>
                    <a:gd name="T92" fmla="*/ 2147483647 w 470"/>
                    <a:gd name="T93" fmla="*/ 0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0"/>
                    <a:gd name="T142" fmla="*/ 0 h 225"/>
                    <a:gd name="T143" fmla="*/ 470 w 470"/>
                    <a:gd name="T144" fmla="*/ 225 h 22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0" h="225">
                      <a:moveTo>
                        <a:pt x="16" y="0"/>
                      </a:moveTo>
                      <a:lnTo>
                        <a:pt x="16" y="0"/>
                      </a:lnTo>
                      <a:lnTo>
                        <a:pt x="0" y="77"/>
                      </a:lnTo>
                      <a:lnTo>
                        <a:pt x="0" y="115"/>
                      </a:lnTo>
                      <a:lnTo>
                        <a:pt x="0" y="126"/>
                      </a:lnTo>
                      <a:lnTo>
                        <a:pt x="0" y="137"/>
                      </a:lnTo>
                      <a:lnTo>
                        <a:pt x="5" y="186"/>
                      </a:lnTo>
                      <a:lnTo>
                        <a:pt x="5" y="197"/>
                      </a:lnTo>
                      <a:lnTo>
                        <a:pt x="11" y="203"/>
                      </a:lnTo>
                      <a:lnTo>
                        <a:pt x="16" y="208"/>
                      </a:lnTo>
                      <a:lnTo>
                        <a:pt x="22" y="208"/>
                      </a:lnTo>
                      <a:lnTo>
                        <a:pt x="93" y="214"/>
                      </a:lnTo>
                      <a:lnTo>
                        <a:pt x="126" y="208"/>
                      </a:lnTo>
                      <a:lnTo>
                        <a:pt x="142" y="203"/>
                      </a:lnTo>
                      <a:lnTo>
                        <a:pt x="147" y="197"/>
                      </a:lnTo>
                      <a:lnTo>
                        <a:pt x="147" y="186"/>
                      </a:lnTo>
                      <a:lnTo>
                        <a:pt x="202" y="203"/>
                      </a:lnTo>
                      <a:lnTo>
                        <a:pt x="246" y="219"/>
                      </a:lnTo>
                      <a:lnTo>
                        <a:pt x="284" y="225"/>
                      </a:lnTo>
                      <a:lnTo>
                        <a:pt x="361" y="225"/>
                      </a:lnTo>
                      <a:lnTo>
                        <a:pt x="421" y="225"/>
                      </a:lnTo>
                      <a:lnTo>
                        <a:pt x="470" y="214"/>
                      </a:lnTo>
                      <a:lnTo>
                        <a:pt x="470" y="208"/>
                      </a:lnTo>
                      <a:lnTo>
                        <a:pt x="465" y="192"/>
                      </a:lnTo>
                      <a:lnTo>
                        <a:pt x="454" y="181"/>
                      </a:lnTo>
                      <a:lnTo>
                        <a:pt x="437" y="170"/>
                      </a:lnTo>
                      <a:lnTo>
                        <a:pt x="415" y="159"/>
                      </a:lnTo>
                      <a:lnTo>
                        <a:pt x="388" y="153"/>
                      </a:lnTo>
                      <a:lnTo>
                        <a:pt x="312" y="137"/>
                      </a:lnTo>
                      <a:lnTo>
                        <a:pt x="301" y="132"/>
                      </a:lnTo>
                      <a:lnTo>
                        <a:pt x="284" y="121"/>
                      </a:lnTo>
                      <a:lnTo>
                        <a:pt x="246" y="82"/>
                      </a:lnTo>
                      <a:lnTo>
                        <a:pt x="229" y="39"/>
                      </a:lnTo>
                      <a:lnTo>
                        <a:pt x="175" y="39"/>
                      </a:lnTo>
                      <a:lnTo>
                        <a:pt x="120" y="33"/>
                      </a:lnTo>
                      <a:lnTo>
                        <a:pt x="71" y="22"/>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470" name="Freeform 1579"/>
                <p:cNvSpPr>
                  <a:spLocks/>
                </p:cNvSpPr>
                <p:nvPr/>
              </p:nvSpPr>
              <p:spPr bwMode="auto">
                <a:xfrm>
                  <a:off x="180624" y="1829561"/>
                  <a:ext cx="154381" cy="155257"/>
                </a:xfrm>
                <a:custGeom>
                  <a:avLst/>
                  <a:gdLst>
                    <a:gd name="T0" fmla="*/ 2147483647 w 180"/>
                    <a:gd name="T1" fmla="*/ 0 h 181"/>
                    <a:gd name="T2" fmla="*/ 2147483647 w 180"/>
                    <a:gd name="T3" fmla="*/ 0 h 181"/>
                    <a:gd name="T4" fmla="*/ 0 w 180"/>
                    <a:gd name="T5" fmla="*/ 2147483647 h 181"/>
                    <a:gd name="T6" fmla="*/ 0 w 180"/>
                    <a:gd name="T7" fmla="*/ 2147483647 h 181"/>
                    <a:gd name="T8" fmla="*/ 2147483647 w 180"/>
                    <a:gd name="T9" fmla="*/ 2147483647 h 181"/>
                    <a:gd name="T10" fmla="*/ 2147483647 w 180"/>
                    <a:gd name="T11" fmla="*/ 2147483647 h 181"/>
                    <a:gd name="T12" fmla="*/ 2147483647 w 180"/>
                    <a:gd name="T13" fmla="*/ 2147483647 h 181"/>
                    <a:gd name="T14" fmla="*/ 2147483647 w 180"/>
                    <a:gd name="T15" fmla="*/ 2147483647 h 181"/>
                    <a:gd name="T16" fmla="*/ 2147483647 w 180"/>
                    <a:gd name="T17" fmla="*/ 2147483647 h 181"/>
                    <a:gd name="T18" fmla="*/ 2147483647 w 180"/>
                    <a:gd name="T19" fmla="*/ 2147483647 h 181"/>
                    <a:gd name="T20" fmla="*/ 2147483647 w 180"/>
                    <a:gd name="T21" fmla="*/ 2147483647 h 181"/>
                    <a:gd name="T22" fmla="*/ 2147483647 w 180"/>
                    <a:gd name="T23" fmla="*/ 2147483647 h 181"/>
                    <a:gd name="T24" fmla="*/ 2147483647 w 180"/>
                    <a:gd name="T25" fmla="*/ 2147483647 h 181"/>
                    <a:gd name="T26" fmla="*/ 2147483647 w 180"/>
                    <a:gd name="T27" fmla="*/ 2147483647 h 181"/>
                    <a:gd name="T28" fmla="*/ 2147483647 w 180"/>
                    <a:gd name="T29" fmla="*/ 2147483647 h 181"/>
                    <a:gd name="T30" fmla="*/ 2147483647 w 180"/>
                    <a:gd name="T31" fmla="*/ 0 h 181"/>
                    <a:gd name="T32" fmla="*/ 2147483647 w 180"/>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0"/>
                    <a:gd name="T52" fmla="*/ 0 h 181"/>
                    <a:gd name="T53" fmla="*/ 180 w 180"/>
                    <a:gd name="T54" fmla="*/ 181 h 1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0" h="181">
                      <a:moveTo>
                        <a:pt x="22" y="0"/>
                      </a:moveTo>
                      <a:lnTo>
                        <a:pt x="22" y="0"/>
                      </a:lnTo>
                      <a:lnTo>
                        <a:pt x="0" y="49"/>
                      </a:lnTo>
                      <a:lnTo>
                        <a:pt x="44" y="109"/>
                      </a:lnTo>
                      <a:lnTo>
                        <a:pt x="82" y="153"/>
                      </a:lnTo>
                      <a:lnTo>
                        <a:pt x="109" y="181"/>
                      </a:lnTo>
                      <a:lnTo>
                        <a:pt x="120" y="181"/>
                      </a:lnTo>
                      <a:lnTo>
                        <a:pt x="137" y="175"/>
                      </a:lnTo>
                      <a:lnTo>
                        <a:pt x="158" y="153"/>
                      </a:lnTo>
                      <a:lnTo>
                        <a:pt x="180" y="115"/>
                      </a:lnTo>
                      <a:lnTo>
                        <a:pt x="76" y="27"/>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471" name="Freeform 1580"/>
                <p:cNvSpPr>
                  <a:spLocks noEditPoints="1"/>
                </p:cNvSpPr>
                <p:nvPr/>
              </p:nvSpPr>
              <p:spPr bwMode="auto">
                <a:xfrm>
                  <a:off x="-39797" y="1590244"/>
                  <a:ext cx="825079" cy="2412051"/>
                </a:xfrm>
                <a:custGeom>
                  <a:avLst/>
                  <a:gdLst>
                    <a:gd name="T0" fmla="*/ 2147483647 w 962"/>
                    <a:gd name="T1" fmla="*/ 2147483647 h 2812"/>
                    <a:gd name="T2" fmla="*/ 2147483647 w 962"/>
                    <a:gd name="T3" fmla="*/ 2147483647 h 2812"/>
                    <a:gd name="T4" fmla="*/ 2147483647 w 962"/>
                    <a:gd name="T5" fmla="*/ 2147483647 h 2812"/>
                    <a:gd name="T6" fmla="*/ 2147483647 w 962"/>
                    <a:gd name="T7" fmla="*/ 2147483647 h 2812"/>
                    <a:gd name="T8" fmla="*/ 2147483647 w 962"/>
                    <a:gd name="T9" fmla="*/ 2147483647 h 2812"/>
                    <a:gd name="T10" fmla="*/ 2147483647 w 962"/>
                    <a:gd name="T11" fmla="*/ 2147483647 h 2812"/>
                    <a:gd name="T12" fmla="*/ 2147483647 w 962"/>
                    <a:gd name="T13" fmla="*/ 2147483647 h 2812"/>
                    <a:gd name="T14" fmla="*/ 2147483647 w 962"/>
                    <a:gd name="T15" fmla="*/ 2147483647 h 2812"/>
                    <a:gd name="T16" fmla="*/ 2147483647 w 962"/>
                    <a:gd name="T17" fmla="*/ 2147483647 h 2812"/>
                    <a:gd name="T18" fmla="*/ 2147483647 w 962"/>
                    <a:gd name="T19" fmla="*/ 2147483647 h 2812"/>
                    <a:gd name="T20" fmla="*/ 2147483647 w 962"/>
                    <a:gd name="T21" fmla="*/ 2147483647 h 2812"/>
                    <a:gd name="T22" fmla="*/ 2147483647 w 962"/>
                    <a:gd name="T23" fmla="*/ 2147483647 h 2812"/>
                    <a:gd name="T24" fmla="*/ 2147483647 w 962"/>
                    <a:gd name="T25" fmla="*/ 2147483647 h 2812"/>
                    <a:gd name="T26" fmla="*/ 2147483647 w 962"/>
                    <a:gd name="T27" fmla="*/ 2147483647 h 2812"/>
                    <a:gd name="T28" fmla="*/ 2147483647 w 962"/>
                    <a:gd name="T29" fmla="*/ 2147483647 h 2812"/>
                    <a:gd name="T30" fmla="*/ 2147483647 w 962"/>
                    <a:gd name="T31" fmla="*/ 2147483647 h 2812"/>
                    <a:gd name="T32" fmla="*/ 2147483647 w 962"/>
                    <a:gd name="T33" fmla="*/ 2147483647 h 2812"/>
                    <a:gd name="T34" fmla="*/ 2147483647 w 962"/>
                    <a:gd name="T35" fmla="*/ 2147483647 h 2812"/>
                    <a:gd name="T36" fmla="*/ 2147483647 w 962"/>
                    <a:gd name="T37" fmla="*/ 2147483647 h 2812"/>
                    <a:gd name="T38" fmla="*/ 2147483647 w 962"/>
                    <a:gd name="T39" fmla="*/ 2147483647 h 2812"/>
                    <a:gd name="T40" fmla="*/ 2147483647 w 962"/>
                    <a:gd name="T41" fmla="*/ 2147483647 h 2812"/>
                    <a:gd name="T42" fmla="*/ 2147483647 w 962"/>
                    <a:gd name="T43" fmla="*/ 2147483647 h 2812"/>
                    <a:gd name="T44" fmla="*/ 2147483647 w 962"/>
                    <a:gd name="T45" fmla="*/ 2147483647 h 2812"/>
                    <a:gd name="T46" fmla="*/ 2147483647 w 962"/>
                    <a:gd name="T47" fmla="*/ 2147483647 h 2812"/>
                    <a:gd name="T48" fmla="*/ 2147483647 w 962"/>
                    <a:gd name="T49" fmla="*/ 2147483647 h 2812"/>
                    <a:gd name="T50" fmla="*/ 2147483647 w 962"/>
                    <a:gd name="T51" fmla="*/ 2147483647 h 2812"/>
                    <a:gd name="T52" fmla="*/ 2147483647 w 962"/>
                    <a:gd name="T53" fmla="*/ 2147483647 h 2812"/>
                    <a:gd name="T54" fmla="*/ 2147483647 w 962"/>
                    <a:gd name="T55" fmla="*/ 2147483647 h 2812"/>
                    <a:gd name="T56" fmla="*/ 2147483647 w 962"/>
                    <a:gd name="T57" fmla="*/ 2147483647 h 2812"/>
                    <a:gd name="T58" fmla="*/ 2147483647 w 962"/>
                    <a:gd name="T59" fmla="*/ 2147483647 h 2812"/>
                    <a:gd name="T60" fmla="*/ 2147483647 w 962"/>
                    <a:gd name="T61" fmla="*/ 2147483647 h 2812"/>
                    <a:gd name="T62" fmla="*/ 2147483647 w 962"/>
                    <a:gd name="T63" fmla="*/ 2147483647 h 2812"/>
                    <a:gd name="T64" fmla="*/ 2147483647 w 962"/>
                    <a:gd name="T65" fmla="*/ 2147483647 h 2812"/>
                    <a:gd name="T66" fmla="*/ 2147483647 w 962"/>
                    <a:gd name="T67" fmla="*/ 2147483647 h 2812"/>
                    <a:gd name="T68" fmla="*/ 2147483647 w 962"/>
                    <a:gd name="T69" fmla="*/ 2147483647 h 2812"/>
                    <a:gd name="T70" fmla="*/ 2147483647 w 962"/>
                    <a:gd name="T71" fmla="*/ 2147483647 h 2812"/>
                    <a:gd name="T72" fmla="*/ 2147483647 w 962"/>
                    <a:gd name="T73" fmla="*/ 2147483647 h 2812"/>
                    <a:gd name="T74" fmla="*/ 2147483647 w 962"/>
                    <a:gd name="T75" fmla="*/ 2147483647 h 2812"/>
                    <a:gd name="T76" fmla="*/ 2147483647 w 962"/>
                    <a:gd name="T77" fmla="*/ 2147483647 h 2812"/>
                    <a:gd name="T78" fmla="*/ 2147483647 w 962"/>
                    <a:gd name="T79" fmla="*/ 2147483647 h 2812"/>
                    <a:gd name="T80" fmla="*/ 2147483647 w 962"/>
                    <a:gd name="T81" fmla="*/ 2147483647 h 2812"/>
                    <a:gd name="T82" fmla="*/ 2147483647 w 962"/>
                    <a:gd name="T83" fmla="*/ 2147483647 h 2812"/>
                    <a:gd name="T84" fmla="*/ 2147483647 w 962"/>
                    <a:gd name="T85" fmla="*/ 2147483647 h 2812"/>
                    <a:gd name="T86" fmla="*/ 2147483647 w 962"/>
                    <a:gd name="T87" fmla="*/ 2147483647 h 2812"/>
                    <a:gd name="T88" fmla="*/ 2147483647 w 962"/>
                    <a:gd name="T89" fmla="*/ 2147483647 h 2812"/>
                    <a:gd name="T90" fmla="*/ 2147483647 w 962"/>
                    <a:gd name="T91" fmla="*/ 2147483647 h 2812"/>
                    <a:gd name="T92" fmla="*/ 2147483647 w 962"/>
                    <a:gd name="T93" fmla="*/ 2147483647 h 2812"/>
                    <a:gd name="T94" fmla="*/ 2147483647 w 962"/>
                    <a:gd name="T95" fmla="*/ 2147483647 h 2812"/>
                    <a:gd name="T96" fmla="*/ 2147483647 w 962"/>
                    <a:gd name="T97" fmla="*/ 2147483647 h 2812"/>
                    <a:gd name="T98" fmla="*/ 2147483647 w 962"/>
                    <a:gd name="T99" fmla="*/ 2147483647 h 2812"/>
                    <a:gd name="T100" fmla="*/ 2147483647 w 962"/>
                    <a:gd name="T101" fmla="*/ 2147483647 h 2812"/>
                    <a:gd name="T102" fmla="*/ 2147483647 w 962"/>
                    <a:gd name="T103" fmla="*/ 2147483647 h 2812"/>
                    <a:gd name="T104" fmla="*/ 2147483647 w 962"/>
                    <a:gd name="T105" fmla="*/ 2147483647 h 2812"/>
                    <a:gd name="T106" fmla="*/ 2147483647 w 962"/>
                    <a:gd name="T107" fmla="*/ 2147483647 h 2812"/>
                    <a:gd name="T108" fmla="*/ 2147483647 w 962"/>
                    <a:gd name="T109" fmla="*/ 2147483647 h 2812"/>
                    <a:gd name="T110" fmla="*/ 2147483647 w 962"/>
                    <a:gd name="T111" fmla="*/ 2147483647 h 2812"/>
                    <a:gd name="T112" fmla="*/ 2147483647 w 962"/>
                    <a:gd name="T113" fmla="*/ 2147483647 h 2812"/>
                    <a:gd name="T114" fmla="*/ 2147483647 w 962"/>
                    <a:gd name="T115" fmla="*/ 2147483647 h 2812"/>
                    <a:gd name="T116" fmla="*/ 2147483647 w 962"/>
                    <a:gd name="T117" fmla="*/ 2147483647 h 2812"/>
                    <a:gd name="T118" fmla="*/ 2147483647 w 962"/>
                    <a:gd name="T119" fmla="*/ 2147483647 h 2812"/>
                    <a:gd name="T120" fmla="*/ 2147483647 w 962"/>
                    <a:gd name="T121" fmla="*/ 2147483647 h 2812"/>
                    <a:gd name="T122" fmla="*/ 2147483647 w 962"/>
                    <a:gd name="T123" fmla="*/ 2147483647 h 28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62"/>
                    <a:gd name="T187" fmla="*/ 0 h 2812"/>
                    <a:gd name="T188" fmla="*/ 962 w 962"/>
                    <a:gd name="T189" fmla="*/ 2812 h 28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62" h="2812">
                      <a:moveTo>
                        <a:pt x="880" y="377"/>
                      </a:moveTo>
                      <a:lnTo>
                        <a:pt x="880" y="377"/>
                      </a:lnTo>
                      <a:lnTo>
                        <a:pt x="864" y="372"/>
                      </a:lnTo>
                      <a:lnTo>
                        <a:pt x="842" y="356"/>
                      </a:lnTo>
                      <a:lnTo>
                        <a:pt x="809" y="323"/>
                      </a:lnTo>
                      <a:lnTo>
                        <a:pt x="804" y="312"/>
                      </a:lnTo>
                      <a:lnTo>
                        <a:pt x="798" y="301"/>
                      </a:lnTo>
                      <a:lnTo>
                        <a:pt x="776" y="290"/>
                      </a:lnTo>
                      <a:lnTo>
                        <a:pt x="776" y="279"/>
                      </a:lnTo>
                      <a:lnTo>
                        <a:pt x="766" y="241"/>
                      </a:lnTo>
                      <a:lnTo>
                        <a:pt x="755" y="208"/>
                      </a:lnTo>
                      <a:lnTo>
                        <a:pt x="744" y="191"/>
                      </a:lnTo>
                      <a:lnTo>
                        <a:pt x="727" y="186"/>
                      </a:lnTo>
                      <a:lnTo>
                        <a:pt x="716" y="186"/>
                      </a:lnTo>
                      <a:lnTo>
                        <a:pt x="711" y="186"/>
                      </a:lnTo>
                      <a:lnTo>
                        <a:pt x="700" y="186"/>
                      </a:lnTo>
                      <a:lnTo>
                        <a:pt x="683" y="181"/>
                      </a:lnTo>
                      <a:lnTo>
                        <a:pt x="673" y="181"/>
                      </a:lnTo>
                      <a:lnTo>
                        <a:pt x="667" y="186"/>
                      </a:lnTo>
                      <a:lnTo>
                        <a:pt x="667" y="191"/>
                      </a:lnTo>
                      <a:lnTo>
                        <a:pt x="645" y="186"/>
                      </a:lnTo>
                      <a:lnTo>
                        <a:pt x="634" y="186"/>
                      </a:lnTo>
                      <a:lnTo>
                        <a:pt x="629" y="191"/>
                      </a:lnTo>
                      <a:lnTo>
                        <a:pt x="623" y="197"/>
                      </a:lnTo>
                      <a:lnTo>
                        <a:pt x="612" y="191"/>
                      </a:lnTo>
                      <a:lnTo>
                        <a:pt x="596" y="191"/>
                      </a:lnTo>
                      <a:lnTo>
                        <a:pt x="585" y="197"/>
                      </a:lnTo>
                      <a:lnTo>
                        <a:pt x="574" y="213"/>
                      </a:lnTo>
                      <a:lnTo>
                        <a:pt x="563" y="252"/>
                      </a:lnTo>
                      <a:lnTo>
                        <a:pt x="563" y="257"/>
                      </a:lnTo>
                      <a:lnTo>
                        <a:pt x="574" y="268"/>
                      </a:lnTo>
                      <a:lnTo>
                        <a:pt x="590" y="290"/>
                      </a:lnTo>
                      <a:lnTo>
                        <a:pt x="618" y="312"/>
                      </a:lnTo>
                      <a:lnTo>
                        <a:pt x="623" y="323"/>
                      </a:lnTo>
                      <a:lnTo>
                        <a:pt x="640" y="334"/>
                      </a:lnTo>
                      <a:lnTo>
                        <a:pt x="667" y="345"/>
                      </a:lnTo>
                      <a:lnTo>
                        <a:pt x="705" y="356"/>
                      </a:lnTo>
                      <a:lnTo>
                        <a:pt x="711" y="372"/>
                      </a:lnTo>
                      <a:lnTo>
                        <a:pt x="716" y="377"/>
                      </a:lnTo>
                      <a:lnTo>
                        <a:pt x="716" y="388"/>
                      </a:lnTo>
                      <a:lnTo>
                        <a:pt x="722" y="421"/>
                      </a:lnTo>
                      <a:lnTo>
                        <a:pt x="744" y="465"/>
                      </a:lnTo>
                      <a:lnTo>
                        <a:pt x="771" y="520"/>
                      </a:lnTo>
                      <a:lnTo>
                        <a:pt x="771" y="547"/>
                      </a:lnTo>
                      <a:lnTo>
                        <a:pt x="755" y="536"/>
                      </a:lnTo>
                      <a:lnTo>
                        <a:pt x="722" y="520"/>
                      </a:lnTo>
                      <a:lnTo>
                        <a:pt x="667" y="503"/>
                      </a:lnTo>
                      <a:lnTo>
                        <a:pt x="645" y="481"/>
                      </a:lnTo>
                      <a:lnTo>
                        <a:pt x="607" y="449"/>
                      </a:lnTo>
                      <a:lnTo>
                        <a:pt x="596" y="438"/>
                      </a:lnTo>
                      <a:lnTo>
                        <a:pt x="585" y="432"/>
                      </a:lnTo>
                      <a:lnTo>
                        <a:pt x="574" y="427"/>
                      </a:lnTo>
                      <a:lnTo>
                        <a:pt x="558" y="421"/>
                      </a:lnTo>
                      <a:lnTo>
                        <a:pt x="519" y="421"/>
                      </a:lnTo>
                      <a:lnTo>
                        <a:pt x="497" y="416"/>
                      </a:lnTo>
                      <a:lnTo>
                        <a:pt x="481" y="410"/>
                      </a:lnTo>
                      <a:lnTo>
                        <a:pt x="465" y="405"/>
                      </a:lnTo>
                      <a:lnTo>
                        <a:pt x="459" y="399"/>
                      </a:lnTo>
                      <a:lnTo>
                        <a:pt x="454" y="394"/>
                      </a:lnTo>
                      <a:lnTo>
                        <a:pt x="465" y="399"/>
                      </a:lnTo>
                      <a:lnTo>
                        <a:pt x="487" y="399"/>
                      </a:lnTo>
                      <a:lnTo>
                        <a:pt x="497" y="394"/>
                      </a:lnTo>
                      <a:lnTo>
                        <a:pt x="503" y="383"/>
                      </a:lnTo>
                      <a:lnTo>
                        <a:pt x="508" y="372"/>
                      </a:lnTo>
                      <a:lnTo>
                        <a:pt x="508" y="361"/>
                      </a:lnTo>
                      <a:lnTo>
                        <a:pt x="514" y="356"/>
                      </a:lnTo>
                      <a:lnTo>
                        <a:pt x="519" y="356"/>
                      </a:lnTo>
                      <a:lnTo>
                        <a:pt x="519" y="350"/>
                      </a:lnTo>
                      <a:lnTo>
                        <a:pt x="525" y="345"/>
                      </a:lnTo>
                      <a:lnTo>
                        <a:pt x="519" y="345"/>
                      </a:lnTo>
                      <a:lnTo>
                        <a:pt x="519" y="339"/>
                      </a:lnTo>
                      <a:lnTo>
                        <a:pt x="525" y="339"/>
                      </a:lnTo>
                      <a:lnTo>
                        <a:pt x="530" y="334"/>
                      </a:lnTo>
                      <a:lnTo>
                        <a:pt x="530" y="328"/>
                      </a:lnTo>
                      <a:lnTo>
                        <a:pt x="530" y="317"/>
                      </a:lnTo>
                      <a:lnTo>
                        <a:pt x="530" y="312"/>
                      </a:lnTo>
                      <a:lnTo>
                        <a:pt x="552" y="312"/>
                      </a:lnTo>
                      <a:lnTo>
                        <a:pt x="563" y="312"/>
                      </a:lnTo>
                      <a:lnTo>
                        <a:pt x="563" y="284"/>
                      </a:lnTo>
                      <a:lnTo>
                        <a:pt x="563" y="257"/>
                      </a:lnTo>
                      <a:lnTo>
                        <a:pt x="563" y="252"/>
                      </a:lnTo>
                      <a:lnTo>
                        <a:pt x="563" y="235"/>
                      </a:lnTo>
                      <a:lnTo>
                        <a:pt x="563" y="224"/>
                      </a:lnTo>
                      <a:lnTo>
                        <a:pt x="574" y="213"/>
                      </a:lnTo>
                      <a:lnTo>
                        <a:pt x="574" y="208"/>
                      </a:lnTo>
                      <a:lnTo>
                        <a:pt x="580" y="186"/>
                      </a:lnTo>
                      <a:lnTo>
                        <a:pt x="585" y="164"/>
                      </a:lnTo>
                      <a:lnTo>
                        <a:pt x="580" y="137"/>
                      </a:lnTo>
                      <a:lnTo>
                        <a:pt x="585" y="131"/>
                      </a:lnTo>
                      <a:lnTo>
                        <a:pt x="590" y="126"/>
                      </a:lnTo>
                      <a:lnTo>
                        <a:pt x="601" y="115"/>
                      </a:lnTo>
                      <a:lnTo>
                        <a:pt x="601" y="104"/>
                      </a:lnTo>
                      <a:lnTo>
                        <a:pt x="580" y="77"/>
                      </a:lnTo>
                      <a:lnTo>
                        <a:pt x="580" y="66"/>
                      </a:lnTo>
                      <a:lnTo>
                        <a:pt x="569" y="55"/>
                      </a:lnTo>
                      <a:lnTo>
                        <a:pt x="552" y="44"/>
                      </a:lnTo>
                      <a:lnTo>
                        <a:pt x="530" y="27"/>
                      </a:lnTo>
                      <a:lnTo>
                        <a:pt x="497" y="16"/>
                      </a:lnTo>
                      <a:lnTo>
                        <a:pt x="454" y="5"/>
                      </a:lnTo>
                      <a:lnTo>
                        <a:pt x="394" y="0"/>
                      </a:lnTo>
                      <a:lnTo>
                        <a:pt x="377" y="5"/>
                      </a:lnTo>
                      <a:lnTo>
                        <a:pt x="355" y="11"/>
                      </a:lnTo>
                      <a:lnTo>
                        <a:pt x="333" y="27"/>
                      </a:lnTo>
                      <a:lnTo>
                        <a:pt x="311" y="49"/>
                      </a:lnTo>
                      <a:lnTo>
                        <a:pt x="295" y="82"/>
                      </a:lnTo>
                      <a:lnTo>
                        <a:pt x="290" y="126"/>
                      </a:lnTo>
                      <a:lnTo>
                        <a:pt x="290" y="186"/>
                      </a:lnTo>
                      <a:lnTo>
                        <a:pt x="295" y="191"/>
                      </a:lnTo>
                      <a:lnTo>
                        <a:pt x="301" y="219"/>
                      </a:lnTo>
                      <a:lnTo>
                        <a:pt x="295" y="252"/>
                      </a:lnTo>
                      <a:lnTo>
                        <a:pt x="290" y="268"/>
                      </a:lnTo>
                      <a:lnTo>
                        <a:pt x="284" y="284"/>
                      </a:lnTo>
                      <a:lnTo>
                        <a:pt x="426" y="394"/>
                      </a:lnTo>
                      <a:lnTo>
                        <a:pt x="394" y="427"/>
                      </a:lnTo>
                      <a:lnTo>
                        <a:pt x="366" y="454"/>
                      </a:lnTo>
                      <a:lnTo>
                        <a:pt x="311" y="394"/>
                      </a:lnTo>
                      <a:lnTo>
                        <a:pt x="262" y="339"/>
                      </a:lnTo>
                      <a:lnTo>
                        <a:pt x="257" y="328"/>
                      </a:lnTo>
                      <a:lnTo>
                        <a:pt x="218" y="388"/>
                      </a:lnTo>
                      <a:lnTo>
                        <a:pt x="175" y="421"/>
                      </a:lnTo>
                      <a:lnTo>
                        <a:pt x="136" y="443"/>
                      </a:lnTo>
                      <a:lnTo>
                        <a:pt x="114" y="454"/>
                      </a:lnTo>
                      <a:lnTo>
                        <a:pt x="93" y="454"/>
                      </a:lnTo>
                      <a:lnTo>
                        <a:pt x="82" y="460"/>
                      </a:lnTo>
                      <a:lnTo>
                        <a:pt x="60" y="476"/>
                      </a:lnTo>
                      <a:lnTo>
                        <a:pt x="49" y="492"/>
                      </a:lnTo>
                      <a:lnTo>
                        <a:pt x="43" y="514"/>
                      </a:lnTo>
                      <a:lnTo>
                        <a:pt x="38" y="542"/>
                      </a:lnTo>
                      <a:lnTo>
                        <a:pt x="38" y="580"/>
                      </a:lnTo>
                      <a:lnTo>
                        <a:pt x="38" y="624"/>
                      </a:lnTo>
                      <a:lnTo>
                        <a:pt x="27" y="673"/>
                      </a:lnTo>
                      <a:lnTo>
                        <a:pt x="11" y="733"/>
                      </a:lnTo>
                      <a:lnTo>
                        <a:pt x="11" y="739"/>
                      </a:lnTo>
                      <a:lnTo>
                        <a:pt x="5" y="782"/>
                      </a:lnTo>
                      <a:lnTo>
                        <a:pt x="0" y="903"/>
                      </a:lnTo>
                      <a:lnTo>
                        <a:pt x="0" y="963"/>
                      </a:lnTo>
                      <a:lnTo>
                        <a:pt x="5" y="1018"/>
                      </a:lnTo>
                      <a:lnTo>
                        <a:pt x="16" y="1050"/>
                      </a:lnTo>
                      <a:lnTo>
                        <a:pt x="27" y="1083"/>
                      </a:lnTo>
                      <a:lnTo>
                        <a:pt x="60" y="1143"/>
                      </a:lnTo>
                      <a:lnTo>
                        <a:pt x="93" y="1204"/>
                      </a:lnTo>
                      <a:lnTo>
                        <a:pt x="120" y="1264"/>
                      </a:lnTo>
                      <a:lnTo>
                        <a:pt x="125" y="1264"/>
                      </a:lnTo>
                      <a:lnTo>
                        <a:pt x="136" y="1297"/>
                      </a:lnTo>
                      <a:lnTo>
                        <a:pt x="142" y="1318"/>
                      </a:lnTo>
                      <a:lnTo>
                        <a:pt x="153" y="1346"/>
                      </a:lnTo>
                      <a:lnTo>
                        <a:pt x="175" y="1384"/>
                      </a:lnTo>
                      <a:lnTo>
                        <a:pt x="180" y="1444"/>
                      </a:lnTo>
                      <a:lnTo>
                        <a:pt x="180" y="1483"/>
                      </a:lnTo>
                      <a:lnTo>
                        <a:pt x="180" y="1504"/>
                      </a:lnTo>
                      <a:lnTo>
                        <a:pt x="207" y="1504"/>
                      </a:lnTo>
                      <a:lnTo>
                        <a:pt x="229" y="1504"/>
                      </a:lnTo>
                      <a:lnTo>
                        <a:pt x="240" y="1504"/>
                      </a:lnTo>
                      <a:lnTo>
                        <a:pt x="235" y="1515"/>
                      </a:lnTo>
                      <a:lnTo>
                        <a:pt x="224" y="1548"/>
                      </a:lnTo>
                      <a:lnTo>
                        <a:pt x="213" y="1592"/>
                      </a:lnTo>
                      <a:lnTo>
                        <a:pt x="213" y="1614"/>
                      </a:lnTo>
                      <a:lnTo>
                        <a:pt x="218" y="1641"/>
                      </a:lnTo>
                      <a:lnTo>
                        <a:pt x="224" y="1696"/>
                      </a:lnTo>
                      <a:lnTo>
                        <a:pt x="229" y="1773"/>
                      </a:lnTo>
                      <a:lnTo>
                        <a:pt x="229" y="1882"/>
                      </a:lnTo>
                      <a:lnTo>
                        <a:pt x="224" y="1937"/>
                      </a:lnTo>
                      <a:lnTo>
                        <a:pt x="213" y="1986"/>
                      </a:lnTo>
                      <a:lnTo>
                        <a:pt x="197" y="2062"/>
                      </a:lnTo>
                      <a:lnTo>
                        <a:pt x="191" y="2101"/>
                      </a:lnTo>
                      <a:lnTo>
                        <a:pt x="186" y="2145"/>
                      </a:lnTo>
                      <a:lnTo>
                        <a:pt x="186" y="2205"/>
                      </a:lnTo>
                      <a:lnTo>
                        <a:pt x="186" y="2276"/>
                      </a:lnTo>
                      <a:lnTo>
                        <a:pt x="197" y="2407"/>
                      </a:lnTo>
                      <a:lnTo>
                        <a:pt x="207" y="2495"/>
                      </a:lnTo>
                      <a:lnTo>
                        <a:pt x="213" y="2555"/>
                      </a:lnTo>
                      <a:lnTo>
                        <a:pt x="213" y="2599"/>
                      </a:lnTo>
                      <a:lnTo>
                        <a:pt x="207" y="2631"/>
                      </a:lnTo>
                      <a:lnTo>
                        <a:pt x="207" y="2653"/>
                      </a:lnTo>
                      <a:lnTo>
                        <a:pt x="207" y="2670"/>
                      </a:lnTo>
                      <a:lnTo>
                        <a:pt x="207" y="2730"/>
                      </a:lnTo>
                      <a:lnTo>
                        <a:pt x="268" y="2752"/>
                      </a:lnTo>
                      <a:lnTo>
                        <a:pt x="301" y="2752"/>
                      </a:lnTo>
                      <a:lnTo>
                        <a:pt x="306" y="2763"/>
                      </a:lnTo>
                      <a:lnTo>
                        <a:pt x="328" y="2779"/>
                      </a:lnTo>
                      <a:lnTo>
                        <a:pt x="350" y="2790"/>
                      </a:lnTo>
                      <a:lnTo>
                        <a:pt x="372" y="2801"/>
                      </a:lnTo>
                      <a:lnTo>
                        <a:pt x="399" y="2807"/>
                      </a:lnTo>
                      <a:lnTo>
                        <a:pt x="437" y="2812"/>
                      </a:lnTo>
                      <a:lnTo>
                        <a:pt x="508" y="2807"/>
                      </a:lnTo>
                      <a:lnTo>
                        <a:pt x="541" y="2801"/>
                      </a:lnTo>
                      <a:lnTo>
                        <a:pt x="552" y="2801"/>
                      </a:lnTo>
                      <a:lnTo>
                        <a:pt x="552" y="2796"/>
                      </a:lnTo>
                      <a:lnTo>
                        <a:pt x="552" y="2785"/>
                      </a:lnTo>
                      <a:lnTo>
                        <a:pt x="547" y="2768"/>
                      </a:lnTo>
                      <a:lnTo>
                        <a:pt x="536" y="2752"/>
                      </a:lnTo>
                      <a:lnTo>
                        <a:pt x="470" y="2692"/>
                      </a:lnTo>
                      <a:lnTo>
                        <a:pt x="432" y="2648"/>
                      </a:lnTo>
                      <a:lnTo>
                        <a:pt x="415" y="2631"/>
                      </a:lnTo>
                      <a:lnTo>
                        <a:pt x="404" y="2615"/>
                      </a:lnTo>
                      <a:lnTo>
                        <a:pt x="404" y="2599"/>
                      </a:lnTo>
                      <a:lnTo>
                        <a:pt x="399" y="2588"/>
                      </a:lnTo>
                      <a:lnTo>
                        <a:pt x="394" y="2566"/>
                      </a:lnTo>
                      <a:lnTo>
                        <a:pt x="388" y="2555"/>
                      </a:lnTo>
                      <a:lnTo>
                        <a:pt x="388" y="2528"/>
                      </a:lnTo>
                      <a:lnTo>
                        <a:pt x="394" y="2467"/>
                      </a:lnTo>
                      <a:lnTo>
                        <a:pt x="399" y="2424"/>
                      </a:lnTo>
                      <a:lnTo>
                        <a:pt x="394" y="2402"/>
                      </a:lnTo>
                      <a:lnTo>
                        <a:pt x="383" y="2374"/>
                      </a:lnTo>
                      <a:lnTo>
                        <a:pt x="394" y="2238"/>
                      </a:lnTo>
                      <a:lnTo>
                        <a:pt x="399" y="2145"/>
                      </a:lnTo>
                      <a:lnTo>
                        <a:pt x="404" y="2095"/>
                      </a:lnTo>
                      <a:lnTo>
                        <a:pt x="415" y="2062"/>
                      </a:lnTo>
                      <a:lnTo>
                        <a:pt x="421" y="2013"/>
                      </a:lnTo>
                      <a:lnTo>
                        <a:pt x="432" y="1948"/>
                      </a:lnTo>
                      <a:lnTo>
                        <a:pt x="437" y="1931"/>
                      </a:lnTo>
                      <a:lnTo>
                        <a:pt x="454" y="1893"/>
                      </a:lnTo>
                      <a:lnTo>
                        <a:pt x="476" y="1827"/>
                      </a:lnTo>
                      <a:lnTo>
                        <a:pt x="492" y="1729"/>
                      </a:lnTo>
                      <a:lnTo>
                        <a:pt x="497" y="1723"/>
                      </a:lnTo>
                      <a:lnTo>
                        <a:pt x="503" y="1718"/>
                      </a:lnTo>
                      <a:lnTo>
                        <a:pt x="503" y="1729"/>
                      </a:lnTo>
                      <a:lnTo>
                        <a:pt x="558" y="1893"/>
                      </a:lnTo>
                      <a:lnTo>
                        <a:pt x="569" y="1920"/>
                      </a:lnTo>
                      <a:lnTo>
                        <a:pt x="569" y="1948"/>
                      </a:lnTo>
                      <a:lnTo>
                        <a:pt x="563" y="1980"/>
                      </a:lnTo>
                      <a:lnTo>
                        <a:pt x="547" y="2035"/>
                      </a:lnTo>
                      <a:lnTo>
                        <a:pt x="541" y="2084"/>
                      </a:lnTo>
                      <a:lnTo>
                        <a:pt x="536" y="2145"/>
                      </a:lnTo>
                      <a:lnTo>
                        <a:pt x="519" y="2287"/>
                      </a:lnTo>
                      <a:lnTo>
                        <a:pt x="503" y="2380"/>
                      </a:lnTo>
                      <a:lnTo>
                        <a:pt x="497" y="2429"/>
                      </a:lnTo>
                      <a:lnTo>
                        <a:pt x="481" y="2445"/>
                      </a:lnTo>
                      <a:lnTo>
                        <a:pt x="476" y="2462"/>
                      </a:lnTo>
                      <a:lnTo>
                        <a:pt x="470" y="2506"/>
                      </a:lnTo>
                      <a:lnTo>
                        <a:pt x="519" y="2528"/>
                      </a:lnTo>
                      <a:lnTo>
                        <a:pt x="580" y="2544"/>
                      </a:lnTo>
                      <a:lnTo>
                        <a:pt x="640" y="2555"/>
                      </a:lnTo>
                      <a:lnTo>
                        <a:pt x="694" y="2555"/>
                      </a:lnTo>
                      <a:lnTo>
                        <a:pt x="689" y="2517"/>
                      </a:lnTo>
                      <a:lnTo>
                        <a:pt x="705" y="2484"/>
                      </a:lnTo>
                      <a:lnTo>
                        <a:pt x="716" y="2445"/>
                      </a:lnTo>
                      <a:lnTo>
                        <a:pt x="738" y="2396"/>
                      </a:lnTo>
                      <a:lnTo>
                        <a:pt x="755" y="2331"/>
                      </a:lnTo>
                      <a:lnTo>
                        <a:pt x="771" y="2249"/>
                      </a:lnTo>
                      <a:lnTo>
                        <a:pt x="782" y="2156"/>
                      </a:lnTo>
                      <a:lnTo>
                        <a:pt x="787" y="2041"/>
                      </a:lnTo>
                      <a:lnTo>
                        <a:pt x="787" y="2013"/>
                      </a:lnTo>
                      <a:lnTo>
                        <a:pt x="787" y="1991"/>
                      </a:lnTo>
                      <a:lnTo>
                        <a:pt x="787" y="1980"/>
                      </a:lnTo>
                      <a:lnTo>
                        <a:pt x="793" y="1969"/>
                      </a:lnTo>
                      <a:lnTo>
                        <a:pt x="798" y="1937"/>
                      </a:lnTo>
                      <a:lnTo>
                        <a:pt x="798" y="1882"/>
                      </a:lnTo>
                      <a:lnTo>
                        <a:pt x="798" y="1805"/>
                      </a:lnTo>
                      <a:lnTo>
                        <a:pt x="782" y="1690"/>
                      </a:lnTo>
                      <a:lnTo>
                        <a:pt x="755" y="1559"/>
                      </a:lnTo>
                      <a:lnTo>
                        <a:pt x="722" y="1411"/>
                      </a:lnTo>
                      <a:lnTo>
                        <a:pt x="733" y="1401"/>
                      </a:lnTo>
                      <a:lnTo>
                        <a:pt x="738" y="1390"/>
                      </a:lnTo>
                      <a:lnTo>
                        <a:pt x="744" y="1368"/>
                      </a:lnTo>
                      <a:lnTo>
                        <a:pt x="733" y="1313"/>
                      </a:lnTo>
                      <a:lnTo>
                        <a:pt x="711" y="1220"/>
                      </a:lnTo>
                      <a:lnTo>
                        <a:pt x="683" y="1083"/>
                      </a:lnTo>
                      <a:lnTo>
                        <a:pt x="673" y="1018"/>
                      </a:lnTo>
                      <a:lnTo>
                        <a:pt x="656" y="957"/>
                      </a:lnTo>
                      <a:lnTo>
                        <a:pt x="645" y="914"/>
                      </a:lnTo>
                      <a:lnTo>
                        <a:pt x="634" y="870"/>
                      </a:lnTo>
                      <a:lnTo>
                        <a:pt x="634" y="821"/>
                      </a:lnTo>
                      <a:lnTo>
                        <a:pt x="640" y="777"/>
                      </a:lnTo>
                      <a:lnTo>
                        <a:pt x="634" y="739"/>
                      </a:lnTo>
                      <a:lnTo>
                        <a:pt x="634" y="706"/>
                      </a:lnTo>
                      <a:lnTo>
                        <a:pt x="678" y="717"/>
                      </a:lnTo>
                      <a:lnTo>
                        <a:pt x="776" y="728"/>
                      </a:lnTo>
                      <a:lnTo>
                        <a:pt x="837" y="733"/>
                      </a:lnTo>
                      <a:lnTo>
                        <a:pt x="891" y="728"/>
                      </a:lnTo>
                      <a:lnTo>
                        <a:pt x="913" y="722"/>
                      </a:lnTo>
                      <a:lnTo>
                        <a:pt x="935" y="717"/>
                      </a:lnTo>
                      <a:lnTo>
                        <a:pt x="952" y="706"/>
                      </a:lnTo>
                      <a:lnTo>
                        <a:pt x="962" y="689"/>
                      </a:lnTo>
                      <a:lnTo>
                        <a:pt x="946" y="618"/>
                      </a:lnTo>
                      <a:lnTo>
                        <a:pt x="924" y="520"/>
                      </a:lnTo>
                      <a:lnTo>
                        <a:pt x="880" y="377"/>
                      </a:lnTo>
                      <a:close/>
                      <a:moveTo>
                        <a:pt x="640" y="279"/>
                      </a:moveTo>
                      <a:lnTo>
                        <a:pt x="640" y="279"/>
                      </a:lnTo>
                      <a:lnTo>
                        <a:pt x="634" y="279"/>
                      </a:lnTo>
                      <a:lnTo>
                        <a:pt x="618" y="274"/>
                      </a:lnTo>
                      <a:lnTo>
                        <a:pt x="607" y="263"/>
                      </a:lnTo>
                      <a:lnTo>
                        <a:pt x="596" y="246"/>
                      </a:lnTo>
                      <a:lnTo>
                        <a:pt x="580" y="241"/>
                      </a:lnTo>
                      <a:lnTo>
                        <a:pt x="590" y="230"/>
                      </a:lnTo>
                      <a:lnTo>
                        <a:pt x="596" y="224"/>
                      </a:lnTo>
                      <a:lnTo>
                        <a:pt x="618" y="224"/>
                      </a:lnTo>
                      <a:lnTo>
                        <a:pt x="623" y="230"/>
                      </a:lnTo>
                      <a:lnTo>
                        <a:pt x="623" y="235"/>
                      </a:lnTo>
                      <a:lnTo>
                        <a:pt x="623" y="246"/>
                      </a:lnTo>
                      <a:lnTo>
                        <a:pt x="623" y="252"/>
                      </a:lnTo>
                      <a:lnTo>
                        <a:pt x="629" y="257"/>
                      </a:lnTo>
                      <a:lnTo>
                        <a:pt x="634" y="263"/>
                      </a:lnTo>
                      <a:lnTo>
                        <a:pt x="640" y="263"/>
                      </a:lnTo>
                      <a:lnTo>
                        <a:pt x="645" y="263"/>
                      </a:lnTo>
                      <a:lnTo>
                        <a:pt x="645" y="268"/>
                      </a:lnTo>
                      <a:lnTo>
                        <a:pt x="640" y="279"/>
                      </a:lnTo>
                      <a:close/>
                      <a:moveTo>
                        <a:pt x="235" y="990"/>
                      </a:moveTo>
                      <a:lnTo>
                        <a:pt x="235" y="990"/>
                      </a:lnTo>
                      <a:lnTo>
                        <a:pt x="235" y="1023"/>
                      </a:lnTo>
                      <a:lnTo>
                        <a:pt x="229" y="1067"/>
                      </a:lnTo>
                      <a:lnTo>
                        <a:pt x="224" y="1089"/>
                      </a:lnTo>
                      <a:lnTo>
                        <a:pt x="218" y="1089"/>
                      </a:lnTo>
                      <a:lnTo>
                        <a:pt x="213" y="1083"/>
                      </a:lnTo>
                      <a:lnTo>
                        <a:pt x="213" y="1072"/>
                      </a:lnTo>
                      <a:lnTo>
                        <a:pt x="207" y="1056"/>
                      </a:lnTo>
                      <a:lnTo>
                        <a:pt x="202" y="1045"/>
                      </a:lnTo>
                      <a:lnTo>
                        <a:pt x="191" y="1029"/>
                      </a:lnTo>
                      <a:lnTo>
                        <a:pt x="191" y="1012"/>
                      </a:lnTo>
                      <a:lnTo>
                        <a:pt x="197" y="1001"/>
                      </a:lnTo>
                      <a:lnTo>
                        <a:pt x="202" y="985"/>
                      </a:lnTo>
                      <a:lnTo>
                        <a:pt x="207" y="979"/>
                      </a:lnTo>
                      <a:lnTo>
                        <a:pt x="207" y="963"/>
                      </a:lnTo>
                      <a:lnTo>
                        <a:pt x="207" y="946"/>
                      </a:lnTo>
                      <a:lnTo>
                        <a:pt x="207" y="936"/>
                      </a:lnTo>
                      <a:lnTo>
                        <a:pt x="213" y="930"/>
                      </a:lnTo>
                      <a:lnTo>
                        <a:pt x="224" y="952"/>
                      </a:lnTo>
                      <a:lnTo>
                        <a:pt x="235" y="968"/>
                      </a:lnTo>
                      <a:lnTo>
                        <a:pt x="235" y="9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472" name="Freeform 1581"/>
                <p:cNvSpPr>
                  <a:spLocks/>
                </p:cNvSpPr>
                <p:nvPr/>
              </p:nvSpPr>
              <p:spPr bwMode="auto">
                <a:xfrm>
                  <a:off x="443070" y="1772949"/>
                  <a:ext cx="9435" cy="37741"/>
                </a:xfrm>
                <a:custGeom>
                  <a:avLst/>
                  <a:gdLst>
                    <a:gd name="T0" fmla="*/ 0 w 11"/>
                    <a:gd name="T1" fmla="*/ 2147483647 h 44"/>
                    <a:gd name="T2" fmla="*/ 0 w 11"/>
                    <a:gd name="T3" fmla="*/ 2147483647 h 44"/>
                    <a:gd name="T4" fmla="*/ 0 w 11"/>
                    <a:gd name="T5" fmla="*/ 2147483647 h 44"/>
                    <a:gd name="T6" fmla="*/ 0 w 11"/>
                    <a:gd name="T7" fmla="*/ 2147483647 h 44"/>
                    <a:gd name="T8" fmla="*/ 0 w 11"/>
                    <a:gd name="T9" fmla="*/ 2147483647 h 44"/>
                    <a:gd name="T10" fmla="*/ 0 w 11"/>
                    <a:gd name="T11" fmla="*/ 2147483647 h 44"/>
                    <a:gd name="T12" fmla="*/ 2147483647 w 11"/>
                    <a:gd name="T13" fmla="*/ 0 h 44"/>
                    <a:gd name="T14" fmla="*/ 2147483647 w 11"/>
                    <a:gd name="T15" fmla="*/ 0 h 44"/>
                    <a:gd name="T16" fmla="*/ 0 w 11"/>
                    <a:gd name="T17" fmla="*/ 2147483647 h 44"/>
                    <a:gd name="T18" fmla="*/ 0 w 11"/>
                    <a:gd name="T19" fmla="*/ 2147483647 h 44"/>
                    <a:gd name="T20" fmla="*/ 0 w 11"/>
                    <a:gd name="T21" fmla="*/ 2147483647 h 44"/>
                    <a:gd name="T22" fmla="*/ 0 w 11"/>
                    <a:gd name="T23" fmla="*/ 2147483647 h 44"/>
                    <a:gd name="T24" fmla="*/ 0 w 11"/>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44"/>
                    <a:gd name="T41" fmla="*/ 11 w 1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44">
                      <a:moveTo>
                        <a:pt x="0" y="39"/>
                      </a:moveTo>
                      <a:lnTo>
                        <a:pt x="0" y="39"/>
                      </a:lnTo>
                      <a:lnTo>
                        <a:pt x="0" y="44"/>
                      </a:lnTo>
                      <a:lnTo>
                        <a:pt x="0" y="39"/>
                      </a:lnTo>
                      <a:lnTo>
                        <a:pt x="11" y="0"/>
                      </a:lnTo>
                      <a:lnTo>
                        <a:pt x="0" y="11"/>
                      </a:lnTo>
                      <a:lnTo>
                        <a:pt x="0" y="22"/>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473" name="Freeform 1582"/>
                <p:cNvSpPr>
                  <a:spLocks noEditPoints="1"/>
                </p:cNvSpPr>
                <p:nvPr/>
              </p:nvSpPr>
              <p:spPr bwMode="auto">
                <a:xfrm>
                  <a:off x="302413" y="1726628"/>
                  <a:ext cx="173251" cy="93497"/>
                </a:xfrm>
                <a:custGeom>
                  <a:avLst/>
                  <a:gdLst>
                    <a:gd name="T0" fmla="*/ 2147483647 w 202"/>
                    <a:gd name="T1" fmla="*/ 2147483647 h 109"/>
                    <a:gd name="T2" fmla="*/ 2147483647 w 202"/>
                    <a:gd name="T3" fmla="*/ 2147483647 h 109"/>
                    <a:gd name="T4" fmla="*/ 2147483647 w 202"/>
                    <a:gd name="T5" fmla="*/ 2147483647 h 109"/>
                    <a:gd name="T6" fmla="*/ 2147483647 w 202"/>
                    <a:gd name="T7" fmla="*/ 2147483647 h 109"/>
                    <a:gd name="T8" fmla="*/ 2147483647 w 202"/>
                    <a:gd name="T9" fmla="*/ 2147483647 h 109"/>
                    <a:gd name="T10" fmla="*/ 2147483647 w 202"/>
                    <a:gd name="T11" fmla="*/ 2147483647 h 109"/>
                    <a:gd name="T12" fmla="*/ 2147483647 w 202"/>
                    <a:gd name="T13" fmla="*/ 2147483647 h 109"/>
                    <a:gd name="T14" fmla="*/ 2147483647 w 202"/>
                    <a:gd name="T15" fmla="*/ 2147483647 h 109"/>
                    <a:gd name="T16" fmla="*/ 2147483647 w 202"/>
                    <a:gd name="T17" fmla="*/ 2147483647 h 109"/>
                    <a:gd name="T18" fmla="*/ 2147483647 w 202"/>
                    <a:gd name="T19" fmla="*/ 2147483647 h 109"/>
                    <a:gd name="T20" fmla="*/ 2147483647 w 202"/>
                    <a:gd name="T21" fmla="*/ 2147483647 h 109"/>
                    <a:gd name="T22" fmla="*/ 2147483647 w 202"/>
                    <a:gd name="T23" fmla="*/ 2147483647 h 109"/>
                    <a:gd name="T24" fmla="*/ 2147483647 w 202"/>
                    <a:gd name="T25" fmla="*/ 2147483647 h 109"/>
                    <a:gd name="T26" fmla="*/ 2147483647 w 202"/>
                    <a:gd name="T27" fmla="*/ 2147483647 h 109"/>
                    <a:gd name="T28" fmla="*/ 2147483647 w 202"/>
                    <a:gd name="T29" fmla="*/ 2147483647 h 109"/>
                    <a:gd name="T30" fmla="*/ 2147483647 w 202"/>
                    <a:gd name="T31" fmla="*/ 0 h 109"/>
                    <a:gd name="T32" fmla="*/ 0 w 202"/>
                    <a:gd name="T33" fmla="*/ 0 h 109"/>
                    <a:gd name="T34" fmla="*/ 0 w 202"/>
                    <a:gd name="T35" fmla="*/ 2147483647 h 109"/>
                    <a:gd name="T36" fmla="*/ 0 w 202"/>
                    <a:gd name="T37" fmla="*/ 2147483647 h 109"/>
                    <a:gd name="T38" fmla="*/ 0 w 202"/>
                    <a:gd name="T39" fmla="*/ 2147483647 h 109"/>
                    <a:gd name="T40" fmla="*/ 2147483647 w 202"/>
                    <a:gd name="T41" fmla="*/ 2147483647 h 109"/>
                    <a:gd name="T42" fmla="*/ 2147483647 w 202"/>
                    <a:gd name="T43" fmla="*/ 2147483647 h 109"/>
                    <a:gd name="T44" fmla="*/ 2147483647 w 202"/>
                    <a:gd name="T45" fmla="*/ 2147483647 h 109"/>
                    <a:gd name="T46" fmla="*/ 2147483647 w 202"/>
                    <a:gd name="T47" fmla="*/ 2147483647 h 109"/>
                    <a:gd name="T48" fmla="*/ 2147483647 w 202"/>
                    <a:gd name="T49" fmla="*/ 2147483647 h 109"/>
                    <a:gd name="T50" fmla="*/ 2147483647 w 202"/>
                    <a:gd name="T51" fmla="*/ 2147483647 h 109"/>
                    <a:gd name="T52" fmla="*/ 2147483647 w 202"/>
                    <a:gd name="T53" fmla="*/ 2147483647 h 109"/>
                    <a:gd name="T54" fmla="*/ 2147483647 w 202"/>
                    <a:gd name="T55" fmla="*/ 2147483647 h 109"/>
                    <a:gd name="T56" fmla="*/ 2147483647 w 202"/>
                    <a:gd name="T57" fmla="*/ 2147483647 h 109"/>
                    <a:gd name="T58" fmla="*/ 2147483647 w 202"/>
                    <a:gd name="T59" fmla="*/ 2147483647 h 109"/>
                    <a:gd name="T60" fmla="*/ 2147483647 w 202"/>
                    <a:gd name="T61" fmla="*/ 2147483647 h 109"/>
                    <a:gd name="T62" fmla="*/ 2147483647 w 202"/>
                    <a:gd name="T63" fmla="*/ 2147483647 h 109"/>
                    <a:gd name="T64" fmla="*/ 2147483647 w 202"/>
                    <a:gd name="T65" fmla="*/ 2147483647 h 109"/>
                    <a:gd name="T66" fmla="*/ 2147483647 w 202"/>
                    <a:gd name="T67" fmla="*/ 2147483647 h 109"/>
                    <a:gd name="T68" fmla="*/ 2147483647 w 202"/>
                    <a:gd name="T69" fmla="*/ 2147483647 h 109"/>
                    <a:gd name="T70" fmla="*/ 2147483647 w 202"/>
                    <a:gd name="T71" fmla="*/ 2147483647 h 109"/>
                    <a:gd name="T72" fmla="*/ 2147483647 w 202"/>
                    <a:gd name="T73" fmla="*/ 2147483647 h 109"/>
                    <a:gd name="T74" fmla="*/ 2147483647 w 202"/>
                    <a:gd name="T75" fmla="*/ 2147483647 h 109"/>
                    <a:gd name="T76" fmla="*/ 2147483647 w 202"/>
                    <a:gd name="T77" fmla="*/ 2147483647 h 109"/>
                    <a:gd name="T78" fmla="*/ 2147483647 w 202"/>
                    <a:gd name="T79" fmla="*/ 2147483647 h 109"/>
                    <a:gd name="T80" fmla="*/ 2147483647 w 202"/>
                    <a:gd name="T81" fmla="*/ 2147483647 h 109"/>
                    <a:gd name="T82" fmla="*/ 2147483647 w 202"/>
                    <a:gd name="T83" fmla="*/ 2147483647 h 109"/>
                    <a:gd name="T84" fmla="*/ 2147483647 w 202"/>
                    <a:gd name="T85" fmla="*/ 2147483647 h 109"/>
                    <a:gd name="T86" fmla="*/ 2147483647 w 202"/>
                    <a:gd name="T87" fmla="*/ 2147483647 h 109"/>
                    <a:gd name="T88" fmla="*/ 2147483647 w 202"/>
                    <a:gd name="T89" fmla="*/ 2147483647 h 109"/>
                    <a:gd name="T90" fmla="*/ 2147483647 w 202"/>
                    <a:gd name="T91" fmla="*/ 2147483647 h 109"/>
                    <a:gd name="T92" fmla="*/ 2147483647 w 202"/>
                    <a:gd name="T93" fmla="*/ 2147483647 h 109"/>
                    <a:gd name="T94" fmla="*/ 2147483647 w 202"/>
                    <a:gd name="T95" fmla="*/ 2147483647 h 109"/>
                    <a:gd name="T96" fmla="*/ 2147483647 w 202"/>
                    <a:gd name="T97" fmla="*/ 2147483647 h 109"/>
                    <a:gd name="T98" fmla="*/ 2147483647 w 202"/>
                    <a:gd name="T99" fmla="*/ 2147483647 h 109"/>
                    <a:gd name="T100" fmla="*/ 2147483647 w 202"/>
                    <a:gd name="T101" fmla="*/ 2147483647 h 109"/>
                    <a:gd name="T102" fmla="*/ 2147483647 w 202"/>
                    <a:gd name="T103" fmla="*/ 2147483647 h 109"/>
                    <a:gd name="T104" fmla="*/ 2147483647 w 202"/>
                    <a:gd name="T105" fmla="*/ 2147483647 h 109"/>
                    <a:gd name="T106" fmla="*/ 2147483647 w 202"/>
                    <a:gd name="T107" fmla="*/ 2147483647 h 109"/>
                    <a:gd name="T108" fmla="*/ 2147483647 w 202"/>
                    <a:gd name="T109" fmla="*/ 2147483647 h 109"/>
                    <a:gd name="T110" fmla="*/ 2147483647 w 202"/>
                    <a:gd name="T111" fmla="*/ 2147483647 h 109"/>
                    <a:gd name="T112" fmla="*/ 2147483647 w 202"/>
                    <a:gd name="T113" fmla="*/ 2147483647 h 109"/>
                    <a:gd name="T114" fmla="*/ 2147483647 w 202"/>
                    <a:gd name="T115" fmla="*/ 2147483647 h 109"/>
                    <a:gd name="T116" fmla="*/ 2147483647 w 202"/>
                    <a:gd name="T117" fmla="*/ 2147483647 h 1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2"/>
                    <a:gd name="T178" fmla="*/ 0 h 109"/>
                    <a:gd name="T179" fmla="*/ 202 w 202"/>
                    <a:gd name="T180" fmla="*/ 109 h 1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2" h="109">
                      <a:moveTo>
                        <a:pt x="202" y="71"/>
                      </a:moveTo>
                      <a:lnTo>
                        <a:pt x="202" y="71"/>
                      </a:lnTo>
                      <a:lnTo>
                        <a:pt x="202" y="60"/>
                      </a:lnTo>
                      <a:lnTo>
                        <a:pt x="197" y="54"/>
                      </a:lnTo>
                      <a:lnTo>
                        <a:pt x="175" y="38"/>
                      </a:lnTo>
                      <a:lnTo>
                        <a:pt x="148" y="32"/>
                      </a:lnTo>
                      <a:lnTo>
                        <a:pt x="137" y="38"/>
                      </a:lnTo>
                      <a:lnTo>
                        <a:pt x="131" y="43"/>
                      </a:lnTo>
                      <a:lnTo>
                        <a:pt x="126" y="43"/>
                      </a:lnTo>
                      <a:lnTo>
                        <a:pt x="115" y="38"/>
                      </a:lnTo>
                      <a:lnTo>
                        <a:pt x="55" y="11"/>
                      </a:lnTo>
                      <a:lnTo>
                        <a:pt x="16" y="0"/>
                      </a:lnTo>
                      <a:lnTo>
                        <a:pt x="0" y="0"/>
                      </a:lnTo>
                      <a:lnTo>
                        <a:pt x="0" y="5"/>
                      </a:lnTo>
                      <a:lnTo>
                        <a:pt x="11" y="5"/>
                      </a:lnTo>
                      <a:lnTo>
                        <a:pt x="49" y="22"/>
                      </a:lnTo>
                      <a:lnTo>
                        <a:pt x="82" y="43"/>
                      </a:lnTo>
                      <a:lnTo>
                        <a:pt x="120" y="65"/>
                      </a:lnTo>
                      <a:lnTo>
                        <a:pt x="115" y="76"/>
                      </a:lnTo>
                      <a:lnTo>
                        <a:pt x="120" y="87"/>
                      </a:lnTo>
                      <a:lnTo>
                        <a:pt x="126" y="98"/>
                      </a:lnTo>
                      <a:lnTo>
                        <a:pt x="142" y="109"/>
                      </a:lnTo>
                      <a:lnTo>
                        <a:pt x="159" y="109"/>
                      </a:lnTo>
                      <a:lnTo>
                        <a:pt x="175" y="109"/>
                      </a:lnTo>
                      <a:lnTo>
                        <a:pt x="181" y="104"/>
                      </a:lnTo>
                      <a:lnTo>
                        <a:pt x="191" y="98"/>
                      </a:lnTo>
                      <a:lnTo>
                        <a:pt x="202" y="82"/>
                      </a:lnTo>
                      <a:lnTo>
                        <a:pt x="202" y="71"/>
                      </a:lnTo>
                      <a:close/>
                      <a:moveTo>
                        <a:pt x="77" y="82"/>
                      </a:moveTo>
                      <a:lnTo>
                        <a:pt x="77" y="82"/>
                      </a:lnTo>
                      <a:lnTo>
                        <a:pt x="60" y="71"/>
                      </a:lnTo>
                      <a:lnTo>
                        <a:pt x="55" y="65"/>
                      </a:lnTo>
                      <a:lnTo>
                        <a:pt x="55" y="49"/>
                      </a:lnTo>
                      <a:lnTo>
                        <a:pt x="60" y="38"/>
                      </a:lnTo>
                      <a:lnTo>
                        <a:pt x="66" y="27"/>
                      </a:lnTo>
                      <a:lnTo>
                        <a:pt x="77" y="22"/>
                      </a:lnTo>
                      <a:lnTo>
                        <a:pt x="82" y="22"/>
                      </a:lnTo>
                      <a:lnTo>
                        <a:pt x="93" y="27"/>
                      </a:lnTo>
                      <a:lnTo>
                        <a:pt x="115" y="38"/>
                      </a:lnTo>
                      <a:lnTo>
                        <a:pt x="120" y="49"/>
                      </a:lnTo>
                      <a:lnTo>
                        <a:pt x="115" y="60"/>
                      </a:lnTo>
                      <a:lnTo>
                        <a:pt x="109" y="76"/>
                      </a:lnTo>
                      <a:lnTo>
                        <a:pt x="98" y="82"/>
                      </a:lnTo>
                      <a:lnTo>
                        <a:pt x="7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474" name="Freeform 1583"/>
                <p:cNvSpPr>
                  <a:spLocks/>
                </p:cNvSpPr>
                <p:nvPr/>
              </p:nvSpPr>
              <p:spPr bwMode="auto">
                <a:xfrm>
                  <a:off x="288691" y="1918766"/>
                  <a:ext cx="112354" cy="385137"/>
                </a:xfrm>
                <a:custGeom>
                  <a:avLst/>
                  <a:gdLst>
                    <a:gd name="T0" fmla="*/ 0 w 131"/>
                    <a:gd name="T1" fmla="*/ 2147483647 h 449"/>
                    <a:gd name="T2" fmla="*/ 0 w 131"/>
                    <a:gd name="T3" fmla="*/ 2147483647 h 449"/>
                    <a:gd name="T4" fmla="*/ 2147483647 w 131"/>
                    <a:gd name="T5" fmla="*/ 2147483647 h 449"/>
                    <a:gd name="T6" fmla="*/ 2147483647 w 131"/>
                    <a:gd name="T7" fmla="*/ 2147483647 h 449"/>
                    <a:gd name="T8" fmla="*/ 2147483647 w 131"/>
                    <a:gd name="T9" fmla="*/ 2147483647 h 449"/>
                    <a:gd name="T10" fmla="*/ 2147483647 w 131"/>
                    <a:gd name="T11" fmla="*/ 2147483647 h 449"/>
                    <a:gd name="T12" fmla="*/ 2147483647 w 131"/>
                    <a:gd name="T13" fmla="*/ 2147483647 h 449"/>
                    <a:gd name="T14" fmla="*/ 2147483647 w 131"/>
                    <a:gd name="T15" fmla="*/ 2147483647 h 449"/>
                    <a:gd name="T16" fmla="*/ 2147483647 w 131"/>
                    <a:gd name="T17" fmla="*/ 2147483647 h 449"/>
                    <a:gd name="T18" fmla="*/ 2147483647 w 131"/>
                    <a:gd name="T19" fmla="*/ 2147483647 h 449"/>
                    <a:gd name="T20" fmla="*/ 2147483647 w 131"/>
                    <a:gd name="T21" fmla="*/ 2147483647 h 449"/>
                    <a:gd name="T22" fmla="*/ 2147483647 w 131"/>
                    <a:gd name="T23" fmla="*/ 2147483647 h 449"/>
                    <a:gd name="T24" fmla="*/ 2147483647 w 131"/>
                    <a:gd name="T25" fmla="*/ 2147483647 h 449"/>
                    <a:gd name="T26" fmla="*/ 2147483647 w 131"/>
                    <a:gd name="T27" fmla="*/ 2147483647 h 449"/>
                    <a:gd name="T28" fmla="*/ 2147483647 w 131"/>
                    <a:gd name="T29" fmla="*/ 2147483647 h 449"/>
                    <a:gd name="T30" fmla="*/ 2147483647 w 131"/>
                    <a:gd name="T31" fmla="*/ 2147483647 h 449"/>
                    <a:gd name="T32" fmla="*/ 2147483647 w 131"/>
                    <a:gd name="T33" fmla="*/ 2147483647 h 449"/>
                    <a:gd name="T34" fmla="*/ 2147483647 w 131"/>
                    <a:gd name="T35" fmla="*/ 2147483647 h 449"/>
                    <a:gd name="T36" fmla="*/ 2147483647 w 131"/>
                    <a:gd name="T37" fmla="*/ 2147483647 h 449"/>
                    <a:gd name="T38" fmla="*/ 2147483647 w 131"/>
                    <a:gd name="T39" fmla="*/ 2147483647 h 449"/>
                    <a:gd name="T40" fmla="*/ 2147483647 w 131"/>
                    <a:gd name="T41" fmla="*/ 2147483647 h 449"/>
                    <a:gd name="T42" fmla="*/ 2147483647 w 131"/>
                    <a:gd name="T43" fmla="*/ 2147483647 h 449"/>
                    <a:gd name="T44" fmla="*/ 2147483647 w 131"/>
                    <a:gd name="T45" fmla="*/ 2147483647 h 449"/>
                    <a:gd name="T46" fmla="*/ 2147483647 w 131"/>
                    <a:gd name="T47" fmla="*/ 2147483647 h 449"/>
                    <a:gd name="T48" fmla="*/ 2147483647 w 131"/>
                    <a:gd name="T49" fmla="*/ 2147483647 h 449"/>
                    <a:gd name="T50" fmla="*/ 2147483647 w 131"/>
                    <a:gd name="T51" fmla="*/ 2147483647 h 449"/>
                    <a:gd name="T52" fmla="*/ 2147483647 w 131"/>
                    <a:gd name="T53" fmla="*/ 2147483647 h 449"/>
                    <a:gd name="T54" fmla="*/ 2147483647 w 131"/>
                    <a:gd name="T55" fmla="*/ 2147483647 h 449"/>
                    <a:gd name="T56" fmla="*/ 2147483647 w 131"/>
                    <a:gd name="T57" fmla="*/ 0 h 449"/>
                    <a:gd name="T58" fmla="*/ 2147483647 w 131"/>
                    <a:gd name="T59" fmla="*/ 0 h 449"/>
                    <a:gd name="T60" fmla="*/ 2147483647 w 131"/>
                    <a:gd name="T61" fmla="*/ 2147483647 h 449"/>
                    <a:gd name="T62" fmla="*/ 2147483647 w 131"/>
                    <a:gd name="T63" fmla="*/ 2147483647 h 449"/>
                    <a:gd name="T64" fmla="*/ 0 w 131"/>
                    <a:gd name="T65" fmla="*/ 2147483647 h 44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1"/>
                    <a:gd name="T100" fmla="*/ 0 h 449"/>
                    <a:gd name="T101" fmla="*/ 131 w 131"/>
                    <a:gd name="T102" fmla="*/ 449 h 44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1" h="449">
                      <a:moveTo>
                        <a:pt x="0" y="55"/>
                      </a:moveTo>
                      <a:lnTo>
                        <a:pt x="0" y="55"/>
                      </a:lnTo>
                      <a:lnTo>
                        <a:pt x="11" y="60"/>
                      </a:lnTo>
                      <a:lnTo>
                        <a:pt x="21" y="77"/>
                      </a:lnTo>
                      <a:lnTo>
                        <a:pt x="32" y="104"/>
                      </a:lnTo>
                      <a:lnTo>
                        <a:pt x="54" y="186"/>
                      </a:lnTo>
                      <a:lnTo>
                        <a:pt x="76" y="273"/>
                      </a:lnTo>
                      <a:lnTo>
                        <a:pt x="98" y="323"/>
                      </a:lnTo>
                      <a:lnTo>
                        <a:pt x="120" y="372"/>
                      </a:lnTo>
                      <a:lnTo>
                        <a:pt x="125" y="410"/>
                      </a:lnTo>
                      <a:lnTo>
                        <a:pt x="125" y="449"/>
                      </a:lnTo>
                      <a:lnTo>
                        <a:pt x="131" y="399"/>
                      </a:lnTo>
                      <a:lnTo>
                        <a:pt x="131" y="350"/>
                      </a:lnTo>
                      <a:lnTo>
                        <a:pt x="120" y="235"/>
                      </a:lnTo>
                      <a:lnTo>
                        <a:pt x="109" y="126"/>
                      </a:lnTo>
                      <a:lnTo>
                        <a:pt x="93" y="27"/>
                      </a:lnTo>
                      <a:lnTo>
                        <a:pt x="87" y="22"/>
                      </a:lnTo>
                      <a:lnTo>
                        <a:pt x="76" y="22"/>
                      </a:lnTo>
                      <a:lnTo>
                        <a:pt x="60" y="22"/>
                      </a:lnTo>
                      <a:lnTo>
                        <a:pt x="49" y="16"/>
                      </a:lnTo>
                      <a:lnTo>
                        <a:pt x="38" y="5"/>
                      </a:lnTo>
                      <a:lnTo>
                        <a:pt x="32" y="5"/>
                      </a:lnTo>
                      <a:lnTo>
                        <a:pt x="21" y="0"/>
                      </a:lnTo>
                      <a:lnTo>
                        <a:pt x="11" y="16"/>
                      </a:lnTo>
                      <a:lnTo>
                        <a:pt x="5" y="44"/>
                      </a:lnTo>
                      <a:lnTo>
                        <a:pt x="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475" name="Freeform 1584"/>
                <p:cNvSpPr>
                  <a:spLocks/>
                </p:cNvSpPr>
                <p:nvPr/>
              </p:nvSpPr>
              <p:spPr bwMode="auto">
                <a:xfrm>
                  <a:off x="316135" y="1923054"/>
                  <a:ext cx="108067" cy="408298"/>
                </a:xfrm>
                <a:custGeom>
                  <a:avLst/>
                  <a:gdLst>
                    <a:gd name="T0" fmla="*/ 2147483647 w 126"/>
                    <a:gd name="T1" fmla="*/ 2147483647 h 476"/>
                    <a:gd name="T2" fmla="*/ 0 w 126"/>
                    <a:gd name="T3" fmla="*/ 2147483647 h 476"/>
                    <a:gd name="T4" fmla="*/ 2147483647 w 126"/>
                    <a:gd name="T5" fmla="*/ 2147483647 h 476"/>
                    <a:gd name="T6" fmla="*/ 2147483647 w 126"/>
                    <a:gd name="T7" fmla="*/ 2147483647 h 476"/>
                    <a:gd name="T8" fmla="*/ 2147483647 w 126"/>
                    <a:gd name="T9" fmla="*/ 2147483647 h 476"/>
                    <a:gd name="T10" fmla="*/ 2147483647 w 126"/>
                    <a:gd name="T11" fmla="*/ 2147483647 h 476"/>
                    <a:gd name="T12" fmla="*/ 2147483647 w 126"/>
                    <a:gd name="T13" fmla="*/ 2147483647 h 476"/>
                    <a:gd name="T14" fmla="*/ 2147483647 w 126"/>
                    <a:gd name="T15" fmla="*/ 2147483647 h 476"/>
                    <a:gd name="T16" fmla="*/ 2147483647 w 126"/>
                    <a:gd name="T17" fmla="*/ 2147483647 h 476"/>
                    <a:gd name="T18" fmla="*/ 2147483647 w 126"/>
                    <a:gd name="T19" fmla="*/ 2147483647 h 476"/>
                    <a:gd name="T20" fmla="*/ 2147483647 w 126"/>
                    <a:gd name="T21" fmla="*/ 2147483647 h 476"/>
                    <a:gd name="T22" fmla="*/ 2147483647 w 126"/>
                    <a:gd name="T23" fmla="*/ 2147483647 h 476"/>
                    <a:gd name="T24" fmla="*/ 2147483647 w 126"/>
                    <a:gd name="T25" fmla="*/ 2147483647 h 476"/>
                    <a:gd name="T26" fmla="*/ 2147483647 w 126"/>
                    <a:gd name="T27" fmla="*/ 2147483647 h 476"/>
                    <a:gd name="T28" fmla="*/ 2147483647 w 126"/>
                    <a:gd name="T29" fmla="*/ 2147483647 h 476"/>
                    <a:gd name="T30" fmla="*/ 2147483647 w 126"/>
                    <a:gd name="T31" fmla="*/ 2147483647 h 476"/>
                    <a:gd name="T32" fmla="*/ 2147483647 w 126"/>
                    <a:gd name="T33" fmla="*/ 2147483647 h 476"/>
                    <a:gd name="T34" fmla="*/ 2147483647 w 126"/>
                    <a:gd name="T35" fmla="*/ 2147483647 h 476"/>
                    <a:gd name="T36" fmla="*/ 2147483647 w 126"/>
                    <a:gd name="T37" fmla="*/ 0 h 476"/>
                    <a:gd name="T38" fmla="*/ 2147483647 w 126"/>
                    <a:gd name="T39" fmla="*/ 0 h 476"/>
                    <a:gd name="T40" fmla="*/ 2147483647 w 126"/>
                    <a:gd name="T41" fmla="*/ 2147483647 h 476"/>
                    <a:gd name="T42" fmla="*/ 2147483647 w 126"/>
                    <a:gd name="T43" fmla="*/ 2147483647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6"/>
                    <a:gd name="T67" fmla="*/ 0 h 476"/>
                    <a:gd name="T68" fmla="*/ 126 w 126"/>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6" h="476">
                      <a:moveTo>
                        <a:pt x="11" y="6"/>
                      </a:moveTo>
                      <a:lnTo>
                        <a:pt x="0" y="17"/>
                      </a:lnTo>
                      <a:lnTo>
                        <a:pt x="22" y="55"/>
                      </a:lnTo>
                      <a:lnTo>
                        <a:pt x="28" y="88"/>
                      </a:lnTo>
                      <a:lnTo>
                        <a:pt x="39" y="121"/>
                      </a:lnTo>
                      <a:lnTo>
                        <a:pt x="44" y="214"/>
                      </a:lnTo>
                      <a:lnTo>
                        <a:pt x="44" y="323"/>
                      </a:lnTo>
                      <a:lnTo>
                        <a:pt x="77" y="444"/>
                      </a:lnTo>
                      <a:lnTo>
                        <a:pt x="99" y="476"/>
                      </a:lnTo>
                      <a:lnTo>
                        <a:pt x="126" y="372"/>
                      </a:lnTo>
                      <a:lnTo>
                        <a:pt x="82" y="148"/>
                      </a:lnTo>
                      <a:lnTo>
                        <a:pt x="44" y="50"/>
                      </a:lnTo>
                      <a:lnTo>
                        <a:pt x="50" y="17"/>
                      </a:lnTo>
                      <a:lnTo>
                        <a:pt x="39" y="6"/>
                      </a:lnTo>
                      <a:lnTo>
                        <a:pt x="22" y="0"/>
                      </a:lnTo>
                      <a:lnTo>
                        <a:pt x="17" y="0"/>
                      </a:ln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nvGrpSpPr>
              <p:cNvPr id="325" name="Gruppe 291"/>
              <p:cNvGrpSpPr>
                <a:grpSpLocks/>
              </p:cNvGrpSpPr>
              <p:nvPr/>
            </p:nvGrpSpPr>
            <p:grpSpPr bwMode="auto">
              <a:xfrm>
                <a:off x="2727325" y="1208088"/>
                <a:ext cx="600075" cy="1108075"/>
                <a:chOff x="-1" y="-1241699"/>
                <a:chExt cx="5000630" cy="9231491"/>
              </a:xfrm>
              <a:solidFill>
                <a:schemeClr val="bg1">
                  <a:lumMod val="85000"/>
                </a:schemeClr>
              </a:solidFill>
            </p:grpSpPr>
            <p:grpSp>
              <p:nvGrpSpPr>
                <p:cNvPr id="358" name="Gruppe 111"/>
                <p:cNvGrpSpPr/>
                <p:nvPr/>
              </p:nvGrpSpPr>
              <p:grpSpPr>
                <a:xfrm>
                  <a:off x="-1" y="-1241699"/>
                  <a:ext cx="5000630" cy="9231491"/>
                  <a:chOff x="3295650" y="3451225"/>
                  <a:chExt cx="1392238" cy="2570163"/>
                </a:xfrm>
                <a:grpFill/>
              </p:grpSpPr>
              <p:sp>
                <p:nvSpPr>
                  <p:cNvPr id="362" name="Freeform 207"/>
                  <p:cNvSpPr>
                    <a:spLocks/>
                  </p:cNvSpPr>
                  <p:nvPr/>
                </p:nvSpPr>
                <p:spPr bwMode="auto">
                  <a:xfrm>
                    <a:off x="4586288" y="4176713"/>
                    <a:ext cx="30162" cy="30162"/>
                  </a:xfrm>
                  <a:custGeom>
                    <a:avLst/>
                    <a:gdLst>
                      <a:gd name="T0" fmla="*/ 20637 w 19"/>
                      <a:gd name="T1" fmla="*/ 0 h 19"/>
                      <a:gd name="T2" fmla="*/ 20637 w 19"/>
                      <a:gd name="T3" fmla="*/ 0 h 19"/>
                      <a:gd name="T4" fmla="*/ 20637 w 19"/>
                      <a:gd name="T5" fmla="*/ 9525 h 19"/>
                      <a:gd name="T6" fmla="*/ 9525 w 19"/>
                      <a:gd name="T7" fmla="*/ 9525 h 19"/>
                      <a:gd name="T8" fmla="*/ 0 w 19"/>
                      <a:gd name="T9" fmla="*/ 0 h 19"/>
                      <a:gd name="T10" fmla="*/ 0 w 19"/>
                      <a:gd name="T11" fmla="*/ 0 h 19"/>
                      <a:gd name="T12" fmla="*/ 0 w 19"/>
                      <a:gd name="T13" fmla="*/ 30162 h 19"/>
                      <a:gd name="T14" fmla="*/ 0 w 19"/>
                      <a:gd name="T15" fmla="*/ 30162 h 19"/>
                      <a:gd name="T16" fmla="*/ 9525 w 19"/>
                      <a:gd name="T17" fmla="*/ 30162 h 19"/>
                      <a:gd name="T18" fmla="*/ 30162 w 19"/>
                      <a:gd name="T19" fmla="*/ 20637 h 19"/>
                      <a:gd name="T20" fmla="*/ 30162 w 19"/>
                      <a:gd name="T21" fmla="*/ 9525 h 19"/>
                      <a:gd name="T22" fmla="*/ 20637 w 19"/>
                      <a:gd name="T23" fmla="*/ 0 h 19"/>
                      <a:gd name="T24" fmla="*/ 206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3" y="0"/>
                        </a:moveTo>
                        <a:lnTo>
                          <a:pt x="13" y="0"/>
                        </a:lnTo>
                        <a:lnTo>
                          <a:pt x="13" y="6"/>
                        </a:lnTo>
                        <a:lnTo>
                          <a:pt x="6" y="6"/>
                        </a:lnTo>
                        <a:lnTo>
                          <a:pt x="0" y="0"/>
                        </a:lnTo>
                        <a:lnTo>
                          <a:pt x="0" y="19"/>
                        </a:lnTo>
                        <a:lnTo>
                          <a:pt x="6" y="19"/>
                        </a:lnTo>
                        <a:lnTo>
                          <a:pt x="19" y="13"/>
                        </a:lnTo>
                        <a:lnTo>
                          <a:pt x="19" y="6"/>
                        </a:lnTo>
                        <a:lnTo>
                          <a:pt x="13"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63" name="Freeform 212"/>
                  <p:cNvSpPr>
                    <a:spLocks/>
                  </p:cNvSpPr>
                  <p:nvPr/>
                </p:nvSpPr>
                <p:spPr bwMode="auto">
                  <a:xfrm>
                    <a:off x="4465638" y="4348163"/>
                    <a:ext cx="80962" cy="20637"/>
                  </a:xfrm>
                  <a:custGeom>
                    <a:avLst/>
                    <a:gdLst>
                      <a:gd name="T0" fmla="*/ 0 w 51"/>
                      <a:gd name="T1" fmla="*/ 0 h 13"/>
                      <a:gd name="T2" fmla="*/ 0 w 51"/>
                      <a:gd name="T3" fmla="*/ 0 h 13"/>
                      <a:gd name="T4" fmla="*/ 0 w 51"/>
                      <a:gd name="T5" fmla="*/ 9525 h 13"/>
                      <a:gd name="T6" fmla="*/ 9525 w 51"/>
                      <a:gd name="T7" fmla="*/ 20637 h 13"/>
                      <a:gd name="T8" fmla="*/ 30162 w 51"/>
                      <a:gd name="T9" fmla="*/ 20637 h 13"/>
                      <a:gd name="T10" fmla="*/ 50800 w 51"/>
                      <a:gd name="T11" fmla="*/ 20637 h 13"/>
                      <a:gd name="T12" fmla="*/ 80962 w 51"/>
                      <a:gd name="T13" fmla="*/ 20637 h 13"/>
                      <a:gd name="T14" fmla="*/ 80962 w 51"/>
                      <a:gd name="T15" fmla="*/ 20637 h 13"/>
                      <a:gd name="T16" fmla="*/ 80962 w 51"/>
                      <a:gd name="T17" fmla="*/ 9525 h 13"/>
                      <a:gd name="T18" fmla="*/ 69850 w 51"/>
                      <a:gd name="T19" fmla="*/ 0 h 13"/>
                      <a:gd name="T20" fmla="*/ 39687 w 51"/>
                      <a:gd name="T21" fmla="*/ 0 h 13"/>
                      <a:gd name="T22" fmla="*/ 9525 w 51"/>
                      <a:gd name="T23" fmla="*/ 0 h 13"/>
                      <a:gd name="T24" fmla="*/ 0 w 51"/>
                      <a:gd name="T25" fmla="*/ 0 h 13"/>
                      <a:gd name="T26" fmla="*/ 0 w 51"/>
                      <a:gd name="T27" fmla="*/ 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13"/>
                      <a:gd name="T44" fmla="*/ 51 w 5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13">
                        <a:moveTo>
                          <a:pt x="0" y="0"/>
                        </a:moveTo>
                        <a:lnTo>
                          <a:pt x="0" y="0"/>
                        </a:lnTo>
                        <a:lnTo>
                          <a:pt x="0" y="6"/>
                        </a:lnTo>
                        <a:lnTo>
                          <a:pt x="6" y="13"/>
                        </a:lnTo>
                        <a:lnTo>
                          <a:pt x="19" y="13"/>
                        </a:lnTo>
                        <a:lnTo>
                          <a:pt x="32" y="13"/>
                        </a:lnTo>
                        <a:lnTo>
                          <a:pt x="51" y="13"/>
                        </a:lnTo>
                        <a:lnTo>
                          <a:pt x="51" y="6"/>
                        </a:lnTo>
                        <a:lnTo>
                          <a:pt x="44" y="0"/>
                        </a:lnTo>
                        <a:lnTo>
                          <a:pt x="25" y="0"/>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64" name="Freeform 214"/>
                  <p:cNvSpPr>
                    <a:spLocks/>
                  </p:cNvSpPr>
                  <p:nvPr/>
                </p:nvSpPr>
                <p:spPr bwMode="auto">
                  <a:xfrm>
                    <a:off x="4475163" y="4378325"/>
                    <a:ext cx="71437" cy="30163"/>
                  </a:xfrm>
                  <a:custGeom>
                    <a:avLst/>
                    <a:gdLst>
                      <a:gd name="T0" fmla="*/ 0 w 45"/>
                      <a:gd name="T1" fmla="*/ 0 h 19"/>
                      <a:gd name="T2" fmla="*/ 0 w 45"/>
                      <a:gd name="T3" fmla="*/ 0 h 19"/>
                      <a:gd name="T4" fmla="*/ 0 w 45"/>
                      <a:gd name="T5" fmla="*/ 30163 h 19"/>
                      <a:gd name="T6" fmla="*/ 0 w 45"/>
                      <a:gd name="T7" fmla="*/ 30163 h 19"/>
                      <a:gd name="T8" fmla="*/ 41275 w 45"/>
                      <a:gd name="T9" fmla="*/ 20638 h 19"/>
                      <a:gd name="T10" fmla="*/ 71437 w 45"/>
                      <a:gd name="T11" fmla="*/ 20638 h 19"/>
                      <a:gd name="T12" fmla="*/ 71437 w 45"/>
                      <a:gd name="T13" fmla="*/ 20638 h 19"/>
                      <a:gd name="T14" fmla="*/ 60325 w 45"/>
                      <a:gd name="T15" fmla="*/ 0 h 19"/>
                      <a:gd name="T16" fmla="*/ 41275 w 45"/>
                      <a:gd name="T17" fmla="*/ 0 h 19"/>
                      <a:gd name="T18" fmla="*/ 0 w 45"/>
                      <a:gd name="T19" fmla="*/ 0 h 19"/>
                      <a:gd name="T20" fmla="*/ 0 w 45"/>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9"/>
                      <a:gd name="T35" fmla="*/ 45 w 45"/>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9">
                        <a:moveTo>
                          <a:pt x="0" y="0"/>
                        </a:moveTo>
                        <a:lnTo>
                          <a:pt x="0" y="0"/>
                        </a:lnTo>
                        <a:lnTo>
                          <a:pt x="0" y="19"/>
                        </a:lnTo>
                        <a:lnTo>
                          <a:pt x="26" y="13"/>
                        </a:lnTo>
                        <a:lnTo>
                          <a:pt x="45" y="13"/>
                        </a:lnTo>
                        <a:lnTo>
                          <a:pt x="38" y="0"/>
                        </a:lnTo>
                        <a:lnTo>
                          <a:pt x="2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65" name="Freeform 216"/>
                  <p:cNvSpPr>
                    <a:spLocks/>
                  </p:cNvSpPr>
                  <p:nvPr/>
                </p:nvSpPr>
                <p:spPr bwMode="auto">
                  <a:xfrm>
                    <a:off x="4465638" y="4408488"/>
                    <a:ext cx="60325" cy="20637"/>
                  </a:xfrm>
                  <a:custGeom>
                    <a:avLst/>
                    <a:gdLst>
                      <a:gd name="T0" fmla="*/ 60325 w 38"/>
                      <a:gd name="T1" fmla="*/ 20637 h 13"/>
                      <a:gd name="T2" fmla="*/ 60325 w 38"/>
                      <a:gd name="T3" fmla="*/ 20637 h 13"/>
                      <a:gd name="T4" fmla="*/ 60325 w 38"/>
                      <a:gd name="T5" fmla="*/ 11112 h 13"/>
                      <a:gd name="T6" fmla="*/ 50800 w 38"/>
                      <a:gd name="T7" fmla="*/ 0 h 13"/>
                      <a:gd name="T8" fmla="*/ 30163 w 38"/>
                      <a:gd name="T9" fmla="*/ 0 h 13"/>
                      <a:gd name="T10" fmla="*/ 0 w 38"/>
                      <a:gd name="T11" fmla="*/ 0 h 13"/>
                      <a:gd name="T12" fmla="*/ 0 w 38"/>
                      <a:gd name="T13" fmla="*/ 11112 h 13"/>
                      <a:gd name="T14" fmla="*/ 0 w 38"/>
                      <a:gd name="T15" fmla="*/ 20637 h 13"/>
                      <a:gd name="T16" fmla="*/ 0 w 38"/>
                      <a:gd name="T17" fmla="*/ 20637 h 13"/>
                      <a:gd name="T18" fmla="*/ 9525 w 38"/>
                      <a:gd name="T19" fmla="*/ 20637 h 13"/>
                      <a:gd name="T20" fmla="*/ 30163 w 38"/>
                      <a:gd name="T21" fmla="*/ 20637 h 13"/>
                      <a:gd name="T22" fmla="*/ 50800 w 38"/>
                      <a:gd name="T23" fmla="*/ 11112 h 13"/>
                      <a:gd name="T24" fmla="*/ 60325 w 38"/>
                      <a:gd name="T25" fmla="*/ 20637 h 13"/>
                      <a:gd name="T26" fmla="*/ 60325 w 38"/>
                      <a:gd name="T27" fmla="*/ 2063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13"/>
                      <a:gd name="T44" fmla="*/ 38 w 38"/>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13">
                        <a:moveTo>
                          <a:pt x="38" y="13"/>
                        </a:moveTo>
                        <a:lnTo>
                          <a:pt x="38" y="13"/>
                        </a:lnTo>
                        <a:lnTo>
                          <a:pt x="38" y="7"/>
                        </a:lnTo>
                        <a:lnTo>
                          <a:pt x="32" y="0"/>
                        </a:lnTo>
                        <a:lnTo>
                          <a:pt x="19" y="0"/>
                        </a:lnTo>
                        <a:lnTo>
                          <a:pt x="0" y="0"/>
                        </a:lnTo>
                        <a:lnTo>
                          <a:pt x="0" y="7"/>
                        </a:lnTo>
                        <a:lnTo>
                          <a:pt x="0" y="13"/>
                        </a:lnTo>
                        <a:lnTo>
                          <a:pt x="6" y="13"/>
                        </a:lnTo>
                        <a:lnTo>
                          <a:pt x="19" y="13"/>
                        </a:lnTo>
                        <a:lnTo>
                          <a:pt x="32" y="7"/>
                        </a:lnTo>
                        <a:lnTo>
                          <a:pt x="38"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66" name="Freeform 219"/>
                  <p:cNvSpPr>
                    <a:spLocks/>
                  </p:cNvSpPr>
                  <p:nvPr/>
                </p:nvSpPr>
                <p:spPr bwMode="auto">
                  <a:xfrm>
                    <a:off x="4475163" y="4176713"/>
                    <a:ext cx="50800" cy="30162"/>
                  </a:xfrm>
                  <a:custGeom>
                    <a:avLst/>
                    <a:gdLst>
                      <a:gd name="T0" fmla="*/ 50800 w 32"/>
                      <a:gd name="T1" fmla="*/ 30162 h 19"/>
                      <a:gd name="T2" fmla="*/ 50800 w 32"/>
                      <a:gd name="T3" fmla="*/ 30162 h 19"/>
                      <a:gd name="T4" fmla="*/ 50800 w 32"/>
                      <a:gd name="T5" fmla="*/ 9525 h 19"/>
                      <a:gd name="T6" fmla="*/ 41275 w 32"/>
                      <a:gd name="T7" fmla="*/ 0 h 19"/>
                      <a:gd name="T8" fmla="*/ 41275 w 32"/>
                      <a:gd name="T9" fmla="*/ 0 h 19"/>
                      <a:gd name="T10" fmla="*/ 30162 w 32"/>
                      <a:gd name="T11" fmla="*/ 9525 h 19"/>
                      <a:gd name="T12" fmla="*/ 11112 w 32"/>
                      <a:gd name="T13" fmla="*/ 20637 h 19"/>
                      <a:gd name="T14" fmla="*/ 0 w 32"/>
                      <a:gd name="T15" fmla="*/ 20637 h 19"/>
                      <a:gd name="T16" fmla="*/ 0 w 32"/>
                      <a:gd name="T17" fmla="*/ 30162 h 19"/>
                      <a:gd name="T18" fmla="*/ 0 w 32"/>
                      <a:gd name="T19" fmla="*/ 30162 h 19"/>
                      <a:gd name="T20" fmla="*/ 11112 w 32"/>
                      <a:gd name="T21" fmla="*/ 30162 h 19"/>
                      <a:gd name="T22" fmla="*/ 20637 w 32"/>
                      <a:gd name="T23" fmla="*/ 30162 h 19"/>
                      <a:gd name="T24" fmla="*/ 50800 w 32"/>
                      <a:gd name="T25" fmla="*/ 30162 h 19"/>
                      <a:gd name="T26" fmla="*/ 50800 w 32"/>
                      <a:gd name="T27" fmla="*/ 3016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9"/>
                      <a:gd name="T44" fmla="*/ 32 w 3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9">
                        <a:moveTo>
                          <a:pt x="32" y="19"/>
                        </a:moveTo>
                        <a:lnTo>
                          <a:pt x="32" y="19"/>
                        </a:lnTo>
                        <a:lnTo>
                          <a:pt x="32" y="6"/>
                        </a:lnTo>
                        <a:lnTo>
                          <a:pt x="26" y="0"/>
                        </a:lnTo>
                        <a:lnTo>
                          <a:pt x="19" y="6"/>
                        </a:lnTo>
                        <a:lnTo>
                          <a:pt x="7" y="13"/>
                        </a:lnTo>
                        <a:lnTo>
                          <a:pt x="0" y="13"/>
                        </a:lnTo>
                        <a:lnTo>
                          <a:pt x="0" y="19"/>
                        </a:lnTo>
                        <a:lnTo>
                          <a:pt x="7" y="19"/>
                        </a:lnTo>
                        <a:lnTo>
                          <a:pt x="13" y="19"/>
                        </a:lnTo>
                        <a:lnTo>
                          <a:pt x="32"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67" name="Freeform 220"/>
                  <p:cNvSpPr>
                    <a:spLocks/>
                  </p:cNvSpPr>
                  <p:nvPr/>
                </p:nvSpPr>
                <p:spPr bwMode="auto">
                  <a:xfrm>
                    <a:off x="4586288" y="4176713"/>
                    <a:ext cx="30162" cy="30162"/>
                  </a:xfrm>
                  <a:custGeom>
                    <a:avLst/>
                    <a:gdLst>
                      <a:gd name="T0" fmla="*/ 20637 w 19"/>
                      <a:gd name="T1" fmla="*/ 0 h 19"/>
                      <a:gd name="T2" fmla="*/ 20637 w 19"/>
                      <a:gd name="T3" fmla="*/ 0 h 19"/>
                      <a:gd name="T4" fmla="*/ 20637 w 19"/>
                      <a:gd name="T5" fmla="*/ 9525 h 19"/>
                      <a:gd name="T6" fmla="*/ 9525 w 19"/>
                      <a:gd name="T7" fmla="*/ 9525 h 19"/>
                      <a:gd name="T8" fmla="*/ 0 w 19"/>
                      <a:gd name="T9" fmla="*/ 0 h 19"/>
                      <a:gd name="T10" fmla="*/ 0 w 19"/>
                      <a:gd name="T11" fmla="*/ 0 h 19"/>
                      <a:gd name="T12" fmla="*/ 0 w 19"/>
                      <a:gd name="T13" fmla="*/ 30162 h 19"/>
                      <a:gd name="T14" fmla="*/ 0 w 19"/>
                      <a:gd name="T15" fmla="*/ 30162 h 19"/>
                      <a:gd name="T16" fmla="*/ 9525 w 19"/>
                      <a:gd name="T17" fmla="*/ 30162 h 19"/>
                      <a:gd name="T18" fmla="*/ 30162 w 19"/>
                      <a:gd name="T19" fmla="*/ 20637 h 19"/>
                      <a:gd name="T20" fmla="*/ 30162 w 19"/>
                      <a:gd name="T21" fmla="*/ 9525 h 19"/>
                      <a:gd name="T22" fmla="*/ 20637 w 19"/>
                      <a:gd name="T23" fmla="*/ 0 h 19"/>
                      <a:gd name="T24" fmla="*/ 206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3" y="0"/>
                        </a:moveTo>
                        <a:lnTo>
                          <a:pt x="13" y="0"/>
                        </a:lnTo>
                        <a:lnTo>
                          <a:pt x="13" y="6"/>
                        </a:lnTo>
                        <a:lnTo>
                          <a:pt x="6" y="6"/>
                        </a:lnTo>
                        <a:lnTo>
                          <a:pt x="0" y="0"/>
                        </a:lnTo>
                        <a:lnTo>
                          <a:pt x="0" y="19"/>
                        </a:lnTo>
                        <a:lnTo>
                          <a:pt x="6" y="19"/>
                        </a:lnTo>
                        <a:lnTo>
                          <a:pt x="19" y="13"/>
                        </a:lnTo>
                        <a:lnTo>
                          <a:pt x="19" y="6"/>
                        </a:lnTo>
                        <a:lnTo>
                          <a:pt x="13"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68" name="Freeform 226"/>
                  <p:cNvSpPr>
                    <a:spLocks/>
                  </p:cNvSpPr>
                  <p:nvPr/>
                </p:nvSpPr>
                <p:spPr bwMode="auto">
                  <a:xfrm>
                    <a:off x="4465638" y="4348163"/>
                    <a:ext cx="80962" cy="20637"/>
                  </a:xfrm>
                  <a:custGeom>
                    <a:avLst/>
                    <a:gdLst>
                      <a:gd name="T0" fmla="*/ 0 w 51"/>
                      <a:gd name="T1" fmla="*/ 0 h 13"/>
                      <a:gd name="T2" fmla="*/ 0 w 51"/>
                      <a:gd name="T3" fmla="*/ 0 h 13"/>
                      <a:gd name="T4" fmla="*/ 0 w 51"/>
                      <a:gd name="T5" fmla="*/ 9525 h 13"/>
                      <a:gd name="T6" fmla="*/ 9525 w 51"/>
                      <a:gd name="T7" fmla="*/ 20637 h 13"/>
                      <a:gd name="T8" fmla="*/ 30162 w 51"/>
                      <a:gd name="T9" fmla="*/ 20637 h 13"/>
                      <a:gd name="T10" fmla="*/ 50800 w 51"/>
                      <a:gd name="T11" fmla="*/ 20637 h 13"/>
                      <a:gd name="T12" fmla="*/ 80962 w 51"/>
                      <a:gd name="T13" fmla="*/ 20637 h 13"/>
                      <a:gd name="T14" fmla="*/ 80962 w 51"/>
                      <a:gd name="T15" fmla="*/ 20637 h 13"/>
                      <a:gd name="T16" fmla="*/ 80962 w 51"/>
                      <a:gd name="T17" fmla="*/ 9525 h 13"/>
                      <a:gd name="T18" fmla="*/ 69850 w 51"/>
                      <a:gd name="T19" fmla="*/ 0 h 13"/>
                      <a:gd name="T20" fmla="*/ 39687 w 51"/>
                      <a:gd name="T21" fmla="*/ 0 h 13"/>
                      <a:gd name="T22" fmla="*/ 9525 w 51"/>
                      <a:gd name="T23" fmla="*/ 0 h 13"/>
                      <a:gd name="T24" fmla="*/ 0 w 51"/>
                      <a:gd name="T25" fmla="*/ 0 h 13"/>
                      <a:gd name="T26" fmla="*/ 0 w 51"/>
                      <a:gd name="T27" fmla="*/ 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13"/>
                      <a:gd name="T44" fmla="*/ 51 w 5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13">
                        <a:moveTo>
                          <a:pt x="0" y="0"/>
                        </a:moveTo>
                        <a:lnTo>
                          <a:pt x="0" y="0"/>
                        </a:lnTo>
                        <a:lnTo>
                          <a:pt x="0" y="6"/>
                        </a:lnTo>
                        <a:lnTo>
                          <a:pt x="6" y="13"/>
                        </a:lnTo>
                        <a:lnTo>
                          <a:pt x="19" y="13"/>
                        </a:lnTo>
                        <a:lnTo>
                          <a:pt x="32" y="13"/>
                        </a:lnTo>
                        <a:lnTo>
                          <a:pt x="51" y="13"/>
                        </a:lnTo>
                        <a:lnTo>
                          <a:pt x="51" y="6"/>
                        </a:lnTo>
                        <a:lnTo>
                          <a:pt x="44" y="0"/>
                        </a:lnTo>
                        <a:lnTo>
                          <a:pt x="25" y="0"/>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69" name="Freeform 228"/>
                  <p:cNvSpPr>
                    <a:spLocks/>
                  </p:cNvSpPr>
                  <p:nvPr/>
                </p:nvSpPr>
                <p:spPr bwMode="auto">
                  <a:xfrm>
                    <a:off x="4475163" y="4378325"/>
                    <a:ext cx="71437" cy="30163"/>
                  </a:xfrm>
                  <a:custGeom>
                    <a:avLst/>
                    <a:gdLst>
                      <a:gd name="T0" fmla="*/ 0 w 45"/>
                      <a:gd name="T1" fmla="*/ 0 h 19"/>
                      <a:gd name="T2" fmla="*/ 0 w 45"/>
                      <a:gd name="T3" fmla="*/ 0 h 19"/>
                      <a:gd name="T4" fmla="*/ 0 w 45"/>
                      <a:gd name="T5" fmla="*/ 30163 h 19"/>
                      <a:gd name="T6" fmla="*/ 0 w 45"/>
                      <a:gd name="T7" fmla="*/ 30163 h 19"/>
                      <a:gd name="T8" fmla="*/ 41275 w 45"/>
                      <a:gd name="T9" fmla="*/ 20638 h 19"/>
                      <a:gd name="T10" fmla="*/ 71437 w 45"/>
                      <a:gd name="T11" fmla="*/ 20638 h 19"/>
                      <a:gd name="T12" fmla="*/ 71437 w 45"/>
                      <a:gd name="T13" fmla="*/ 20638 h 19"/>
                      <a:gd name="T14" fmla="*/ 60325 w 45"/>
                      <a:gd name="T15" fmla="*/ 0 h 19"/>
                      <a:gd name="T16" fmla="*/ 41275 w 45"/>
                      <a:gd name="T17" fmla="*/ 0 h 19"/>
                      <a:gd name="T18" fmla="*/ 0 w 45"/>
                      <a:gd name="T19" fmla="*/ 0 h 19"/>
                      <a:gd name="T20" fmla="*/ 0 w 45"/>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9"/>
                      <a:gd name="T35" fmla="*/ 45 w 45"/>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9">
                        <a:moveTo>
                          <a:pt x="0" y="0"/>
                        </a:moveTo>
                        <a:lnTo>
                          <a:pt x="0" y="0"/>
                        </a:lnTo>
                        <a:lnTo>
                          <a:pt x="0" y="19"/>
                        </a:lnTo>
                        <a:lnTo>
                          <a:pt x="26" y="13"/>
                        </a:lnTo>
                        <a:lnTo>
                          <a:pt x="45" y="13"/>
                        </a:lnTo>
                        <a:lnTo>
                          <a:pt x="38" y="0"/>
                        </a:lnTo>
                        <a:lnTo>
                          <a:pt x="2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0" name="Freeform 231"/>
                  <p:cNvSpPr>
                    <a:spLocks/>
                  </p:cNvSpPr>
                  <p:nvPr/>
                </p:nvSpPr>
                <p:spPr bwMode="auto">
                  <a:xfrm>
                    <a:off x="4475163" y="4498975"/>
                    <a:ext cx="50800" cy="30163"/>
                  </a:xfrm>
                  <a:custGeom>
                    <a:avLst/>
                    <a:gdLst>
                      <a:gd name="T0" fmla="*/ 50800 w 32"/>
                      <a:gd name="T1" fmla="*/ 30163 h 19"/>
                      <a:gd name="T2" fmla="*/ 50800 w 32"/>
                      <a:gd name="T3" fmla="*/ 30163 h 19"/>
                      <a:gd name="T4" fmla="*/ 50800 w 32"/>
                      <a:gd name="T5" fmla="*/ 11113 h 19"/>
                      <a:gd name="T6" fmla="*/ 41275 w 32"/>
                      <a:gd name="T7" fmla="*/ 0 h 19"/>
                      <a:gd name="T8" fmla="*/ 41275 w 32"/>
                      <a:gd name="T9" fmla="*/ 0 h 19"/>
                      <a:gd name="T10" fmla="*/ 30162 w 32"/>
                      <a:gd name="T11" fmla="*/ 11113 h 19"/>
                      <a:gd name="T12" fmla="*/ 11112 w 32"/>
                      <a:gd name="T13" fmla="*/ 20638 h 19"/>
                      <a:gd name="T14" fmla="*/ 0 w 32"/>
                      <a:gd name="T15" fmla="*/ 20638 h 19"/>
                      <a:gd name="T16" fmla="*/ 0 w 32"/>
                      <a:gd name="T17" fmla="*/ 30163 h 19"/>
                      <a:gd name="T18" fmla="*/ 0 w 32"/>
                      <a:gd name="T19" fmla="*/ 30163 h 19"/>
                      <a:gd name="T20" fmla="*/ 11112 w 32"/>
                      <a:gd name="T21" fmla="*/ 30163 h 19"/>
                      <a:gd name="T22" fmla="*/ 20637 w 32"/>
                      <a:gd name="T23" fmla="*/ 30163 h 19"/>
                      <a:gd name="T24" fmla="*/ 50800 w 32"/>
                      <a:gd name="T25" fmla="*/ 30163 h 19"/>
                      <a:gd name="T26" fmla="*/ 50800 w 32"/>
                      <a:gd name="T27" fmla="*/ 30163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9"/>
                      <a:gd name="T44" fmla="*/ 32 w 3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9">
                        <a:moveTo>
                          <a:pt x="32" y="19"/>
                        </a:moveTo>
                        <a:lnTo>
                          <a:pt x="32" y="19"/>
                        </a:lnTo>
                        <a:lnTo>
                          <a:pt x="32" y="7"/>
                        </a:lnTo>
                        <a:lnTo>
                          <a:pt x="26" y="0"/>
                        </a:lnTo>
                        <a:lnTo>
                          <a:pt x="19" y="7"/>
                        </a:lnTo>
                        <a:lnTo>
                          <a:pt x="7" y="13"/>
                        </a:lnTo>
                        <a:lnTo>
                          <a:pt x="0" y="13"/>
                        </a:lnTo>
                        <a:lnTo>
                          <a:pt x="0" y="19"/>
                        </a:lnTo>
                        <a:lnTo>
                          <a:pt x="7" y="19"/>
                        </a:lnTo>
                        <a:lnTo>
                          <a:pt x="13" y="19"/>
                        </a:lnTo>
                        <a:lnTo>
                          <a:pt x="32"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1" name="Freeform 234"/>
                  <p:cNvSpPr>
                    <a:spLocks/>
                  </p:cNvSpPr>
                  <p:nvPr/>
                </p:nvSpPr>
                <p:spPr bwMode="auto">
                  <a:xfrm>
                    <a:off x="4465638" y="4579938"/>
                    <a:ext cx="80962" cy="20637"/>
                  </a:xfrm>
                  <a:custGeom>
                    <a:avLst/>
                    <a:gdLst>
                      <a:gd name="T0" fmla="*/ 80962 w 51"/>
                      <a:gd name="T1" fmla="*/ 0 h 13"/>
                      <a:gd name="T2" fmla="*/ 80962 w 51"/>
                      <a:gd name="T3" fmla="*/ 0 h 13"/>
                      <a:gd name="T4" fmla="*/ 39687 w 51"/>
                      <a:gd name="T5" fmla="*/ 0 h 13"/>
                      <a:gd name="T6" fmla="*/ 20637 w 51"/>
                      <a:gd name="T7" fmla="*/ 0 h 13"/>
                      <a:gd name="T8" fmla="*/ 0 w 51"/>
                      <a:gd name="T9" fmla="*/ 20637 h 13"/>
                      <a:gd name="T10" fmla="*/ 0 w 51"/>
                      <a:gd name="T11" fmla="*/ 20637 h 13"/>
                      <a:gd name="T12" fmla="*/ 50800 w 51"/>
                      <a:gd name="T13" fmla="*/ 20637 h 13"/>
                      <a:gd name="T14" fmla="*/ 69850 w 51"/>
                      <a:gd name="T15" fmla="*/ 9525 h 13"/>
                      <a:gd name="T16" fmla="*/ 80962 w 51"/>
                      <a:gd name="T17" fmla="*/ 0 h 13"/>
                      <a:gd name="T18" fmla="*/ 80962 w 5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13"/>
                      <a:gd name="T32" fmla="*/ 51 w 5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13">
                        <a:moveTo>
                          <a:pt x="51" y="0"/>
                        </a:moveTo>
                        <a:lnTo>
                          <a:pt x="51" y="0"/>
                        </a:lnTo>
                        <a:lnTo>
                          <a:pt x="25" y="0"/>
                        </a:lnTo>
                        <a:lnTo>
                          <a:pt x="13" y="0"/>
                        </a:lnTo>
                        <a:lnTo>
                          <a:pt x="0" y="13"/>
                        </a:lnTo>
                        <a:lnTo>
                          <a:pt x="32" y="13"/>
                        </a:lnTo>
                        <a:lnTo>
                          <a:pt x="44" y="6"/>
                        </a:lnTo>
                        <a:lnTo>
                          <a:pt x="51"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2" name="Freeform 236"/>
                  <p:cNvSpPr>
                    <a:spLocks/>
                  </p:cNvSpPr>
                  <p:nvPr/>
                </p:nvSpPr>
                <p:spPr bwMode="auto">
                  <a:xfrm>
                    <a:off x="4465638" y="4610100"/>
                    <a:ext cx="60325" cy="20638"/>
                  </a:xfrm>
                  <a:custGeom>
                    <a:avLst/>
                    <a:gdLst>
                      <a:gd name="T0" fmla="*/ 9525 w 38"/>
                      <a:gd name="T1" fmla="*/ 20638 h 13"/>
                      <a:gd name="T2" fmla="*/ 9525 w 38"/>
                      <a:gd name="T3" fmla="*/ 20638 h 13"/>
                      <a:gd name="T4" fmla="*/ 30163 w 38"/>
                      <a:gd name="T5" fmla="*/ 20638 h 13"/>
                      <a:gd name="T6" fmla="*/ 60325 w 38"/>
                      <a:gd name="T7" fmla="*/ 20638 h 13"/>
                      <a:gd name="T8" fmla="*/ 60325 w 38"/>
                      <a:gd name="T9" fmla="*/ 20638 h 13"/>
                      <a:gd name="T10" fmla="*/ 60325 w 38"/>
                      <a:gd name="T11" fmla="*/ 0 h 13"/>
                      <a:gd name="T12" fmla="*/ 60325 w 38"/>
                      <a:gd name="T13" fmla="*/ 0 h 13"/>
                      <a:gd name="T14" fmla="*/ 60325 w 38"/>
                      <a:gd name="T15" fmla="*/ 0 h 13"/>
                      <a:gd name="T16" fmla="*/ 50800 w 38"/>
                      <a:gd name="T17" fmla="*/ 0 h 13"/>
                      <a:gd name="T18" fmla="*/ 50800 w 38"/>
                      <a:gd name="T19" fmla="*/ 0 h 13"/>
                      <a:gd name="T20" fmla="*/ 39687 w 38"/>
                      <a:gd name="T21" fmla="*/ 0 h 13"/>
                      <a:gd name="T22" fmla="*/ 20637 w 38"/>
                      <a:gd name="T23" fmla="*/ 11113 h 13"/>
                      <a:gd name="T24" fmla="*/ 0 w 38"/>
                      <a:gd name="T25" fmla="*/ 11113 h 13"/>
                      <a:gd name="T26" fmla="*/ 0 w 38"/>
                      <a:gd name="T27" fmla="*/ 11113 h 13"/>
                      <a:gd name="T28" fmla="*/ 9525 w 38"/>
                      <a:gd name="T29" fmla="*/ 20638 h 13"/>
                      <a:gd name="T30" fmla="*/ 9525 w 38"/>
                      <a:gd name="T31" fmla="*/ 20638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3"/>
                      <a:gd name="T50" fmla="*/ 38 w 38"/>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3">
                        <a:moveTo>
                          <a:pt x="6" y="13"/>
                        </a:moveTo>
                        <a:lnTo>
                          <a:pt x="6" y="13"/>
                        </a:lnTo>
                        <a:lnTo>
                          <a:pt x="19" y="13"/>
                        </a:lnTo>
                        <a:lnTo>
                          <a:pt x="38" y="13"/>
                        </a:lnTo>
                        <a:lnTo>
                          <a:pt x="38" y="0"/>
                        </a:lnTo>
                        <a:lnTo>
                          <a:pt x="32" y="0"/>
                        </a:lnTo>
                        <a:lnTo>
                          <a:pt x="25" y="0"/>
                        </a:lnTo>
                        <a:lnTo>
                          <a:pt x="13" y="7"/>
                        </a:lnTo>
                        <a:lnTo>
                          <a:pt x="0" y="7"/>
                        </a:lnTo>
                        <a:lnTo>
                          <a:pt x="6"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3" name="Freeform 238"/>
                  <p:cNvSpPr>
                    <a:spLocks/>
                  </p:cNvSpPr>
                  <p:nvPr/>
                </p:nvSpPr>
                <p:spPr bwMode="auto">
                  <a:xfrm>
                    <a:off x="4465638" y="4540250"/>
                    <a:ext cx="60325" cy="30163"/>
                  </a:xfrm>
                  <a:custGeom>
                    <a:avLst/>
                    <a:gdLst>
                      <a:gd name="T0" fmla="*/ 50800 w 38"/>
                      <a:gd name="T1" fmla="*/ 0 h 19"/>
                      <a:gd name="T2" fmla="*/ 50800 w 38"/>
                      <a:gd name="T3" fmla="*/ 0 h 19"/>
                      <a:gd name="T4" fmla="*/ 50800 w 38"/>
                      <a:gd name="T5" fmla="*/ 9525 h 19"/>
                      <a:gd name="T6" fmla="*/ 50800 w 38"/>
                      <a:gd name="T7" fmla="*/ 9525 h 19"/>
                      <a:gd name="T8" fmla="*/ 30163 w 38"/>
                      <a:gd name="T9" fmla="*/ 9525 h 19"/>
                      <a:gd name="T10" fmla="*/ 9525 w 38"/>
                      <a:gd name="T11" fmla="*/ 9525 h 19"/>
                      <a:gd name="T12" fmla="*/ 0 w 38"/>
                      <a:gd name="T13" fmla="*/ 9525 h 19"/>
                      <a:gd name="T14" fmla="*/ 0 w 38"/>
                      <a:gd name="T15" fmla="*/ 30163 h 19"/>
                      <a:gd name="T16" fmla="*/ 0 w 38"/>
                      <a:gd name="T17" fmla="*/ 30163 h 19"/>
                      <a:gd name="T18" fmla="*/ 50800 w 38"/>
                      <a:gd name="T19" fmla="*/ 30163 h 19"/>
                      <a:gd name="T20" fmla="*/ 60325 w 38"/>
                      <a:gd name="T21" fmla="*/ 19050 h 19"/>
                      <a:gd name="T22" fmla="*/ 50800 w 38"/>
                      <a:gd name="T23" fmla="*/ 0 h 19"/>
                      <a:gd name="T24" fmla="*/ 5080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32" y="0"/>
                        </a:moveTo>
                        <a:lnTo>
                          <a:pt x="32" y="0"/>
                        </a:lnTo>
                        <a:lnTo>
                          <a:pt x="32" y="6"/>
                        </a:lnTo>
                        <a:lnTo>
                          <a:pt x="19" y="6"/>
                        </a:lnTo>
                        <a:lnTo>
                          <a:pt x="6" y="6"/>
                        </a:lnTo>
                        <a:lnTo>
                          <a:pt x="0" y="6"/>
                        </a:lnTo>
                        <a:lnTo>
                          <a:pt x="0" y="19"/>
                        </a:lnTo>
                        <a:lnTo>
                          <a:pt x="32" y="19"/>
                        </a:lnTo>
                        <a:lnTo>
                          <a:pt x="38" y="12"/>
                        </a:lnTo>
                        <a:lnTo>
                          <a:pt x="32"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4" name="Freeform 241"/>
                  <p:cNvSpPr>
                    <a:spLocks/>
                  </p:cNvSpPr>
                  <p:nvPr/>
                </p:nvSpPr>
                <p:spPr bwMode="auto">
                  <a:xfrm>
                    <a:off x="4465638" y="4579938"/>
                    <a:ext cx="80962" cy="20637"/>
                  </a:xfrm>
                  <a:custGeom>
                    <a:avLst/>
                    <a:gdLst>
                      <a:gd name="T0" fmla="*/ 80962 w 51"/>
                      <a:gd name="T1" fmla="*/ 0 h 13"/>
                      <a:gd name="T2" fmla="*/ 80962 w 51"/>
                      <a:gd name="T3" fmla="*/ 0 h 13"/>
                      <a:gd name="T4" fmla="*/ 39687 w 51"/>
                      <a:gd name="T5" fmla="*/ 0 h 13"/>
                      <a:gd name="T6" fmla="*/ 20637 w 51"/>
                      <a:gd name="T7" fmla="*/ 0 h 13"/>
                      <a:gd name="T8" fmla="*/ 0 w 51"/>
                      <a:gd name="T9" fmla="*/ 20637 h 13"/>
                      <a:gd name="T10" fmla="*/ 0 w 51"/>
                      <a:gd name="T11" fmla="*/ 20637 h 13"/>
                      <a:gd name="T12" fmla="*/ 50800 w 51"/>
                      <a:gd name="T13" fmla="*/ 20637 h 13"/>
                      <a:gd name="T14" fmla="*/ 69850 w 51"/>
                      <a:gd name="T15" fmla="*/ 9525 h 13"/>
                      <a:gd name="T16" fmla="*/ 80962 w 51"/>
                      <a:gd name="T17" fmla="*/ 0 h 13"/>
                      <a:gd name="T18" fmla="*/ 80962 w 5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13"/>
                      <a:gd name="T32" fmla="*/ 51 w 5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13">
                        <a:moveTo>
                          <a:pt x="51" y="0"/>
                        </a:moveTo>
                        <a:lnTo>
                          <a:pt x="51" y="0"/>
                        </a:lnTo>
                        <a:lnTo>
                          <a:pt x="25" y="0"/>
                        </a:lnTo>
                        <a:lnTo>
                          <a:pt x="13" y="0"/>
                        </a:lnTo>
                        <a:lnTo>
                          <a:pt x="0" y="13"/>
                        </a:lnTo>
                        <a:lnTo>
                          <a:pt x="32" y="13"/>
                        </a:lnTo>
                        <a:lnTo>
                          <a:pt x="44" y="6"/>
                        </a:lnTo>
                        <a:lnTo>
                          <a:pt x="51"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5" name="Freeform 243"/>
                  <p:cNvSpPr>
                    <a:spLocks/>
                  </p:cNvSpPr>
                  <p:nvPr/>
                </p:nvSpPr>
                <p:spPr bwMode="auto">
                  <a:xfrm>
                    <a:off x="4465638" y="4610100"/>
                    <a:ext cx="60325" cy="20638"/>
                  </a:xfrm>
                  <a:custGeom>
                    <a:avLst/>
                    <a:gdLst>
                      <a:gd name="T0" fmla="*/ 9525 w 38"/>
                      <a:gd name="T1" fmla="*/ 20638 h 13"/>
                      <a:gd name="T2" fmla="*/ 9525 w 38"/>
                      <a:gd name="T3" fmla="*/ 20638 h 13"/>
                      <a:gd name="T4" fmla="*/ 30163 w 38"/>
                      <a:gd name="T5" fmla="*/ 20638 h 13"/>
                      <a:gd name="T6" fmla="*/ 60325 w 38"/>
                      <a:gd name="T7" fmla="*/ 20638 h 13"/>
                      <a:gd name="T8" fmla="*/ 60325 w 38"/>
                      <a:gd name="T9" fmla="*/ 20638 h 13"/>
                      <a:gd name="T10" fmla="*/ 60325 w 38"/>
                      <a:gd name="T11" fmla="*/ 0 h 13"/>
                      <a:gd name="T12" fmla="*/ 60325 w 38"/>
                      <a:gd name="T13" fmla="*/ 0 h 13"/>
                      <a:gd name="T14" fmla="*/ 60325 w 38"/>
                      <a:gd name="T15" fmla="*/ 0 h 13"/>
                      <a:gd name="T16" fmla="*/ 50800 w 38"/>
                      <a:gd name="T17" fmla="*/ 0 h 13"/>
                      <a:gd name="T18" fmla="*/ 50800 w 38"/>
                      <a:gd name="T19" fmla="*/ 0 h 13"/>
                      <a:gd name="T20" fmla="*/ 39687 w 38"/>
                      <a:gd name="T21" fmla="*/ 0 h 13"/>
                      <a:gd name="T22" fmla="*/ 20637 w 38"/>
                      <a:gd name="T23" fmla="*/ 11113 h 13"/>
                      <a:gd name="T24" fmla="*/ 0 w 38"/>
                      <a:gd name="T25" fmla="*/ 11113 h 13"/>
                      <a:gd name="T26" fmla="*/ 0 w 38"/>
                      <a:gd name="T27" fmla="*/ 11113 h 13"/>
                      <a:gd name="T28" fmla="*/ 9525 w 38"/>
                      <a:gd name="T29" fmla="*/ 20638 h 13"/>
                      <a:gd name="T30" fmla="*/ 9525 w 38"/>
                      <a:gd name="T31" fmla="*/ 20638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3"/>
                      <a:gd name="T50" fmla="*/ 38 w 38"/>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3">
                        <a:moveTo>
                          <a:pt x="6" y="13"/>
                        </a:moveTo>
                        <a:lnTo>
                          <a:pt x="6" y="13"/>
                        </a:lnTo>
                        <a:lnTo>
                          <a:pt x="19" y="13"/>
                        </a:lnTo>
                        <a:lnTo>
                          <a:pt x="38" y="13"/>
                        </a:lnTo>
                        <a:lnTo>
                          <a:pt x="38" y="0"/>
                        </a:lnTo>
                        <a:lnTo>
                          <a:pt x="32" y="0"/>
                        </a:lnTo>
                        <a:lnTo>
                          <a:pt x="25" y="0"/>
                        </a:lnTo>
                        <a:lnTo>
                          <a:pt x="13" y="7"/>
                        </a:lnTo>
                        <a:lnTo>
                          <a:pt x="0" y="7"/>
                        </a:lnTo>
                        <a:lnTo>
                          <a:pt x="6"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6" name="Freeform 245"/>
                  <p:cNvSpPr>
                    <a:spLocks/>
                  </p:cNvSpPr>
                  <p:nvPr/>
                </p:nvSpPr>
                <p:spPr bwMode="auto">
                  <a:xfrm>
                    <a:off x="4465638" y="4540250"/>
                    <a:ext cx="60325" cy="30163"/>
                  </a:xfrm>
                  <a:custGeom>
                    <a:avLst/>
                    <a:gdLst>
                      <a:gd name="T0" fmla="*/ 50800 w 38"/>
                      <a:gd name="T1" fmla="*/ 0 h 19"/>
                      <a:gd name="T2" fmla="*/ 50800 w 38"/>
                      <a:gd name="T3" fmla="*/ 0 h 19"/>
                      <a:gd name="T4" fmla="*/ 50800 w 38"/>
                      <a:gd name="T5" fmla="*/ 9525 h 19"/>
                      <a:gd name="T6" fmla="*/ 50800 w 38"/>
                      <a:gd name="T7" fmla="*/ 9525 h 19"/>
                      <a:gd name="T8" fmla="*/ 30163 w 38"/>
                      <a:gd name="T9" fmla="*/ 9525 h 19"/>
                      <a:gd name="T10" fmla="*/ 9525 w 38"/>
                      <a:gd name="T11" fmla="*/ 9525 h 19"/>
                      <a:gd name="T12" fmla="*/ 0 w 38"/>
                      <a:gd name="T13" fmla="*/ 9525 h 19"/>
                      <a:gd name="T14" fmla="*/ 0 w 38"/>
                      <a:gd name="T15" fmla="*/ 30163 h 19"/>
                      <a:gd name="T16" fmla="*/ 0 w 38"/>
                      <a:gd name="T17" fmla="*/ 30163 h 19"/>
                      <a:gd name="T18" fmla="*/ 50800 w 38"/>
                      <a:gd name="T19" fmla="*/ 30163 h 19"/>
                      <a:gd name="T20" fmla="*/ 60325 w 38"/>
                      <a:gd name="T21" fmla="*/ 19050 h 19"/>
                      <a:gd name="T22" fmla="*/ 50800 w 38"/>
                      <a:gd name="T23" fmla="*/ 0 h 19"/>
                      <a:gd name="T24" fmla="*/ 5080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32" y="0"/>
                        </a:moveTo>
                        <a:lnTo>
                          <a:pt x="32" y="0"/>
                        </a:lnTo>
                        <a:lnTo>
                          <a:pt x="32" y="6"/>
                        </a:lnTo>
                        <a:lnTo>
                          <a:pt x="19" y="6"/>
                        </a:lnTo>
                        <a:lnTo>
                          <a:pt x="6" y="6"/>
                        </a:lnTo>
                        <a:lnTo>
                          <a:pt x="0" y="6"/>
                        </a:lnTo>
                        <a:lnTo>
                          <a:pt x="0" y="19"/>
                        </a:lnTo>
                        <a:lnTo>
                          <a:pt x="32" y="19"/>
                        </a:lnTo>
                        <a:lnTo>
                          <a:pt x="38" y="12"/>
                        </a:lnTo>
                        <a:lnTo>
                          <a:pt x="32"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7" name="Freeform 281"/>
                  <p:cNvSpPr>
                    <a:spLocks/>
                  </p:cNvSpPr>
                  <p:nvPr/>
                </p:nvSpPr>
                <p:spPr bwMode="auto">
                  <a:xfrm>
                    <a:off x="3629025" y="34512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8" name="Freeform 282"/>
                  <p:cNvSpPr>
                    <a:spLocks/>
                  </p:cNvSpPr>
                  <p:nvPr/>
                </p:nvSpPr>
                <p:spPr bwMode="auto">
                  <a:xfrm>
                    <a:off x="3629025" y="3511550"/>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w 1588"/>
                      <a:gd name="T19" fmla="*/ 0 h 15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8"/>
                      <a:gd name="T31" fmla="*/ 0 h 1588"/>
                      <a:gd name="T32" fmla="*/ 1588 w 1588"/>
                      <a:gd name="T33" fmla="*/ 1588 h 15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79" name="Freeform 283"/>
                  <p:cNvSpPr>
                    <a:spLocks/>
                  </p:cNvSpPr>
                  <p:nvPr/>
                </p:nvSpPr>
                <p:spPr bwMode="auto">
                  <a:xfrm>
                    <a:off x="3629025" y="351155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80" name="Rectangle 284"/>
                  <p:cNvSpPr>
                    <a:spLocks noChangeArrowheads="1"/>
                  </p:cNvSpPr>
                  <p:nvPr/>
                </p:nvSpPr>
                <p:spPr bwMode="auto">
                  <a:xfrm>
                    <a:off x="3629025" y="352107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381" name="Freeform 285"/>
                  <p:cNvSpPr>
                    <a:spLocks/>
                  </p:cNvSpPr>
                  <p:nvPr/>
                </p:nvSpPr>
                <p:spPr bwMode="auto">
                  <a:xfrm>
                    <a:off x="3608388" y="353218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82" name="Freeform 286"/>
                  <p:cNvSpPr>
                    <a:spLocks/>
                  </p:cNvSpPr>
                  <p:nvPr/>
                </p:nvSpPr>
                <p:spPr bwMode="auto">
                  <a:xfrm>
                    <a:off x="3629025" y="3532188"/>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83" name="Freeform 287"/>
                  <p:cNvSpPr>
                    <a:spLocks/>
                  </p:cNvSpPr>
                  <p:nvPr/>
                </p:nvSpPr>
                <p:spPr bwMode="auto">
                  <a:xfrm>
                    <a:off x="3648075" y="3551238"/>
                    <a:ext cx="1588"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8"/>
                      <a:gd name="T28" fmla="*/ 0 h 1588"/>
                      <a:gd name="T29" fmla="*/ 1588 w 1588"/>
                      <a:gd name="T30" fmla="*/ 1588 h 15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84" name="Rectangle 290"/>
                  <p:cNvSpPr>
                    <a:spLocks noChangeArrowheads="1"/>
                  </p:cNvSpPr>
                  <p:nvPr/>
                </p:nvSpPr>
                <p:spPr bwMode="auto">
                  <a:xfrm>
                    <a:off x="3648075" y="38338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385" name="Freeform 291"/>
                  <p:cNvSpPr>
                    <a:spLocks/>
                  </p:cNvSpPr>
                  <p:nvPr/>
                </p:nvSpPr>
                <p:spPr bwMode="auto">
                  <a:xfrm>
                    <a:off x="3659188" y="3833813"/>
                    <a:ext cx="1587" cy="11112"/>
                  </a:xfrm>
                  <a:custGeom>
                    <a:avLst/>
                    <a:gdLst>
                      <a:gd name="T0" fmla="*/ 0 w 1588"/>
                      <a:gd name="T1" fmla="*/ 11112 h 7"/>
                      <a:gd name="T2" fmla="*/ 0 w 1588"/>
                      <a:gd name="T3" fmla="*/ 11112 h 7"/>
                      <a:gd name="T4" fmla="*/ 0 w 1588"/>
                      <a:gd name="T5" fmla="*/ 0 h 7"/>
                      <a:gd name="T6" fmla="*/ 0 w 1588"/>
                      <a:gd name="T7" fmla="*/ 11112 h 7"/>
                      <a:gd name="T8" fmla="*/ 0 w 1588"/>
                      <a:gd name="T9" fmla="*/ 11112 h 7"/>
                      <a:gd name="T10" fmla="*/ 0 60000 65536"/>
                      <a:gd name="T11" fmla="*/ 0 60000 65536"/>
                      <a:gd name="T12" fmla="*/ 0 60000 65536"/>
                      <a:gd name="T13" fmla="*/ 0 60000 65536"/>
                      <a:gd name="T14" fmla="*/ 0 60000 65536"/>
                      <a:gd name="T15" fmla="*/ 0 w 1588"/>
                      <a:gd name="T16" fmla="*/ 0 h 7"/>
                      <a:gd name="T17" fmla="*/ 1588 w 1588"/>
                      <a:gd name="T18" fmla="*/ 7 h 7"/>
                    </a:gdLst>
                    <a:ahLst/>
                    <a:cxnLst>
                      <a:cxn ang="T10">
                        <a:pos x="T0" y="T1"/>
                      </a:cxn>
                      <a:cxn ang="T11">
                        <a:pos x="T2" y="T3"/>
                      </a:cxn>
                      <a:cxn ang="T12">
                        <a:pos x="T4" y="T5"/>
                      </a:cxn>
                      <a:cxn ang="T13">
                        <a:pos x="T6" y="T7"/>
                      </a:cxn>
                      <a:cxn ang="T14">
                        <a:pos x="T8" y="T9"/>
                      </a:cxn>
                    </a:cxnLst>
                    <a:rect l="T15" t="T16" r="T17" b="T18"/>
                    <a:pathLst>
                      <a:path w="1588" h="7">
                        <a:moveTo>
                          <a:pt x="0" y="7"/>
                        </a:moveTo>
                        <a:lnTo>
                          <a:pt x="0" y="7"/>
                        </a:lnTo>
                        <a:lnTo>
                          <a:pt x="0" y="0"/>
                        </a:lnTo>
                        <a:lnTo>
                          <a:pt x="0"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86" name="Rectangle 292"/>
                  <p:cNvSpPr>
                    <a:spLocks noChangeArrowheads="1"/>
                  </p:cNvSpPr>
                  <p:nvPr/>
                </p:nvSpPr>
                <p:spPr bwMode="auto">
                  <a:xfrm>
                    <a:off x="3538538" y="384492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387" name="Rectangle 293"/>
                  <p:cNvSpPr>
                    <a:spLocks noChangeArrowheads="1"/>
                  </p:cNvSpPr>
                  <p:nvPr/>
                </p:nvSpPr>
                <p:spPr bwMode="auto">
                  <a:xfrm>
                    <a:off x="3659188" y="384492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388" name="Freeform 294"/>
                  <p:cNvSpPr>
                    <a:spLocks/>
                  </p:cNvSpPr>
                  <p:nvPr/>
                </p:nvSpPr>
                <p:spPr bwMode="auto">
                  <a:xfrm>
                    <a:off x="3648075" y="38449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89" name="Freeform 295"/>
                  <p:cNvSpPr>
                    <a:spLocks/>
                  </p:cNvSpPr>
                  <p:nvPr/>
                </p:nvSpPr>
                <p:spPr bwMode="auto">
                  <a:xfrm>
                    <a:off x="3648075" y="38449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90" name="Rectangle 296"/>
                  <p:cNvSpPr>
                    <a:spLocks noChangeArrowheads="1"/>
                  </p:cNvSpPr>
                  <p:nvPr/>
                </p:nvSpPr>
                <p:spPr bwMode="auto">
                  <a:xfrm>
                    <a:off x="3659188"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391" name="Freeform 297"/>
                  <p:cNvSpPr>
                    <a:spLocks/>
                  </p:cNvSpPr>
                  <p:nvPr/>
                </p:nvSpPr>
                <p:spPr bwMode="auto">
                  <a:xfrm>
                    <a:off x="3638550" y="39147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92" name="Rectangle 298"/>
                  <p:cNvSpPr>
                    <a:spLocks noChangeArrowheads="1"/>
                  </p:cNvSpPr>
                  <p:nvPr/>
                </p:nvSpPr>
                <p:spPr bwMode="auto">
                  <a:xfrm>
                    <a:off x="3668713"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393" name="Freeform 299"/>
                  <p:cNvSpPr>
                    <a:spLocks/>
                  </p:cNvSpPr>
                  <p:nvPr/>
                </p:nvSpPr>
                <p:spPr bwMode="auto">
                  <a:xfrm>
                    <a:off x="3679825" y="391477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94" name="Rectangle 300"/>
                  <p:cNvSpPr>
                    <a:spLocks noChangeArrowheads="1"/>
                  </p:cNvSpPr>
                  <p:nvPr/>
                </p:nvSpPr>
                <p:spPr bwMode="auto">
                  <a:xfrm>
                    <a:off x="3709988"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395" name="Freeform 301"/>
                  <p:cNvSpPr>
                    <a:spLocks/>
                  </p:cNvSpPr>
                  <p:nvPr/>
                </p:nvSpPr>
                <p:spPr bwMode="auto">
                  <a:xfrm>
                    <a:off x="3587750" y="3914775"/>
                    <a:ext cx="1588" cy="30163"/>
                  </a:xfrm>
                  <a:custGeom>
                    <a:avLst/>
                    <a:gdLst>
                      <a:gd name="T0" fmla="*/ 0 w 1588"/>
                      <a:gd name="T1" fmla="*/ 30163 h 19"/>
                      <a:gd name="T2" fmla="*/ 0 w 1588"/>
                      <a:gd name="T3" fmla="*/ 30163 h 19"/>
                      <a:gd name="T4" fmla="*/ 0 w 1588"/>
                      <a:gd name="T5" fmla="*/ 0 h 19"/>
                      <a:gd name="T6" fmla="*/ 0 w 1588"/>
                      <a:gd name="T7" fmla="*/ 0 h 19"/>
                      <a:gd name="T8" fmla="*/ 0 w 1588"/>
                      <a:gd name="T9" fmla="*/ 30163 h 19"/>
                      <a:gd name="T10" fmla="*/ 0 w 1588"/>
                      <a:gd name="T11" fmla="*/ 30163 h 19"/>
                      <a:gd name="T12" fmla="*/ 0 60000 65536"/>
                      <a:gd name="T13" fmla="*/ 0 60000 65536"/>
                      <a:gd name="T14" fmla="*/ 0 60000 65536"/>
                      <a:gd name="T15" fmla="*/ 0 60000 65536"/>
                      <a:gd name="T16" fmla="*/ 0 60000 65536"/>
                      <a:gd name="T17" fmla="*/ 0 60000 65536"/>
                      <a:gd name="T18" fmla="*/ 0 w 1588"/>
                      <a:gd name="T19" fmla="*/ 0 h 19"/>
                      <a:gd name="T20" fmla="*/ 1588 w 1588"/>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588" h="19">
                        <a:moveTo>
                          <a:pt x="0" y="19"/>
                        </a:moveTo>
                        <a:lnTo>
                          <a:pt x="0" y="19"/>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96" name="Freeform 302"/>
                  <p:cNvSpPr>
                    <a:spLocks/>
                  </p:cNvSpPr>
                  <p:nvPr/>
                </p:nvSpPr>
                <p:spPr bwMode="auto">
                  <a:xfrm>
                    <a:off x="3698875" y="391477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9525 h 6"/>
                      <a:gd name="T12" fmla="*/ 0 w 1588"/>
                      <a:gd name="T13" fmla="*/ 0 h 6"/>
                      <a:gd name="T14" fmla="*/ 0 w 1588"/>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6"/>
                      <a:gd name="T26" fmla="*/ 1588 w 158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97" name="Freeform 303"/>
                  <p:cNvSpPr>
                    <a:spLocks/>
                  </p:cNvSpPr>
                  <p:nvPr/>
                </p:nvSpPr>
                <p:spPr bwMode="auto">
                  <a:xfrm>
                    <a:off x="3587750" y="3924300"/>
                    <a:ext cx="1588"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11113 h 13"/>
                      <a:gd name="T10" fmla="*/ 0 w 1588"/>
                      <a:gd name="T11" fmla="*/ 20638 h 13"/>
                      <a:gd name="T12" fmla="*/ 0 w 1588"/>
                      <a:gd name="T13" fmla="*/ 20638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7"/>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398" name="Rectangle 304"/>
                  <p:cNvSpPr>
                    <a:spLocks noChangeArrowheads="1"/>
                  </p:cNvSpPr>
                  <p:nvPr/>
                </p:nvSpPr>
                <p:spPr bwMode="auto">
                  <a:xfrm>
                    <a:off x="3659188" y="3924300"/>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399" name="Freeform 305"/>
                  <p:cNvSpPr>
                    <a:spLocks/>
                  </p:cNvSpPr>
                  <p:nvPr/>
                </p:nvSpPr>
                <p:spPr bwMode="auto">
                  <a:xfrm>
                    <a:off x="3578225" y="3924300"/>
                    <a:ext cx="1588" cy="30163"/>
                  </a:xfrm>
                  <a:custGeom>
                    <a:avLst/>
                    <a:gdLst>
                      <a:gd name="T0" fmla="*/ 0 w 1588"/>
                      <a:gd name="T1" fmla="*/ 30163 h 19"/>
                      <a:gd name="T2" fmla="*/ 0 w 1588"/>
                      <a:gd name="T3" fmla="*/ 30163 h 19"/>
                      <a:gd name="T4" fmla="*/ 0 w 1588"/>
                      <a:gd name="T5" fmla="*/ 0 h 19"/>
                      <a:gd name="T6" fmla="*/ 0 w 1588"/>
                      <a:gd name="T7" fmla="*/ 0 h 19"/>
                      <a:gd name="T8" fmla="*/ 0 w 1588"/>
                      <a:gd name="T9" fmla="*/ 20638 h 19"/>
                      <a:gd name="T10" fmla="*/ 0 w 1588"/>
                      <a:gd name="T11" fmla="*/ 30163 h 19"/>
                      <a:gd name="T12" fmla="*/ 0 w 1588"/>
                      <a:gd name="T13" fmla="*/ 30163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0"/>
                        </a:lnTo>
                        <a:lnTo>
                          <a:pt x="0" y="13"/>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00" name="Freeform 306"/>
                  <p:cNvSpPr>
                    <a:spLocks/>
                  </p:cNvSpPr>
                  <p:nvPr/>
                </p:nvSpPr>
                <p:spPr bwMode="auto">
                  <a:xfrm>
                    <a:off x="3568700" y="3924300"/>
                    <a:ext cx="9525" cy="30163"/>
                  </a:xfrm>
                  <a:custGeom>
                    <a:avLst/>
                    <a:gdLst>
                      <a:gd name="T0" fmla="*/ 0 w 6"/>
                      <a:gd name="T1" fmla="*/ 0 h 19"/>
                      <a:gd name="T2" fmla="*/ 0 w 6"/>
                      <a:gd name="T3" fmla="*/ 0 h 19"/>
                      <a:gd name="T4" fmla="*/ 0 w 6"/>
                      <a:gd name="T5" fmla="*/ 20638 h 19"/>
                      <a:gd name="T6" fmla="*/ 9525 w 6"/>
                      <a:gd name="T7" fmla="*/ 30163 h 19"/>
                      <a:gd name="T8" fmla="*/ 9525 w 6"/>
                      <a:gd name="T9" fmla="*/ 30163 h 19"/>
                      <a:gd name="T10" fmla="*/ 0 w 6"/>
                      <a:gd name="T11" fmla="*/ 0 h 19"/>
                      <a:gd name="T12" fmla="*/ 0 w 6"/>
                      <a:gd name="T13" fmla="*/ 0 h 19"/>
                      <a:gd name="T14" fmla="*/ 0 60000 65536"/>
                      <a:gd name="T15" fmla="*/ 0 60000 65536"/>
                      <a:gd name="T16" fmla="*/ 0 60000 65536"/>
                      <a:gd name="T17" fmla="*/ 0 60000 65536"/>
                      <a:gd name="T18" fmla="*/ 0 60000 65536"/>
                      <a:gd name="T19" fmla="*/ 0 60000 65536"/>
                      <a:gd name="T20" fmla="*/ 0 60000 65536"/>
                      <a:gd name="T21" fmla="*/ 0 w 6"/>
                      <a:gd name="T22" fmla="*/ 0 h 19"/>
                      <a:gd name="T23" fmla="*/ 6 w 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9">
                        <a:moveTo>
                          <a:pt x="0" y="0"/>
                        </a:moveTo>
                        <a:lnTo>
                          <a:pt x="0" y="0"/>
                        </a:lnTo>
                        <a:lnTo>
                          <a:pt x="0" y="13"/>
                        </a:lnTo>
                        <a:lnTo>
                          <a:pt x="6" y="19"/>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01" name="Rectangle 307"/>
                  <p:cNvSpPr>
                    <a:spLocks noChangeArrowheads="1"/>
                  </p:cNvSpPr>
                  <p:nvPr/>
                </p:nvSpPr>
                <p:spPr bwMode="auto">
                  <a:xfrm>
                    <a:off x="3648075" y="39354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02" name="Rectangle 308"/>
                  <p:cNvSpPr>
                    <a:spLocks noChangeArrowheads="1"/>
                  </p:cNvSpPr>
                  <p:nvPr/>
                </p:nvSpPr>
                <p:spPr bwMode="auto">
                  <a:xfrm>
                    <a:off x="3648075" y="39354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03" name="Freeform 309"/>
                  <p:cNvSpPr>
                    <a:spLocks/>
                  </p:cNvSpPr>
                  <p:nvPr/>
                </p:nvSpPr>
                <p:spPr bwMode="auto">
                  <a:xfrm>
                    <a:off x="3557588" y="3944938"/>
                    <a:ext cx="1587" cy="9525"/>
                  </a:xfrm>
                  <a:custGeom>
                    <a:avLst/>
                    <a:gdLst>
                      <a:gd name="T0" fmla="*/ 0 w 1588"/>
                      <a:gd name="T1" fmla="*/ 0 h 6"/>
                      <a:gd name="T2" fmla="*/ 0 w 1588"/>
                      <a:gd name="T3" fmla="*/ 0 h 6"/>
                      <a:gd name="T4" fmla="*/ 0 w 1588"/>
                      <a:gd name="T5" fmla="*/ 0 h 6"/>
                      <a:gd name="T6" fmla="*/ 0 w 1588"/>
                      <a:gd name="T7" fmla="*/ 0 h 6"/>
                      <a:gd name="T8" fmla="*/ 0 w 1588"/>
                      <a:gd name="T9" fmla="*/ 9525 h 6"/>
                      <a:gd name="T10" fmla="*/ 0 w 1588"/>
                      <a:gd name="T11" fmla="*/ 9525 h 6"/>
                      <a:gd name="T12" fmla="*/ 0 w 1588"/>
                      <a:gd name="T13" fmla="*/ 0 h 6"/>
                      <a:gd name="T14" fmla="*/ 0 w 1588"/>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6"/>
                      <a:gd name="T26" fmla="*/ 1588 w 158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04" name="Freeform 310"/>
                  <p:cNvSpPr>
                    <a:spLocks/>
                  </p:cNvSpPr>
                  <p:nvPr/>
                </p:nvSpPr>
                <p:spPr bwMode="auto">
                  <a:xfrm>
                    <a:off x="3557588" y="3954463"/>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05" name="Freeform 311"/>
                  <p:cNvSpPr>
                    <a:spLocks/>
                  </p:cNvSpPr>
                  <p:nvPr/>
                </p:nvSpPr>
                <p:spPr bwMode="auto">
                  <a:xfrm>
                    <a:off x="3557588" y="3954463"/>
                    <a:ext cx="11112" cy="11112"/>
                  </a:xfrm>
                  <a:custGeom>
                    <a:avLst/>
                    <a:gdLst>
                      <a:gd name="T0" fmla="*/ 11112 w 7"/>
                      <a:gd name="T1" fmla="*/ 0 h 7"/>
                      <a:gd name="T2" fmla="*/ 11112 w 7"/>
                      <a:gd name="T3" fmla="*/ 0 h 7"/>
                      <a:gd name="T4" fmla="*/ 0 w 7"/>
                      <a:gd name="T5" fmla="*/ 0 h 7"/>
                      <a:gd name="T6" fmla="*/ 0 w 7"/>
                      <a:gd name="T7" fmla="*/ 11112 h 7"/>
                      <a:gd name="T8" fmla="*/ 0 w 7"/>
                      <a:gd name="T9" fmla="*/ 11112 h 7"/>
                      <a:gd name="T10" fmla="*/ 11112 w 7"/>
                      <a:gd name="T11" fmla="*/ 11112 h 7"/>
                      <a:gd name="T12" fmla="*/ 11112 w 7"/>
                      <a:gd name="T13" fmla="*/ 0 h 7"/>
                      <a:gd name="T14" fmla="*/ 11112 w 7"/>
                      <a:gd name="T15" fmla="*/ 0 h 7"/>
                      <a:gd name="T16" fmla="*/ 11112 w 7"/>
                      <a:gd name="T17" fmla="*/ 0 h 7"/>
                      <a:gd name="T18" fmla="*/ 11112 w 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7" y="0"/>
                        </a:moveTo>
                        <a:lnTo>
                          <a:pt x="7" y="0"/>
                        </a:lnTo>
                        <a:lnTo>
                          <a:pt x="0" y="0"/>
                        </a:lnTo>
                        <a:lnTo>
                          <a:pt x="0" y="7"/>
                        </a:lnTo>
                        <a:lnTo>
                          <a:pt x="7" y="7"/>
                        </a:lnTo>
                        <a:lnTo>
                          <a:pt x="7"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06" name="Freeform 312"/>
                  <p:cNvSpPr>
                    <a:spLocks/>
                  </p:cNvSpPr>
                  <p:nvPr/>
                </p:nvSpPr>
                <p:spPr bwMode="auto">
                  <a:xfrm>
                    <a:off x="3587750" y="3954463"/>
                    <a:ext cx="1588" cy="20637"/>
                  </a:xfrm>
                  <a:custGeom>
                    <a:avLst/>
                    <a:gdLst>
                      <a:gd name="T0" fmla="*/ 0 w 1588"/>
                      <a:gd name="T1" fmla="*/ 20637 h 13"/>
                      <a:gd name="T2" fmla="*/ 0 w 1588"/>
                      <a:gd name="T3" fmla="*/ 20637 h 13"/>
                      <a:gd name="T4" fmla="*/ 0 w 1588"/>
                      <a:gd name="T5" fmla="*/ 11112 h 13"/>
                      <a:gd name="T6" fmla="*/ 0 w 1588"/>
                      <a:gd name="T7" fmla="*/ 0 h 13"/>
                      <a:gd name="T8" fmla="*/ 0 w 1588"/>
                      <a:gd name="T9" fmla="*/ 0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7"/>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07" name="Freeform 313"/>
                  <p:cNvSpPr>
                    <a:spLocks/>
                  </p:cNvSpPr>
                  <p:nvPr/>
                </p:nvSpPr>
                <p:spPr bwMode="auto">
                  <a:xfrm>
                    <a:off x="3587750" y="3954463"/>
                    <a:ext cx="1588" cy="30162"/>
                  </a:xfrm>
                  <a:custGeom>
                    <a:avLst/>
                    <a:gdLst>
                      <a:gd name="T0" fmla="*/ 0 w 1588"/>
                      <a:gd name="T1" fmla="*/ 30162 h 19"/>
                      <a:gd name="T2" fmla="*/ 0 w 1588"/>
                      <a:gd name="T3" fmla="*/ 30162 h 19"/>
                      <a:gd name="T4" fmla="*/ 0 w 1588"/>
                      <a:gd name="T5" fmla="*/ 11112 h 19"/>
                      <a:gd name="T6" fmla="*/ 0 w 1588"/>
                      <a:gd name="T7" fmla="*/ 0 h 19"/>
                      <a:gd name="T8" fmla="*/ 0 w 1588"/>
                      <a:gd name="T9" fmla="*/ 0 h 19"/>
                      <a:gd name="T10" fmla="*/ 0 w 1588"/>
                      <a:gd name="T11" fmla="*/ 30162 h 19"/>
                      <a:gd name="T12" fmla="*/ 0 w 1588"/>
                      <a:gd name="T13" fmla="*/ 30162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7"/>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08" name="Freeform 314"/>
                  <p:cNvSpPr>
                    <a:spLocks/>
                  </p:cNvSpPr>
                  <p:nvPr/>
                </p:nvSpPr>
                <p:spPr bwMode="auto">
                  <a:xfrm>
                    <a:off x="3578225" y="3965575"/>
                    <a:ext cx="1588" cy="19050"/>
                  </a:xfrm>
                  <a:custGeom>
                    <a:avLst/>
                    <a:gdLst>
                      <a:gd name="T0" fmla="*/ 0 w 1588"/>
                      <a:gd name="T1" fmla="*/ 0 h 12"/>
                      <a:gd name="T2" fmla="*/ 0 w 1588"/>
                      <a:gd name="T3" fmla="*/ 0 h 12"/>
                      <a:gd name="T4" fmla="*/ 0 w 1588"/>
                      <a:gd name="T5" fmla="*/ 9525 h 12"/>
                      <a:gd name="T6" fmla="*/ 0 w 1588"/>
                      <a:gd name="T7" fmla="*/ 19050 h 12"/>
                      <a:gd name="T8" fmla="*/ 0 w 1588"/>
                      <a:gd name="T9" fmla="*/ 19050 h 12"/>
                      <a:gd name="T10" fmla="*/ 0 w 1588"/>
                      <a:gd name="T11" fmla="*/ 9525 h 12"/>
                      <a:gd name="T12" fmla="*/ 0 w 1588"/>
                      <a:gd name="T13" fmla="*/ 0 h 12"/>
                      <a:gd name="T14" fmla="*/ 0 w 1588"/>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12"/>
                      <a:gd name="T26" fmla="*/ 1588 w 158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12">
                        <a:moveTo>
                          <a:pt x="0" y="0"/>
                        </a:moveTo>
                        <a:lnTo>
                          <a:pt x="0" y="0"/>
                        </a:lnTo>
                        <a:lnTo>
                          <a:pt x="0" y="6"/>
                        </a:lnTo>
                        <a:lnTo>
                          <a:pt x="0" y="12"/>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09" name="Freeform 315"/>
                  <p:cNvSpPr>
                    <a:spLocks/>
                  </p:cNvSpPr>
                  <p:nvPr/>
                </p:nvSpPr>
                <p:spPr bwMode="auto">
                  <a:xfrm>
                    <a:off x="3568700" y="3965575"/>
                    <a:ext cx="9525" cy="19050"/>
                  </a:xfrm>
                  <a:custGeom>
                    <a:avLst/>
                    <a:gdLst>
                      <a:gd name="T0" fmla="*/ 9525 w 6"/>
                      <a:gd name="T1" fmla="*/ 19050 h 12"/>
                      <a:gd name="T2" fmla="*/ 9525 w 6"/>
                      <a:gd name="T3" fmla="*/ 19050 h 12"/>
                      <a:gd name="T4" fmla="*/ 0 w 6"/>
                      <a:gd name="T5" fmla="*/ 0 h 12"/>
                      <a:gd name="T6" fmla="*/ 0 w 6"/>
                      <a:gd name="T7" fmla="*/ 0 h 12"/>
                      <a:gd name="T8" fmla="*/ 9525 w 6"/>
                      <a:gd name="T9" fmla="*/ 19050 h 12"/>
                      <a:gd name="T10" fmla="*/ 9525 w 6"/>
                      <a:gd name="T11" fmla="*/ 1905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6" y="12"/>
                        </a:moveTo>
                        <a:lnTo>
                          <a:pt x="6" y="12"/>
                        </a:lnTo>
                        <a:lnTo>
                          <a:pt x="0" y="0"/>
                        </a:lnTo>
                        <a:lnTo>
                          <a:pt x="6" y="12"/>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0" name="Freeform 316"/>
                  <p:cNvSpPr>
                    <a:spLocks/>
                  </p:cNvSpPr>
                  <p:nvPr/>
                </p:nvSpPr>
                <p:spPr bwMode="auto">
                  <a:xfrm>
                    <a:off x="3648075" y="39655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1" name="Freeform 317"/>
                  <p:cNvSpPr>
                    <a:spLocks/>
                  </p:cNvSpPr>
                  <p:nvPr/>
                </p:nvSpPr>
                <p:spPr bwMode="auto">
                  <a:xfrm>
                    <a:off x="3568700" y="3965575"/>
                    <a:ext cx="1588" cy="30163"/>
                  </a:xfrm>
                  <a:custGeom>
                    <a:avLst/>
                    <a:gdLst>
                      <a:gd name="T0" fmla="*/ 0 w 1588"/>
                      <a:gd name="T1" fmla="*/ 30163 h 19"/>
                      <a:gd name="T2" fmla="*/ 0 w 1588"/>
                      <a:gd name="T3" fmla="*/ 30163 h 19"/>
                      <a:gd name="T4" fmla="*/ 0 w 1588"/>
                      <a:gd name="T5" fmla="*/ 19050 h 19"/>
                      <a:gd name="T6" fmla="*/ 0 w 1588"/>
                      <a:gd name="T7" fmla="*/ 0 h 19"/>
                      <a:gd name="T8" fmla="*/ 0 w 1588"/>
                      <a:gd name="T9" fmla="*/ 0 h 19"/>
                      <a:gd name="T10" fmla="*/ 0 w 1588"/>
                      <a:gd name="T11" fmla="*/ 30163 h 19"/>
                      <a:gd name="T12" fmla="*/ 0 w 1588"/>
                      <a:gd name="T13" fmla="*/ 30163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12"/>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2" name="Freeform 318"/>
                  <p:cNvSpPr>
                    <a:spLocks/>
                  </p:cNvSpPr>
                  <p:nvPr/>
                </p:nvSpPr>
                <p:spPr bwMode="auto">
                  <a:xfrm>
                    <a:off x="3557588" y="3975100"/>
                    <a:ext cx="1587"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9525 h 13"/>
                      <a:gd name="T10" fmla="*/ 0 w 1588"/>
                      <a:gd name="T11" fmla="*/ 20638 h 13"/>
                      <a:gd name="T12" fmla="*/ 0 w 1588"/>
                      <a:gd name="T13" fmla="*/ 20638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3" name="Freeform 319"/>
                  <p:cNvSpPr>
                    <a:spLocks/>
                  </p:cNvSpPr>
                  <p:nvPr/>
                </p:nvSpPr>
                <p:spPr bwMode="auto">
                  <a:xfrm>
                    <a:off x="3659188" y="3984625"/>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4" name="Freeform 320"/>
                  <p:cNvSpPr>
                    <a:spLocks/>
                  </p:cNvSpPr>
                  <p:nvPr/>
                </p:nvSpPr>
                <p:spPr bwMode="auto">
                  <a:xfrm>
                    <a:off x="3729038" y="3984625"/>
                    <a:ext cx="1587"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20638 h 13"/>
                      <a:gd name="T10" fmla="*/ 0 w 1588"/>
                      <a:gd name="T11" fmla="*/ 20638 h 13"/>
                      <a:gd name="T12" fmla="*/ 0 60000 65536"/>
                      <a:gd name="T13" fmla="*/ 0 60000 65536"/>
                      <a:gd name="T14" fmla="*/ 0 60000 65536"/>
                      <a:gd name="T15" fmla="*/ 0 60000 65536"/>
                      <a:gd name="T16" fmla="*/ 0 60000 65536"/>
                      <a:gd name="T17" fmla="*/ 0 60000 65536"/>
                      <a:gd name="T18" fmla="*/ 0 w 1588"/>
                      <a:gd name="T19" fmla="*/ 0 h 13"/>
                      <a:gd name="T20" fmla="*/ 1588 w 158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88" h="13">
                        <a:moveTo>
                          <a:pt x="0" y="13"/>
                        </a:moveTo>
                        <a:lnTo>
                          <a:pt x="0" y="13"/>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5" name="Freeform 322"/>
                  <p:cNvSpPr>
                    <a:spLocks/>
                  </p:cNvSpPr>
                  <p:nvPr/>
                </p:nvSpPr>
                <p:spPr bwMode="auto">
                  <a:xfrm>
                    <a:off x="3659188" y="399573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6" name="Rectangle 323"/>
                  <p:cNvSpPr>
                    <a:spLocks noChangeArrowheads="1"/>
                  </p:cNvSpPr>
                  <p:nvPr/>
                </p:nvSpPr>
                <p:spPr bwMode="auto">
                  <a:xfrm>
                    <a:off x="3648075" y="3995738"/>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17" name="Freeform 324"/>
                  <p:cNvSpPr>
                    <a:spLocks/>
                  </p:cNvSpPr>
                  <p:nvPr/>
                </p:nvSpPr>
                <p:spPr bwMode="auto">
                  <a:xfrm>
                    <a:off x="3538538" y="399573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8" name="Freeform 325"/>
                  <p:cNvSpPr>
                    <a:spLocks/>
                  </p:cNvSpPr>
                  <p:nvPr/>
                </p:nvSpPr>
                <p:spPr bwMode="auto">
                  <a:xfrm>
                    <a:off x="3587750" y="3995738"/>
                    <a:ext cx="1588" cy="20637"/>
                  </a:xfrm>
                  <a:custGeom>
                    <a:avLst/>
                    <a:gdLst>
                      <a:gd name="T0" fmla="*/ 0 w 1588"/>
                      <a:gd name="T1" fmla="*/ 20637 h 13"/>
                      <a:gd name="T2" fmla="*/ 0 w 1588"/>
                      <a:gd name="T3" fmla="*/ 20637 h 13"/>
                      <a:gd name="T4" fmla="*/ 0 w 1588"/>
                      <a:gd name="T5" fmla="*/ 0 h 13"/>
                      <a:gd name="T6" fmla="*/ 0 w 1588"/>
                      <a:gd name="T7" fmla="*/ 0 h 13"/>
                      <a:gd name="T8" fmla="*/ 0 w 1588"/>
                      <a:gd name="T9" fmla="*/ 9525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19" name="Rectangle 326"/>
                  <p:cNvSpPr>
                    <a:spLocks noChangeArrowheads="1"/>
                  </p:cNvSpPr>
                  <p:nvPr/>
                </p:nvSpPr>
                <p:spPr bwMode="auto">
                  <a:xfrm>
                    <a:off x="3538538" y="3995738"/>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20" name="Freeform 327"/>
                  <p:cNvSpPr>
                    <a:spLocks/>
                  </p:cNvSpPr>
                  <p:nvPr/>
                </p:nvSpPr>
                <p:spPr bwMode="auto">
                  <a:xfrm>
                    <a:off x="3587750" y="4005263"/>
                    <a:ext cx="11113" cy="11112"/>
                  </a:xfrm>
                  <a:custGeom>
                    <a:avLst/>
                    <a:gdLst>
                      <a:gd name="T0" fmla="*/ 0 w 7"/>
                      <a:gd name="T1" fmla="*/ 11112 h 7"/>
                      <a:gd name="T2" fmla="*/ 0 w 7"/>
                      <a:gd name="T3" fmla="*/ 11112 h 7"/>
                      <a:gd name="T4" fmla="*/ 11113 w 7"/>
                      <a:gd name="T5" fmla="*/ 0 h 7"/>
                      <a:gd name="T6" fmla="*/ 0 w 7"/>
                      <a:gd name="T7" fmla="*/ 0 h 7"/>
                      <a:gd name="T8" fmla="*/ 0 w 7"/>
                      <a:gd name="T9" fmla="*/ 0 h 7"/>
                      <a:gd name="T10" fmla="*/ 0 w 7"/>
                      <a:gd name="T11" fmla="*/ 11112 h 7"/>
                      <a:gd name="T12" fmla="*/ 0 w 7"/>
                      <a:gd name="T13" fmla="*/ 11112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0" y="7"/>
                        </a:moveTo>
                        <a:lnTo>
                          <a:pt x="0" y="7"/>
                        </a:lnTo>
                        <a:lnTo>
                          <a:pt x="7" y="0"/>
                        </a:lnTo>
                        <a:lnTo>
                          <a:pt x="0" y="0"/>
                        </a:lnTo>
                        <a:lnTo>
                          <a:pt x="0"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21" name="Rectangle 328"/>
                  <p:cNvSpPr>
                    <a:spLocks noChangeArrowheads="1"/>
                  </p:cNvSpPr>
                  <p:nvPr/>
                </p:nvSpPr>
                <p:spPr bwMode="auto">
                  <a:xfrm>
                    <a:off x="3527425" y="400526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22" name="Freeform 329"/>
                  <p:cNvSpPr>
                    <a:spLocks/>
                  </p:cNvSpPr>
                  <p:nvPr/>
                </p:nvSpPr>
                <p:spPr bwMode="auto">
                  <a:xfrm>
                    <a:off x="3578225" y="4005263"/>
                    <a:ext cx="1588" cy="11112"/>
                  </a:xfrm>
                  <a:custGeom>
                    <a:avLst/>
                    <a:gdLst>
                      <a:gd name="T0" fmla="*/ 0 w 1588"/>
                      <a:gd name="T1" fmla="*/ 0 h 7"/>
                      <a:gd name="T2" fmla="*/ 0 w 1588"/>
                      <a:gd name="T3" fmla="*/ 0 h 7"/>
                      <a:gd name="T4" fmla="*/ 0 w 1588"/>
                      <a:gd name="T5" fmla="*/ 0 h 7"/>
                      <a:gd name="T6" fmla="*/ 0 w 1588"/>
                      <a:gd name="T7" fmla="*/ 11112 h 7"/>
                      <a:gd name="T8" fmla="*/ 0 w 1588"/>
                      <a:gd name="T9" fmla="*/ 11112 h 7"/>
                      <a:gd name="T10" fmla="*/ 0 w 1588"/>
                      <a:gd name="T11" fmla="*/ 0 h 7"/>
                      <a:gd name="T12" fmla="*/ 0 w 1588"/>
                      <a:gd name="T13" fmla="*/ 0 h 7"/>
                      <a:gd name="T14" fmla="*/ 0 60000 65536"/>
                      <a:gd name="T15" fmla="*/ 0 60000 65536"/>
                      <a:gd name="T16" fmla="*/ 0 60000 65536"/>
                      <a:gd name="T17" fmla="*/ 0 60000 65536"/>
                      <a:gd name="T18" fmla="*/ 0 60000 65536"/>
                      <a:gd name="T19" fmla="*/ 0 60000 65536"/>
                      <a:gd name="T20" fmla="*/ 0 60000 65536"/>
                      <a:gd name="T21" fmla="*/ 0 w 1588"/>
                      <a:gd name="T22" fmla="*/ 0 h 7"/>
                      <a:gd name="T23" fmla="*/ 1588 w 158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7">
                        <a:moveTo>
                          <a:pt x="0" y="0"/>
                        </a:moveTo>
                        <a:lnTo>
                          <a:pt x="0" y="0"/>
                        </a:lnTo>
                        <a:lnTo>
                          <a:pt x="0" y="7"/>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23" name="Freeform 330"/>
                  <p:cNvSpPr>
                    <a:spLocks/>
                  </p:cNvSpPr>
                  <p:nvPr/>
                </p:nvSpPr>
                <p:spPr bwMode="auto">
                  <a:xfrm>
                    <a:off x="3568700" y="4005263"/>
                    <a:ext cx="9525" cy="20637"/>
                  </a:xfrm>
                  <a:custGeom>
                    <a:avLst/>
                    <a:gdLst>
                      <a:gd name="T0" fmla="*/ 9525 w 6"/>
                      <a:gd name="T1" fmla="*/ 0 h 13"/>
                      <a:gd name="T2" fmla="*/ 9525 w 6"/>
                      <a:gd name="T3" fmla="*/ 0 h 13"/>
                      <a:gd name="T4" fmla="*/ 0 w 6"/>
                      <a:gd name="T5" fmla="*/ 0 h 13"/>
                      <a:gd name="T6" fmla="*/ 9525 w 6"/>
                      <a:gd name="T7" fmla="*/ 20637 h 13"/>
                      <a:gd name="T8" fmla="*/ 9525 w 6"/>
                      <a:gd name="T9" fmla="*/ 20637 h 13"/>
                      <a:gd name="T10" fmla="*/ 9525 w 6"/>
                      <a:gd name="T11" fmla="*/ 0 h 13"/>
                      <a:gd name="T12" fmla="*/ 9525 w 6"/>
                      <a:gd name="T13" fmla="*/ 0 h 13"/>
                      <a:gd name="T14" fmla="*/ 0 60000 65536"/>
                      <a:gd name="T15" fmla="*/ 0 60000 65536"/>
                      <a:gd name="T16" fmla="*/ 0 60000 65536"/>
                      <a:gd name="T17" fmla="*/ 0 60000 65536"/>
                      <a:gd name="T18" fmla="*/ 0 60000 65536"/>
                      <a:gd name="T19" fmla="*/ 0 60000 65536"/>
                      <a:gd name="T20" fmla="*/ 0 60000 65536"/>
                      <a:gd name="T21" fmla="*/ 0 w 6"/>
                      <a:gd name="T22" fmla="*/ 0 h 13"/>
                      <a:gd name="T23" fmla="*/ 6 w 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3">
                        <a:moveTo>
                          <a:pt x="6" y="0"/>
                        </a:moveTo>
                        <a:lnTo>
                          <a:pt x="6" y="0"/>
                        </a:lnTo>
                        <a:lnTo>
                          <a:pt x="0" y="0"/>
                        </a:lnTo>
                        <a:lnTo>
                          <a:pt x="6" y="13"/>
                        </a:lnTo>
                        <a:lnTo>
                          <a:pt x="6"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24" name="Freeform 331"/>
                  <p:cNvSpPr>
                    <a:spLocks/>
                  </p:cNvSpPr>
                  <p:nvPr/>
                </p:nvSpPr>
                <p:spPr bwMode="auto">
                  <a:xfrm>
                    <a:off x="3648075" y="4005263"/>
                    <a:ext cx="11113" cy="11112"/>
                  </a:xfrm>
                  <a:custGeom>
                    <a:avLst/>
                    <a:gdLst>
                      <a:gd name="T0" fmla="*/ 0 w 7"/>
                      <a:gd name="T1" fmla="*/ 0 h 7"/>
                      <a:gd name="T2" fmla="*/ 0 w 7"/>
                      <a:gd name="T3" fmla="*/ 0 h 7"/>
                      <a:gd name="T4" fmla="*/ 0 w 7"/>
                      <a:gd name="T5" fmla="*/ 11112 h 7"/>
                      <a:gd name="T6" fmla="*/ 0 w 7"/>
                      <a:gd name="T7" fmla="*/ 11112 h 7"/>
                      <a:gd name="T8" fmla="*/ 0 w 7"/>
                      <a:gd name="T9" fmla="*/ 0 h 7"/>
                      <a:gd name="T10" fmla="*/ 0 w 7"/>
                      <a:gd name="T11" fmla="*/ 0 h 7"/>
                      <a:gd name="T12" fmla="*/ 11113 w 7"/>
                      <a:gd name="T13" fmla="*/ 0 h 7"/>
                      <a:gd name="T14" fmla="*/ 11113 w 7"/>
                      <a:gd name="T15" fmla="*/ 0 h 7"/>
                      <a:gd name="T16" fmla="*/ 0 w 7"/>
                      <a:gd name="T17" fmla="*/ 0 h 7"/>
                      <a:gd name="T18" fmla="*/ 0 w 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0" y="0"/>
                        </a:moveTo>
                        <a:lnTo>
                          <a:pt x="0" y="0"/>
                        </a:lnTo>
                        <a:lnTo>
                          <a:pt x="0" y="7"/>
                        </a:lnTo>
                        <a:lnTo>
                          <a:pt x="0" y="0"/>
                        </a:lnTo>
                        <a:lnTo>
                          <a:pt x="7"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25" name="Rectangle 332"/>
                  <p:cNvSpPr>
                    <a:spLocks noChangeArrowheads="1"/>
                  </p:cNvSpPr>
                  <p:nvPr/>
                </p:nvSpPr>
                <p:spPr bwMode="auto">
                  <a:xfrm>
                    <a:off x="3648075" y="400526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26" name="Rectangle 333"/>
                  <p:cNvSpPr>
                    <a:spLocks noChangeArrowheads="1"/>
                  </p:cNvSpPr>
                  <p:nvPr/>
                </p:nvSpPr>
                <p:spPr bwMode="auto">
                  <a:xfrm>
                    <a:off x="3779838" y="4005263"/>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27" name="Freeform 334"/>
                  <p:cNvSpPr>
                    <a:spLocks/>
                  </p:cNvSpPr>
                  <p:nvPr/>
                </p:nvSpPr>
                <p:spPr bwMode="auto">
                  <a:xfrm>
                    <a:off x="3729038" y="4016375"/>
                    <a:ext cx="1587"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28" name="Rectangle 335"/>
                  <p:cNvSpPr>
                    <a:spLocks noChangeArrowheads="1"/>
                  </p:cNvSpPr>
                  <p:nvPr/>
                </p:nvSpPr>
                <p:spPr bwMode="auto">
                  <a:xfrm>
                    <a:off x="3648075" y="401637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29" name="Freeform 336"/>
                  <p:cNvSpPr>
                    <a:spLocks/>
                  </p:cNvSpPr>
                  <p:nvPr/>
                </p:nvSpPr>
                <p:spPr bwMode="auto">
                  <a:xfrm>
                    <a:off x="3729038" y="401637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30" name="Freeform 337"/>
                  <p:cNvSpPr>
                    <a:spLocks/>
                  </p:cNvSpPr>
                  <p:nvPr/>
                </p:nvSpPr>
                <p:spPr bwMode="auto">
                  <a:xfrm>
                    <a:off x="3648075" y="40163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w 1588"/>
                      <a:gd name="T19" fmla="*/ 0 h 15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8"/>
                      <a:gd name="T31" fmla="*/ 0 h 1588"/>
                      <a:gd name="T32" fmla="*/ 1588 w 1588"/>
                      <a:gd name="T33" fmla="*/ 1588 h 15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31" name="Freeform 338"/>
                  <p:cNvSpPr>
                    <a:spLocks/>
                  </p:cNvSpPr>
                  <p:nvPr/>
                </p:nvSpPr>
                <p:spPr bwMode="auto">
                  <a:xfrm>
                    <a:off x="3648075" y="4016375"/>
                    <a:ext cx="1588" cy="9525"/>
                  </a:xfrm>
                  <a:custGeom>
                    <a:avLst/>
                    <a:gdLst>
                      <a:gd name="T0" fmla="*/ 0 w 1588"/>
                      <a:gd name="T1" fmla="*/ 0 h 6"/>
                      <a:gd name="T2" fmla="*/ 0 w 1588"/>
                      <a:gd name="T3" fmla="*/ 0 h 6"/>
                      <a:gd name="T4" fmla="*/ 0 w 1588"/>
                      <a:gd name="T5" fmla="*/ 9525 h 6"/>
                      <a:gd name="T6" fmla="*/ 0 w 1588"/>
                      <a:gd name="T7" fmla="*/ 0 h 6"/>
                      <a:gd name="T8" fmla="*/ 0 w 1588"/>
                      <a:gd name="T9" fmla="*/ 0 h 6"/>
                      <a:gd name="T10" fmla="*/ 0 60000 65536"/>
                      <a:gd name="T11" fmla="*/ 0 60000 65536"/>
                      <a:gd name="T12" fmla="*/ 0 60000 65536"/>
                      <a:gd name="T13" fmla="*/ 0 60000 65536"/>
                      <a:gd name="T14" fmla="*/ 0 60000 65536"/>
                      <a:gd name="T15" fmla="*/ 0 w 1588"/>
                      <a:gd name="T16" fmla="*/ 0 h 6"/>
                      <a:gd name="T17" fmla="*/ 1588 w 1588"/>
                      <a:gd name="T18" fmla="*/ 6 h 6"/>
                    </a:gdLst>
                    <a:ahLst/>
                    <a:cxnLst>
                      <a:cxn ang="T10">
                        <a:pos x="T0" y="T1"/>
                      </a:cxn>
                      <a:cxn ang="T11">
                        <a:pos x="T2" y="T3"/>
                      </a:cxn>
                      <a:cxn ang="T12">
                        <a:pos x="T4" y="T5"/>
                      </a:cxn>
                      <a:cxn ang="T13">
                        <a:pos x="T6" y="T7"/>
                      </a:cxn>
                      <a:cxn ang="T14">
                        <a:pos x="T8" y="T9"/>
                      </a:cxn>
                    </a:cxnLst>
                    <a:rect l="T15" t="T16" r="T17" b="T18"/>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32" name="Rectangle 339"/>
                  <p:cNvSpPr>
                    <a:spLocks noChangeArrowheads="1"/>
                  </p:cNvSpPr>
                  <p:nvPr/>
                </p:nvSpPr>
                <p:spPr bwMode="auto">
                  <a:xfrm>
                    <a:off x="3587750" y="40259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33" name="Freeform 340"/>
                  <p:cNvSpPr>
                    <a:spLocks/>
                  </p:cNvSpPr>
                  <p:nvPr/>
                </p:nvSpPr>
                <p:spPr bwMode="auto">
                  <a:xfrm>
                    <a:off x="3587750" y="4025900"/>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34" name="Freeform 341"/>
                  <p:cNvSpPr>
                    <a:spLocks/>
                  </p:cNvSpPr>
                  <p:nvPr/>
                </p:nvSpPr>
                <p:spPr bwMode="auto">
                  <a:xfrm>
                    <a:off x="3587750" y="4025900"/>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35" name="Rectangle 342"/>
                  <p:cNvSpPr>
                    <a:spLocks noChangeArrowheads="1"/>
                  </p:cNvSpPr>
                  <p:nvPr/>
                </p:nvSpPr>
                <p:spPr bwMode="auto">
                  <a:xfrm>
                    <a:off x="3578225" y="40259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36" name="Freeform 343"/>
                  <p:cNvSpPr>
                    <a:spLocks/>
                  </p:cNvSpPr>
                  <p:nvPr/>
                </p:nvSpPr>
                <p:spPr bwMode="auto">
                  <a:xfrm>
                    <a:off x="3578225" y="4025900"/>
                    <a:ext cx="1588"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20638 h 13"/>
                      <a:gd name="T10" fmla="*/ 0 w 1588"/>
                      <a:gd name="T11" fmla="*/ 20638 h 13"/>
                      <a:gd name="T12" fmla="*/ 0 60000 65536"/>
                      <a:gd name="T13" fmla="*/ 0 60000 65536"/>
                      <a:gd name="T14" fmla="*/ 0 60000 65536"/>
                      <a:gd name="T15" fmla="*/ 0 60000 65536"/>
                      <a:gd name="T16" fmla="*/ 0 60000 65536"/>
                      <a:gd name="T17" fmla="*/ 0 60000 65536"/>
                      <a:gd name="T18" fmla="*/ 0 w 1588"/>
                      <a:gd name="T19" fmla="*/ 0 h 13"/>
                      <a:gd name="T20" fmla="*/ 1588 w 158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88" h="13">
                        <a:moveTo>
                          <a:pt x="0" y="13"/>
                        </a:moveTo>
                        <a:lnTo>
                          <a:pt x="0" y="13"/>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37" name="Freeform 344"/>
                  <p:cNvSpPr>
                    <a:spLocks/>
                  </p:cNvSpPr>
                  <p:nvPr/>
                </p:nvSpPr>
                <p:spPr bwMode="auto">
                  <a:xfrm>
                    <a:off x="3648075" y="40259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38" name="Freeform 345"/>
                  <p:cNvSpPr>
                    <a:spLocks/>
                  </p:cNvSpPr>
                  <p:nvPr/>
                </p:nvSpPr>
                <p:spPr bwMode="auto">
                  <a:xfrm>
                    <a:off x="3568700" y="4025900"/>
                    <a:ext cx="9525" cy="20638"/>
                  </a:xfrm>
                  <a:custGeom>
                    <a:avLst/>
                    <a:gdLst>
                      <a:gd name="T0" fmla="*/ 0 w 6"/>
                      <a:gd name="T1" fmla="*/ 0 h 13"/>
                      <a:gd name="T2" fmla="*/ 0 w 6"/>
                      <a:gd name="T3" fmla="*/ 0 h 13"/>
                      <a:gd name="T4" fmla="*/ 0 w 6"/>
                      <a:gd name="T5" fmla="*/ 9525 h 13"/>
                      <a:gd name="T6" fmla="*/ 9525 w 6"/>
                      <a:gd name="T7" fmla="*/ 20638 h 13"/>
                      <a:gd name="T8" fmla="*/ 9525 w 6"/>
                      <a:gd name="T9" fmla="*/ 20638 h 13"/>
                      <a:gd name="T10" fmla="*/ 9525 w 6"/>
                      <a:gd name="T11" fmla="*/ 9525 h 13"/>
                      <a:gd name="T12" fmla="*/ 0 w 6"/>
                      <a:gd name="T13" fmla="*/ 0 h 13"/>
                      <a:gd name="T14" fmla="*/ 0 w 6"/>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3"/>
                      <a:gd name="T26" fmla="*/ 6 w 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3">
                        <a:moveTo>
                          <a:pt x="0" y="0"/>
                        </a:moveTo>
                        <a:lnTo>
                          <a:pt x="0" y="0"/>
                        </a:lnTo>
                        <a:lnTo>
                          <a:pt x="0" y="6"/>
                        </a:lnTo>
                        <a:lnTo>
                          <a:pt x="6" y="13"/>
                        </a:lnTo>
                        <a:lnTo>
                          <a:pt x="6"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39" name="Freeform 346"/>
                  <p:cNvSpPr>
                    <a:spLocks/>
                  </p:cNvSpPr>
                  <p:nvPr/>
                </p:nvSpPr>
                <p:spPr bwMode="auto">
                  <a:xfrm>
                    <a:off x="3587750" y="40259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0" name="Freeform 347"/>
                  <p:cNvSpPr>
                    <a:spLocks/>
                  </p:cNvSpPr>
                  <p:nvPr/>
                </p:nvSpPr>
                <p:spPr bwMode="auto">
                  <a:xfrm>
                    <a:off x="3527425" y="4035425"/>
                    <a:ext cx="11113" cy="11113"/>
                  </a:xfrm>
                  <a:custGeom>
                    <a:avLst/>
                    <a:gdLst>
                      <a:gd name="T0" fmla="*/ 11113 w 7"/>
                      <a:gd name="T1" fmla="*/ 11113 h 7"/>
                      <a:gd name="T2" fmla="*/ 11113 w 7"/>
                      <a:gd name="T3" fmla="*/ 11113 h 7"/>
                      <a:gd name="T4" fmla="*/ 11113 w 7"/>
                      <a:gd name="T5" fmla="*/ 0 h 7"/>
                      <a:gd name="T6" fmla="*/ 11113 w 7"/>
                      <a:gd name="T7" fmla="*/ 0 h 7"/>
                      <a:gd name="T8" fmla="*/ 0 w 7"/>
                      <a:gd name="T9" fmla="*/ 0 h 7"/>
                      <a:gd name="T10" fmla="*/ 0 w 7"/>
                      <a:gd name="T11" fmla="*/ 0 h 7"/>
                      <a:gd name="T12" fmla="*/ 0 w 7"/>
                      <a:gd name="T13" fmla="*/ 11113 h 7"/>
                      <a:gd name="T14" fmla="*/ 0 w 7"/>
                      <a:gd name="T15" fmla="*/ 11113 h 7"/>
                      <a:gd name="T16" fmla="*/ 11113 w 7"/>
                      <a:gd name="T17" fmla="*/ 11113 h 7"/>
                      <a:gd name="T18" fmla="*/ 11113 w 7"/>
                      <a:gd name="T19" fmla="*/ 11113 h 7"/>
                      <a:gd name="T20" fmla="*/ 11113 w 7"/>
                      <a:gd name="T21" fmla="*/ 11113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7"/>
                      <a:gd name="T35" fmla="*/ 7 w 7"/>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7">
                        <a:moveTo>
                          <a:pt x="7" y="7"/>
                        </a:moveTo>
                        <a:lnTo>
                          <a:pt x="7" y="7"/>
                        </a:lnTo>
                        <a:lnTo>
                          <a:pt x="7" y="0"/>
                        </a:lnTo>
                        <a:lnTo>
                          <a:pt x="0" y="0"/>
                        </a:lnTo>
                        <a:lnTo>
                          <a:pt x="0" y="7"/>
                        </a:lnTo>
                        <a:lnTo>
                          <a:pt x="7"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1" name="Rectangle 348"/>
                  <p:cNvSpPr>
                    <a:spLocks noChangeArrowheads="1"/>
                  </p:cNvSpPr>
                  <p:nvPr/>
                </p:nvSpPr>
                <p:spPr bwMode="auto">
                  <a:xfrm>
                    <a:off x="3648075" y="403542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42" name="Freeform 349"/>
                  <p:cNvSpPr>
                    <a:spLocks/>
                  </p:cNvSpPr>
                  <p:nvPr/>
                </p:nvSpPr>
                <p:spPr bwMode="auto">
                  <a:xfrm>
                    <a:off x="3648075" y="40354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3" name="Freeform 350"/>
                  <p:cNvSpPr>
                    <a:spLocks/>
                  </p:cNvSpPr>
                  <p:nvPr/>
                </p:nvSpPr>
                <p:spPr bwMode="auto">
                  <a:xfrm>
                    <a:off x="3729038" y="4035425"/>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4" name="Freeform 351"/>
                  <p:cNvSpPr>
                    <a:spLocks/>
                  </p:cNvSpPr>
                  <p:nvPr/>
                </p:nvSpPr>
                <p:spPr bwMode="auto">
                  <a:xfrm>
                    <a:off x="3587750" y="4046538"/>
                    <a:ext cx="11113" cy="19050"/>
                  </a:xfrm>
                  <a:custGeom>
                    <a:avLst/>
                    <a:gdLst>
                      <a:gd name="T0" fmla="*/ 0 w 7"/>
                      <a:gd name="T1" fmla="*/ 0 h 12"/>
                      <a:gd name="T2" fmla="*/ 0 w 7"/>
                      <a:gd name="T3" fmla="*/ 0 h 12"/>
                      <a:gd name="T4" fmla="*/ 0 w 7"/>
                      <a:gd name="T5" fmla="*/ 9525 h 12"/>
                      <a:gd name="T6" fmla="*/ 11113 w 7"/>
                      <a:gd name="T7" fmla="*/ 19050 h 12"/>
                      <a:gd name="T8" fmla="*/ 11113 w 7"/>
                      <a:gd name="T9" fmla="*/ 19050 h 12"/>
                      <a:gd name="T10" fmla="*/ 0 w 7"/>
                      <a:gd name="T11" fmla="*/ 0 h 12"/>
                      <a:gd name="T12" fmla="*/ 0 w 7"/>
                      <a:gd name="T13" fmla="*/ 0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0"/>
                        </a:moveTo>
                        <a:lnTo>
                          <a:pt x="0" y="0"/>
                        </a:lnTo>
                        <a:lnTo>
                          <a:pt x="0" y="6"/>
                        </a:lnTo>
                        <a:lnTo>
                          <a:pt x="7" y="12"/>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5" name="Freeform 352"/>
                  <p:cNvSpPr>
                    <a:spLocks/>
                  </p:cNvSpPr>
                  <p:nvPr/>
                </p:nvSpPr>
                <p:spPr bwMode="auto">
                  <a:xfrm>
                    <a:off x="3729038" y="4046538"/>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6" name="Freeform 353"/>
                  <p:cNvSpPr>
                    <a:spLocks/>
                  </p:cNvSpPr>
                  <p:nvPr/>
                </p:nvSpPr>
                <p:spPr bwMode="auto">
                  <a:xfrm>
                    <a:off x="3729038" y="4046538"/>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7" name="Freeform 354"/>
                  <p:cNvSpPr>
                    <a:spLocks/>
                  </p:cNvSpPr>
                  <p:nvPr/>
                </p:nvSpPr>
                <p:spPr bwMode="auto">
                  <a:xfrm>
                    <a:off x="3578225" y="4056063"/>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8" name="Freeform 355"/>
                  <p:cNvSpPr>
                    <a:spLocks/>
                  </p:cNvSpPr>
                  <p:nvPr/>
                </p:nvSpPr>
                <p:spPr bwMode="auto">
                  <a:xfrm>
                    <a:off x="3587750" y="4056063"/>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49" name="Freeform 356"/>
                  <p:cNvSpPr>
                    <a:spLocks/>
                  </p:cNvSpPr>
                  <p:nvPr/>
                </p:nvSpPr>
                <p:spPr bwMode="auto">
                  <a:xfrm>
                    <a:off x="3568700" y="4056063"/>
                    <a:ext cx="9525" cy="9525"/>
                  </a:xfrm>
                  <a:custGeom>
                    <a:avLst/>
                    <a:gdLst>
                      <a:gd name="T0" fmla="*/ 0 w 6"/>
                      <a:gd name="T1" fmla="*/ 0 h 6"/>
                      <a:gd name="T2" fmla="*/ 0 w 6"/>
                      <a:gd name="T3" fmla="*/ 0 h 6"/>
                      <a:gd name="T4" fmla="*/ 0 w 6"/>
                      <a:gd name="T5" fmla="*/ 9525 h 6"/>
                      <a:gd name="T6" fmla="*/ 9525 w 6"/>
                      <a:gd name="T7" fmla="*/ 9525 h 6"/>
                      <a:gd name="T8" fmla="*/ 9525 w 6"/>
                      <a:gd name="T9" fmla="*/ 9525 h 6"/>
                      <a:gd name="T10" fmla="*/ 9525 w 6"/>
                      <a:gd name="T11" fmla="*/ 0 h 6"/>
                      <a:gd name="T12" fmla="*/ 0 w 6"/>
                      <a:gd name="T13" fmla="*/ 0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0"/>
                        </a:moveTo>
                        <a:lnTo>
                          <a:pt x="0" y="0"/>
                        </a:lnTo>
                        <a:lnTo>
                          <a:pt x="0" y="6"/>
                        </a:lnTo>
                        <a:lnTo>
                          <a:pt x="6" y="6"/>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50" name="Freeform 357"/>
                  <p:cNvSpPr>
                    <a:spLocks/>
                  </p:cNvSpPr>
                  <p:nvPr/>
                </p:nvSpPr>
                <p:spPr bwMode="auto">
                  <a:xfrm>
                    <a:off x="3568700" y="4056063"/>
                    <a:ext cx="1588" cy="20637"/>
                  </a:xfrm>
                  <a:custGeom>
                    <a:avLst/>
                    <a:gdLst>
                      <a:gd name="T0" fmla="*/ 0 w 1588"/>
                      <a:gd name="T1" fmla="*/ 20637 h 13"/>
                      <a:gd name="T2" fmla="*/ 0 w 1588"/>
                      <a:gd name="T3" fmla="*/ 20637 h 13"/>
                      <a:gd name="T4" fmla="*/ 0 w 1588"/>
                      <a:gd name="T5" fmla="*/ 9525 h 13"/>
                      <a:gd name="T6" fmla="*/ 0 w 1588"/>
                      <a:gd name="T7" fmla="*/ 0 h 13"/>
                      <a:gd name="T8" fmla="*/ 0 w 1588"/>
                      <a:gd name="T9" fmla="*/ 0 h 13"/>
                      <a:gd name="T10" fmla="*/ 0 w 1588"/>
                      <a:gd name="T11" fmla="*/ 9525 h 13"/>
                      <a:gd name="T12" fmla="*/ 0 w 1588"/>
                      <a:gd name="T13" fmla="*/ 20637 h 13"/>
                      <a:gd name="T14" fmla="*/ 0 w 1588"/>
                      <a:gd name="T15" fmla="*/ 20637 h 13"/>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13"/>
                      <a:gd name="T26" fmla="*/ 1588 w 158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13">
                        <a:moveTo>
                          <a:pt x="0" y="13"/>
                        </a:moveTo>
                        <a:lnTo>
                          <a:pt x="0" y="13"/>
                        </a:lnTo>
                        <a:lnTo>
                          <a:pt x="0" y="6"/>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51" name="Freeform 358"/>
                  <p:cNvSpPr>
                    <a:spLocks/>
                  </p:cNvSpPr>
                  <p:nvPr/>
                </p:nvSpPr>
                <p:spPr bwMode="auto">
                  <a:xfrm>
                    <a:off x="3557588" y="4056063"/>
                    <a:ext cx="1587" cy="20637"/>
                  </a:xfrm>
                  <a:custGeom>
                    <a:avLst/>
                    <a:gdLst>
                      <a:gd name="T0" fmla="*/ 0 w 1588"/>
                      <a:gd name="T1" fmla="*/ 20637 h 13"/>
                      <a:gd name="T2" fmla="*/ 0 w 1588"/>
                      <a:gd name="T3" fmla="*/ 20637 h 13"/>
                      <a:gd name="T4" fmla="*/ 0 w 1588"/>
                      <a:gd name="T5" fmla="*/ 9525 h 13"/>
                      <a:gd name="T6" fmla="*/ 0 w 1588"/>
                      <a:gd name="T7" fmla="*/ 0 h 13"/>
                      <a:gd name="T8" fmla="*/ 0 w 1588"/>
                      <a:gd name="T9" fmla="*/ 0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6"/>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52" name="Rectangle 359"/>
                  <p:cNvSpPr>
                    <a:spLocks noChangeArrowheads="1"/>
                  </p:cNvSpPr>
                  <p:nvPr/>
                </p:nvSpPr>
                <p:spPr bwMode="auto">
                  <a:xfrm>
                    <a:off x="3729038" y="4065588"/>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53" name="Freeform 360"/>
                  <p:cNvSpPr>
                    <a:spLocks/>
                  </p:cNvSpPr>
                  <p:nvPr/>
                </p:nvSpPr>
                <p:spPr bwMode="auto">
                  <a:xfrm>
                    <a:off x="3729038" y="4065588"/>
                    <a:ext cx="1587" cy="11112"/>
                  </a:xfrm>
                  <a:custGeom>
                    <a:avLst/>
                    <a:gdLst>
                      <a:gd name="T0" fmla="*/ 0 w 1588"/>
                      <a:gd name="T1" fmla="*/ 0 h 7"/>
                      <a:gd name="T2" fmla="*/ 0 w 1588"/>
                      <a:gd name="T3" fmla="*/ 0 h 7"/>
                      <a:gd name="T4" fmla="*/ 0 w 1588"/>
                      <a:gd name="T5" fmla="*/ 11112 h 7"/>
                      <a:gd name="T6" fmla="*/ 0 w 1588"/>
                      <a:gd name="T7" fmla="*/ 11112 h 7"/>
                      <a:gd name="T8" fmla="*/ 0 w 1588"/>
                      <a:gd name="T9" fmla="*/ 0 h 7"/>
                      <a:gd name="T10" fmla="*/ 0 w 1588"/>
                      <a:gd name="T11" fmla="*/ 0 h 7"/>
                      <a:gd name="T12" fmla="*/ 0 60000 65536"/>
                      <a:gd name="T13" fmla="*/ 0 60000 65536"/>
                      <a:gd name="T14" fmla="*/ 0 60000 65536"/>
                      <a:gd name="T15" fmla="*/ 0 60000 65536"/>
                      <a:gd name="T16" fmla="*/ 0 60000 65536"/>
                      <a:gd name="T17" fmla="*/ 0 60000 65536"/>
                      <a:gd name="T18" fmla="*/ 0 w 1588"/>
                      <a:gd name="T19" fmla="*/ 0 h 7"/>
                      <a:gd name="T20" fmla="*/ 1588 w 1588"/>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88" h="7">
                        <a:moveTo>
                          <a:pt x="0" y="0"/>
                        </a:moveTo>
                        <a:lnTo>
                          <a:pt x="0" y="0"/>
                        </a:lnTo>
                        <a:lnTo>
                          <a:pt x="0" y="7"/>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54" name="Freeform 361"/>
                  <p:cNvSpPr>
                    <a:spLocks/>
                  </p:cNvSpPr>
                  <p:nvPr/>
                </p:nvSpPr>
                <p:spPr bwMode="auto">
                  <a:xfrm>
                    <a:off x="3729038" y="4076700"/>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55" name="Freeform 362"/>
                  <p:cNvSpPr>
                    <a:spLocks/>
                  </p:cNvSpPr>
                  <p:nvPr/>
                </p:nvSpPr>
                <p:spPr bwMode="auto">
                  <a:xfrm>
                    <a:off x="3578225" y="4076700"/>
                    <a:ext cx="1588" cy="19050"/>
                  </a:xfrm>
                  <a:custGeom>
                    <a:avLst/>
                    <a:gdLst>
                      <a:gd name="T0" fmla="*/ 0 w 1588"/>
                      <a:gd name="T1" fmla="*/ 0 h 12"/>
                      <a:gd name="T2" fmla="*/ 0 w 1588"/>
                      <a:gd name="T3" fmla="*/ 0 h 12"/>
                      <a:gd name="T4" fmla="*/ 0 w 1588"/>
                      <a:gd name="T5" fmla="*/ 19050 h 12"/>
                      <a:gd name="T6" fmla="*/ 0 w 1588"/>
                      <a:gd name="T7" fmla="*/ 19050 h 12"/>
                      <a:gd name="T8" fmla="*/ 0 w 1588"/>
                      <a:gd name="T9" fmla="*/ 9525 h 12"/>
                      <a:gd name="T10" fmla="*/ 0 w 1588"/>
                      <a:gd name="T11" fmla="*/ 0 h 12"/>
                      <a:gd name="T12" fmla="*/ 0 w 1588"/>
                      <a:gd name="T13" fmla="*/ 0 h 12"/>
                      <a:gd name="T14" fmla="*/ 0 60000 65536"/>
                      <a:gd name="T15" fmla="*/ 0 60000 65536"/>
                      <a:gd name="T16" fmla="*/ 0 60000 65536"/>
                      <a:gd name="T17" fmla="*/ 0 60000 65536"/>
                      <a:gd name="T18" fmla="*/ 0 60000 65536"/>
                      <a:gd name="T19" fmla="*/ 0 60000 65536"/>
                      <a:gd name="T20" fmla="*/ 0 60000 65536"/>
                      <a:gd name="T21" fmla="*/ 0 w 1588"/>
                      <a:gd name="T22" fmla="*/ 0 h 12"/>
                      <a:gd name="T23" fmla="*/ 1588 w 158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2">
                        <a:moveTo>
                          <a:pt x="0" y="0"/>
                        </a:moveTo>
                        <a:lnTo>
                          <a:pt x="0" y="0"/>
                        </a:lnTo>
                        <a:lnTo>
                          <a:pt x="0" y="12"/>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56" name="Rectangle 363"/>
                  <p:cNvSpPr>
                    <a:spLocks noChangeArrowheads="1"/>
                  </p:cNvSpPr>
                  <p:nvPr/>
                </p:nvSpPr>
                <p:spPr bwMode="auto">
                  <a:xfrm>
                    <a:off x="3568700" y="40767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57" name="Freeform 364"/>
                  <p:cNvSpPr>
                    <a:spLocks/>
                  </p:cNvSpPr>
                  <p:nvPr/>
                </p:nvSpPr>
                <p:spPr bwMode="auto">
                  <a:xfrm>
                    <a:off x="3578225" y="4076700"/>
                    <a:ext cx="1588" cy="19050"/>
                  </a:xfrm>
                  <a:custGeom>
                    <a:avLst/>
                    <a:gdLst>
                      <a:gd name="T0" fmla="*/ 0 w 1588"/>
                      <a:gd name="T1" fmla="*/ 0 h 12"/>
                      <a:gd name="T2" fmla="*/ 0 w 1588"/>
                      <a:gd name="T3" fmla="*/ 0 h 12"/>
                      <a:gd name="T4" fmla="*/ 0 w 1588"/>
                      <a:gd name="T5" fmla="*/ 19050 h 12"/>
                      <a:gd name="T6" fmla="*/ 0 w 1588"/>
                      <a:gd name="T7" fmla="*/ 19050 h 12"/>
                      <a:gd name="T8" fmla="*/ 0 w 1588"/>
                      <a:gd name="T9" fmla="*/ 19050 h 12"/>
                      <a:gd name="T10" fmla="*/ 0 w 1588"/>
                      <a:gd name="T11" fmla="*/ 0 h 12"/>
                      <a:gd name="T12" fmla="*/ 0 w 1588"/>
                      <a:gd name="T13" fmla="*/ 0 h 12"/>
                      <a:gd name="T14" fmla="*/ 0 60000 65536"/>
                      <a:gd name="T15" fmla="*/ 0 60000 65536"/>
                      <a:gd name="T16" fmla="*/ 0 60000 65536"/>
                      <a:gd name="T17" fmla="*/ 0 60000 65536"/>
                      <a:gd name="T18" fmla="*/ 0 60000 65536"/>
                      <a:gd name="T19" fmla="*/ 0 60000 65536"/>
                      <a:gd name="T20" fmla="*/ 0 60000 65536"/>
                      <a:gd name="T21" fmla="*/ 0 w 1588"/>
                      <a:gd name="T22" fmla="*/ 0 h 12"/>
                      <a:gd name="T23" fmla="*/ 1588 w 158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2">
                        <a:moveTo>
                          <a:pt x="0" y="0"/>
                        </a:moveTo>
                        <a:lnTo>
                          <a:pt x="0" y="0"/>
                        </a:lnTo>
                        <a:lnTo>
                          <a:pt x="0" y="12"/>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58" name="Freeform 365"/>
                  <p:cNvSpPr>
                    <a:spLocks/>
                  </p:cNvSpPr>
                  <p:nvPr/>
                </p:nvSpPr>
                <p:spPr bwMode="auto">
                  <a:xfrm>
                    <a:off x="3527425" y="4076700"/>
                    <a:ext cx="11113" cy="9525"/>
                  </a:xfrm>
                  <a:custGeom>
                    <a:avLst/>
                    <a:gdLst>
                      <a:gd name="T0" fmla="*/ 11113 w 7"/>
                      <a:gd name="T1" fmla="*/ 9525 h 6"/>
                      <a:gd name="T2" fmla="*/ 11113 w 7"/>
                      <a:gd name="T3" fmla="*/ 9525 h 6"/>
                      <a:gd name="T4" fmla="*/ 0 w 7"/>
                      <a:gd name="T5" fmla="*/ 9525 h 6"/>
                      <a:gd name="T6" fmla="*/ 0 w 7"/>
                      <a:gd name="T7" fmla="*/ 9525 h 6"/>
                      <a:gd name="T8" fmla="*/ 0 w 7"/>
                      <a:gd name="T9" fmla="*/ 9525 h 6"/>
                      <a:gd name="T10" fmla="*/ 0 w 7"/>
                      <a:gd name="T11" fmla="*/ 9525 h 6"/>
                      <a:gd name="T12" fmla="*/ 0 w 7"/>
                      <a:gd name="T13" fmla="*/ 9525 h 6"/>
                      <a:gd name="T14" fmla="*/ 11113 w 7"/>
                      <a:gd name="T15" fmla="*/ 9525 h 6"/>
                      <a:gd name="T16" fmla="*/ 11113 w 7"/>
                      <a:gd name="T17" fmla="*/ 9525 h 6"/>
                      <a:gd name="T18" fmla="*/ 11113 w 7"/>
                      <a:gd name="T19" fmla="*/ 0 h 6"/>
                      <a:gd name="T20" fmla="*/ 11113 w 7"/>
                      <a:gd name="T21" fmla="*/ 0 h 6"/>
                      <a:gd name="T22" fmla="*/ 11113 w 7"/>
                      <a:gd name="T23" fmla="*/ 9525 h 6"/>
                      <a:gd name="T24" fmla="*/ 11113 w 7"/>
                      <a:gd name="T25" fmla="*/ 9525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6"/>
                      <a:gd name="T41" fmla="*/ 7 w 7"/>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6">
                        <a:moveTo>
                          <a:pt x="7" y="6"/>
                        </a:moveTo>
                        <a:lnTo>
                          <a:pt x="7" y="6"/>
                        </a:lnTo>
                        <a:lnTo>
                          <a:pt x="0" y="6"/>
                        </a:lnTo>
                        <a:lnTo>
                          <a:pt x="7" y="6"/>
                        </a:lnTo>
                        <a:lnTo>
                          <a:pt x="7" y="0"/>
                        </a:lnTo>
                        <a:lnTo>
                          <a:pt x="7"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59" name="Freeform 366"/>
                  <p:cNvSpPr>
                    <a:spLocks/>
                  </p:cNvSpPr>
                  <p:nvPr/>
                </p:nvSpPr>
                <p:spPr bwMode="auto">
                  <a:xfrm>
                    <a:off x="3587750" y="40767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60" name="Freeform 367"/>
                  <p:cNvSpPr>
                    <a:spLocks/>
                  </p:cNvSpPr>
                  <p:nvPr/>
                </p:nvSpPr>
                <p:spPr bwMode="auto">
                  <a:xfrm>
                    <a:off x="3587750" y="4076700"/>
                    <a:ext cx="11113" cy="9525"/>
                  </a:xfrm>
                  <a:custGeom>
                    <a:avLst/>
                    <a:gdLst>
                      <a:gd name="T0" fmla="*/ 0 w 7"/>
                      <a:gd name="T1" fmla="*/ 0 h 6"/>
                      <a:gd name="T2" fmla="*/ 0 w 7"/>
                      <a:gd name="T3" fmla="*/ 0 h 6"/>
                      <a:gd name="T4" fmla="*/ 11113 w 7"/>
                      <a:gd name="T5" fmla="*/ 9525 h 6"/>
                      <a:gd name="T6" fmla="*/ 11113 w 7"/>
                      <a:gd name="T7" fmla="*/ 9525 h 6"/>
                      <a:gd name="T8" fmla="*/ 11113 w 7"/>
                      <a:gd name="T9" fmla="*/ 9525 h 6"/>
                      <a:gd name="T10" fmla="*/ 0 w 7"/>
                      <a:gd name="T11" fmla="*/ 0 h 6"/>
                      <a:gd name="T12" fmla="*/ 0 w 7"/>
                      <a:gd name="T13" fmla="*/ 0 h 6"/>
                      <a:gd name="T14" fmla="*/ 0 60000 65536"/>
                      <a:gd name="T15" fmla="*/ 0 60000 65536"/>
                      <a:gd name="T16" fmla="*/ 0 60000 65536"/>
                      <a:gd name="T17" fmla="*/ 0 60000 65536"/>
                      <a:gd name="T18" fmla="*/ 0 60000 65536"/>
                      <a:gd name="T19" fmla="*/ 0 60000 65536"/>
                      <a:gd name="T20" fmla="*/ 0 60000 65536"/>
                      <a:gd name="T21" fmla="*/ 0 w 7"/>
                      <a:gd name="T22" fmla="*/ 0 h 6"/>
                      <a:gd name="T23" fmla="*/ 7 w 7"/>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6">
                        <a:moveTo>
                          <a:pt x="0" y="0"/>
                        </a:moveTo>
                        <a:lnTo>
                          <a:pt x="0" y="0"/>
                        </a:lnTo>
                        <a:lnTo>
                          <a:pt x="7"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61" name="Freeform 368"/>
                  <p:cNvSpPr>
                    <a:spLocks/>
                  </p:cNvSpPr>
                  <p:nvPr/>
                </p:nvSpPr>
                <p:spPr bwMode="auto">
                  <a:xfrm>
                    <a:off x="3557588" y="408622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62" name="Freeform 369"/>
                  <p:cNvSpPr>
                    <a:spLocks/>
                  </p:cNvSpPr>
                  <p:nvPr/>
                </p:nvSpPr>
                <p:spPr bwMode="auto">
                  <a:xfrm>
                    <a:off x="3568700" y="408622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63" name="Freeform 370"/>
                  <p:cNvSpPr>
                    <a:spLocks/>
                  </p:cNvSpPr>
                  <p:nvPr/>
                </p:nvSpPr>
                <p:spPr bwMode="auto">
                  <a:xfrm>
                    <a:off x="3729038" y="408622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64" name="Oval 371"/>
                  <p:cNvSpPr>
                    <a:spLocks noChangeArrowheads="1"/>
                  </p:cNvSpPr>
                  <p:nvPr/>
                </p:nvSpPr>
                <p:spPr bwMode="auto">
                  <a:xfrm>
                    <a:off x="3538538" y="4086225"/>
                    <a:ext cx="1587" cy="9525"/>
                  </a:xfrm>
                  <a:prstGeom prst="ellipse">
                    <a:avLst/>
                  </a:pr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65" name="Freeform 372"/>
                  <p:cNvSpPr>
                    <a:spLocks/>
                  </p:cNvSpPr>
                  <p:nvPr/>
                </p:nvSpPr>
                <p:spPr bwMode="auto">
                  <a:xfrm>
                    <a:off x="3729038" y="4095750"/>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66" name="Rectangle 373"/>
                  <p:cNvSpPr>
                    <a:spLocks noChangeArrowheads="1"/>
                  </p:cNvSpPr>
                  <p:nvPr/>
                </p:nvSpPr>
                <p:spPr bwMode="auto">
                  <a:xfrm>
                    <a:off x="3598863" y="4095750"/>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467" name="Freeform 380"/>
                  <p:cNvSpPr>
                    <a:spLocks/>
                  </p:cNvSpPr>
                  <p:nvPr/>
                </p:nvSpPr>
                <p:spPr bwMode="auto">
                  <a:xfrm>
                    <a:off x="4264025" y="3824288"/>
                    <a:ext cx="261938" cy="331787"/>
                  </a:xfrm>
                  <a:custGeom>
                    <a:avLst/>
                    <a:gdLst>
                      <a:gd name="T0" fmla="*/ 141288 w 165"/>
                      <a:gd name="T1" fmla="*/ 9525 h 209"/>
                      <a:gd name="T2" fmla="*/ 141288 w 165"/>
                      <a:gd name="T3" fmla="*/ 9525 h 209"/>
                      <a:gd name="T4" fmla="*/ 100013 w 165"/>
                      <a:gd name="T5" fmla="*/ 0 h 209"/>
                      <a:gd name="T6" fmla="*/ 100013 w 165"/>
                      <a:gd name="T7" fmla="*/ 0 h 209"/>
                      <a:gd name="T8" fmla="*/ 90488 w 165"/>
                      <a:gd name="T9" fmla="*/ 9525 h 209"/>
                      <a:gd name="T10" fmla="*/ 80963 w 165"/>
                      <a:gd name="T11" fmla="*/ 20637 h 209"/>
                      <a:gd name="T12" fmla="*/ 80963 w 165"/>
                      <a:gd name="T13" fmla="*/ 20637 h 209"/>
                      <a:gd name="T14" fmla="*/ 50800 w 165"/>
                      <a:gd name="T15" fmla="*/ 60325 h 209"/>
                      <a:gd name="T16" fmla="*/ 39688 w 165"/>
                      <a:gd name="T17" fmla="*/ 111125 h 209"/>
                      <a:gd name="T18" fmla="*/ 39688 w 165"/>
                      <a:gd name="T19" fmla="*/ 111125 h 209"/>
                      <a:gd name="T20" fmla="*/ 39688 w 165"/>
                      <a:gd name="T21" fmla="*/ 160337 h 209"/>
                      <a:gd name="T22" fmla="*/ 30163 w 165"/>
                      <a:gd name="T23" fmla="*/ 211137 h 209"/>
                      <a:gd name="T24" fmla="*/ 30163 w 165"/>
                      <a:gd name="T25" fmla="*/ 211137 h 209"/>
                      <a:gd name="T26" fmla="*/ 9525 w 165"/>
                      <a:gd name="T27" fmla="*/ 252412 h 209"/>
                      <a:gd name="T28" fmla="*/ 0 w 165"/>
                      <a:gd name="T29" fmla="*/ 282575 h 209"/>
                      <a:gd name="T30" fmla="*/ 9525 w 165"/>
                      <a:gd name="T31" fmla="*/ 312737 h 209"/>
                      <a:gd name="T32" fmla="*/ 9525 w 165"/>
                      <a:gd name="T33" fmla="*/ 312737 h 209"/>
                      <a:gd name="T34" fmla="*/ 39688 w 165"/>
                      <a:gd name="T35" fmla="*/ 331787 h 209"/>
                      <a:gd name="T36" fmla="*/ 39688 w 165"/>
                      <a:gd name="T37" fmla="*/ 331787 h 209"/>
                      <a:gd name="T38" fmla="*/ 60325 w 165"/>
                      <a:gd name="T39" fmla="*/ 331787 h 209"/>
                      <a:gd name="T40" fmla="*/ 80963 w 165"/>
                      <a:gd name="T41" fmla="*/ 322262 h 209"/>
                      <a:gd name="T42" fmla="*/ 80963 w 165"/>
                      <a:gd name="T43" fmla="*/ 322262 h 209"/>
                      <a:gd name="T44" fmla="*/ 160338 w 165"/>
                      <a:gd name="T45" fmla="*/ 322262 h 209"/>
                      <a:gd name="T46" fmla="*/ 241300 w 165"/>
                      <a:gd name="T47" fmla="*/ 322262 h 209"/>
                      <a:gd name="T48" fmla="*/ 241300 w 165"/>
                      <a:gd name="T49" fmla="*/ 322262 h 209"/>
                      <a:gd name="T50" fmla="*/ 261938 w 165"/>
                      <a:gd name="T51" fmla="*/ 312737 h 209"/>
                      <a:gd name="T52" fmla="*/ 261938 w 165"/>
                      <a:gd name="T53" fmla="*/ 312737 h 209"/>
                      <a:gd name="T54" fmla="*/ 261938 w 165"/>
                      <a:gd name="T55" fmla="*/ 282575 h 209"/>
                      <a:gd name="T56" fmla="*/ 261938 w 165"/>
                      <a:gd name="T57" fmla="*/ 282575 h 209"/>
                      <a:gd name="T58" fmla="*/ 252413 w 165"/>
                      <a:gd name="T59" fmla="*/ 252412 h 209"/>
                      <a:gd name="T60" fmla="*/ 241300 w 165"/>
                      <a:gd name="T61" fmla="*/ 222250 h 209"/>
                      <a:gd name="T62" fmla="*/ 241300 w 165"/>
                      <a:gd name="T63" fmla="*/ 222250 h 209"/>
                      <a:gd name="T64" fmla="*/ 231775 w 165"/>
                      <a:gd name="T65" fmla="*/ 201612 h 209"/>
                      <a:gd name="T66" fmla="*/ 222250 w 165"/>
                      <a:gd name="T67" fmla="*/ 171450 h 209"/>
                      <a:gd name="T68" fmla="*/ 222250 w 165"/>
                      <a:gd name="T69" fmla="*/ 120650 h 209"/>
                      <a:gd name="T70" fmla="*/ 222250 w 165"/>
                      <a:gd name="T71" fmla="*/ 120650 h 209"/>
                      <a:gd name="T72" fmla="*/ 211138 w 165"/>
                      <a:gd name="T73" fmla="*/ 60325 h 209"/>
                      <a:gd name="T74" fmla="*/ 211138 w 165"/>
                      <a:gd name="T75" fmla="*/ 60325 h 209"/>
                      <a:gd name="T76" fmla="*/ 211138 w 165"/>
                      <a:gd name="T77" fmla="*/ 39687 h 209"/>
                      <a:gd name="T78" fmla="*/ 201613 w 165"/>
                      <a:gd name="T79" fmla="*/ 20637 h 209"/>
                      <a:gd name="T80" fmla="*/ 201613 w 165"/>
                      <a:gd name="T81" fmla="*/ 20637 h 209"/>
                      <a:gd name="T82" fmla="*/ 171450 w 165"/>
                      <a:gd name="T83" fmla="*/ 9525 h 209"/>
                      <a:gd name="T84" fmla="*/ 171450 w 165"/>
                      <a:gd name="T85" fmla="*/ 9525 h 209"/>
                      <a:gd name="T86" fmla="*/ 150813 w 165"/>
                      <a:gd name="T87" fmla="*/ 0 h 209"/>
                      <a:gd name="T88" fmla="*/ 141288 w 165"/>
                      <a:gd name="T89" fmla="*/ 0 h 209"/>
                      <a:gd name="T90" fmla="*/ 141288 w 165"/>
                      <a:gd name="T91" fmla="*/ 9525 h 20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5"/>
                      <a:gd name="T139" fmla="*/ 0 h 209"/>
                      <a:gd name="T140" fmla="*/ 165 w 165"/>
                      <a:gd name="T141" fmla="*/ 209 h 20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5" h="209">
                        <a:moveTo>
                          <a:pt x="89" y="6"/>
                        </a:moveTo>
                        <a:lnTo>
                          <a:pt x="89" y="6"/>
                        </a:lnTo>
                        <a:lnTo>
                          <a:pt x="63" y="0"/>
                        </a:lnTo>
                        <a:lnTo>
                          <a:pt x="57" y="6"/>
                        </a:lnTo>
                        <a:lnTo>
                          <a:pt x="51" y="13"/>
                        </a:lnTo>
                        <a:lnTo>
                          <a:pt x="32" y="38"/>
                        </a:lnTo>
                        <a:lnTo>
                          <a:pt x="25" y="70"/>
                        </a:lnTo>
                        <a:lnTo>
                          <a:pt x="25" y="101"/>
                        </a:lnTo>
                        <a:lnTo>
                          <a:pt x="19" y="133"/>
                        </a:lnTo>
                        <a:lnTo>
                          <a:pt x="6" y="159"/>
                        </a:lnTo>
                        <a:lnTo>
                          <a:pt x="0" y="178"/>
                        </a:lnTo>
                        <a:lnTo>
                          <a:pt x="6" y="197"/>
                        </a:lnTo>
                        <a:lnTo>
                          <a:pt x="25" y="209"/>
                        </a:lnTo>
                        <a:lnTo>
                          <a:pt x="38" y="209"/>
                        </a:lnTo>
                        <a:lnTo>
                          <a:pt x="51" y="203"/>
                        </a:lnTo>
                        <a:lnTo>
                          <a:pt x="101" y="203"/>
                        </a:lnTo>
                        <a:lnTo>
                          <a:pt x="152" y="203"/>
                        </a:lnTo>
                        <a:lnTo>
                          <a:pt x="165" y="197"/>
                        </a:lnTo>
                        <a:lnTo>
                          <a:pt x="165" y="178"/>
                        </a:lnTo>
                        <a:lnTo>
                          <a:pt x="159" y="159"/>
                        </a:lnTo>
                        <a:lnTo>
                          <a:pt x="152" y="140"/>
                        </a:lnTo>
                        <a:lnTo>
                          <a:pt x="146" y="127"/>
                        </a:lnTo>
                        <a:lnTo>
                          <a:pt x="140" y="108"/>
                        </a:lnTo>
                        <a:lnTo>
                          <a:pt x="140" y="76"/>
                        </a:lnTo>
                        <a:lnTo>
                          <a:pt x="133" y="38"/>
                        </a:lnTo>
                        <a:lnTo>
                          <a:pt x="133" y="25"/>
                        </a:lnTo>
                        <a:lnTo>
                          <a:pt x="127" y="13"/>
                        </a:lnTo>
                        <a:lnTo>
                          <a:pt x="108" y="6"/>
                        </a:lnTo>
                        <a:lnTo>
                          <a:pt x="95" y="0"/>
                        </a:lnTo>
                        <a:lnTo>
                          <a:pt x="89" y="0"/>
                        </a:lnTo>
                        <a:lnTo>
                          <a:pt x="89"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468" name="Freeform 381"/>
                  <p:cNvSpPr>
                    <a:spLocks/>
                  </p:cNvSpPr>
                  <p:nvPr/>
                </p:nvSpPr>
                <p:spPr bwMode="auto">
                  <a:xfrm>
                    <a:off x="3295650" y="3733800"/>
                    <a:ext cx="1392238" cy="2287588"/>
                  </a:xfrm>
                  <a:custGeom>
                    <a:avLst/>
                    <a:gdLst>
                      <a:gd name="T0" fmla="*/ 161925 w 877"/>
                      <a:gd name="T1" fmla="*/ 211138 h 1441"/>
                      <a:gd name="T2" fmla="*/ 242888 w 877"/>
                      <a:gd name="T3" fmla="*/ 90488 h 1441"/>
                      <a:gd name="T4" fmla="*/ 333375 w 877"/>
                      <a:gd name="T5" fmla="*/ 201613 h 1441"/>
                      <a:gd name="T6" fmla="*/ 342900 w 877"/>
                      <a:gd name="T7" fmla="*/ 271463 h 1441"/>
                      <a:gd name="T8" fmla="*/ 463550 w 877"/>
                      <a:gd name="T9" fmla="*/ 422275 h 1441"/>
                      <a:gd name="T10" fmla="*/ 685800 w 877"/>
                      <a:gd name="T11" fmla="*/ 292100 h 1441"/>
                      <a:gd name="T12" fmla="*/ 685800 w 877"/>
                      <a:gd name="T13" fmla="*/ 141288 h 1441"/>
                      <a:gd name="T14" fmla="*/ 736600 w 877"/>
                      <a:gd name="T15" fmla="*/ 19050 h 1441"/>
                      <a:gd name="T16" fmla="*/ 847725 w 877"/>
                      <a:gd name="T17" fmla="*/ 19050 h 1441"/>
                      <a:gd name="T18" fmla="*/ 887413 w 877"/>
                      <a:gd name="T19" fmla="*/ 171450 h 1441"/>
                      <a:gd name="T20" fmla="*/ 836613 w 877"/>
                      <a:gd name="T21" fmla="*/ 301625 h 1441"/>
                      <a:gd name="T22" fmla="*/ 1049338 w 877"/>
                      <a:gd name="T23" fmla="*/ 331788 h 1441"/>
                      <a:gd name="T24" fmla="*/ 1028700 w 877"/>
                      <a:gd name="T25" fmla="*/ 282575 h 1441"/>
                      <a:gd name="T26" fmla="*/ 1049338 w 877"/>
                      <a:gd name="T27" fmla="*/ 120650 h 1441"/>
                      <a:gd name="T28" fmla="*/ 1179513 w 877"/>
                      <a:gd name="T29" fmla="*/ 211138 h 1441"/>
                      <a:gd name="T30" fmla="*/ 1169988 w 877"/>
                      <a:gd name="T31" fmla="*/ 312738 h 1441"/>
                      <a:gd name="T32" fmla="*/ 1160463 w 877"/>
                      <a:gd name="T33" fmla="*/ 342900 h 1441"/>
                      <a:gd name="T34" fmla="*/ 1320800 w 877"/>
                      <a:gd name="T35" fmla="*/ 433388 h 1441"/>
                      <a:gd name="T36" fmla="*/ 1290638 w 877"/>
                      <a:gd name="T37" fmla="*/ 584200 h 1441"/>
                      <a:gd name="T38" fmla="*/ 1281113 w 877"/>
                      <a:gd name="T39" fmla="*/ 1411288 h 1441"/>
                      <a:gd name="T40" fmla="*/ 1270000 w 877"/>
                      <a:gd name="T41" fmla="*/ 1522413 h 1441"/>
                      <a:gd name="T42" fmla="*/ 1350963 w 877"/>
                      <a:gd name="T43" fmla="*/ 1944688 h 1441"/>
                      <a:gd name="T44" fmla="*/ 1239838 w 877"/>
                      <a:gd name="T45" fmla="*/ 1955801 h 1441"/>
                      <a:gd name="T46" fmla="*/ 1160463 w 877"/>
                      <a:gd name="T47" fmla="*/ 1874838 h 1441"/>
                      <a:gd name="T48" fmla="*/ 1160463 w 877"/>
                      <a:gd name="T49" fmla="*/ 1511300 h 1441"/>
                      <a:gd name="T50" fmla="*/ 1058863 w 877"/>
                      <a:gd name="T51" fmla="*/ 1077913 h 1441"/>
                      <a:gd name="T52" fmla="*/ 1068388 w 877"/>
                      <a:gd name="T53" fmla="*/ 1450975 h 1441"/>
                      <a:gd name="T54" fmla="*/ 1139825 w 877"/>
                      <a:gd name="T55" fmla="*/ 1814513 h 1441"/>
                      <a:gd name="T56" fmla="*/ 1089025 w 877"/>
                      <a:gd name="T57" fmla="*/ 1865313 h 1441"/>
                      <a:gd name="T58" fmla="*/ 989013 w 877"/>
                      <a:gd name="T59" fmla="*/ 1874838 h 1441"/>
                      <a:gd name="T60" fmla="*/ 977900 w 877"/>
                      <a:gd name="T61" fmla="*/ 1592263 h 1441"/>
                      <a:gd name="T62" fmla="*/ 908050 w 877"/>
                      <a:gd name="T63" fmla="*/ 1784351 h 1441"/>
                      <a:gd name="T64" fmla="*/ 817563 w 877"/>
                      <a:gd name="T65" fmla="*/ 2046288 h 1441"/>
                      <a:gd name="T66" fmla="*/ 787400 w 877"/>
                      <a:gd name="T67" fmla="*/ 1965326 h 1441"/>
                      <a:gd name="T68" fmla="*/ 787400 w 877"/>
                      <a:gd name="T69" fmla="*/ 1712913 h 1441"/>
                      <a:gd name="T70" fmla="*/ 766763 w 877"/>
                      <a:gd name="T71" fmla="*/ 1279525 h 1441"/>
                      <a:gd name="T72" fmla="*/ 715963 w 877"/>
                      <a:gd name="T73" fmla="*/ 1481138 h 1441"/>
                      <a:gd name="T74" fmla="*/ 695325 w 877"/>
                      <a:gd name="T75" fmla="*/ 2016126 h 1441"/>
                      <a:gd name="T76" fmla="*/ 685800 w 877"/>
                      <a:gd name="T77" fmla="*/ 2097088 h 1441"/>
                      <a:gd name="T78" fmla="*/ 646113 w 877"/>
                      <a:gd name="T79" fmla="*/ 2206626 h 1441"/>
                      <a:gd name="T80" fmla="*/ 514350 w 877"/>
                      <a:gd name="T81" fmla="*/ 2278063 h 1441"/>
                      <a:gd name="T82" fmla="*/ 554038 w 877"/>
                      <a:gd name="T83" fmla="*/ 1925638 h 1441"/>
                      <a:gd name="T84" fmla="*/ 554038 w 877"/>
                      <a:gd name="T85" fmla="*/ 1370013 h 1441"/>
                      <a:gd name="T86" fmla="*/ 544513 w 877"/>
                      <a:gd name="T87" fmla="*/ 1089025 h 1441"/>
                      <a:gd name="T88" fmla="*/ 463550 w 877"/>
                      <a:gd name="T89" fmla="*/ 1179513 h 1441"/>
                      <a:gd name="T90" fmla="*/ 523875 w 877"/>
                      <a:gd name="T91" fmla="*/ 1733551 h 1441"/>
                      <a:gd name="T92" fmla="*/ 514350 w 877"/>
                      <a:gd name="T93" fmla="*/ 2025651 h 1441"/>
                      <a:gd name="T94" fmla="*/ 423863 w 877"/>
                      <a:gd name="T95" fmla="*/ 2076451 h 1441"/>
                      <a:gd name="T96" fmla="*/ 403225 w 877"/>
                      <a:gd name="T97" fmla="*/ 1884363 h 1441"/>
                      <a:gd name="T98" fmla="*/ 292100 w 877"/>
                      <a:gd name="T99" fmla="*/ 1309688 h 1441"/>
                      <a:gd name="T100" fmla="*/ 292100 w 877"/>
                      <a:gd name="T101" fmla="*/ 1582738 h 1441"/>
                      <a:gd name="T102" fmla="*/ 303213 w 877"/>
                      <a:gd name="T103" fmla="*/ 1895476 h 1441"/>
                      <a:gd name="T104" fmla="*/ 212725 w 877"/>
                      <a:gd name="T105" fmla="*/ 1974851 h 1441"/>
                      <a:gd name="T106" fmla="*/ 171450 w 877"/>
                      <a:gd name="T107" fmla="*/ 1874838 h 1441"/>
                      <a:gd name="T108" fmla="*/ 141288 w 877"/>
                      <a:gd name="T109" fmla="*/ 1622425 h 1441"/>
                      <a:gd name="T110" fmla="*/ 11113 w 877"/>
                      <a:gd name="T111" fmla="*/ 1098550 h 1441"/>
                      <a:gd name="T112" fmla="*/ 50800 w 877"/>
                      <a:gd name="T113" fmla="*/ 533400 h 14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77"/>
                      <a:gd name="T172" fmla="*/ 0 h 1441"/>
                      <a:gd name="T173" fmla="*/ 877 w 877"/>
                      <a:gd name="T174" fmla="*/ 1441 h 144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77" h="1441">
                        <a:moveTo>
                          <a:pt x="57" y="279"/>
                        </a:moveTo>
                        <a:lnTo>
                          <a:pt x="127" y="247"/>
                        </a:lnTo>
                        <a:lnTo>
                          <a:pt x="134" y="222"/>
                        </a:lnTo>
                        <a:lnTo>
                          <a:pt x="121" y="216"/>
                        </a:lnTo>
                        <a:lnTo>
                          <a:pt x="108" y="184"/>
                        </a:lnTo>
                        <a:lnTo>
                          <a:pt x="102" y="133"/>
                        </a:lnTo>
                        <a:lnTo>
                          <a:pt x="102" y="101"/>
                        </a:lnTo>
                        <a:lnTo>
                          <a:pt x="108" y="89"/>
                        </a:lnTo>
                        <a:lnTo>
                          <a:pt x="121" y="70"/>
                        </a:lnTo>
                        <a:lnTo>
                          <a:pt x="134" y="63"/>
                        </a:lnTo>
                        <a:lnTo>
                          <a:pt x="153" y="57"/>
                        </a:lnTo>
                        <a:lnTo>
                          <a:pt x="172" y="70"/>
                        </a:lnTo>
                        <a:lnTo>
                          <a:pt x="197" y="89"/>
                        </a:lnTo>
                        <a:lnTo>
                          <a:pt x="203" y="101"/>
                        </a:lnTo>
                        <a:lnTo>
                          <a:pt x="210" y="127"/>
                        </a:lnTo>
                        <a:lnTo>
                          <a:pt x="216" y="127"/>
                        </a:lnTo>
                        <a:lnTo>
                          <a:pt x="216" y="133"/>
                        </a:lnTo>
                        <a:lnTo>
                          <a:pt x="216" y="146"/>
                        </a:lnTo>
                        <a:lnTo>
                          <a:pt x="216" y="165"/>
                        </a:lnTo>
                        <a:lnTo>
                          <a:pt x="216" y="171"/>
                        </a:lnTo>
                        <a:lnTo>
                          <a:pt x="210" y="165"/>
                        </a:lnTo>
                        <a:lnTo>
                          <a:pt x="210" y="197"/>
                        </a:lnTo>
                        <a:lnTo>
                          <a:pt x="216" y="216"/>
                        </a:lnTo>
                        <a:lnTo>
                          <a:pt x="222" y="228"/>
                        </a:lnTo>
                        <a:lnTo>
                          <a:pt x="248" y="247"/>
                        </a:lnTo>
                        <a:lnTo>
                          <a:pt x="292" y="266"/>
                        </a:lnTo>
                        <a:lnTo>
                          <a:pt x="343" y="235"/>
                        </a:lnTo>
                        <a:lnTo>
                          <a:pt x="381" y="216"/>
                        </a:lnTo>
                        <a:lnTo>
                          <a:pt x="419" y="209"/>
                        </a:lnTo>
                        <a:lnTo>
                          <a:pt x="426" y="190"/>
                        </a:lnTo>
                        <a:lnTo>
                          <a:pt x="432" y="184"/>
                        </a:lnTo>
                        <a:lnTo>
                          <a:pt x="432" y="133"/>
                        </a:lnTo>
                        <a:lnTo>
                          <a:pt x="426" y="114"/>
                        </a:lnTo>
                        <a:lnTo>
                          <a:pt x="419" y="95"/>
                        </a:lnTo>
                        <a:lnTo>
                          <a:pt x="426" y="89"/>
                        </a:lnTo>
                        <a:lnTo>
                          <a:pt x="432" y="89"/>
                        </a:lnTo>
                        <a:lnTo>
                          <a:pt x="438" y="57"/>
                        </a:lnTo>
                        <a:lnTo>
                          <a:pt x="445" y="31"/>
                        </a:lnTo>
                        <a:lnTo>
                          <a:pt x="451" y="19"/>
                        </a:lnTo>
                        <a:lnTo>
                          <a:pt x="464" y="12"/>
                        </a:lnTo>
                        <a:lnTo>
                          <a:pt x="470" y="12"/>
                        </a:lnTo>
                        <a:lnTo>
                          <a:pt x="489" y="6"/>
                        </a:lnTo>
                        <a:lnTo>
                          <a:pt x="508" y="0"/>
                        </a:lnTo>
                        <a:lnTo>
                          <a:pt x="521" y="6"/>
                        </a:lnTo>
                        <a:lnTo>
                          <a:pt x="534" y="12"/>
                        </a:lnTo>
                        <a:lnTo>
                          <a:pt x="546" y="25"/>
                        </a:lnTo>
                        <a:lnTo>
                          <a:pt x="559" y="44"/>
                        </a:lnTo>
                        <a:lnTo>
                          <a:pt x="559" y="57"/>
                        </a:lnTo>
                        <a:lnTo>
                          <a:pt x="559" y="70"/>
                        </a:lnTo>
                        <a:lnTo>
                          <a:pt x="559" y="108"/>
                        </a:lnTo>
                        <a:lnTo>
                          <a:pt x="559" y="127"/>
                        </a:lnTo>
                        <a:lnTo>
                          <a:pt x="553" y="146"/>
                        </a:lnTo>
                        <a:lnTo>
                          <a:pt x="546" y="152"/>
                        </a:lnTo>
                        <a:lnTo>
                          <a:pt x="527" y="190"/>
                        </a:lnTo>
                        <a:lnTo>
                          <a:pt x="521" y="222"/>
                        </a:lnTo>
                        <a:lnTo>
                          <a:pt x="527" y="241"/>
                        </a:lnTo>
                        <a:lnTo>
                          <a:pt x="584" y="260"/>
                        </a:lnTo>
                        <a:lnTo>
                          <a:pt x="635" y="254"/>
                        </a:lnTo>
                        <a:lnTo>
                          <a:pt x="661" y="222"/>
                        </a:lnTo>
                        <a:lnTo>
                          <a:pt x="661" y="209"/>
                        </a:lnTo>
                        <a:lnTo>
                          <a:pt x="654" y="203"/>
                        </a:lnTo>
                        <a:lnTo>
                          <a:pt x="642" y="209"/>
                        </a:lnTo>
                        <a:lnTo>
                          <a:pt x="648" y="190"/>
                        </a:lnTo>
                        <a:lnTo>
                          <a:pt x="648" y="178"/>
                        </a:lnTo>
                        <a:lnTo>
                          <a:pt x="642" y="165"/>
                        </a:lnTo>
                        <a:lnTo>
                          <a:pt x="642" y="152"/>
                        </a:lnTo>
                        <a:lnTo>
                          <a:pt x="642" y="133"/>
                        </a:lnTo>
                        <a:lnTo>
                          <a:pt x="642" y="108"/>
                        </a:lnTo>
                        <a:lnTo>
                          <a:pt x="661" y="76"/>
                        </a:lnTo>
                        <a:lnTo>
                          <a:pt x="667" y="63"/>
                        </a:lnTo>
                        <a:lnTo>
                          <a:pt x="686" y="63"/>
                        </a:lnTo>
                        <a:lnTo>
                          <a:pt x="699" y="63"/>
                        </a:lnTo>
                        <a:lnTo>
                          <a:pt x="724" y="70"/>
                        </a:lnTo>
                        <a:lnTo>
                          <a:pt x="743" y="101"/>
                        </a:lnTo>
                        <a:lnTo>
                          <a:pt x="743" y="133"/>
                        </a:lnTo>
                        <a:lnTo>
                          <a:pt x="743" y="146"/>
                        </a:lnTo>
                        <a:lnTo>
                          <a:pt x="743" y="158"/>
                        </a:lnTo>
                        <a:lnTo>
                          <a:pt x="737" y="171"/>
                        </a:lnTo>
                        <a:lnTo>
                          <a:pt x="737" y="197"/>
                        </a:lnTo>
                        <a:lnTo>
                          <a:pt x="731" y="197"/>
                        </a:lnTo>
                        <a:lnTo>
                          <a:pt x="724" y="197"/>
                        </a:lnTo>
                        <a:lnTo>
                          <a:pt x="724" y="209"/>
                        </a:lnTo>
                        <a:lnTo>
                          <a:pt x="731" y="216"/>
                        </a:lnTo>
                        <a:lnTo>
                          <a:pt x="756" y="235"/>
                        </a:lnTo>
                        <a:lnTo>
                          <a:pt x="800" y="235"/>
                        </a:lnTo>
                        <a:lnTo>
                          <a:pt x="819" y="247"/>
                        </a:lnTo>
                        <a:lnTo>
                          <a:pt x="832" y="260"/>
                        </a:lnTo>
                        <a:lnTo>
                          <a:pt x="832" y="273"/>
                        </a:lnTo>
                        <a:lnTo>
                          <a:pt x="832" y="279"/>
                        </a:lnTo>
                        <a:lnTo>
                          <a:pt x="832" y="292"/>
                        </a:lnTo>
                        <a:lnTo>
                          <a:pt x="819" y="324"/>
                        </a:lnTo>
                        <a:lnTo>
                          <a:pt x="813" y="368"/>
                        </a:lnTo>
                        <a:lnTo>
                          <a:pt x="800" y="406"/>
                        </a:lnTo>
                        <a:lnTo>
                          <a:pt x="788" y="444"/>
                        </a:lnTo>
                        <a:lnTo>
                          <a:pt x="826" y="597"/>
                        </a:lnTo>
                        <a:lnTo>
                          <a:pt x="794" y="609"/>
                        </a:lnTo>
                        <a:lnTo>
                          <a:pt x="807" y="889"/>
                        </a:lnTo>
                        <a:lnTo>
                          <a:pt x="807" y="895"/>
                        </a:lnTo>
                        <a:lnTo>
                          <a:pt x="807" y="901"/>
                        </a:lnTo>
                        <a:lnTo>
                          <a:pt x="807" y="914"/>
                        </a:lnTo>
                        <a:lnTo>
                          <a:pt x="800" y="940"/>
                        </a:lnTo>
                        <a:lnTo>
                          <a:pt x="800" y="959"/>
                        </a:lnTo>
                        <a:lnTo>
                          <a:pt x="800" y="1009"/>
                        </a:lnTo>
                        <a:lnTo>
                          <a:pt x="794" y="1048"/>
                        </a:lnTo>
                        <a:lnTo>
                          <a:pt x="800" y="1111"/>
                        </a:lnTo>
                        <a:lnTo>
                          <a:pt x="807" y="1187"/>
                        </a:lnTo>
                        <a:lnTo>
                          <a:pt x="826" y="1206"/>
                        </a:lnTo>
                        <a:lnTo>
                          <a:pt x="851" y="1225"/>
                        </a:lnTo>
                        <a:lnTo>
                          <a:pt x="870" y="1238"/>
                        </a:lnTo>
                        <a:lnTo>
                          <a:pt x="877" y="1251"/>
                        </a:lnTo>
                        <a:lnTo>
                          <a:pt x="794" y="1238"/>
                        </a:lnTo>
                        <a:lnTo>
                          <a:pt x="788" y="1238"/>
                        </a:lnTo>
                        <a:lnTo>
                          <a:pt x="781" y="1232"/>
                        </a:lnTo>
                        <a:lnTo>
                          <a:pt x="775" y="1219"/>
                        </a:lnTo>
                        <a:lnTo>
                          <a:pt x="762" y="1200"/>
                        </a:lnTo>
                        <a:lnTo>
                          <a:pt x="743" y="1187"/>
                        </a:lnTo>
                        <a:lnTo>
                          <a:pt x="737" y="1213"/>
                        </a:lnTo>
                        <a:lnTo>
                          <a:pt x="731" y="1213"/>
                        </a:lnTo>
                        <a:lnTo>
                          <a:pt x="731" y="1181"/>
                        </a:lnTo>
                        <a:lnTo>
                          <a:pt x="724" y="1175"/>
                        </a:lnTo>
                        <a:lnTo>
                          <a:pt x="724" y="1117"/>
                        </a:lnTo>
                        <a:lnTo>
                          <a:pt x="731" y="1073"/>
                        </a:lnTo>
                        <a:lnTo>
                          <a:pt x="731" y="990"/>
                        </a:lnTo>
                        <a:lnTo>
                          <a:pt x="731" y="971"/>
                        </a:lnTo>
                        <a:lnTo>
                          <a:pt x="731" y="952"/>
                        </a:lnTo>
                        <a:lnTo>
                          <a:pt x="718" y="921"/>
                        </a:lnTo>
                        <a:lnTo>
                          <a:pt x="718" y="876"/>
                        </a:lnTo>
                        <a:lnTo>
                          <a:pt x="711" y="800"/>
                        </a:lnTo>
                        <a:lnTo>
                          <a:pt x="692" y="724"/>
                        </a:lnTo>
                        <a:lnTo>
                          <a:pt x="673" y="673"/>
                        </a:lnTo>
                        <a:lnTo>
                          <a:pt x="667" y="679"/>
                        </a:lnTo>
                        <a:lnTo>
                          <a:pt x="667" y="705"/>
                        </a:lnTo>
                        <a:lnTo>
                          <a:pt x="667" y="774"/>
                        </a:lnTo>
                        <a:lnTo>
                          <a:pt x="667" y="844"/>
                        </a:lnTo>
                        <a:lnTo>
                          <a:pt x="667" y="870"/>
                        </a:lnTo>
                        <a:lnTo>
                          <a:pt x="673" y="889"/>
                        </a:lnTo>
                        <a:lnTo>
                          <a:pt x="673" y="914"/>
                        </a:lnTo>
                        <a:lnTo>
                          <a:pt x="680" y="952"/>
                        </a:lnTo>
                        <a:lnTo>
                          <a:pt x="686" y="990"/>
                        </a:lnTo>
                        <a:lnTo>
                          <a:pt x="699" y="1028"/>
                        </a:lnTo>
                        <a:lnTo>
                          <a:pt x="705" y="1060"/>
                        </a:lnTo>
                        <a:lnTo>
                          <a:pt x="718" y="1098"/>
                        </a:lnTo>
                        <a:lnTo>
                          <a:pt x="718" y="1143"/>
                        </a:lnTo>
                        <a:lnTo>
                          <a:pt x="711" y="1143"/>
                        </a:lnTo>
                        <a:lnTo>
                          <a:pt x="705" y="1168"/>
                        </a:lnTo>
                        <a:lnTo>
                          <a:pt x="699" y="1175"/>
                        </a:lnTo>
                        <a:lnTo>
                          <a:pt x="692" y="1149"/>
                        </a:lnTo>
                        <a:lnTo>
                          <a:pt x="686" y="1175"/>
                        </a:lnTo>
                        <a:lnTo>
                          <a:pt x="680" y="1181"/>
                        </a:lnTo>
                        <a:lnTo>
                          <a:pt x="673" y="1194"/>
                        </a:lnTo>
                        <a:lnTo>
                          <a:pt x="661" y="1200"/>
                        </a:lnTo>
                        <a:lnTo>
                          <a:pt x="610" y="1213"/>
                        </a:lnTo>
                        <a:lnTo>
                          <a:pt x="604" y="1200"/>
                        </a:lnTo>
                        <a:lnTo>
                          <a:pt x="623" y="1181"/>
                        </a:lnTo>
                        <a:lnTo>
                          <a:pt x="629" y="1162"/>
                        </a:lnTo>
                        <a:lnTo>
                          <a:pt x="642" y="1149"/>
                        </a:lnTo>
                        <a:lnTo>
                          <a:pt x="648" y="1124"/>
                        </a:lnTo>
                        <a:lnTo>
                          <a:pt x="635" y="1086"/>
                        </a:lnTo>
                        <a:lnTo>
                          <a:pt x="629" y="1048"/>
                        </a:lnTo>
                        <a:lnTo>
                          <a:pt x="616" y="1003"/>
                        </a:lnTo>
                        <a:lnTo>
                          <a:pt x="610" y="952"/>
                        </a:lnTo>
                        <a:lnTo>
                          <a:pt x="604" y="908"/>
                        </a:lnTo>
                        <a:lnTo>
                          <a:pt x="597" y="844"/>
                        </a:lnTo>
                        <a:lnTo>
                          <a:pt x="578" y="959"/>
                        </a:lnTo>
                        <a:lnTo>
                          <a:pt x="572" y="1022"/>
                        </a:lnTo>
                        <a:lnTo>
                          <a:pt x="572" y="1124"/>
                        </a:lnTo>
                        <a:lnTo>
                          <a:pt x="546" y="1200"/>
                        </a:lnTo>
                        <a:lnTo>
                          <a:pt x="559" y="1244"/>
                        </a:lnTo>
                        <a:lnTo>
                          <a:pt x="578" y="1263"/>
                        </a:lnTo>
                        <a:lnTo>
                          <a:pt x="578" y="1308"/>
                        </a:lnTo>
                        <a:lnTo>
                          <a:pt x="540" y="1314"/>
                        </a:lnTo>
                        <a:lnTo>
                          <a:pt x="515" y="1289"/>
                        </a:lnTo>
                        <a:lnTo>
                          <a:pt x="508" y="1282"/>
                        </a:lnTo>
                        <a:lnTo>
                          <a:pt x="502" y="1276"/>
                        </a:lnTo>
                        <a:lnTo>
                          <a:pt x="502" y="1257"/>
                        </a:lnTo>
                        <a:lnTo>
                          <a:pt x="496" y="1238"/>
                        </a:lnTo>
                        <a:lnTo>
                          <a:pt x="477" y="1225"/>
                        </a:lnTo>
                        <a:lnTo>
                          <a:pt x="477" y="1206"/>
                        </a:lnTo>
                        <a:lnTo>
                          <a:pt x="483" y="1181"/>
                        </a:lnTo>
                        <a:lnTo>
                          <a:pt x="483" y="1143"/>
                        </a:lnTo>
                        <a:lnTo>
                          <a:pt x="483" y="1117"/>
                        </a:lnTo>
                        <a:lnTo>
                          <a:pt x="496" y="1079"/>
                        </a:lnTo>
                        <a:lnTo>
                          <a:pt x="496" y="1022"/>
                        </a:lnTo>
                        <a:lnTo>
                          <a:pt x="496" y="952"/>
                        </a:lnTo>
                        <a:lnTo>
                          <a:pt x="489" y="895"/>
                        </a:lnTo>
                        <a:lnTo>
                          <a:pt x="489" y="844"/>
                        </a:lnTo>
                        <a:lnTo>
                          <a:pt x="483" y="819"/>
                        </a:lnTo>
                        <a:lnTo>
                          <a:pt x="483" y="806"/>
                        </a:lnTo>
                        <a:lnTo>
                          <a:pt x="477" y="819"/>
                        </a:lnTo>
                        <a:lnTo>
                          <a:pt x="457" y="889"/>
                        </a:lnTo>
                        <a:lnTo>
                          <a:pt x="451" y="927"/>
                        </a:lnTo>
                        <a:lnTo>
                          <a:pt x="451" y="933"/>
                        </a:lnTo>
                        <a:lnTo>
                          <a:pt x="451" y="1003"/>
                        </a:lnTo>
                        <a:lnTo>
                          <a:pt x="451" y="1086"/>
                        </a:lnTo>
                        <a:lnTo>
                          <a:pt x="451" y="1155"/>
                        </a:lnTo>
                        <a:lnTo>
                          <a:pt x="445" y="1238"/>
                        </a:lnTo>
                        <a:lnTo>
                          <a:pt x="438" y="1270"/>
                        </a:lnTo>
                        <a:lnTo>
                          <a:pt x="432" y="1282"/>
                        </a:lnTo>
                        <a:lnTo>
                          <a:pt x="426" y="1289"/>
                        </a:lnTo>
                        <a:lnTo>
                          <a:pt x="432" y="1295"/>
                        </a:lnTo>
                        <a:lnTo>
                          <a:pt x="432" y="1314"/>
                        </a:lnTo>
                        <a:lnTo>
                          <a:pt x="432" y="1321"/>
                        </a:lnTo>
                        <a:lnTo>
                          <a:pt x="432" y="1327"/>
                        </a:lnTo>
                        <a:lnTo>
                          <a:pt x="419" y="1352"/>
                        </a:lnTo>
                        <a:lnTo>
                          <a:pt x="407" y="1352"/>
                        </a:lnTo>
                        <a:lnTo>
                          <a:pt x="407" y="1378"/>
                        </a:lnTo>
                        <a:lnTo>
                          <a:pt x="407" y="1390"/>
                        </a:lnTo>
                        <a:lnTo>
                          <a:pt x="400" y="1403"/>
                        </a:lnTo>
                        <a:lnTo>
                          <a:pt x="394" y="1416"/>
                        </a:lnTo>
                        <a:lnTo>
                          <a:pt x="375" y="1435"/>
                        </a:lnTo>
                        <a:lnTo>
                          <a:pt x="369" y="1441"/>
                        </a:lnTo>
                        <a:lnTo>
                          <a:pt x="324" y="1435"/>
                        </a:lnTo>
                        <a:lnTo>
                          <a:pt x="324" y="1390"/>
                        </a:lnTo>
                        <a:lnTo>
                          <a:pt x="330" y="1378"/>
                        </a:lnTo>
                        <a:lnTo>
                          <a:pt x="349" y="1327"/>
                        </a:lnTo>
                        <a:lnTo>
                          <a:pt x="356" y="1308"/>
                        </a:lnTo>
                        <a:lnTo>
                          <a:pt x="349" y="1270"/>
                        </a:lnTo>
                        <a:lnTo>
                          <a:pt x="349" y="1213"/>
                        </a:lnTo>
                        <a:lnTo>
                          <a:pt x="343" y="1143"/>
                        </a:lnTo>
                        <a:lnTo>
                          <a:pt x="349" y="1079"/>
                        </a:lnTo>
                        <a:lnTo>
                          <a:pt x="349" y="1016"/>
                        </a:lnTo>
                        <a:lnTo>
                          <a:pt x="356" y="946"/>
                        </a:lnTo>
                        <a:lnTo>
                          <a:pt x="349" y="908"/>
                        </a:lnTo>
                        <a:lnTo>
                          <a:pt x="349" y="863"/>
                        </a:lnTo>
                        <a:lnTo>
                          <a:pt x="349" y="781"/>
                        </a:lnTo>
                        <a:lnTo>
                          <a:pt x="356" y="736"/>
                        </a:lnTo>
                        <a:lnTo>
                          <a:pt x="362" y="698"/>
                        </a:lnTo>
                        <a:lnTo>
                          <a:pt x="362" y="692"/>
                        </a:lnTo>
                        <a:lnTo>
                          <a:pt x="356" y="686"/>
                        </a:lnTo>
                        <a:lnTo>
                          <a:pt x="343" y="686"/>
                        </a:lnTo>
                        <a:lnTo>
                          <a:pt x="337" y="679"/>
                        </a:lnTo>
                        <a:lnTo>
                          <a:pt x="330" y="667"/>
                        </a:lnTo>
                        <a:lnTo>
                          <a:pt x="305" y="698"/>
                        </a:lnTo>
                        <a:lnTo>
                          <a:pt x="299" y="698"/>
                        </a:lnTo>
                        <a:lnTo>
                          <a:pt x="299" y="717"/>
                        </a:lnTo>
                        <a:lnTo>
                          <a:pt x="292" y="743"/>
                        </a:lnTo>
                        <a:lnTo>
                          <a:pt x="292" y="876"/>
                        </a:lnTo>
                        <a:lnTo>
                          <a:pt x="305" y="914"/>
                        </a:lnTo>
                        <a:lnTo>
                          <a:pt x="311" y="952"/>
                        </a:lnTo>
                        <a:lnTo>
                          <a:pt x="311" y="997"/>
                        </a:lnTo>
                        <a:lnTo>
                          <a:pt x="324" y="1048"/>
                        </a:lnTo>
                        <a:lnTo>
                          <a:pt x="330" y="1092"/>
                        </a:lnTo>
                        <a:lnTo>
                          <a:pt x="337" y="1149"/>
                        </a:lnTo>
                        <a:lnTo>
                          <a:pt x="330" y="1162"/>
                        </a:lnTo>
                        <a:lnTo>
                          <a:pt x="337" y="1181"/>
                        </a:lnTo>
                        <a:lnTo>
                          <a:pt x="324" y="1206"/>
                        </a:lnTo>
                        <a:lnTo>
                          <a:pt x="324" y="1276"/>
                        </a:lnTo>
                        <a:lnTo>
                          <a:pt x="324" y="1282"/>
                        </a:lnTo>
                        <a:lnTo>
                          <a:pt x="318" y="1295"/>
                        </a:lnTo>
                        <a:lnTo>
                          <a:pt x="305" y="1302"/>
                        </a:lnTo>
                        <a:lnTo>
                          <a:pt x="280" y="1308"/>
                        </a:lnTo>
                        <a:lnTo>
                          <a:pt x="267" y="1308"/>
                        </a:lnTo>
                        <a:lnTo>
                          <a:pt x="254" y="1302"/>
                        </a:lnTo>
                        <a:lnTo>
                          <a:pt x="248" y="1282"/>
                        </a:lnTo>
                        <a:lnTo>
                          <a:pt x="254" y="1257"/>
                        </a:lnTo>
                        <a:lnTo>
                          <a:pt x="261" y="1238"/>
                        </a:lnTo>
                        <a:lnTo>
                          <a:pt x="267" y="1213"/>
                        </a:lnTo>
                        <a:lnTo>
                          <a:pt x="254" y="1187"/>
                        </a:lnTo>
                        <a:lnTo>
                          <a:pt x="261" y="1168"/>
                        </a:lnTo>
                        <a:lnTo>
                          <a:pt x="242" y="1130"/>
                        </a:lnTo>
                        <a:lnTo>
                          <a:pt x="222" y="1041"/>
                        </a:lnTo>
                        <a:lnTo>
                          <a:pt x="203" y="940"/>
                        </a:lnTo>
                        <a:lnTo>
                          <a:pt x="191" y="876"/>
                        </a:lnTo>
                        <a:lnTo>
                          <a:pt x="184" y="825"/>
                        </a:lnTo>
                        <a:lnTo>
                          <a:pt x="172" y="838"/>
                        </a:lnTo>
                        <a:lnTo>
                          <a:pt x="172" y="882"/>
                        </a:lnTo>
                        <a:lnTo>
                          <a:pt x="172" y="908"/>
                        </a:lnTo>
                        <a:lnTo>
                          <a:pt x="178" y="933"/>
                        </a:lnTo>
                        <a:lnTo>
                          <a:pt x="178" y="959"/>
                        </a:lnTo>
                        <a:lnTo>
                          <a:pt x="184" y="997"/>
                        </a:lnTo>
                        <a:lnTo>
                          <a:pt x="184" y="1054"/>
                        </a:lnTo>
                        <a:lnTo>
                          <a:pt x="191" y="1098"/>
                        </a:lnTo>
                        <a:lnTo>
                          <a:pt x="197" y="1111"/>
                        </a:lnTo>
                        <a:lnTo>
                          <a:pt x="203" y="1136"/>
                        </a:lnTo>
                        <a:lnTo>
                          <a:pt x="191" y="1155"/>
                        </a:lnTo>
                        <a:lnTo>
                          <a:pt x="191" y="1194"/>
                        </a:lnTo>
                        <a:lnTo>
                          <a:pt x="172" y="1206"/>
                        </a:lnTo>
                        <a:lnTo>
                          <a:pt x="165" y="1200"/>
                        </a:lnTo>
                        <a:lnTo>
                          <a:pt x="146" y="1225"/>
                        </a:lnTo>
                        <a:lnTo>
                          <a:pt x="140" y="1238"/>
                        </a:lnTo>
                        <a:lnTo>
                          <a:pt x="134" y="1244"/>
                        </a:lnTo>
                        <a:lnTo>
                          <a:pt x="121" y="1251"/>
                        </a:lnTo>
                        <a:lnTo>
                          <a:pt x="102" y="1251"/>
                        </a:lnTo>
                        <a:lnTo>
                          <a:pt x="76" y="1238"/>
                        </a:lnTo>
                        <a:lnTo>
                          <a:pt x="70" y="1225"/>
                        </a:lnTo>
                        <a:lnTo>
                          <a:pt x="89" y="1206"/>
                        </a:lnTo>
                        <a:lnTo>
                          <a:pt x="108" y="1181"/>
                        </a:lnTo>
                        <a:lnTo>
                          <a:pt x="121" y="1162"/>
                        </a:lnTo>
                        <a:lnTo>
                          <a:pt x="121" y="1136"/>
                        </a:lnTo>
                        <a:lnTo>
                          <a:pt x="102" y="1124"/>
                        </a:lnTo>
                        <a:lnTo>
                          <a:pt x="102" y="1111"/>
                        </a:lnTo>
                        <a:lnTo>
                          <a:pt x="95" y="1060"/>
                        </a:lnTo>
                        <a:lnTo>
                          <a:pt x="89" y="1022"/>
                        </a:lnTo>
                        <a:lnTo>
                          <a:pt x="83" y="965"/>
                        </a:lnTo>
                        <a:lnTo>
                          <a:pt x="64" y="889"/>
                        </a:lnTo>
                        <a:lnTo>
                          <a:pt x="51" y="819"/>
                        </a:lnTo>
                        <a:lnTo>
                          <a:pt x="38" y="749"/>
                        </a:lnTo>
                        <a:lnTo>
                          <a:pt x="32" y="730"/>
                        </a:lnTo>
                        <a:lnTo>
                          <a:pt x="7" y="692"/>
                        </a:lnTo>
                        <a:lnTo>
                          <a:pt x="0" y="654"/>
                        </a:lnTo>
                        <a:lnTo>
                          <a:pt x="7" y="597"/>
                        </a:lnTo>
                        <a:lnTo>
                          <a:pt x="7" y="520"/>
                        </a:lnTo>
                        <a:lnTo>
                          <a:pt x="19" y="470"/>
                        </a:lnTo>
                        <a:lnTo>
                          <a:pt x="26" y="406"/>
                        </a:lnTo>
                        <a:lnTo>
                          <a:pt x="32" y="336"/>
                        </a:lnTo>
                        <a:lnTo>
                          <a:pt x="38" y="298"/>
                        </a:lnTo>
                        <a:lnTo>
                          <a:pt x="38" y="292"/>
                        </a:lnTo>
                        <a:lnTo>
                          <a:pt x="57" y="27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grpSp>
            <p:sp>
              <p:nvSpPr>
                <p:cNvPr id="359" name="Freeform 382"/>
                <p:cNvSpPr>
                  <a:spLocks/>
                </p:cNvSpPr>
                <p:nvPr/>
              </p:nvSpPr>
              <p:spPr bwMode="auto">
                <a:xfrm>
                  <a:off x="507474" y="1004876"/>
                  <a:ext cx="758359" cy="2064115"/>
                </a:xfrm>
                <a:custGeom>
                  <a:avLst/>
                  <a:gdLst>
                    <a:gd name="T0" fmla="*/ 2147483647 w 133"/>
                    <a:gd name="T1" fmla="*/ 0 h 362"/>
                    <a:gd name="T2" fmla="*/ 2147483647 w 133"/>
                    <a:gd name="T3" fmla="*/ 2147483647 h 362"/>
                    <a:gd name="T4" fmla="*/ 2147483647 w 133"/>
                    <a:gd name="T5" fmla="*/ 2147483647 h 362"/>
                    <a:gd name="T6" fmla="*/ 2147483647 w 133"/>
                    <a:gd name="T7" fmla="*/ 2147483647 h 362"/>
                    <a:gd name="T8" fmla="*/ 2147483647 w 133"/>
                    <a:gd name="T9" fmla="*/ 2147483647 h 362"/>
                    <a:gd name="T10" fmla="*/ 2147483647 w 133"/>
                    <a:gd name="T11" fmla="*/ 2147483647 h 362"/>
                    <a:gd name="T12" fmla="*/ 2147483647 w 133"/>
                    <a:gd name="T13" fmla="*/ 2147483647 h 362"/>
                    <a:gd name="T14" fmla="*/ 2147483647 w 133"/>
                    <a:gd name="T15" fmla="*/ 2147483647 h 362"/>
                    <a:gd name="T16" fmla="*/ 2147483647 w 133"/>
                    <a:gd name="T17" fmla="*/ 2147483647 h 362"/>
                    <a:gd name="T18" fmla="*/ 2147483647 w 133"/>
                    <a:gd name="T19" fmla="*/ 2147483647 h 362"/>
                    <a:gd name="T20" fmla="*/ 0 w 133"/>
                    <a:gd name="T21" fmla="*/ 2147483647 h 362"/>
                    <a:gd name="T22" fmla="*/ 2147483647 w 133"/>
                    <a:gd name="T23" fmla="*/ 2147483647 h 362"/>
                    <a:gd name="T24" fmla="*/ 2147483647 w 133"/>
                    <a:gd name="T25" fmla="*/ 2147483647 h 362"/>
                    <a:gd name="T26" fmla="*/ 2147483647 w 133"/>
                    <a:gd name="T27" fmla="*/ 2147483647 h 362"/>
                    <a:gd name="T28" fmla="*/ 2147483647 w 133"/>
                    <a:gd name="T29" fmla="*/ 2147483647 h 362"/>
                    <a:gd name="T30" fmla="*/ 2147483647 w 133"/>
                    <a:gd name="T31" fmla="*/ 2147483647 h 362"/>
                    <a:gd name="T32" fmla="*/ 2147483647 w 133"/>
                    <a:gd name="T33" fmla="*/ 2147483647 h 362"/>
                    <a:gd name="T34" fmla="*/ 2147483647 w 133"/>
                    <a:gd name="T35" fmla="*/ 2147483647 h 362"/>
                    <a:gd name="T36" fmla="*/ 2147483647 w 133"/>
                    <a:gd name="T37" fmla="*/ 2147483647 h 362"/>
                    <a:gd name="T38" fmla="*/ 2147483647 w 133"/>
                    <a:gd name="T39" fmla="*/ 2147483647 h 362"/>
                    <a:gd name="T40" fmla="*/ 2147483647 w 133"/>
                    <a:gd name="T41" fmla="*/ 2147483647 h 362"/>
                    <a:gd name="T42" fmla="*/ 2147483647 w 133"/>
                    <a:gd name="T43" fmla="*/ 2147483647 h 362"/>
                    <a:gd name="T44" fmla="*/ 2147483647 w 133"/>
                    <a:gd name="T45" fmla="*/ 2147483647 h 362"/>
                    <a:gd name="T46" fmla="*/ 2147483647 w 133"/>
                    <a:gd name="T47" fmla="*/ 2147483647 h 362"/>
                    <a:gd name="T48" fmla="*/ 2147483647 w 133"/>
                    <a:gd name="T49" fmla="*/ 2147483647 h 362"/>
                    <a:gd name="T50" fmla="*/ 2147483647 w 133"/>
                    <a:gd name="T51" fmla="*/ 2147483647 h 362"/>
                    <a:gd name="T52" fmla="*/ 2147483647 w 133"/>
                    <a:gd name="T53" fmla="*/ 2147483647 h 362"/>
                    <a:gd name="T54" fmla="*/ 2147483647 w 133"/>
                    <a:gd name="T55" fmla="*/ 2147483647 h 362"/>
                    <a:gd name="T56" fmla="*/ 2147483647 w 133"/>
                    <a:gd name="T57" fmla="*/ 2147483647 h 362"/>
                    <a:gd name="T58" fmla="*/ 2147483647 w 133"/>
                    <a:gd name="T59" fmla="*/ 2147483647 h 362"/>
                    <a:gd name="T60" fmla="*/ 2147483647 w 133"/>
                    <a:gd name="T61" fmla="*/ 2147483647 h 362"/>
                    <a:gd name="T62" fmla="*/ 2147483647 w 133"/>
                    <a:gd name="T63" fmla="*/ 2147483647 h 362"/>
                    <a:gd name="T64" fmla="*/ 2147483647 w 133"/>
                    <a:gd name="T65" fmla="*/ 2147483647 h 362"/>
                    <a:gd name="T66" fmla="*/ 2147483647 w 133"/>
                    <a:gd name="T67" fmla="*/ 2147483647 h 362"/>
                    <a:gd name="T68" fmla="*/ 2147483647 w 133"/>
                    <a:gd name="T69" fmla="*/ 2147483647 h 362"/>
                    <a:gd name="T70" fmla="*/ 2147483647 w 133"/>
                    <a:gd name="T71" fmla="*/ 2147483647 h 362"/>
                    <a:gd name="T72" fmla="*/ 2147483647 w 133"/>
                    <a:gd name="T73" fmla="*/ 0 h 362"/>
                    <a:gd name="T74" fmla="*/ 2147483647 w 133"/>
                    <a:gd name="T75" fmla="*/ 0 h 3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3"/>
                    <a:gd name="T115" fmla="*/ 0 h 362"/>
                    <a:gd name="T116" fmla="*/ 133 w 133"/>
                    <a:gd name="T117" fmla="*/ 362 h 3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3" h="362">
                      <a:moveTo>
                        <a:pt x="127" y="0"/>
                      </a:moveTo>
                      <a:lnTo>
                        <a:pt x="133" y="12"/>
                      </a:lnTo>
                      <a:lnTo>
                        <a:pt x="102" y="165"/>
                      </a:lnTo>
                      <a:lnTo>
                        <a:pt x="83" y="279"/>
                      </a:lnTo>
                      <a:lnTo>
                        <a:pt x="83" y="330"/>
                      </a:lnTo>
                      <a:lnTo>
                        <a:pt x="89" y="355"/>
                      </a:lnTo>
                      <a:lnTo>
                        <a:pt x="57" y="362"/>
                      </a:lnTo>
                      <a:lnTo>
                        <a:pt x="25" y="362"/>
                      </a:lnTo>
                      <a:lnTo>
                        <a:pt x="0" y="355"/>
                      </a:lnTo>
                      <a:lnTo>
                        <a:pt x="6" y="304"/>
                      </a:lnTo>
                      <a:lnTo>
                        <a:pt x="13" y="298"/>
                      </a:lnTo>
                      <a:lnTo>
                        <a:pt x="38" y="317"/>
                      </a:lnTo>
                      <a:lnTo>
                        <a:pt x="76" y="292"/>
                      </a:lnTo>
                      <a:lnTo>
                        <a:pt x="76" y="228"/>
                      </a:lnTo>
                      <a:lnTo>
                        <a:pt x="83" y="165"/>
                      </a:lnTo>
                      <a:lnTo>
                        <a:pt x="76" y="108"/>
                      </a:lnTo>
                      <a:lnTo>
                        <a:pt x="76" y="63"/>
                      </a:lnTo>
                      <a:lnTo>
                        <a:pt x="83" y="44"/>
                      </a:lnTo>
                      <a:lnTo>
                        <a:pt x="57" y="44"/>
                      </a:lnTo>
                      <a:lnTo>
                        <a:pt x="45" y="57"/>
                      </a:lnTo>
                      <a:lnTo>
                        <a:pt x="57" y="69"/>
                      </a:lnTo>
                      <a:lnTo>
                        <a:pt x="45" y="146"/>
                      </a:lnTo>
                      <a:lnTo>
                        <a:pt x="25" y="216"/>
                      </a:lnTo>
                      <a:lnTo>
                        <a:pt x="32" y="165"/>
                      </a:lnTo>
                      <a:lnTo>
                        <a:pt x="32" y="101"/>
                      </a:lnTo>
                      <a:lnTo>
                        <a:pt x="38" y="63"/>
                      </a:lnTo>
                      <a:lnTo>
                        <a:pt x="38" y="31"/>
                      </a:lnTo>
                      <a:lnTo>
                        <a:pt x="45" y="25"/>
                      </a:lnTo>
                      <a:lnTo>
                        <a:pt x="64" y="38"/>
                      </a:lnTo>
                      <a:lnTo>
                        <a:pt x="76" y="38"/>
                      </a:lnTo>
                      <a:lnTo>
                        <a:pt x="102" y="19"/>
                      </a:lnTo>
                      <a:lnTo>
                        <a:pt x="121" y="6"/>
                      </a:lnTo>
                      <a:lnTo>
                        <a:pt x="1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360" name="Freeform 383"/>
                <p:cNvSpPr>
                  <a:spLocks/>
                </p:cNvSpPr>
                <p:nvPr/>
              </p:nvSpPr>
              <p:spPr bwMode="auto">
                <a:xfrm>
                  <a:off x="2605801" y="1147430"/>
                  <a:ext cx="473259" cy="1699187"/>
                </a:xfrm>
                <a:custGeom>
                  <a:avLst/>
                  <a:gdLst>
                    <a:gd name="T0" fmla="*/ 2147483647 w 83"/>
                    <a:gd name="T1" fmla="*/ 0 h 298"/>
                    <a:gd name="T2" fmla="*/ 2147483647 w 83"/>
                    <a:gd name="T3" fmla="*/ 2147483647 h 298"/>
                    <a:gd name="T4" fmla="*/ 2147483647 w 83"/>
                    <a:gd name="T5" fmla="*/ 2147483647 h 298"/>
                    <a:gd name="T6" fmla="*/ 2147483647 w 83"/>
                    <a:gd name="T7" fmla="*/ 2147483647 h 298"/>
                    <a:gd name="T8" fmla="*/ 2147483647 w 83"/>
                    <a:gd name="T9" fmla="*/ 2147483647 h 298"/>
                    <a:gd name="T10" fmla="*/ 2147483647 w 83"/>
                    <a:gd name="T11" fmla="*/ 2147483647 h 298"/>
                    <a:gd name="T12" fmla="*/ 2147483647 w 83"/>
                    <a:gd name="T13" fmla="*/ 2147483647 h 298"/>
                    <a:gd name="T14" fmla="*/ 2147483647 w 83"/>
                    <a:gd name="T15" fmla="*/ 2147483647 h 298"/>
                    <a:gd name="T16" fmla="*/ 2147483647 w 83"/>
                    <a:gd name="T17" fmla="*/ 2147483647 h 298"/>
                    <a:gd name="T18" fmla="*/ 2147483647 w 83"/>
                    <a:gd name="T19" fmla="*/ 2147483647 h 298"/>
                    <a:gd name="T20" fmla="*/ 2147483647 w 83"/>
                    <a:gd name="T21" fmla="*/ 2147483647 h 298"/>
                    <a:gd name="T22" fmla="*/ 2147483647 w 83"/>
                    <a:gd name="T23" fmla="*/ 2147483647 h 298"/>
                    <a:gd name="T24" fmla="*/ 2147483647 w 83"/>
                    <a:gd name="T25" fmla="*/ 2147483647 h 298"/>
                    <a:gd name="T26" fmla="*/ 2147483647 w 83"/>
                    <a:gd name="T27" fmla="*/ 2147483647 h 298"/>
                    <a:gd name="T28" fmla="*/ 2147483647 w 83"/>
                    <a:gd name="T29" fmla="*/ 2147483647 h 298"/>
                    <a:gd name="T30" fmla="*/ 2147483647 w 83"/>
                    <a:gd name="T31" fmla="*/ 2147483647 h 298"/>
                    <a:gd name="T32" fmla="*/ 0 w 83"/>
                    <a:gd name="T33" fmla="*/ 2147483647 h 298"/>
                    <a:gd name="T34" fmla="*/ 2147483647 w 83"/>
                    <a:gd name="T35" fmla="*/ 0 h 2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3"/>
                    <a:gd name="T55" fmla="*/ 0 h 298"/>
                    <a:gd name="T56" fmla="*/ 83 w 83"/>
                    <a:gd name="T57" fmla="*/ 298 h 2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3" h="298">
                      <a:moveTo>
                        <a:pt x="13" y="0"/>
                      </a:moveTo>
                      <a:lnTo>
                        <a:pt x="32" y="6"/>
                      </a:lnTo>
                      <a:lnTo>
                        <a:pt x="45" y="25"/>
                      </a:lnTo>
                      <a:lnTo>
                        <a:pt x="39" y="44"/>
                      </a:lnTo>
                      <a:lnTo>
                        <a:pt x="64" y="95"/>
                      </a:lnTo>
                      <a:lnTo>
                        <a:pt x="64" y="114"/>
                      </a:lnTo>
                      <a:lnTo>
                        <a:pt x="70" y="146"/>
                      </a:lnTo>
                      <a:lnTo>
                        <a:pt x="83" y="241"/>
                      </a:lnTo>
                      <a:lnTo>
                        <a:pt x="83" y="267"/>
                      </a:lnTo>
                      <a:lnTo>
                        <a:pt x="58" y="298"/>
                      </a:lnTo>
                      <a:lnTo>
                        <a:pt x="20" y="273"/>
                      </a:lnTo>
                      <a:lnTo>
                        <a:pt x="7" y="133"/>
                      </a:lnTo>
                      <a:lnTo>
                        <a:pt x="7" y="70"/>
                      </a:lnTo>
                      <a:lnTo>
                        <a:pt x="20" y="38"/>
                      </a:lnTo>
                      <a:lnTo>
                        <a:pt x="0" y="19"/>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361" name="Freeform 384"/>
                <p:cNvSpPr>
                  <a:spLocks/>
                </p:cNvSpPr>
                <p:nvPr/>
              </p:nvSpPr>
              <p:spPr bwMode="auto">
                <a:xfrm>
                  <a:off x="3694877" y="1039092"/>
                  <a:ext cx="473267" cy="650026"/>
                </a:xfrm>
                <a:custGeom>
                  <a:avLst/>
                  <a:gdLst>
                    <a:gd name="T0" fmla="*/ 2147483647 w 83"/>
                    <a:gd name="T1" fmla="*/ 2147483647 h 114"/>
                    <a:gd name="T2" fmla="*/ 2147483647 w 83"/>
                    <a:gd name="T3" fmla="*/ 2147483647 h 114"/>
                    <a:gd name="T4" fmla="*/ 2147483647 w 83"/>
                    <a:gd name="T5" fmla="*/ 2147483647 h 114"/>
                    <a:gd name="T6" fmla="*/ 0 w 83"/>
                    <a:gd name="T7" fmla="*/ 2147483647 h 114"/>
                    <a:gd name="T8" fmla="*/ 2147483647 w 83"/>
                    <a:gd name="T9" fmla="*/ 2147483647 h 114"/>
                    <a:gd name="T10" fmla="*/ 2147483647 w 83"/>
                    <a:gd name="T11" fmla="*/ 2147483647 h 114"/>
                    <a:gd name="T12" fmla="*/ 2147483647 w 83"/>
                    <a:gd name="T13" fmla="*/ 2147483647 h 114"/>
                    <a:gd name="T14" fmla="*/ 2147483647 w 83"/>
                    <a:gd name="T15" fmla="*/ 2147483647 h 114"/>
                    <a:gd name="T16" fmla="*/ 2147483647 w 83"/>
                    <a:gd name="T17" fmla="*/ 2147483647 h 114"/>
                    <a:gd name="T18" fmla="*/ 2147483647 w 83"/>
                    <a:gd name="T19" fmla="*/ 0 h 114"/>
                    <a:gd name="T20" fmla="*/ 2147483647 w 83"/>
                    <a:gd name="T21" fmla="*/ 2147483647 h 114"/>
                    <a:gd name="T22" fmla="*/ 2147483647 w 83"/>
                    <a:gd name="T23" fmla="*/ 2147483647 h 114"/>
                    <a:gd name="T24" fmla="*/ 2147483647 w 83"/>
                    <a:gd name="T25" fmla="*/ 2147483647 h 114"/>
                    <a:gd name="T26" fmla="*/ 2147483647 w 83"/>
                    <a:gd name="T27" fmla="*/ 2147483647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3"/>
                    <a:gd name="T43" fmla="*/ 0 h 114"/>
                    <a:gd name="T44" fmla="*/ 83 w 83"/>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3" h="114">
                      <a:moveTo>
                        <a:pt x="25" y="114"/>
                      </a:moveTo>
                      <a:lnTo>
                        <a:pt x="19" y="114"/>
                      </a:lnTo>
                      <a:lnTo>
                        <a:pt x="13" y="76"/>
                      </a:lnTo>
                      <a:lnTo>
                        <a:pt x="0" y="57"/>
                      </a:lnTo>
                      <a:lnTo>
                        <a:pt x="6" y="32"/>
                      </a:lnTo>
                      <a:lnTo>
                        <a:pt x="13" y="13"/>
                      </a:lnTo>
                      <a:lnTo>
                        <a:pt x="25" y="32"/>
                      </a:lnTo>
                      <a:lnTo>
                        <a:pt x="44" y="32"/>
                      </a:lnTo>
                      <a:lnTo>
                        <a:pt x="70" y="19"/>
                      </a:lnTo>
                      <a:lnTo>
                        <a:pt x="83" y="0"/>
                      </a:lnTo>
                      <a:lnTo>
                        <a:pt x="83" y="32"/>
                      </a:lnTo>
                      <a:lnTo>
                        <a:pt x="57" y="57"/>
                      </a:lnTo>
                      <a:lnTo>
                        <a:pt x="44" y="76"/>
                      </a:lnTo>
                      <a:lnTo>
                        <a:pt x="25"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nvGrpSpPr>
              <p:cNvPr id="326" name="Group 325"/>
              <p:cNvGrpSpPr/>
              <p:nvPr/>
            </p:nvGrpSpPr>
            <p:grpSpPr>
              <a:xfrm>
                <a:off x="2670209" y="2914105"/>
                <a:ext cx="660451" cy="729794"/>
                <a:chOff x="4699861" y="3091545"/>
                <a:chExt cx="409730" cy="452750"/>
              </a:xfrm>
              <a:solidFill>
                <a:schemeClr val="bg1">
                  <a:lumMod val="85000"/>
                </a:schemeClr>
              </a:solidFill>
              <a:effectLst/>
            </p:grpSpPr>
            <p:sp>
              <p:nvSpPr>
                <p:cNvPr id="354" name="Freeform 88"/>
                <p:cNvSpPr>
                  <a:spLocks/>
                </p:cNvSpPr>
                <p:nvPr/>
              </p:nvSpPr>
              <p:spPr bwMode="auto">
                <a:xfrm>
                  <a:off x="4699861" y="3152727"/>
                  <a:ext cx="409730" cy="391568"/>
                </a:xfrm>
                <a:custGeom>
                  <a:avLst/>
                  <a:gdLst>
                    <a:gd name="T0" fmla="*/ 2147483647 w 268"/>
                    <a:gd name="T1" fmla="*/ 0 h 256"/>
                    <a:gd name="T2" fmla="*/ 2147483647 w 268"/>
                    <a:gd name="T3" fmla="*/ 2147483647 h 256"/>
                    <a:gd name="T4" fmla="*/ 2147483647 w 268"/>
                    <a:gd name="T5" fmla="*/ 2147483647 h 256"/>
                    <a:gd name="T6" fmla="*/ 0 w 268"/>
                    <a:gd name="T7" fmla="*/ 2147483647 h 256"/>
                    <a:gd name="T8" fmla="*/ 2147483647 w 268"/>
                    <a:gd name="T9" fmla="*/ 0 h 256"/>
                    <a:gd name="T10" fmla="*/ 0 60000 65536"/>
                    <a:gd name="T11" fmla="*/ 0 60000 65536"/>
                    <a:gd name="T12" fmla="*/ 0 60000 65536"/>
                    <a:gd name="T13" fmla="*/ 0 60000 65536"/>
                    <a:gd name="T14" fmla="*/ 0 60000 65536"/>
                    <a:gd name="T15" fmla="*/ 0 w 268"/>
                    <a:gd name="T16" fmla="*/ 0 h 256"/>
                    <a:gd name="T17" fmla="*/ 268 w 268"/>
                    <a:gd name="T18" fmla="*/ 256 h 256"/>
                  </a:gdLst>
                  <a:ahLst/>
                  <a:cxnLst>
                    <a:cxn ang="T10">
                      <a:pos x="T0" y="T1"/>
                    </a:cxn>
                    <a:cxn ang="T11">
                      <a:pos x="T2" y="T3"/>
                    </a:cxn>
                    <a:cxn ang="T12">
                      <a:pos x="T4" y="T5"/>
                    </a:cxn>
                    <a:cxn ang="T13">
                      <a:pos x="T6" y="T7"/>
                    </a:cxn>
                    <a:cxn ang="T14">
                      <a:pos x="T8" y="T9"/>
                    </a:cxn>
                  </a:cxnLst>
                  <a:rect l="T15" t="T16" r="T17" b="T18"/>
                  <a:pathLst>
                    <a:path w="268" h="256">
                      <a:moveTo>
                        <a:pt x="68" y="0"/>
                      </a:moveTo>
                      <a:lnTo>
                        <a:pt x="268" y="6"/>
                      </a:lnTo>
                      <a:lnTo>
                        <a:pt x="232" y="256"/>
                      </a:lnTo>
                      <a:lnTo>
                        <a:pt x="0" y="246"/>
                      </a:lnTo>
                      <a:lnTo>
                        <a:pt x="68" y="0"/>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355" name="Freeform 89"/>
                <p:cNvSpPr>
                  <a:spLocks noEditPoints="1"/>
                </p:cNvSpPr>
                <p:nvPr/>
              </p:nvSpPr>
              <p:spPr bwMode="auto">
                <a:xfrm>
                  <a:off x="4745726" y="3186377"/>
                  <a:ext cx="327172" cy="324268"/>
                </a:xfrm>
                <a:custGeom>
                  <a:avLst/>
                  <a:gdLst>
                    <a:gd name="T0" fmla="*/ 2147483647 w 214"/>
                    <a:gd name="T1" fmla="*/ 2147483647 h 212"/>
                    <a:gd name="T2" fmla="*/ 2147483647 w 214"/>
                    <a:gd name="T3" fmla="*/ 2147483647 h 212"/>
                    <a:gd name="T4" fmla="*/ 2147483647 w 214"/>
                    <a:gd name="T5" fmla="*/ 2147483647 h 212"/>
                    <a:gd name="T6" fmla="*/ 2147483647 w 214"/>
                    <a:gd name="T7" fmla="*/ 2147483647 h 212"/>
                    <a:gd name="T8" fmla="*/ 2147483647 w 214"/>
                    <a:gd name="T9" fmla="*/ 2147483647 h 212"/>
                    <a:gd name="T10" fmla="*/ 2147483647 w 214"/>
                    <a:gd name="T11" fmla="*/ 2147483647 h 212"/>
                    <a:gd name="T12" fmla="*/ 2147483647 w 214"/>
                    <a:gd name="T13" fmla="*/ 2147483647 h 212"/>
                    <a:gd name="T14" fmla="*/ 2147483647 w 214"/>
                    <a:gd name="T15" fmla="*/ 2147483647 h 212"/>
                    <a:gd name="T16" fmla="*/ 2147483647 w 214"/>
                    <a:gd name="T17" fmla="*/ 2147483647 h 212"/>
                    <a:gd name="T18" fmla="*/ 2147483647 w 214"/>
                    <a:gd name="T19" fmla="*/ 2147483647 h 212"/>
                    <a:gd name="T20" fmla="*/ 2147483647 w 214"/>
                    <a:gd name="T21" fmla="*/ 2147483647 h 212"/>
                    <a:gd name="T22" fmla="*/ 2147483647 w 214"/>
                    <a:gd name="T23" fmla="*/ 2147483647 h 212"/>
                    <a:gd name="T24" fmla="*/ 2147483647 w 214"/>
                    <a:gd name="T25" fmla="*/ 2147483647 h 212"/>
                    <a:gd name="T26" fmla="*/ 2147483647 w 214"/>
                    <a:gd name="T27" fmla="*/ 2147483647 h 212"/>
                    <a:gd name="T28" fmla="*/ 2147483647 w 214"/>
                    <a:gd name="T29" fmla="*/ 2147483647 h 212"/>
                    <a:gd name="T30" fmla="*/ 2147483647 w 214"/>
                    <a:gd name="T31" fmla="*/ 2147483647 h 212"/>
                    <a:gd name="T32" fmla="*/ 2147483647 w 214"/>
                    <a:gd name="T33" fmla="*/ 2147483647 h 212"/>
                    <a:gd name="T34" fmla="*/ 2147483647 w 214"/>
                    <a:gd name="T35" fmla="*/ 2147483647 h 212"/>
                    <a:gd name="T36" fmla="*/ 2147483647 w 214"/>
                    <a:gd name="T37" fmla="*/ 2147483647 h 212"/>
                    <a:gd name="T38" fmla="*/ 2147483647 w 214"/>
                    <a:gd name="T39" fmla="*/ 2147483647 h 212"/>
                    <a:gd name="T40" fmla="*/ 2147483647 w 214"/>
                    <a:gd name="T41" fmla="*/ 2147483647 h 212"/>
                    <a:gd name="T42" fmla="*/ 2147483647 w 214"/>
                    <a:gd name="T43" fmla="*/ 2147483647 h 212"/>
                    <a:gd name="T44" fmla="*/ 2147483647 w 214"/>
                    <a:gd name="T45" fmla="*/ 2147483647 h 212"/>
                    <a:gd name="T46" fmla="*/ 2147483647 w 214"/>
                    <a:gd name="T47" fmla="*/ 2147483647 h 212"/>
                    <a:gd name="T48" fmla="*/ 2147483647 w 214"/>
                    <a:gd name="T49" fmla="*/ 2147483647 h 212"/>
                    <a:gd name="T50" fmla="*/ 2147483647 w 214"/>
                    <a:gd name="T51" fmla="*/ 2147483647 h 212"/>
                    <a:gd name="T52" fmla="*/ 2147483647 w 214"/>
                    <a:gd name="T53" fmla="*/ 2147483647 h 212"/>
                    <a:gd name="T54" fmla="*/ 2147483647 w 214"/>
                    <a:gd name="T55" fmla="*/ 2147483647 h 212"/>
                    <a:gd name="T56" fmla="*/ 2147483647 w 214"/>
                    <a:gd name="T57" fmla="*/ 2147483647 h 212"/>
                    <a:gd name="T58" fmla="*/ 2147483647 w 214"/>
                    <a:gd name="T59" fmla="*/ 2147483647 h 212"/>
                    <a:gd name="T60" fmla="*/ 2147483647 w 214"/>
                    <a:gd name="T61" fmla="*/ 2147483647 h 212"/>
                    <a:gd name="T62" fmla="*/ 2147483647 w 214"/>
                    <a:gd name="T63" fmla="*/ 2147483647 h 212"/>
                    <a:gd name="T64" fmla="*/ 2147483647 w 214"/>
                    <a:gd name="T65" fmla="*/ 2147483647 h 212"/>
                    <a:gd name="T66" fmla="*/ 0 w 214"/>
                    <a:gd name="T67" fmla="*/ 2147483647 h 212"/>
                    <a:gd name="T68" fmla="*/ 2147483647 w 214"/>
                    <a:gd name="T69" fmla="*/ 2147483647 h 212"/>
                    <a:gd name="T70" fmla="*/ 2147483647 w 214"/>
                    <a:gd name="T71" fmla="*/ 2147483647 h 212"/>
                    <a:gd name="T72" fmla="*/ 2147483647 w 214"/>
                    <a:gd name="T73" fmla="*/ 0 h 212"/>
                    <a:gd name="T74" fmla="*/ 2147483647 w 214"/>
                    <a:gd name="T75" fmla="*/ 2147483647 h 212"/>
                    <a:gd name="T76" fmla="*/ 2147483647 w 214"/>
                    <a:gd name="T77" fmla="*/ 2147483647 h 212"/>
                    <a:gd name="T78" fmla="*/ 2147483647 w 214"/>
                    <a:gd name="T79" fmla="*/ 2147483647 h 212"/>
                    <a:gd name="T80" fmla="*/ 2147483647 w 214"/>
                    <a:gd name="T81" fmla="*/ 0 h 2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4"/>
                    <a:gd name="T124" fmla="*/ 0 h 212"/>
                    <a:gd name="T125" fmla="*/ 214 w 214"/>
                    <a:gd name="T126" fmla="*/ 212 h 2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4" h="212">
                      <a:moveTo>
                        <a:pt x="44" y="32"/>
                      </a:moveTo>
                      <a:lnTo>
                        <a:pt x="208" y="38"/>
                      </a:lnTo>
                      <a:lnTo>
                        <a:pt x="206" y="50"/>
                      </a:lnTo>
                      <a:lnTo>
                        <a:pt x="40" y="44"/>
                      </a:lnTo>
                      <a:lnTo>
                        <a:pt x="44" y="32"/>
                      </a:lnTo>
                      <a:close/>
                      <a:moveTo>
                        <a:pt x="36" y="64"/>
                      </a:moveTo>
                      <a:lnTo>
                        <a:pt x="204" y="70"/>
                      </a:lnTo>
                      <a:lnTo>
                        <a:pt x="202" y="84"/>
                      </a:lnTo>
                      <a:lnTo>
                        <a:pt x="32" y="78"/>
                      </a:lnTo>
                      <a:lnTo>
                        <a:pt x="36" y="64"/>
                      </a:lnTo>
                      <a:close/>
                      <a:moveTo>
                        <a:pt x="28" y="96"/>
                      </a:moveTo>
                      <a:lnTo>
                        <a:pt x="198" y="102"/>
                      </a:lnTo>
                      <a:lnTo>
                        <a:pt x="196" y="116"/>
                      </a:lnTo>
                      <a:lnTo>
                        <a:pt x="24" y="108"/>
                      </a:lnTo>
                      <a:lnTo>
                        <a:pt x="28" y="96"/>
                      </a:lnTo>
                      <a:close/>
                      <a:moveTo>
                        <a:pt x="20" y="128"/>
                      </a:moveTo>
                      <a:lnTo>
                        <a:pt x="194" y="134"/>
                      </a:lnTo>
                      <a:lnTo>
                        <a:pt x="192" y="148"/>
                      </a:lnTo>
                      <a:lnTo>
                        <a:pt x="16" y="140"/>
                      </a:lnTo>
                      <a:lnTo>
                        <a:pt x="20" y="128"/>
                      </a:lnTo>
                      <a:close/>
                      <a:moveTo>
                        <a:pt x="10" y="160"/>
                      </a:moveTo>
                      <a:lnTo>
                        <a:pt x="188" y="166"/>
                      </a:lnTo>
                      <a:lnTo>
                        <a:pt x="186" y="180"/>
                      </a:lnTo>
                      <a:lnTo>
                        <a:pt x="6" y="172"/>
                      </a:lnTo>
                      <a:lnTo>
                        <a:pt x="10" y="160"/>
                      </a:lnTo>
                      <a:close/>
                      <a:moveTo>
                        <a:pt x="2" y="192"/>
                      </a:moveTo>
                      <a:lnTo>
                        <a:pt x="184" y="200"/>
                      </a:lnTo>
                      <a:lnTo>
                        <a:pt x="182" y="212"/>
                      </a:lnTo>
                      <a:lnTo>
                        <a:pt x="0" y="204"/>
                      </a:lnTo>
                      <a:lnTo>
                        <a:pt x="2" y="192"/>
                      </a:lnTo>
                      <a:close/>
                      <a:moveTo>
                        <a:pt x="52" y="0"/>
                      </a:moveTo>
                      <a:lnTo>
                        <a:pt x="214" y="6"/>
                      </a:lnTo>
                      <a:lnTo>
                        <a:pt x="212" y="18"/>
                      </a:lnTo>
                      <a:lnTo>
                        <a:pt x="50" y="12"/>
                      </a:lnTo>
                      <a:lnTo>
                        <a:pt x="52" y="0"/>
                      </a:lnTo>
                      <a:close/>
                    </a:path>
                  </a:pathLst>
                </a:custGeom>
                <a:grpFill/>
                <a:ln>
                  <a:noFill/>
                </a:ln>
                <a:extLst/>
              </p:spPr>
              <p:txBody>
                <a:bodyPr/>
                <a:lstStyle/>
                <a:p>
                  <a:pPr fontAlgn="auto">
                    <a:spcBef>
                      <a:spcPts val="0"/>
                    </a:spcBef>
                    <a:spcAft>
                      <a:spcPts val="0"/>
                    </a:spcAft>
                    <a:defRPr/>
                  </a:pPr>
                  <a:endParaRPr lang="en-US">
                    <a:latin typeface="+mn-lt"/>
                    <a:ea typeface="+mn-ea"/>
                  </a:endParaRPr>
                </a:p>
              </p:txBody>
            </p:sp>
            <p:sp>
              <p:nvSpPr>
                <p:cNvPr id="356" name="Freeform 90"/>
                <p:cNvSpPr>
                  <a:spLocks/>
                </p:cNvSpPr>
                <p:nvPr/>
              </p:nvSpPr>
              <p:spPr bwMode="auto">
                <a:xfrm>
                  <a:off x="4699865" y="3091545"/>
                  <a:ext cx="379153" cy="437455"/>
                </a:xfrm>
                <a:custGeom>
                  <a:avLst/>
                  <a:gdLst>
                    <a:gd name="T0" fmla="*/ 2147483647 w 248"/>
                    <a:gd name="T1" fmla="*/ 2147483647 h 286"/>
                    <a:gd name="T2" fmla="*/ 2147483647 w 248"/>
                    <a:gd name="T3" fmla="*/ 2147483647 h 286"/>
                    <a:gd name="T4" fmla="*/ 2147483647 w 248"/>
                    <a:gd name="T5" fmla="*/ 2147483647 h 286"/>
                    <a:gd name="T6" fmla="*/ 2147483647 w 248"/>
                    <a:gd name="T7" fmla="*/ 2147483647 h 286"/>
                    <a:gd name="T8" fmla="*/ 2147483647 w 248"/>
                    <a:gd name="T9" fmla="*/ 2147483647 h 286"/>
                    <a:gd name="T10" fmla="*/ 2147483647 w 248"/>
                    <a:gd name="T11" fmla="*/ 0 h 286"/>
                    <a:gd name="T12" fmla="*/ 2147483647 w 248"/>
                    <a:gd name="T13" fmla="*/ 2147483647 h 286"/>
                    <a:gd name="T14" fmla="*/ 2147483647 w 248"/>
                    <a:gd name="T15" fmla="*/ 2147483647 h 286"/>
                    <a:gd name="T16" fmla="*/ 2147483647 w 248"/>
                    <a:gd name="T17" fmla="*/ 2147483647 h 286"/>
                    <a:gd name="T18" fmla="*/ 2147483647 w 248"/>
                    <a:gd name="T19" fmla="*/ 2147483647 h 286"/>
                    <a:gd name="T20" fmla="*/ 2147483647 w 248"/>
                    <a:gd name="T21" fmla="*/ 2147483647 h 286"/>
                    <a:gd name="T22" fmla="*/ 0 w 248"/>
                    <a:gd name="T23" fmla="*/ 2147483647 h 286"/>
                    <a:gd name="T24" fmla="*/ 2147483647 w 248"/>
                    <a:gd name="T25" fmla="*/ 2147483647 h 2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8"/>
                    <a:gd name="T40" fmla="*/ 0 h 286"/>
                    <a:gd name="T41" fmla="*/ 248 w 248"/>
                    <a:gd name="T42" fmla="*/ 286 h 2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8" h="286">
                      <a:moveTo>
                        <a:pt x="68" y="40"/>
                      </a:moveTo>
                      <a:lnTo>
                        <a:pt x="68" y="40"/>
                      </a:lnTo>
                      <a:lnTo>
                        <a:pt x="114" y="36"/>
                      </a:lnTo>
                      <a:lnTo>
                        <a:pt x="160" y="28"/>
                      </a:lnTo>
                      <a:lnTo>
                        <a:pt x="204" y="16"/>
                      </a:lnTo>
                      <a:lnTo>
                        <a:pt x="248" y="0"/>
                      </a:lnTo>
                      <a:lnTo>
                        <a:pt x="196" y="244"/>
                      </a:lnTo>
                      <a:lnTo>
                        <a:pt x="148" y="260"/>
                      </a:lnTo>
                      <a:lnTo>
                        <a:pt x="100" y="274"/>
                      </a:lnTo>
                      <a:lnTo>
                        <a:pt x="50" y="282"/>
                      </a:lnTo>
                      <a:lnTo>
                        <a:pt x="0" y="286"/>
                      </a:lnTo>
                      <a:lnTo>
                        <a:pt x="68" y="40"/>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357" name="Freeform 92"/>
                <p:cNvSpPr>
                  <a:spLocks/>
                </p:cNvSpPr>
                <p:nvPr/>
              </p:nvSpPr>
              <p:spPr bwMode="auto">
                <a:xfrm>
                  <a:off x="4776308" y="3220026"/>
                  <a:ext cx="128423" cy="131543"/>
                </a:xfrm>
                <a:custGeom>
                  <a:avLst/>
                  <a:gdLst>
                    <a:gd name="T0" fmla="*/ 2147483647 w 84"/>
                    <a:gd name="T1" fmla="*/ 2147483647 h 86"/>
                    <a:gd name="T2" fmla="*/ 2147483647 w 84"/>
                    <a:gd name="T3" fmla="*/ 2147483647 h 86"/>
                    <a:gd name="T4" fmla="*/ 2147483647 w 84"/>
                    <a:gd name="T5" fmla="*/ 2147483647 h 86"/>
                    <a:gd name="T6" fmla="*/ 2147483647 w 84"/>
                    <a:gd name="T7" fmla="*/ 0 h 86"/>
                    <a:gd name="T8" fmla="*/ 2147483647 w 84"/>
                    <a:gd name="T9" fmla="*/ 2147483647 h 86"/>
                    <a:gd name="T10" fmla="*/ 2147483647 w 84"/>
                    <a:gd name="T11" fmla="*/ 2147483647 h 86"/>
                    <a:gd name="T12" fmla="*/ 2147483647 w 84"/>
                    <a:gd name="T13" fmla="*/ 2147483647 h 86"/>
                    <a:gd name="T14" fmla="*/ 0 w 84"/>
                    <a:gd name="T15" fmla="*/ 2147483647 h 86"/>
                    <a:gd name="T16" fmla="*/ 2147483647 w 84"/>
                    <a:gd name="T17" fmla="*/ 2147483647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
                    <a:gd name="T28" fmla="*/ 0 h 86"/>
                    <a:gd name="T29" fmla="*/ 84 w 84"/>
                    <a:gd name="T30" fmla="*/ 86 h 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 h="86">
                      <a:moveTo>
                        <a:pt x="22" y="10"/>
                      </a:moveTo>
                      <a:lnTo>
                        <a:pt x="22" y="10"/>
                      </a:lnTo>
                      <a:lnTo>
                        <a:pt x="52" y="6"/>
                      </a:lnTo>
                      <a:lnTo>
                        <a:pt x="84" y="0"/>
                      </a:lnTo>
                      <a:lnTo>
                        <a:pt x="64" y="78"/>
                      </a:lnTo>
                      <a:lnTo>
                        <a:pt x="32" y="82"/>
                      </a:lnTo>
                      <a:lnTo>
                        <a:pt x="0" y="86"/>
                      </a:lnTo>
                      <a:lnTo>
                        <a:pt x="22" y="10"/>
                      </a:lnTo>
                      <a:close/>
                    </a:path>
                  </a:pathLst>
                </a:custGeom>
                <a:grpFill/>
                <a:ln>
                  <a:noFill/>
                </a:ln>
                <a:extLst/>
              </p:spPr>
              <p:txBody>
                <a:bodyPr/>
                <a:lstStyle/>
                <a:p>
                  <a:pPr fontAlgn="auto">
                    <a:spcBef>
                      <a:spcPts val="0"/>
                    </a:spcBef>
                    <a:spcAft>
                      <a:spcPts val="0"/>
                    </a:spcAft>
                    <a:defRPr/>
                  </a:pPr>
                  <a:endParaRPr lang="en-US">
                    <a:latin typeface="+mn-lt"/>
                    <a:ea typeface="+mn-ea"/>
                  </a:endParaRPr>
                </a:p>
              </p:txBody>
            </p:sp>
          </p:grpSp>
          <p:grpSp>
            <p:nvGrpSpPr>
              <p:cNvPr id="327" name="Group 287"/>
              <p:cNvGrpSpPr>
                <a:grpSpLocks/>
              </p:cNvGrpSpPr>
              <p:nvPr/>
            </p:nvGrpSpPr>
            <p:grpSpPr bwMode="auto">
              <a:xfrm>
                <a:off x="5676900" y="1547813"/>
                <a:ext cx="828675" cy="450850"/>
                <a:chOff x="5038125" y="4776246"/>
                <a:chExt cx="829402" cy="451390"/>
              </a:xfrm>
              <a:solidFill>
                <a:schemeClr val="bg1">
                  <a:lumMod val="85000"/>
                </a:schemeClr>
              </a:solidFill>
            </p:grpSpPr>
            <p:sp>
              <p:nvSpPr>
                <p:cNvPr id="351" name="Freeform 350"/>
                <p:cNvSpPr>
                  <a:spLocks/>
                </p:cNvSpPr>
                <p:nvPr/>
              </p:nvSpPr>
              <p:spPr bwMode="auto">
                <a:xfrm>
                  <a:off x="5217670" y="4776246"/>
                  <a:ext cx="475078" cy="451390"/>
                </a:xfrm>
                <a:custGeom>
                  <a:avLst/>
                  <a:gdLst>
                    <a:gd name="T0" fmla="*/ 836 w 1482"/>
                    <a:gd name="T1" fmla="*/ 11 h 1412"/>
                    <a:gd name="T2" fmla="*/ 888 w 1482"/>
                    <a:gd name="T3" fmla="*/ 35 h 1412"/>
                    <a:gd name="T4" fmla="*/ 943 w 1482"/>
                    <a:gd name="T5" fmla="*/ 89 h 1412"/>
                    <a:gd name="T6" fmla="*/ 999 w 1482"/>
                    <a:gd name="T7" fmla="*/ 170 h 1412"/>
                    <a:gd name="T8" fmla="*/ 1027 w 1482"/>
                    <a:gd name="T9" fmla="*/ 254 h 1412"/>
                    <a:gd name="T10" fmla="*/ 1017 w 1482"/>
                    <a:gd name="T11" fmla="*/ 402 h 1412"/>
                    <a:gd name="T12" fmla="*/ 1024 w 1482"/>
                    <a:gd name="T13" fmla="*/ 459 h 1412"/>
                    <a:gd name="T14" fmla="*/ 1041 w 1482"/>
                    <a:gd name="T15" fmla="*/ 464 h 1412"/>
                    <a:gd name="T16" fmla="*/ 1038 w 1482"/>
                    <a:gd name="T17" fmla="*/ 532 h 1412"/>
                    <a:gd name="T18" fmla="*/ 1009 w 1482"/>
                    <a:gd name="T19" fmla="*/ 669 h 1412"/>
                    <a:gd name="T20" fmla="*/ 996 w 1482"/>
                    <a:gd name="T21" fmla="*/ 681 h 1412"/>
                    <a:gd name="T22" fmla="*/ 966 w 1482"/>
                    <a:gd name="T23" fmla="*/ 748 h 1412"/>
                    <a:gd name="T24" fmla="*/ 947 w 1482"/>
                    <a:gd name="T25" fmla="*/ 796 h 1412"/>
                    <a:gd name="T26" fmla="*/ 907 w 1482"/>
                    <a:gd name="T27" fmla="*/ 867 h 1412"/>
                    <a:gd name="T28" fmla="*/ 949 w 1482"/>
                    <a:gd name="T29" fmla="*/ 896 h 1412"/>
                    <a:gd name="T30" fmla="*/ 976 w 1482"/>
                    <a:gd name="T31" fmla="*/ 933 h 1412"/>
                    <a:gd name="T32" fmla="*/ 1092 w 1482"/>
                    <a:gd name="T33" fmla="*/ 991 h 1412"/>
                    <a:gd name="T34" fmla="*/ 1358 w 1482"/>
                    <a:gd name="T35" fmla="*/ 1104 h 1412"/>
                    <a:gd name="T36" fmla="*/ 1439 w 1482"/>
                    <a:gd name="T37" fmla="*/ 1152 h 1412"/>
                    <a:gd name="T38" fmla="*/ 1473 w 1482"/>
                    <a:gd name="T39" fmla="*/ 1189 h 1412"/>
                    <a:gd name="T40" fmla="*/ 1482 w 1482"/>
                    <a:gd name="T41" fmla="*/ 1232 h 1412"/>
                    <a:gd name="T42" fmla="*/ 1475 w 1482"/>
                    <a:gd name="T43" fmla="*/ 1397 h 1412"/>
                    <a:gd name="T44" fmla="*/ 828 w 1482"/>
                    <a:gd name="T45" fmla="*/ 1224 h 1412"/>
                    <a:gd name="T46" fmla="*/ 816 w 1482"/>
                    <a:gd name="T47" fmla="*/ 1179 h 1412"/>
                    <a:gd name="T48" fmla="*/ 874 w 1482"/>
                    <a:gd name="T49" fmla="*/ 1106 h 1412"/>
                    <a:gd name="T50" fmla="*/ 943 w 1482"/>
                    <a:gd name="T51" fmla="*/ 989 h 1412"/>
                    <a:gd name="T52" fmla="*/ 831 w 1482"/>
                    <a:gd name="T53" fmla="*/ 1093 h 1412"/>
                    <a:gd name="T54" fmla="*/ 742 w 1482"/>
                    <a:gd name="T55" fmla="*/ 1125 h 1412"/>
                    <a:gd name="T56" fmla="*/ 693 w 1482"/>
                    <a:gd name="T57" fmla="*/ 1119 h 1412"/>
                    <a:gd name="T58" fmla="*/ 601 w 1482"/>
                    <a:gd name="T59" fmla="*/ 1052 h 1412"/>
                    <a:gd name="T60" fmla="*/ 566 w 1482"/>
                    <a:gd name="T61" fmla="*/ 1037 h 1412"/>
                    <a:gd name="T62" fmla="*/ 653 w 1482"/>
                    <a:gd name="T63" fmla="*/ 1145 h 1412"/>
                    <a:gd name="T64" fmla="*/ 677 w 1482"/>
                    <a:gd name="T65" fmla="*/ 1191 h 1412"/>
                    <a:gd name="T66" fmla="*/ 676 w 1482"/>
                    <a:gd name="T67" fmla="*/ 1232 h 1412"/>
                    <a:gd name="T68" fmla="*/ 691 w 1482"/>
                    <a:gd name="T69" fmla="*/ 1262 h 1412"/>
                    <a:gd name="T70" fmla="*/ 689 w 1482"/>
                    <a:gd name="T71" fmla="*/ 1377 h 1412"/>
                    <a:gd name="T72" fmla="*/ 4 w 1482"/>
                    <a:gd name="T73" fmla="*/ 1333 h 1412"/>
                    <a:gd name="T74" fmla="*/ 1 w 1482"/>
                    <a:gd name="T75" fmla="*/ 1213 h 1412"/>
                    <a:gd name="T76" fmla="*/ 20 w 1482"/>
                    <a:gd name="T77" fmla="*/ 1175 h 1412"/>
                    <a:gd name="T78" fmla="*/ 67 w 1482"/>
                    <a:gd name="T79" fmla="*/ 1135 h 1412"/>
                    <a:gd name="T80" fmla="*/ 208 w 1482"/>
                    <a:gd name="T81" fmla="*/ 1066 h 1412"/>
                    <a:gd name="T82" fmla="*/ 473 w 1482"/>
                    <a:gd name="T83" fmla="*/ 954 h 1412"/>
                    <a:gd name="T84" fmla="*/ 521 w 1482"/>
                    <a:gd name="T85" fmla="*/ 917 h 1412"/>
                    <a:gd name="T86" fmla="*/ 539 w 1482"/>
                    <a:gd name="T87" fmla="*/ 874 h 1412"/>
                    <a:gd name="T88" fmla="*/ 569 w 1482"/>
                    <a:gd name="T89" fmla="*/ 832 h 1412"/>
                    <a:gd name="T90" fmla="*/ 528 w 1482"/>
                    <a:gd name="T91" fmla="*/ 784 h 1412"/>
                    <a:gd name="T92" fmla="*/ 507 w 1482"/>
                    <a:gd name="T93" fmla="*/ 690 h 1412"/>
                    <a:gd name="T94" fmla="*/ 481 w 1482"/>
                    <a:gd name="T95" fmla="*/ 680 h 1412"/>
                    <a:gd name="T96" fmla="*/ 462 w 1482"/>
                    <a:gd name="T97" fmla="*/ 631 h 1412"/>
                    <a:gd name="T98" fmla="*/ 438 w 1482"/>
                    <a:gd name="T99" fmla="*/ 481 h 1412"/>
                    <a:gd name="T100" fmla="*/ 442 w 1482"/>
                    <a:gd name="T101" fmla="*/ 462 h 1412"/>
                    <a:gd name="T102" fmla="*/ 461 w 1482"/>
                    <a:gd name="T103" fmla="*/ 460 h 1412"/>
                    <a:gd name="T104" fmla="*/ 455 w 1482"/>
                    <a:gd name="T105" fmla="*/ 432 h 1412"/>
                    <a:gd name="T106" fmla="*/ 438 w 1482"/>
                    <a:gd name="T107" fmla="*/ 359 h 1412"/>
                    <a:gd name="T108" fmla="*/ 440 w 1482"/>
                    <a:gd name="T109" fmla="*/ 246 h 1412"/>
                    <a:gd name="T110" fmla="*/ 459 w 1482"/>
                    <a:gd name="T111" fmla="*/ 140 h 1412"/>
                    <a:gd name="T112" fmla="*/ 485 w 1482"/>
                    <a:gd name="T113" fmla="*/ 90 h 1412"/>
                    <a:gd name="T114" fmla="*/ 510 w 1482"/>
                    <a:gd name="T115" fmla="*/ 77 h 1412"/>
                    <a:gd name="T116" fmla="*/ 557 w 1482"/>
                    <a:gd name="T117" fmla="*/ 69 h 1412"/>
                    <a:gd name="T118" fmla="*/ 604 w 1482"/>
                    <a:gd name="T119" fmla="*/ 28 h 1412"/>
                    <a:gd name="T120" fmla="*/ 670 w 1482"/>
                    <a:gd name="T121" fmla="*/ 6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2" h="1412">
                      <a:moveTo>
                        <a:pt x="741" y="0"/>
                      </a:moveTo>
                      <a:lnTo>
                        <a:pt x="765" y="1"/>
                      </a:lnTo>
                      <a:lnTo>
                        <a:pt x="788" y="2"/>
                      </a:lnTo>
                      <a:lnTo>
                        <a:pt x="812" y="6"/>
                      </a:lnTo>
                      <a:lnTo>
                        <a:pt x="836" y="11"/>
                      </a:lnTo>
                      <a:lnTo>
                        <a:pt x="846" y="15"/>
                      </a:lnTo>
                      <a:lnTo>
                        <a:pt x="857" y="19"/>
                      </a:lnTo>
                      <a:lnTo>
                        <a:pt x="868" y="24"/>
                      </a:lnTo>
                      <a:lnTo>
                        <a:pt x="878" y="28"/>
                      </a:lnTo>
                      <a:lnTo>
                        <a:pt x="888" y="35"/>
                      </a:lnTo>
                      <a:lnTo>
                        <a:pt x="897" y="41"/>
                      </a:lnTo>
                      <a:lnTo>
                        <a:pt x="905" y="49"/>
                      </a:lnTo>
                      <a:lnTo>
                        <a:pt x="914" y="57"/>
                      </a:lnTo>
                      <a:lnTo>
                        <a:pt x="929" y="74"/>
                      </a:lnTo>
                      <a:lnTo>
                        <a:pt x="943" y="89"/>
                      </a:lnTo>
                      <a:lnTo>
                        <a:pt x="956" y="105"/>
                      </a:lnTo>
                      <a:lnTo>
                        <a:pt x="968" y="121"/>
                      </a:lnTo>
                      <a:lnTo>
                        <a:pt x="979" y="138"/>
                      </a:lnTo>
                      <a:lnTo>
                        <a:pt x="989" y="154"/>
                      </a:lnTo>
                      <a:lnTo>
                        <a:pt x="999" y="170"/>
                      </a:lnTo>
                      <a:lnTo>
                        <a:pt x="1006" y="185"/>
                      </a:lnTo>
                      <a:lnTo>
                        <a:pt x="1013" y="202"/>
                      </a:lnTo>
                      <a:lnTo>
                        <a:pt x="1019" y="219"/>
                      </a:lnTo>
                      <a:lnTo>
                        <a:pt x="1023" y="237"/>
                      </a:lnTo>
                      <a:lnTo>
                        <a:pt x="1027" y="254"/>
                      </a:lnTo>
                      <a:lnTo>
                        <a:pt x="1029" y="273"/>
                      </a:lnTo>
                      <a:lnTo>
                        <a:pt x="1029" y="293"/>
                      </a:lnTo>
                      <a:lnTo>
                        <a:pt x="1028" y="312"/>
                      </a:lnTo>
                      <a:lnTo>
                        <a:pt x="1027" y="333"/>
                      </a:lnTo>
                      <a:lnTo>
                        <a:pt x="1017" y="402"/>
                      </a:lnTo>
                      <a:lnTo>
                        <a:pt x="1009" y="444"/>
                      </a:lnTo>
                      <a:lnTo>
                        <a:pt x="1004" y="464"/>
                      </a:lnTo>
                      <a:lnTo>
                        <a:pt x="1003" y="470"/>
                      </a:lnTo>
                      <a:lnTo>
                        <a:pt x="1010" y="465"/>
                      </a:lnTo>
                      <a:lnTo>
                        <a:pt x="1024" y="459"/>
                      </a:lnTo>
                      <a:lnTo>
                        <a:pt x="1028" y="459"/>
                      </a:lnTo>
                      <a:lnTo>
                        <a:pt x="1032" y="459"/>
                      </a:lnTo>
                      <a:lnTo>
                        <a:pt x="1036" y="459"/>
                      </a:lnTo>
                      <a:lnTo>
                        <a:pt x="1039" y="461"/>
                      </a:lnTo>
                      <a:lnTo>
                        <a:pt x="1041" y="464"/>
                      </a:lnTo>
                      <a:lnTo>
                        <a:pt x="1044" y="468"/>
                      </a:lnTo>
                      <a:lnTo>
                        <a:pt x="1044" y="474"/>
                      </a:lnTo>
                      <a:lnTo>
                        <a:pt x="1044" y="481"/>
                      </a:lnTo>
                      <a:lnTo>
                        <a:pt x="1043" y="503"/>
                      </a:lnTo>
                      <a:lnTo>
                        <a:pt x="1038" y="532"/>
                      </a:lnTo>
                      <a:lnTo>
                        <a:pt x="1034" y="566"/>
                      </a:lnTo>
                      <a:lnTo>
                        <a:pt x="1027" y="600"/>
                      </a:lnTo>
                      <a:lnTo>
                        <a:pt x="1020" y="631"/>
                      </a:lnTo>
                      <a:lnTo>
                        <a:pt x="1012" y="659"/>
                      </a:lnTo>
                      <a:lnTo>
                        <a:pt x="1009" y="669"/>
                      </a:lnTo>
                      <a:lnTo>
                        <a:pt x="1004" y="676"/>
                      </a:lnTo>
                      <a:lnTo>
                        <a:pt x="1003" y="678"/>
                      </a:lnTo>
                      <a:lnTo>
                        <a:pt x="1001" y="680"/>
                      </a:lnTo>
                      <a:lnTo>
                        <a:pt x="999" y="681"/>
                      </a:lnTo>
                      <a:lnTo>
                        <a:pt x="996" y="681"/>
                      </a:lnTo>
                      <a:lnTo>
                        <a:pt x="978" y="676"/>
                      </a:lnTo>
                      <a:lnTo>
                        <a:pt x="976" y="674"/>
                      </a:lnTo>
                      <a:lnTo>
                        <a:pt x="975" y="690"/>
                      </a:lnTo>
                      <a:lnTo>
                        <a:pt x="970" y="726"/>
                      </a:lnTo>
                      <a:lnTo>
                        <a:pt x="966" y="748"/>
                      </a:lnTo>
                      <a:lnTo>
                        <a:pt x="961" y="767"/>
                      </a:lnTo>
                      <a:lnTo>
                        <a:pt x="958" y="776"/>
                      </a:lnTo>
                      <a:lnTo>
                        <a:pt x="954" y="784"/>
                      </a:lnTo>
                      <a:lnTo>
                        <a:pt x="950" y="791"/>
                      </a:lnTo>
                      <a:lnTo>
                        <a:pt x="947" y="796"/>
                      </a:lnTo>
                      <a:lnTo>
                        <a:pt x="931" y="812"/>
                      </a:lnTo>
                      <a:lnTo>
                        <a:pt x="919" y="825"/>
                      </a:lnTo>
                      <a:lnTo>
                        <a:pt x="913" y="832"/>
                      </a:lnTo>
                      <a:lnTo>
                        <a:pt x="910" y="835"/>
                      </a:lnTo>
                      <a:lnTo>
                        <a:pt x="907" y="867"/>
                      </a:lnTo>
                      <a:lnTo>
                        <a:pt x="943" y="865"/>
                      </a:lnTo>
                      <a:lnTo>
                        <a:pt x="943" y="867"/>
                      </a:lnTo>
                      <a:lnTo>
                        <a:pt x="943" y="874"/>
                      </a:lnTo>
                      <a:lnTo>
                        <a:pt x="945" y="883"/>
                      </a:lnTo>
                      <a:lnTo>
                        <a:pt x="949" y="896"/>
                      </a:lnTo>
                      <a:lnTo>
                        <a:pt x="952" y="903"/>
                      </a:lnTo>
                      <a:lnTo>
                        <a:pt x="957" y="910"/>
                      </a:lnTo>
                      <a:lnTo>
                        <a:pt x="961" y="917"/>
                      </a:lnTo>
                      <a:lnTo>
                        <a:pt x="968" y="925"/>
                      </a:lnTo>
                      <a:lnTo>
                        <a:pt x="976" y="933"/>
                      </a:lnTo>
                      <a:lnTo>
                        <a:pt x="985" y="940"/>
                      </a:lnTo>
                      <a:lnTo>
                        <a:pt x="996" y="947"/>
                      </a:lnTo>
                      <a:lnTo>
                        <a:pt x="1009" y="954"/>
                      </a:lnTo>
                      <a:lnTo>
                        <a:pt x="1044" y="970"/>
                      </a:lnTo>
                      <a:lnTo>
                        <a:pt x="1092" y="991"/>
                      </a:lnTo>
                      <a:lnTo>
                        <a:pt x="1150" y="1014"/>
                      </a:lnTo>
                      <a:lnTo>
                        <a:pt x="1212" y="1040"/>
                      </a:lnTo>
                      <a:lnTo>
                        <a:pt x="1274" y="1066"/>
                      </a:lnTo>
                      <a:lnTo>
                        <a:pt x="1332" y="1092"/>
                      </a:lnTo>
                      <a:lnTo>
                        <a:pt x="1358" y="1104"/>
                      </a:lnTo>
                      <a:lnTo>
                        <a:pt x="1380" y="1115"/>
                      </a:lnTo>
                      <a:lnTo>
                        <a:pt x="1401" y="1126"/>
                      </a:lnTo>
                      <a:lnTo>
                        <a:pt x="1415" y="1135"/>
                      </a:lnTo>
                      <a:lnTo>
                        <a:pt x="1428" y="1144"/>
                      </a:lnTo>
                      <a:lnTo>
                        <a:pt x="1439" y="1152"/>
                      </a:lnTo>
                      <a:lnTo>
                        <a:pt x="1448" y="1160"/>
                      </a:lnTo>
                      <a:lnTo>
                        <a:pt x="1456" y="1167"/>
                      </a:lnTo>
                      <a:lnTo>
                        <a:pt x="1463" y="1175"/>
                      </a:lnTo>
                      <a:lnTo>
                        <a:pt x="1468" y="1181"/>
                      </a:lnTo>
                      <a:lnTo>
                        <a:pt x="1473" y="1189"/>
                      </a:lnTo>
                      <a:lnTo>
                        <a:pt x="1476" y="1197"/>
                      </a:lnTo>
                      <a:lnTo>
                        <a:pt x="1478" y="1205"/>
                      </a:lnTo>
                      <a:lnTo>
                        <a:pt x="1481" y="1213"/>
                      </a:lnTo>
                      <a:lnTo>
                        <a:pt x="1482" y="1222"/>
                      </a:lnTo>
                      <a:lnTo>
                        <a:pt x="1482" y="1232"/>
                      </a:lnTo>
                      <a:lnTo>
                        <a:pt x="1482" y="1255"/>
                      </a:lnTo>
                      <a:lnTo>
                        <a:pt x="1481" y="1281"/>
                      </a:lnTo>
                      <a:lnTo>
                        <a:pt x="1478" y="1333"/>
                      </a:lnTo>
                      <a:lnTo>
                        <a:pt x="1477" y="1372"/>
                      </a:lnTo>
                      <a:lnTo>
                        <a:pt x="1475" y="1397"/>
                      </a:lnTo>
                      <a:lnTo>
                        <a:pt x="1475" y="1406"/>
                      </a:lnTo>
                      <a:lnTo>
                        <a:pt x="859" y="1412"/>
                      </a:lnTo>
                      <a:lnTo>
                        <a:pt x="822" y="1265"/>
                      </a:lnTo>
                      <a:lnTo>
                        <a:pt x="826" y="1242"/>
                      </a:lnTo>
                      <a:lnTo>
                        <a:pt x="828" y="1224"/>
                      </a:lnTo>
                      <a:lnTo>
                        <a:pt x="828" y="1210"/>
                      </a:lnTo>
                      <a:lnTo>
                        <a:pt x="827" y="1200"/>
                      </a:lnTo>
                      <a:lnTo>
                        <a:pt x="823" y="1191"/>
                      </a:lnTo>
                      <a:lnTo>
                        <a:pt x="820" y="1184"/>
                      </a:lnTo>
                      <a:lnTo>
                        <a:pt x="816" y="1179"/>
                      </a:lnTo>
                      <a:lnTo>
                        <a:pt x="810" y="1175"/>
                      </a:lnTo>
                      <a:lnTo>
                        <a:pt x="826" y="1158"/>
                      </a:lnTo>
                      <a:lnTo>
                        <a:pt x="842" y="1142"/>
                      </a:lnTo>
                      <a:lnTo>
                        <a:pt x="857" y="1125"/>
                      </a:lnTo>
                      <a:lnTo>
                        <a:pt x="874" y="1106"/>
                      </a:lnTo>
                      <a:lnTo>
                        <a:pt x="892" y="1083"/>
                      </a:lnTo>
                      <a:lnTo>
                        <a:pt x="914" y="1053"/>
                      </a:lnTo>
                      <a:lnTo>
                        <a:pt x="938" y="1015"/>
                      </a:lnTo>
                      <a:lnTo>
                        <a:pt x="966" y="968"/>
                      </a:lnTo>
                      <a:lnTo>
                        <a:pt x="943" y="989"/>
                      </a:lnTo>
                      <a:lnTo>
                        <a:pt x="921" y="1010"/>
                      </a:lnTo>
                      <a:lnTo>
                        <a:pt x="899" y="1030"/>
                      </a:lnTo>
                      <a:lnTo>
                        <a:pt x="877" y="1052"/>
                      </a:lnTo>
                      <a:lnTo>
                        <a:pt x="854" y="1072"/>
                      </a:lnTo>
                      <a:lnTo>
                        <a:pt x="831" y="1093"/>
                      </a:lnTo>
                      <a:lnTo>
                        <a:pt x="810" y="1114"/>
                      </a:lnTo>
                      <a:lnTo>
                        <a:pt x="787" y="1135"/>
                      </a:lnTo>
                      <a:lnTo>
                        <a:pt x="769" y="1130"/>
                      </a:lnTo>
                      <a:lnTo>
                        <a:pt x="751" y="1126"/>
                      </a:lnTo>
                      <a:lnTo>
                        <a:pt x="742" y="1125"/>
                      </a:lnTo>
                      <a:lnTo>
                        <a:pt x="733" y="1125"/>
                      </a:lnTo>
                      <a:lnTo>
                        <a:pt x="725" y="1126"/>
                      </a:lnTo>
                      <a:lnTo>
                        <a:pt x="716" y="1128"/>
                      </a:lnTo>
                      <a:lnTo>
                        <a:pt x="704" y="1125"/>
                      </a:lnTo>
                      <a:lnTo>
                        <a:pt x="693" y="1119"/>
                      </a:lnTo>
                      <a:lnTo>
                        <a:pt x="681" y="1114"/>
                      </a:lnTo>
                      <a:lnTo>
                        <a:pt x="670" y="1107"/>
                      </a:lnTo>
                      <a:lnTo>
                        <a:pt x="646" y="1091"/>
                      </a:lnTo>
                      <a:lnTo>
                        <a:pt x="624" y="1072"/>
                      </a:lnTo>
                      <a:lnTo>
                        <a:pt x="601" y="1052"/>
                      </a:lnTo>
                      <a:lnTo>
                        <a:pt x="577" y="1029"/>
                      </a:lnTo>
                      <a:lnTo>
                        <a:pt x="555" y="1005"/>
                      </a:lnTo>
                      <a:lnTo>
                        <a:pt x="531" y="980"/>
                      </a:lnTo>
                      <a:lnTo>
                        <a:pt x="549" y="1009"/>
                      </a:lnTo>
                      <a:lnTo>
                        <a:pt x="566" y="1037"/>
                      </a:lnTo>
                      <a:lnTo>
                        <a:pt x="584" y="1064"/>
                      </a:lnTo>
                      <a:lnTo>
                        <a:pt x="603" y="1090"/>
                      </a:lnTo>
                      <a:lnTo>
                        <a:pt x="623" y="1114"/>
                      </a:lnTo>
                      <a:lnTo>
                        <a:pt x="642" y="1136"/>
                      </a:lnTo>
                      <a:lnTo>
                        <a:pt x="653" y="1145"/>
                      </a:lnTo>
                      <a:lnTo>
                        <a:pt x="663" y="1154"/>
                      </a:lnTo>
                      <a:lnTo>
                        <a:pt x="674" y="1163"/>
                      </a:lnTo>
                      <a:lnTo>
                        <a:pt x="686" y="1170"/>
                      </a:lnTo>
                      <a:lnTo>
                        <a:pt x="681" y="1180"/>
                      </a:lnTo>
                      <a:lnTo>
                        <a:pt x="677" y="1191"/>
                      </a:lnTo>
                      <a:lnTo>
                        <a:pt x="674" y="1200"/>
                      </a:lnTo>
                      <a:lnTo>
                        <a:pt x="673" y="1209"/>
                      </a:lnTo>
                      <a:lnTo>
                        <a:pt x="673" y="1218"/>
                      </a:lnTo>
                      <a:lnTo>
                        <a:pt x="673" y="1226"/>
                      </a:lnTo>
                      <a:lnTo>
                        <a:pt x="676" y="1232"/>
                      </a:lnTo>
                      <a:lnTo>
                        <a:pt x="678" y="1239"/>
                      </a:lnTo>
                      <a:lnTo>
                        <a:pt x="680" y="1246"/>
                      </a:lnTo>
                      <a:lnTo>
                        <a:pt x="683" y="1251"/>
                      </a:lnTo>
                      <a:lnTo>
                        <a:pt x="688" y="1257"/>
                      </a:lnTo>
                      <a:lnTo>
                        <a:pt x="691" y="1262"/>
                      </a:lnTo>
                      <a:lnTo>
                        <a:pt x="700" y="1270"/>
                      </a:lnTo>
                      <a:lnTo>
                        <a:pt x="709" y="1275"/>
                      </a:lnTo>
                      <a:lnTo>
                        <a:pt x="702" y="1308"/>
                      </a:lnTo>
                      <a:lnTo>
                        <a:pt x="695" y="1342"/>
                      </a:lnTo>
                      <a:lnTo>
                        <a:pt x="689" y="1377"/>
                      </a:lnTo>
                      <a:lnTo>
                        <a:pt x="682" y="1412"/>
                      </a:lnTo>
                      <a:lnTo>
                        <a:pt x="7" y="1406"/>
                      </a:lnTo>
                      <a:lnTo>
                        <a:pt x="7" y="1397"/>
                      </a:lnTo>
                      <a:lnTo>
                        <a:pt x="6" y="1372"/>
                      </a:lnTo>
                      <a:lnTo>
                        <a:pt x="4" y="1333"/>
                      </a:lnTo>
                      <a:lnTo>
                        <a:pt x="1" y="1281"/>
                      </a:lnTo>
                      <a:lnTo>
                        <a:pt x="0" y="1255"/>
                      </a:lnTo>
                      <a:lnTo>
                        <a:pt x="0" y="1232"/>
                      </a:lnTo>
                      <a:lnTo>
                        <a:pt x="0" y="1222"/>
                      </a:lnTo>
                      <a:lnTo>
                        <a:pt x="1" y="1213"/>
                      </a:lnTo>
                      <a:lnTo>
                        <a:pt x="4" y="1205"/>
                      </a:lnTo>
                      <a:lnTo>
                        <a:pt x="6" y="1197"/>
                      </a:lnTo>
                      <a:lnTo>
                        <a:pt x="9" y="1189"/>
                      </a:lnTo>
                      <a:lnTo>
                        <a:pt x="14" y="1181"/>
                      </a:lnTo>
                      <a:lnTo>
                        <a:pt x="20" y="1175"/>
                      </a:lnTo>
                      <a:lnTo>
                        <a:pt x="26" y="1167"/>
                      </a:lnTo>
                      <a:lnTo>
                        <a:pt x="34" y="1160"/>
                      </a:lnTo>
                      <a:lnTo>
                        <a:pt x="43" y="1152"/>
                      </a:lnTo>
                      <a:lnTo>
                        <a:pt x="55" y="1144"/>
                      </a:lnTo>
                      <a:lnTo>
                        <a:pt x="67" y="1135"/>
                      </a:lnTo>
                      <a:lnTo>
                        <a:pt x="82" y="1126"/>
                      </a:lnTo>
                      <a:lnTo>
                        <a:pt x="102" y="1115"/>
                      </a:lnTo>
                      <a:lnTo>
                        <a:pt x="125" y="1104"/>
                      </a:lnTo>
                      <a:lnTo>
                        <a:pt x="150" y="1092"/>
                      </a:lnTo>
                      <a:lnTo>
                        <a:pt x="208" y="1066"/>
                      </a:lnTo>
                      <a:lnTo>
                        <a:pt x="270" y="1040"/>
                      </a:lnTo>
                      <a:lnTo>
                        <a:pt x="332" y="1014"/>
                      </a:lnTo>
                      <a:lnTo>
                        <a:pt x="390" y="991"/>
                      </a:lnTo>
                      <a:lnTo>
                        <a:pt x="438" y="970"/>
                      </a:lnTo>
                      <a:lnTo>
                        <a:pt x="473" y="954"/>
                      </a:lnTo>
                      <a:lnTo>
                        <a:pt x="486" y="947"/>
                      </a:lnTo>
                      <a:lnTo>
                        <a:pt x="497" y="940"/>
                      </a:lnTo>
                      <a:lnTo>
                        <a:pt x="506" y="933"/>
                      </a:lnTo>
                      <a:lnTo>
                        <a:pt x="514" y="925"/>
                      </a:lnTo>
                      <a:lnTo>
                        <a:pt x="521" y="917"/>
                      </a:lnTo>
                      <a:lnTo>
                        <a:pt x="525" y="910"/>
                      </a:lnTo>
                      <a:lnTo>
                        <a:pt x="530" y="903"/>
                      </a:lnTo>
                      <a:lnTo>
                        <a:pt x="533" y="896"/>
                      </a:lnTo>
                      <a:lnTo>
                        <a:pt x="537" y="883"/>
                      </a:lnTo>
                      <a:lnTo>
                        <a:pt x="539" y="874"/>
                      </a:lnTo>
                      <a:lnTo>
                        <a:pt x="539" y="867"/>
                      </a:lnTo>
                      <a:lnTo>
                        <a:pt x="539" y="865"/>
                      </a:lnTo>
                      <a:lnTo>
                        <a:pt x="575" y="867"/>
                      </a:lnTo>
                      <a:lnTo>
                        <a:pt x="572" y="835"/>
                      </a:lnTo>
                      <a:lnTo>
                        <a:pt x="569" y="832"/>
                      </a:lnTo>
                      <a:lnTo>
                        <a:pt x="563" y="825"/>
                      </a:lnTo>
                      <a:lnTo>
                        <a:pt x="551" y="812"/>
                      </a:lnTo>
                      <a:lnTo>
                        <a:pt x="537" y="796"/>
                      </a:lnTo>
                      <a:lnTo>
                        <a:pt x="532" y="791"/>
                      </a:lnTo>
                      <a:lnTo>
                        <a:pt x="528" y="784"/>
                      </a:lnTo>
                      <a:lnTo>
                        <a:pt x="524" y="776"/>
                      </a:lnTo>
                      <a:lnTo>
                        <a:pt x="521" y="767"/>
                      </a:lnTo>
                      <a:lnTo>
                        <a:pt x="516" y="748"/>
                      </a:lnTo>
                      <a:lnTo>
                        <a:pt x="512" y="726"/>
                      </a:lnTo>
                      <a:lnTo>
                        <a:pt x="507" y="690"/>
                      </a:lnTo>
                      <a:lnTo>
                        <a:pt x="506" y="674"/>
                      </a:lnTo>
                      <a:lnTo>
                        <a:pt x="504" y="676"/>
                      </a:lnTo>
                      <a:lnTo>
                        <a:pt x="486" y="681"/>
                      </a:lnTo>
                      <a:lnTo>
                        <a:pt x="484" y="681"/>
                      </a:lnTo>
                      <a:lnTo>
                        <a:pt x="481" y="680"/>
                      </a:lnTo>
                      <a:lnTo>
                        <a:pt x="479" y="678"/>
                      </a:lnTo>
                      <a:lnTo>
                        <a:pt x="478" y="676"/>
                      </a:lnTo>
                      <a:lnTo>
                        <a:pt x="473" y="669"/>
                      </a:lnTo>
                      <a:lnTo>
                        <a:pt x="470" y="659"/>
                      </a:lnTo>
                      <a:lnTo>
                        <a:pt x="462" y="631"/>
                      </a:lnTo>
                      <a:lnTo>
                        <a:pt x="455" y="600"/>
                      </a:lnTo>
                      <a:lnTo>
                        <a:pt x="449" y="566"/>
                      </a:lnTo>
                      <a:lnTo>
                        <a:pt x="444" y="532"/>
                      </a:lnTo>
                      <a:lnTo>
                        <a:pt x="440" y="503"/>
                      </a:lnTo>
                      <a:lnTo>
                        <a:pt x="438" y="481"/>
                      </a:lnTo>
                      <a:lnTo>
                        <a:pt x="438" y="476"/>
                      </a:lnTo>
                      <a:lnTo>
                        <a:pt x="438" y="471"/>
                      </a:lnTo>
                      <a:lnTo>
                        <a:pt x="440" y="468"/>
                      </a:lnTo>
                      <a:lnTo>
                        <a:pt x="441" y="464"/>
                      </a:lnTo>
                      <a:lnTo>
                        <a:pt x="442" y="462"/>
                      </a:lnTo>
                      <a:lnTo>
                        <a:pt x="444" y="460"/>
                      </a:lnTo>
                      <a:lnTo>
                        <a:pt x="446" y="459"/>
                      </a:lnTo>
                      <a:lnTo>
                        <a:pt x="450" y="459"/>
                      </a:lnTo>
                      <a:lnTo>
                        <a:pt x="455" y="459"/>
                      </a:lnTo>
                      <a:lnTo>
                        <a:pt x="461" y="460"/>
                      </a:lnTo>
                      <a:lnTo>
                        <a:pt x="467" y="462"/>
                      </a:lnTo>
                      <a:lnTo>
                        <a:pt x="471" y="464"/>
                      </a:lnTo>
                      <a:lnTo>
                        <a:pt x="467" y="454"/>
                      </a:lnTo>
                      <a:lnTo>
                        <a:pt x="461" y="444"/>
                      </a:lnTo>
                      <a:lnTo>
                        <a:pt x="455" y="432"/>
                      </a:lnTo>
                      <a:lnTo>
                        <a:pt x="450" y="419"/>
                      </a:lnTo>
                      <a:lnTo>
                        <a:pt x="446" y="408"/>
                      </a:lnTo>
                      <a:lnTo>
                        <a:pt x="443" y="394"/>
                      </a:lnTo>
                      <a:lnTo>
                        <a:pt x="440" y="377"/>
                      </a:lnTo>
                      <a:lnTo>
                        <a:pt x="438" y="359"/>
                      </a:lnTo>
                      <a:lnTo>
                        <a:pt x="437" y="338"/>
                      </a:lnTo>
                      <a:lnTo>
                        <a:pt x="436" y="316"/>
                      </a:lnTo>
                      <a:lnTo>
                        <a:pt x="437" y="294"/>
                      </a:lnTo>
                      <a:lnTo>
                        <a:pt x="438" y="270"/>
                      </a:lnTo>
                      <a:lnTo>
                        <a:pt x="440" y="246"/>
                      </a:lnTo>
                      <a:lnTo>
                        <a:pt x="442" y="224"/>
                      </a:lnTo>
                      <a:lnTo>
                        <a:pt x="445" y="200"/>
                      </a:lnTo>
                      <a:lnTo>
                        <a:pt x="449" y="179"/>
                      </a:lnTo>
                      <a:lnTo>
                        <a:pt x="453" y="158"/>
                      </a:lnTo>
                      <a:lnTo>
                        <a:pt x="459" y="140"/>
                      </a:lnTo>
                      <a:lnTo>
                        <a:pt x="464" y="123"/>
                      </a:lnTo>
                      <a:lnTo>
                        <a:pt x="471" y="110"/>
                      </a:lnTo>
                      <a:lnTo>
                        <a:pt x="476" y="103"/>
                      </a:lnTo>
                      <a:lnTo>
                        <a:pt x="480" y="96"/>
                      </a:lnTo>
                      <a:lnTo>
                        <a:pt x="485" y="90"/>
                      </a:lnTo>
                      <a:lnTo>
                        <a:pt x="489" y="86"/>
                      </a:lnTo>
                      <a:lnTo>
                        <a:pt x="495" y="83"/>
                      </a:lnTo>
                      <a:lnTo>
                        <a:pt x="499" y="80"/>
                      </a:lnTo>
                      <a:lnTo>
                        <a:pt x="505" y="78"/>
                      </a:lnTo>
                      <a:lnTo>
                        <a:pt x="510" y="77"/>
                      </a:lnTo>
                      <a:lnTo>
                        <a:pt x="520" y="76"/>
                      </a:lnTo>
                      <a:lnTo>
                        <a:pt x="529" y="77"/>
                      </a:lnTo>
                      <a:lnTo>
                        <a:pt x="538" y="79"/>
                      </a:lnTo>
                      <a:lnTo>
                        <a:pt x="546" y="81"/>
                      </a:lnTo>
                      <a:lnTo>
                        <a:pt x="557" y="69"/>
                      </a:lnTo>
                      <a:lnTo>
                        <a:pt x="568" y="57"/>
                      </a:lnTo>
                      <a:lnTo>
                        <a:pt x="577" y="49"/>
                      </a:lnTo>
                      <a:lnTo>
                        <a:pt x="585" y="41"/>
                      </a:lnTo>
                      <a:lnTo>
                        <a:pt x="594" y="35"/>
                      </a:lnTo>
                      <a:lnTo>
                        <a:pt x="604" y="28"/>
                      </a:lnTo>
                      <a:lnTo>
                        <a:pt x="615" y="24"/>
                      </a:lnTo>
                      <a:lnTo>
                        <a:pt x="625" y="19"/>
                      </a:lnTo>
                      <a:lnTo>
                        <a:pt x="636" y="15"/>
                      </a:lnTo>
                      <a:lnTo>
                        <a:pt x="647" y="11"/>
                      </a:lnTo>
                      <a:lnTo>
                        <a:pt x="670" y="6"/>
                      </a:lnTo>
                      <a:lnTo>
                        <a:pt x="694" y="2"/>
                      </a:lnTo>
                      <a:lnTo>
                        <a:pt x="717" y="1"/>
                      </a:lnTo>
                      <a:lnTo>
                        <a:pt x="741"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52" name="Freeform 351"/>
                <p:cNvSpPr>
                  <a:spLocks/>
                </p:cNvSpPr>
                <p:nvPr/>
              </p:nvSpPr>
              <p:spPr bwMode="auto">
                <a:xfrm>
                  <a:off x="5576760" y="4839822"/>
                  <a:ext cx="290767" cy="324238"/>
                </a:xfrm>
                <a:custGeom>
                  <a:avLst/>
                  <a:gdLst>
                    <a:gd name="T0" fmla="*/ 427 w 909"/>
                    <a:gd name="T1" fmla="*/ 4 h 1016"/>
                    <a:gd name="T2" fmla="*/ 481 w 909"/>
                    <a:gd name="T3" fmla="*/ 25 h 1016"/>
                    <a:gd name="T4" fmla="*/ 521 w 909"/>
                    <a:gd name="T5" fmla="*/ 64 h 1016"/>
                    <a:gd name="T6" fmla="*/ 561 w 909"/>
                    <a:gd name="T7" fmla="*/ 122 h 1016"/>
                    <a:gd name="T8" fmla="*/ 579 w 909"/>
                    <a:gd name="T9" fmla="*/ 170 h 1016"/>
                    <a:gd name="T10" fmla="*/ 583 w 909"/>
                    <a:gd name="T11" fmla="*/ 225 h 1016"/>
                    <a:gd name="T12" fmla="*/ 565 w 909"/>
                    <a:gd name="T13" fmla="*/ 334 h 1016"/>
                    <a:gd name="T14" fmla="*/ 583 w 909"/>
                    <a:gd name="T15" fmla="*/ 330 h 1016"/>
                    <a:gd name="T16" fmla="*/ 592 w 909"/>
                    <a:gd name="T17" fmla="*/ 334 h 1016"/>
                    <a:gd name="T18" fmla="*/ 590 w 909"/>
                    <a:gd name="T19" fmla="*/ 383 h 1016"/>
                    <a:gd name="T20" fmla="*/ 568 w 909"/>
                    <a:gd name="T21" fmla="*/ 481 h 1016"/>
                    <a:gd name="T22" fmla="*/ 547 w 909"/>
                    <a:gd name="T23" fmla="*/ 487 h 1016"/>
                    <a:gd name="T24" fmla="*/ 538 w 909"/>
                    <a:gd name="T25" fmla="*/ 538 h 1016"/>
                    <a:gd name="T26" fmla="*/ 526 w 909"/>
                    <a:gd name="T27" fmla="*/ 570 h 1016"/>
                    <a:gd name="T28" fmla="*/ 496 w 909"/>
                    <a:gd name="T29" fmla="*/ 624 h 1016"/>
                    <a:gd name="T30" fmla="*/ 527 w 909"/>
                    <a:gd name="T31" fmla="*/ 650 h 1016"/>
                    <a:gd name="T32" fmla="*/ 544 w 909"/>
                    <a:gd name="T33" fmla="*/ 672 h 1016"/>
                    <a:gd name="T34" fmla="*/ 594 w 909"/>
                    <a:gd name="T35" fmla="*/ 699 h 1016"/>
                    <a:gd name="T36" fmla="*/ 760 w 909"/>
                    <a:gd name="T37" fmla="*/ 768 h 1016"/>
                    <a:gd name="T38" fmla="*/ 850 w 909"/>
                    <a:gd name="T39" fmla="*/ 811 h 1016"/>
                    <a:gd name="T40" fmla="*/ 896 w 909"/>
                    <a:gd name="T41" fmla="*/ 846 h 1016"/>
                    <a:gd name="T42" fmla="*/ 908 w 909"/>
                    <a:gd name="T43" fmla="*/ 874 h 1016"/>
                    <a:gd name="T44" fmla="*/ 907 w 909"/>
                    <a:gd name="T45" fmla="*/ 960 h 1016"/>
                    <a:gd name="T46" fmla="*/ 455 w 909"/>
                    <a:gd name="T47" fmla="*/ 1016 h 1016"/>
                    <a:gd name="T48" fmla="*/ 447 w 909"/>
                    <a:gd name="T49" fmla="*/ 954 h 1016"/>
                    <a:gd name="T50" fmla="*/ 444 w 909"/>
                    <a:gd name="T51" fmla="*/ 881 h 1016"/>
                    <a:gd name="T52" fmla="*/ 438 w 909"/>
                    <a:gd name="T53" fmla="*/ 852 h 1016"/>
                    <a:gd name="T54" fmla="*/ 476 w 909"/>
                    <a:gd name="T55" fmla="*/ 799 h 1016"/>
                    <a:gd name="T56" fmla="*/ 538 w 909"/>
                    <a:gd name="T57" fmla="*/ 706 h 1016"/>
                    <a:gd name="T58" fmla="*/ 416 w 909"/>
                    <a:gd name="T59" fmla="*/ 819 h 1016"/>
                    <a:gd name="T60" fmla="*/ 380 w 909"/>
                    <a:gd name="T61" fmla="*/ 813 h 1016"/>
                    <a:gd name="T62" fmla="*/ 351 w 909"/>
                    <a:gd name="T63" fmla="*/ 808 h 1016"/>
                    <a:gd name="T64" fmla="*/ 304 w 909"/>
                    <a:gd name="T65" fmla="*/ 777 h 1016"/>
                    <a:gd name="T66" fmla="*/ 241 w 909"/>
                    <a:gd name="T67" fmla="*/ 714 h 1016"/>
                    <a:gd name="T68" fmla="*/ 290 w 909"/>
                    <a:gd name="T69" fmla="*/ 788 h 1016"/>
                    <a:gd name="T70" fmla="*/ 347 w 909"/>
                    <a:gd name="T71" fmla="*/ 843 h 1016"/>
                    <a:gd name="T72" fmla="*/ 338 w 909"/>
                    <a:gd name="T73" fmla="*/ 869 h 1016"/>
                    <a:gd name="T74" fmla="*/ 341 w 909"/>
                    <a:gd name="T75" fmla="*/ 891 h 1016"/>
                    <a:gd name="T76" fmla="*/ 363 w 909"/>
                    <a:gd name="T77" fmla="*/ 915 h 1016"/>
                    <a:gd name="T78" fmla="*/ 278 w 909"/>
                    <a:gd name="T79" fmla="*/ 881 h 1016"/>
                    <a:gd name="T80" fmla="*/ 78 w 909"/>
                    <a:gd name="T81" fmla="*/ 797 h 1016"/>
                    <a:gd name="T82" fmla="*/ 54 w 909"/>
                    <a:gd name="T83" fmla="*/ 742 h 1016"/>
                    <a:gd name="T84" fmla="*/ 151 w 909"/>
                    <a:gd name="T85" fmla="*/ 701 h 1016"/>
                    <a:gd name="T86" fmla="*/ 200 w 909"/>
                    <a:gd name="T87" fmla="*/ 676 h 1016"/>
                    <a:gd name="T88" fmla="*/ 220 w 909"/>
                    <a:gd name="T89" fmla="*/ 655 h 1016"/>
                    <a:gd name="T90" fmla="*/ 230 w 909"/>
                    <a:gd name="T91" fmla="*/ 622 h 1016"/>
                    <a:gd name="T92" fmla="*/ 228 w 909"/>
                    <a:gd name="T93" fmla="*/ 574 h 1016"/>
                    <a:gd name="T94" fmla="*/ 217 w 909"/>
                    <a:gd name="T95" fmla="*/ 552 h 1016"/>
                    <a:gd name="T96" fmla="*/ 207 w 909"/>
                    <a:gd name="T97" fmla="*/ 485 h 1016"/>
                    <a:gd name="T98" fmla="*/ 185 w 909"/>
                    <a:gd name="T99" fmla="*/ 487 h 1016"/>
                    <a:gd name="T100" fmla="*/ 170 w 909"/>
                    <a:gd name="T101" fmla="*/ 432 h 1016"/>
                    <a:gd name="T102" fmla="*/ 159 w 909"/>
                    <a:gd name="T103" fmla="*/ 334 h 1016"/>
                    <a:gd name="T104" fmla="*/ 174 w 909"/>
                    <a:gd name="T105" fmla="*/ 331 h 1016"/>
                    <a:gd name="T106" fmla="*/ 166 w 909"/>
                    <a:gd name="T107" fmla="*/ 301 h 1016"/>
                    <a:gd name="T108" fmla="*/ 157 w 909"/>
                    <a:gd name="T109" fmla="*/ 258 h 1016"/>
                    <a:gd name="T110" fmla="*/ 165 w 909"/>
                    <a:gd name="T111" fmla="*/ 129 h 1016"/>
                    <a:gd name="T112" fmla="*/ 181 w 909"/>
                    <a:gd name="T113" fmla="*/ 79 h 1016"/>
                    <a:gd name="T114" fmla="*/ 209 w 909"/>
                    <a:gd name="T115" fmla="*/ 55 h 1016"/>
                    <a:gd name="T116" fmla="*/ 235 w 909"/>
                    <a:gd name="T117" fmla="*/ 59 h 1016"/>
                    <a:gd name="T118" fmla="*/ 263 w 909"/>
                    <a:gd name="T119" fmla="*/ 29 h 1016"/>
                    <a:gd name="T120" fmla="*/ 307 w 909"/>
                    <a:gd name="T121" fmla="*/ 8 h 1016"/>
                    <a:gd name="T122" fmla="*/ 376 w 909"/>
                    <a:gd name="T123"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9" h="1016">
                      <a:moveTo>
                        <a:pt x="376" y="0"/>
                      </a:moveTo>
                      <a:lnTo>
                        <a:pt x="393" y="0"/>
                      </a:lnTo>
                      <a:lnTo>
                        <a:pt x="410" y="1"/>
                      </a:lnTo>
                      <a:lnTo>
                        <a:pt x="427" y="4"/>
                      </a:lnTo>
                      <a:lnTo>
                        <a:pt x="444" y="8"/>
                      </a:lnTo>
                      <a:lnTo>
                        <a:pt x="460" y="13"/>
                      </a:lnTo>
                      <a:lnTo>
                        <a:pt x="474" y="20"/>
                      </a:lnTo>
                      <a:lnTo>
                        <a:pt x="481" y="25"/>
                      </a:lnTo>
                      <a:lnTo>
                        <a:pt x="488" y="29"/>
                      </a:lnTo>
                      <a:lnTo>
                        <a:pt x="494" y="35"/>
                      </a:lnTo>
                      <a:lnTo>
                        <a:pt x="500" y="40"/>
                      </a:lnTo>
                      <a:lnTo>
                        <a:pt x="521" y="64"/>
                      </a:lnTo>
                      <a:lnTo>
                        <a:pt x="540" y="87"/>
                      </a:lnTo>
                      <a:lnTo>
                        <a:pt x="548" y="98"/>
                      </a:lnTo>
                      <a:lnTo>
                        <a:pt x="555" y="110"/>
                      </a:lnTo>
                      <a:lnTo>
                        <a:pt x="561" y="122"/>
                      </a:lnTo>
                      <a:lnTo>
                        <a:pt x="567" y="133"/>
                      </a:lnTo>
                      <a:lnTo>
                        <a:pt x="572" y="145"/>
                      </a:lnTo>
                      <a:lnTo>
                        <a:pt x="576" y="158"/>
                      </a:lnTo>
                      <a:lnTo>
                        <a:pt x="579" y="170"/>
                      </a:lnTo>
                      <a:lnTo>
                        <a:pt x="582" y="183"/>
                      </a:lnTo>
                      <a:lnTo>
                        <a:pt x="583" y="196"/>
                      </a:lnTo>
                      <a:lnTo>
                        <a:pt x="583" y="210"/>
                      </a:lnTo>
                      <a:lnTo>
                        <a:pt x="583" y="225"/>
                      </a:lnTo>
                      <a:lnTo>
                        <a:pt x="582" y="239"/>
                      </a:lnTo>
                      <a:lnTo>
                        <a:pt x="574" y="289"/>
                      </a:lnTo>
                      <a:lnTo>
                        <a:pt x="568" y="319"/>
                      </a:lnTo>
                      <a:lnTo>
                        <a:pt x="565" y="334"/>
                      </a:lnTo>
                      <a:lnTo>
                        <a:pt x="564" y="337"/>
                      </a:lnTo>
                      <a:lnTo>
                        <a:pt x="569" y="335"/>
                      </a:lnTo>
                      <a:lnTo>
                        <a:pt x="579" y="330"/>
                      </a:lnTo>
                      <a:lnTo>
                        <a:pt x="583" y="330"/>
                      </a:lnTo>
                      <a:lnTo>
                        <a:pt x="585" y="330"/>
                      </a:lnTo>
                      <a:lnTo>
                        <a:pt x="588" y="331"/>
                      </a:lnTo>
                      <a:lnTo>
                        <a:pt x="591" y="332"/>
                      </a:lnTo>
                      <a:lnTo>
                        <a:pt x="592" y="334"/>
                      </a:lnTo>
                      <a:lnTo>
                        <a:pt x="593" y="336"/>
                      </a:lnTo>
                      <a:lnTo>
                        <a:pt x="594" y="341"/>
                      </a:lnTo>
                      <a:lnTo>
                        <a:pt x="594" y="346"/>
                      </a:lnTo>
                      <a:lnTo>
                        <a:pt x="590" y="383"/>
                      </a:lnTo>
                      <a:lnTo>
                        <a:pt x="582" y="432"/>
                      </a:lnTo>
                      <a:lnTo>
                        <a:pt x="577" y="455"/>
                      </a:lnTo>
                      <a:lnTo>
                        <a:pt x="572" y="474"/>
                      </a:lnTo>
                      <a:lnTo>
                        <a:pt x="568" y="481"/>
                      </a:lnTo>
                      <a:lnTo>
                        <a:pt x="566" y="487"/>
                      </a:lnTo>
                      <a:lnTo>
                        <a:pt x="562" y="489"/>
                      </a:lnTo>
                      <a:lnTo>
                        <a:pt x="560" y="490"/>
                      </a:lnTo>
                      <a:lnTo>
                        <a:pt x="547" y="487"/>
                      </a:lnTo>
                      <a:lnTo>
                        <a:pt x="544" y="485"/>
                      </a:lnTo>
                      <a:lnTo>
                        <a:pt x="543" y="497"/>
                      </a:lnTo>
                      <a:lnTo>
                        <a:pt x="541" y="523"/>
                      </a:lnTo>
                      <a:lnTo>
                        <a:pt x="538" y="538"/>
                      </a:lnTo>
                      <a:lnTo>
                        <a:pt x="534" y="552"/>
                      </a:lnTo>
                      <a:lnTo>
                        <a:pt x="532" y="559"/>
                      </a:lnTo>
                      <a:lnTo>
                        <a:pt x="530" y="564"/>
                      </a:lnTo>
                      <a:lnTo>
                        <a:pt x="526" y="570"/>
                      </a:lnTo>
                      <a:lnTo>
                        <a:pt x="523" y="574"/>
                      </a:lnTo>
                      <a:lnTo>
                        <a:pt x="504" y="594"/>
                      </a:lnTo>
                      <a:lnTo>
                        <a:pt x="498" y="602"/>
                      </a:lnTo>
                      <a:lnTo>
                        <a:pt x="496" y="624"/>
                      </a:lnTo>
                      <a:lnTo>
                        <a:pt x="521" y="622"/>
                      </a:lnTo>
                      <a:lnTo>
                        <a:pt x="522" y="629"/>
                      </a:lnTo>
                      <a:lnTo>
                        <a:pt x="525" y="645"/>
                      </a:lnTo>
                      <a:lnTo>
                        <a:pt x="527" y="650"/>
                      </a:lnTo>
                      <a:lnTo>
                        <a:pt x="531" y="655"/>
                      </a:lnTo>
                      <a:lnTo>
                        <a:pt x="534" y="660"/>
                      </a:lnTo>
                      <a:lnTo>
                        <a:pt x="539" y="666"/>
                      </a:lnTo>
                      <a:lnTo>
                        <a:pt x="544" y="672"/>
                      </a:lnTo>
                      <a:lnTo>
                        <a:pt x="551" y="676"/>
                      </a:lnTo>
                      <a:lnTo>
                        <a:pt x="559" y="682"/>
                      </a:lnTo>
                      <a:lnTo>
                        <a:pt x="568" y="686"/>
                      </a:lnTo>
                      <a:lnTo>
                        <a:pt x="594" y="699"/>
                      </a:lnTo>
                      <a:lnTo>
                        <a:pt x="629" y="714"/>
                      </a:lnTo>
                      <a:lnTo>
                        <a:pt x="670" y="730"/>
                      </a:lnTo>
                      <a:lnTo>
                        <a:pt x="715" y="749"/>
                      </a:lnTo>
                      <a:lnTo>
                        <a:pt x="760" y="768"/>
                      </a:lnTo>
                      <a:lnTo>
                        <a:pt x="802" y="786"/>
                      </a:lnTo>
                      <a:lnTo>
                        <a:pt x="820" y="795"/>
                      </a:lnTo>
                      <a:lnTo>
                        <a:pt x="837" y="803"/>
                      </a:lnTo>
                      <a:lnTo>
                        <a:pt x="850" y="811"/>
                      </a:lnTo>
                      <a:lnTo>
                        <a:pt x="862" y="817"/>
                      </a:lnTo>
                      <a:lnTo>
                        <a:pt x="879" y="830"/>
                      </a:lnTo>
                      <a:lnTo>
                        <a:pt x="891" y="840"/>
                      </a:lnTo>
                      <a:lnTo>
                        <a:pt x="896" y="846"/>
                      </a:lnTo>
                      <a:lnTo>
                        <a:pt x="900" y="851"/>
                      </a:lnTo>
                      <a:lnTo>
                        <a:pt x="902" y="856"/>
                      </a:lnTo>
                      <a:lnTo>
                        <a:pt x="906" y="861"/>
                      </a:lnTo>
                      <a:lnTo>
                        <a:pt x="908" y="874"/>
                      </a:lnTo>
                      <a:lnTo>
                        <a:pt x="909" y="887"/>
                      </a:lnTo>
                      <a:lnTo>
                        <a:pt x="909" y="903"/>
                      </a:lnTo>
                      <a:lnTo>
                        <a:pt x="909" y="922"/>
                      </a:lnTo>
                      <a:lnTo>
                        <a:pt x="907" y="960"/>
                      </a:lnTo>
                      <a:lnTo>
                        <a:pt x="906" y="988"/>
                      </a:lnTo>
                      <a:lnTo>
                        <a:pt x="905" y="1006"/>
                      </a:lnTo>
                      <a:lnTo>
                        <a:pt x="905" y="1013"/>
                      </a:lnTo>
                      <a:lnTo>
                        <a:pt x="455" y="1016"/>
                      </a:lnTo>
                      <a:lnTo>
                        <a:pt x="453" y="1005"/>
                      </a:lnTo>
                      <a:lnTo>
                        <a:pt x="450" y="995"/>
                      </a:lnTo>
                      <a:lnTo>
                        <a:pt x="448" y="974"/>
                      </a:lnTo>
                      <a:lnTo>
                        <a:pt x="447" y="954"/>
                      </a:lnTo>
                      <a:lnTo>
                        <a:pt x="445" y="933"/>
                      </a:lnTo>
                      <a:lnTo>
                        <a:pt x="441" y="908"/>
                      </a:lnTo>
                      <a:lnTo>
                        <a:pt x="443" y="893"/>
                      </a:lnTo>
                      <a:lnTo>
                        <a:pt x="444" y="881"/>
                      </a:lnTo>
                      <a:lnTo>
                        <a:pt x="444" y="871"/>
                      </a:lnTo>
                      <a:lnTo>
                        <a:pt x="443" y="863"/>
                      </a:lnTo>
                      <a:lnTo>
                        <a:pt x="441" y="857"/>
                      </a:lnTo>
                      <a:lnTo>
                        <a:pt x="438" y="852"/>
                      </a:lnTo>
                      <a:lnTo>
                        <a:pt x="435" y="849"/>
                      </a:lnTo>
                      <a:lnTo>
                        <a:pt x="431" y="846"/>
                      </a:lnTo>
                      <a:lnTo>
                        <a:pt x="453" y="824"/>
                      </a:lnTo>
                      <a:lnTo>
                        <a:pt x="476" y="799"/>
                      </a:lnTo>
                      <a:lnTo>
                        <a:pt x="488" y="784"/>
                      </a:lnTo>
                      <a:lnTo>
                        <a:pt x="503" y="763"/>
                      </a:lnTo>
                      <a:lnTo>
                        <a:pt x="518" y="737"/>
                      </a:lnTo>
                      <a:lnTo>
                        <a:pt x="538" y="706"/>
                      </a:lnTo>
                      <a:lnTo>
                        <a:pt x="507" y="734"/>
                      </a:lnTo>
                      <a:lnTo>
                        <a:pt x="477" y="762"/>
                      </a:lnTo>
                      <a:lnTo>
                        <a:pt x="446" y="790"/>
                      </a:lnTo>
                      <a:lnTo>
                        <a:pt x="416" y="819"/>
                      </a:lnTo>
                      <a:lnTo>
                        <a:pt x="403" y="815"/>
                      </a:lnTo>
                      <a:lnTo>
                        <a:pt x="391" y="813"/>
                      </a:lnTo>
                      <a:lnTo>
                        <a:pt x="385" y="813"/>
                      </a:lnTo>
                      <a:lnTo>
                        <a:pt x="380" y="813"/>
                      </a:lnTo>
                      <a:lnTo>
                        <a:pt x="373" y="813"/>
                      </a:lnTo>
                      <a:lnTo>
                        <a:pt x="367" y="815"/>
                      </a:lnTo>
                      <a:lnTo>
                        <a:pt x="359" y="812"/>
                      </a:lnTo>
                      <a:lnTo>
                        <a:pt x="351" y="808"/>
                      </a:lnTo>
                      <a:lnTo>
                        <a:pt x="343" y="805"/>
                      </a:lnTo>
                      <a:lnTo>
                        <a:pt x="336" y="801"/>
                      </a:lnTo>
                      <a:lnTo>
                        <a:pt x="320" y="789"/>
                      </a:lnTo>
                      <a:lnTo>
                        <a:pt x="304" y="777"/>
                      </a:lnTo>
                      <a:lnTo>
                        <a:pt x="288" y="762"/>
                      </a:lnTo>
                      <a:lnTo>
                        <a:pt x="272" y="746"/>
                      </a:lnTo>
                      <a:lnTo>
                        <a:pt x="256" y="730"/>
                      </a:lnTo>
                      <a:lnTo>
                        <a:pt x="241" y="714"/>
                      </a:lnTo>
                      <a:lnTo>
                        <a:pt x="253" y="733"/>
                      </a:lnTo>
                      <a:lnTo>
                        <a:pt x="265" y="752"/>
                      </a:lnTo>
                      <a:lnTo>
                        <a:pt x="277" y="771"/>
                      </a:lnTo>
                      <a:lnTo>
                        <a:pt x="290" y="788"/>
                      </a:lnTo>
                      <a:lnTo>
                        <a:pt x="303" y="805"/>
                      </a:lnTo>
                      <a:lnTo>
                        <a:pt x="316" y="820"/>
                      </a:lnTo>
                      <a:lnTo>
                        <a:pt x="331" y="832"/>
                      </a:lnTo>
                      <a:lnTo>
                        <a:pt x="347" y="843"/>
                      </a:lnTo>
                      <a:lnTo>
                        <a:pt x="343" y="850"/>
                      </a:lnTo>
                      <a:lnTo>
                        <a:pt x="340" y="857"/>
                      </a:lnTo>
                      <a:lnTo>
                        <a:pt x="339" y="864"/>
                      </a:lnTo>
                      <a:lnTo>
                        <a:pt x="338" y="869"/>
                      </a:lnTo>
                      <a:lnTo>
                        <a:pt x="338" y="875"/>
                      </a:lnTo>
                      <a:lnTo>
                        <a:pt x="338" y="881"/>
                      </a:lnTo>
                      <a:lnTo>
                        <a:pt x="339" y="885"/>
                      </a:lnTo>
                      <a:lnTo>
                        <a:pt x="341" y="891"/>
                      </a:lnTo>
                      <a:lnTo>
                        <a:pt x="346" y="899"/>
                      </a:lnTo>
                      <a:lnTo>
                        <a:pt x="350" y="906"/>
                      </a:lnTo>
                      <a:lnTo>
                        <a:pt x="357" y="911"/>
                      </a:lnTo>
                      <a:lnTo>
                        <a:pt x="363" y="915"/>
                      </a:lnTo>
                      <a:lnTo>
                        <a:pt x="361" y="918"/>
                      </a:lnTo>
                      <a:lnTo>
                        <a:pt x="361" y="920"/>
                      </a:lnTo>
                      <a:lnTo>
                        <a:pt x="323" y="901"/>
                      </a:lnTo>
                      <a:lnTo>
                        <a:pt x="278" y="881"/>
                      </a:lnTo>
                      <a:lnTo>
                        <a:pt x="228" y="859"/>
                      </a:lnTo>
                      <a:lnTo>
                        <a:pt x="177" y="838"/>
                      </a:lnTo>
                      <a:lnTo>
                        <a:pt x="125" y="816"/>
                      </a:lnTo>
                      <a:lnTo>
                        <a:pt x="78" y="797"/>
                      </a:lnTo>
                      <a:lnTo>
                        <a:pt x="35" y="779"/>
                      </a:lnTo>
                      <a:lnTo>
                        <a:pt x="0" y="764"/>
                      </a:lnTo>
                      <a:lnTo>
                        <a:pt x="27" y="753"/>
                      </a:lnTo>
                      <a:lnTo>
                        <a:pt x="54" y="742"/>
                      </a:lnTo>
                      <a:lnTo>
                        <a:pt x="81" y="730"/>
                      </a:lnTo>
                      <a:lnTo>
                        <a:pt x="106" y="720"/>
                      </a:lnTo>
                      <a:lnTo>
                        <a:pt x="130" y="710"/>
                      </a:lnTo>
                      <a:lnTo>
                        <a:pt x="151" y="701"/>
                      </a:lnTo>
                      <a:lnTo>
                        <a:pt x="170" y="693"/>
                      </a:lnTo>
                      <a:lnTo>
                        <a:pt x="183" y="686"/>
                      </a:lnTo>
                      <a:lnTo>
                        <a:pt x="192" y="682"/>
                      </a:lnTo>
                      <a:lnTo>
                        <a:pt x="200" y="676"/>
                      </a:lnTo>
                      <a:lnTo>
                        <a:pt x="207" y="672"/>
                      </a:lnTo>
                      <a:lnTo>
                        <a:pt x="212" y="666"/>
                      </a:lnTo>
                      <a:lnTo>
                        <a:pt x="217" y="660"/>
                      </a:lnTo>
                      <a:lnTo>
                        <a:pt x="220" y="655"/>
                      </a:lnTo>
                      <a:lnTo>
                        <a:pt x="224" y="650"/>
                      </a:lnTo>
                      <a:lnTo>
                        <a:pt x="226" y="645"/>
                      </a:lnTo>
                      <a:lnTo>
                        <a:pt x="230" y="629"/>
                      </a:lnTo>
                      <a:lnTo>
                        <a:pt x="230" y="622"/>
                      </a:lnTo>
                      <a:lnTo>
                        <a:pt x="255" y="624"/>
                      </a:lnTo>
                      <a:lnTo>
                        <a:pt x="254" y="602"/>
                      </a:lnTo>
                      <a:lnTo>
                        <a:pt x="247" y="594"/>
                      </a:lnTo>
                      <a:lnTo>
                        <a:pt x="228" y="574"/>
                      </a:lnTo>
                      <a:lnTo>
                        <a:pt x="225" y="570"/>
                      </a:lnTo>
                      <a:lnTo>
                        <a:pt x="223" y="564"/>
                      </a:lnTo>
                      <a:lnTo>
                        <a:pt x="219" y="559"/>
                      </a:lnTo>
                      <a:lnTo>
                        <a:pt x="217" y="552"/>
                      </a:lnTo>
                      <a:lnTo>
                        <a:pt x="214" y="538"/>
                      </a:lnTo>
                      <a:lnTo>
                        <a:pt x="211" y="523"/>
                      </a:lnTo>
                      <a:lnTo>
                        <a:pt x="208" y="497"/>
                      </a:lnTo>
                      <a:lnTo>
                        <a:pt x="207" y="485"/>
                      </a:lnTo>
                      <a:lnTo>
                        <a:pt x="205" y="487"/>
                      </a:lnTo>
                      <a:lnTo>
                        <a:pt x="192" y="490"/>
                      </a:lnTo>
                      <a:lnTo>
                        <a:pt x="189" y="489"/>
                      </a:lnTo>
                      <a:lnTo>
                        <a:pt x="185" y="487"/>
                      </a:lnTo>
                      <a:lnTo>
                        <a:pt x="183" y="481"/>
                      </a:lnTo>
                      <a:lnTo>
                        <a:pt x="180" y="474"/>
                      </a:lnTo>
                      <a:lnTo>
                        <a:pt x="175" y="455"/>
                      </a:lnTo>
                      <a:lnTo>
                        <a:pt x="170" y="432"/>
                      </a:lnTo>
                      <a:lnTo>
                        <a:pt x="162" y="383"/>
                      </a:lnTo>
                      <a:lnTo>
                        <a:pt x="157" y="346"/>
                      </a:lnTo>
                      <a:lnTo>
                        <a:pt x="157" y="339"/>
                      </a:lnTo>
                      <a:lnTo>
                        <a:pt x="159" y="334"/>
                      </a:lnTo>
                      <a:lnTo>
                        <a:pt x="162" y="331"/>
                      </a:lnTo>
                      <a:lnTo>
                        <a:pt x="165" y="330"/>
                      </a:lnTo>
                      <a:lnTo>
                        <a:pt x="170" y="330"/>
                      </a:lnTo>
                      <a:lnTo>
                        <a:pt x="174" y="331"/>
                      </a:lnTo>
                      <a:lnTo>
                        <a:pt x="177" y="332"/>
                      </a:lnTo>
                      <a:lnTo>
                        <a:pt x="182" y="334"/>
                      </a:lnTo>
                      <a:lnTo>
                        <a:pt x="174" y="319"/>
                      </a:lnTo>
                      <a:lnTo>
                        <a:pt x="166" y="301"/>
                      </a:lnTo>
                      <a:lnTo>
                        <a:pt x="163" y="293"/>
                      </a:lnTo>
                      <a:lnTo>
                        <a:pt x="160" y="283"/>
                      </a:lnTo>
                      <a:lnTo>
                        <a:pt x="158" y="272"/>
                      </a:lnTo>
                      <a:lnTo>
                        <a:pt x="157" y="258"/>
                      </a:lnTo>
                      <a:lnTo>
                        <a:pt x="156" y="228"/>
                      </a:lnTo>
                      <a:lnTo>
                        <a:pt x="157" y="194"/>
                      </a:lnTo>
                      <a:lnTo>
                        <a:pt x="160" y="160"/>
                      </a:lnTo>
                      <a:lnTo>
                        <a:pt x="165" y="129"/>
                      </a:lnTo>
                      <a:lnTo>
                        <a:pt x="168" y="114"/>
                      </a:lnTo>
                      <a:lnTo>
                        <a:pt x="172" y="100"/>
                      </a:lnTo>
                      <a:lnTo>
                        <a:pt x="176" y="89"/>
                      </a:lnTo>
                      <a:lnTo>
                        <a:pt x="181" y="79"/>
                      </a:lnTo>
                      <a:lnTo>
                        <a:pt x="188" y="69"/>
                      </a:lnTo>
                      <a:lnTo>
                        <a:pt x="194" y="62"/>
                      </a:lnTo>
                      <a:lnTo>
                        <a:pt x="202" y="57"/>
                      </a:lnTo>
                      <a:lnTo>
                        <a:pt x="209" y="55"/>
                      </a:lnTo>
                      <a:lnTo>
                        <a:pt x="216" y="54"/>
                      </a:lnTo>
                      <a:lnTo>
                        <a:pt x="223" y="55"/>
                      </a:lnTo>
                      <a:lnTo>
                        <a:pt x="229" y="56"/>
                      </a:lnTo>
                      <a:lnTo>
                        <a:pt x="235" y="59"/>
                      </a:lnTo>
                      <a:lnTo>
                        <a:pt x="243" y="49"/>
                      </a:lnTo>
                      <a:lnTo>
                        <a:pt x="252" y="40"/>
                      </a:lnTo>
                      <a:lnTo>
                        <a:pt x="258" y="35"/>
                      </a:lnTo>
                      <a:lnTo>
                        <a:pt x="263" y="29"/>
                      </a:lnTo>
                      <a:lnTo>
                        <a:pt x="270" y="25"/>
                      </a:lnTo>
                      <a:lnTo>
                        <a:pt x="277" y="20"/>
                      </a:lnTo>
                      <a:lnTo>
                        <a:pt x="291" y="13"/>
                      </a:lnTo>
                      <a:lnTo>
                        <a:pt x="307" y="8"/>
                      </a:lnTo>
                      <a:lnTo>
                        <a:pt x="324" y="4"/>
                      </a:lnTo>
                      <a:lnTo>
                        <a:pt x="341" y="1"/>
                      </a:lnTo>
                      <a:lnTo>
                        <a:pt x="358" y="0"/>
                      </a:lnTo>
                      <a:lnTo>
                        <a:pt x="37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53" name="Freeform 352"/>
                <p:cNvSpPr>
                  <a:spLocks/>
                </p:cNvSpPr>
                <p:nvPr/>
              </p:nvSpPr>
              <p:spPr bwMode="auto">
                <a:xfrm>
                  <a:off x="5038125" y="4839822"/>
                  <a:ext cx="290768" cy="324238"/>
                </a:xfrm>
                <a:custGeom>
                  <a:avLst/>
                  <a:gdLst>
                    <a:gd name="T0" fmla="*/ 483 w 909"/>
                    <a:gd name="T1" fmla="*/ 4 h 1016"/>
                    <a:gd name="T2" fmla="*/ 428 w 909"/>
                    <a:gd name="T3" fmla="*/ 25 h 1016"/>
                    <a:gd name="T4" fmla="*/ 389 w 909"/>
                    <a:gd name="T5" fmla="*/ 64 h 1016"/>
                    <a:gd name="T6" fmla="*/ 348 w 909"/>
                    <a:gd name="T7" fmla="*/ 122 h 1016"/>
                    <a:gd name="T8" fmla="*/ 330 w 909"/>
                    <a:gd name="T9" fmla="*/ 170 h 1016"/>
                    <a:gd name="T10" fmla="*/ 327 w 909"/>
                    <a:gd name="T11" fmla="*/ 225 h 1016"/>
                    <a:gd name="T12" fmla="*/ 345 w 909"/>
                    <a:gd name="T13" fmla="*/ 334 h 1016"/>
                    <a:gd name="T14" fmla="*/ 327 w 909"/>
                    <a:gd name="T15" fmla="*/ 330 h 1016"/>
                    <a:gd name="T16" fmla="*/ 318 w 909"/>
                    <a:gd name="T17" fmla="*/ 334 h 1016"/>
                    <a:gd name="T18" fmla="*/ 320 w 909"/>
                    <a:gd name="T19" fmla="*/ 383 h 1016"/>
                    <a:gd name="T20" fmla="*/ 341 w 909"/>
                    <a:gd name="T21" fmla="*/ 481 h 1016"/>
                    <a:gd name="T22" fmla="*/ 363 w 909"/>
                    <a:gd name="T23" fmla="*/ 487 h 1016"/>
                    <a:gd name="T24" fmla="*/ 372 w 909"/>
                    <a:gd name="T25" fmla="*/ 538 h 1016"/>
                    <a:gd name="T26" fmla="*/ 383 w 909"/>
                    <a:gd name="T27" fmla="*/ 570 h 1016"/>
                    <a:gd name="T28" fmla="*/ 414 w 909"/>
                    <a:gd name="T29" fmla="*/ 624 h 1016"/>
                    <a:gd name="T30" fmla="*/ 382 w 909"/>
                    <a:gd name="T31" fmla="*/ 650 h 1016"/>
                    <a:gd name="T32" fmla="*/ 365 w 909"/>
                    <a:gd name="T33" fmla="*/ 672 h 1016"/>
                    <a:gd name="T34" fmla="*/ 315 w 909"/>
                    <a:gd name="T35" fmla="*/ 699 h 1016"/>
                    <a:gd name="T36" fmla="*/ 149 w 909"/>
                    <a:gd name="T37" fmla="*/ 768 h 1016"/>
                    <a:gd name="T38" fmla="*/ 59 w 909"/>
                    <a:gd name="T39" fmla="*/ 811 h 1016"/>
                    <a:gd name="T40" fmla="*/ 14 w 909"/>
                    <a:gd name="T41" fmla="*/ 846 h 1016"/>
                    <a:gd name="T42" fmla="*/ 2 w 909"/>
                    <a:gd name="T43" fmla="*/ 874 h 1016"/>
                    <a:gd name="T44" fmla="*/ 3 w 909"/>
                    <a:gd name="T45" fmla="*/ 960 h 1016"/>
                    <a:gd name="T46" fmla="*/ 454 w 909"/>
                    <a:gd name="T47" fmla="*/ 1016 h 1016"/>
                    <a:gd name="T48" fmla="*/ 465 w 909"/>
                    <a:gd name="T49" fmla="*/ 986 h 1016"/>
                    <a:gd name="T50" fmla="*/ 492 w 909"/>
                    <a:gd name="T51" fmla="*/ 956 h 1016"/>
                    <a:gd name="T52" fmla="*/ 501 w 909"/>
                    <a:gd name="T53" fmla="*/ 915 h 1016"/>
                    <a:gd name="T54" fmla="*/ 479 w 909"/>
                    <a:gd name="T55" fmla="*/ 891 h 1016"/>
                    <a:gd name="T56" fmla="*/ 477 w 909"/>
                    <a:gd name="T57" fmla="*/ 869 h 1016"/>
                    <a:gd name="T58" fmla="*/ 485 w 909"/>
                    <a:gd name="T59" fmla="*/ 843 h 1016"/>
                    <a:gd name="T60" fmla="*/ 428 w 909"/>
                    <a:gd name="T61" fmla="*/ 788 h 1016"/>
                    <a:gd name="T62" fmla="*/ 380 w 909"/>
                    <a:gd name="T63" fmla="*/ 714 h 1016"/>
                    <a:gd name="T64" fmla="*/ 443 w 909"/>
                    <a:gd name="T65" fmla="*/ 777 h 1016"/>
                    <a:gd name="T66" fmla="*/ 489 w 909"/>
                    <a:gd name="T67" fmla="*/ 808 h 1016"/>
                    <a:gd name="T68" fmla="*/ 518 w 909"/>
                    <a:gd name="T69" fmla="*/ 813 h 1016"/>
                    <a:gd name="T70" fmla="*/ 554 w 909"/>
                    <a:gd name="T71" fmla="*/ 819 h 1016"/>
                    <a:gd name="T72" fmla="*/ 676 w 909"/>
                    <a:gd name="T73" fmla="*/ 706 h 1016"/>
                    <a:gd name="T74" fmla="*/ 614 w 909"/>
                    <a:gd name="T75" fmla="*/ 799 h 1016"/>
                    <a:gd name="T76" fmla="*/ 576 w 909"/>
                    <a:gd name="T77" fmla="*/ 852 h 1016"/>
                    <a:gd name="T78" fmla="*/ 582 w 909"/>
                    <a:gd name="T79" fmla="*/ 878 h 1016"/>
                    <a:gd name="T80" fmla="*/ 662 w 909"/>
                    <a:gd name="T81" fmla="*/ 868 h 1016"/>
                    <a:gd name="T82" fmla="*/ 842 w 909"/>
                    <a:gd name="T83" fmla="*/ 793 h 1016"/>
                    <a:gd name="T84" fmla="*/ 855 w 909"/>
                    <a:gd name="T85" fmla="*/ 742 h 1016"/>
                    <a:gd name="T86" fmla="*/ 758 w 909"/>
                    <a:gd name="T87" fmla="*/ 701 h 1016"/>
                    <a:gd name="T88" fmla="*/ 710 w 909"/>
                    <a:gd name="T89" fmla="*/ 676 h 1016"/>
                    <a:gd name="T90" fmla="*/ 689 w 909"/>
                    <a:gd name="T91" fmla="*/ 655 h 1016"/>
                    <a:gd name="T92" fmla="*/ 679 w 909"/>
                    <a:gd name="T93" fmla="*/ 622 h 1016"/>
                    <a:gd name="T94" fmla="*/ 681 w 909"/>
                    <a:gd name="T95" fmla="*/ 574 h 1016"/>
                    <a:gd name="T96" fmla="*/ 693 w 909"/>
                    <a:gd name="T97" fmla="*/ 552 h 1016"/>
                    <a:gd name="T98" fmla="*/ 703 w 909"/>
                    <a:gd name="T99" fmla="*/ 485 h 1016"/>
                    <a:gd name="T100" fmla="*/ 724 w 909"/>
                    <a:gd name="T101" fmla="*/ 487 h 1016"/>
                    <a:gd name="T102" fmla="*/ 740 w 909"/>
                    <a:gd name="T103" fmla="*/ 432 h 1016"/>
                    <a:gd name="T104" fmla="*/ 750 w 909"/>
                    <a:gd name="T105" fmla="*/ 334 h 1016"/>
                    <a:gd name="T106" fmla="*/ 736 w 909"/>
                    <a:gd name="T107" fmla="*/ 331 h 1016"/>
                    <a:gd name="T108" fmla="*/ 743 w 909"/>
                    <a:gd name="T109" fmla="*/ 301 h 1016"/>
                    <a:gd name="T110" fmla="*/ 752 w 909"/>
                    <a:gd name="T111" fmla="*/ 258 h 1016"/>
                    <a:gd name="T112" fmla="*/ 745 w 909"/>
                    <a:gd name="T113" fmla="*/ 129 h 1016"/>
                    <a:gd name="T114" fmla="*/ 729 w 909"/>
                    <a:gd name="T115" fmla="*/ 79 h 1016"/>
                    <a:gd name="T116" fmla="*/ 701 w 909"/>
                    <a:gd name="T117" fmla="*/ 55 h 1016"/>
                    <a:gd name="T118" fmla="*/ 675 w 909"/>
                    <a:gd name="T119" fmla="*/ 59 h 1016"/>
                    <a:gd name="T120" fmla="*/ 646 w 909"/>
                    <a:gd name="T121" fmla="*/ 29 h 1016"/>
                    <a:gd name="T122" fmla="*/ 602 w 909"/>
                    <a:gd name="T123" fmla="*/ 8 h 1016"/>
                    <a:gd name="T124" fmla="*/ 533 w 909"/>
                    <a:gd name="T125"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9" h="1016">
                      <a:moveTo>
                        <a:pt x="533" y="0"/>
                      </a:moveTo>
                      <a:lnTo>
                        <a:pt x="516" y="0"/>
                      </a:lnTo>
                      <a:lnTo>
                        <a:pt x="500" y="1"/>
                      </a:lnTo>
                      <a:lnTo>
                        <a:pt x="483" y="4"/>
                      </a:lnTo>
                      <a:lnTo>
                        <a:pt x="466" y="8"/>
                      </a:lnTo>
                      <a:lnTo>
                        <a:pt x="450" y="13"/>
                      </a:lnTo>
                      <a:lnTo>
                        <a:pt x="435" y="20"/>
                      </a:lnTo>
                      <a:lnTo>
                        <a:pt x="428" y="25"/>
                      </a:lnTo>
                      <a:lnTo>
                        <a:pt x="422" y="29"/>
                      </a:lnTo>
                      <a:lnTo>
                        <a:pt x="416" y="35"/>
                      </a:lnTo>
                      <a:lnTo>
                        <a:pt x="409" y="40"/>
                      </a:lnTo>
                      <a:lnTo>
                        <a:pt x="389" y="64"/>
                      </a:lnTo>
                      <a:lnTo>
                        <a:pt x="370" y="87"/>
                      </a:lnTo>
                      <a:lnTo>
                        <a:pt x="362" y="98"/>
                      </a:lnTo>
                      <a:lnTo>
                        <a:pt x="355" y="110"/>
                      </a:lnTo>
                      <a:lnTo>
                        <a:pt x="348" y="122"/>
                      </a:lnTo>
                      <a:lnTo>
                        <a:pt x="343" y="133"/>
                      </a:lnTo>
                      <a:lnTo>
                        <a:pt x="338" y="145"/>
                      </a:lnTo>
                      <a:lnTo>
                        <a:pt x="334" y="158"/>
                      </a:lnTo>
                      <a:lnTo>
                        <a:pt x="330" y="170"/>
                      </a:lnTo>
                      <a:lnTo>
                        <a:pt x="328" y="183"/>
                      </a:lnTo>
                      <a:lnTo>
                        <a:pt x="327" y="196"/>
                      </a:lnTo>
                      <a:lnTo>
                        <a:pt x="327" y="210"/>
                      </a:lnTo>
                      <a:lnTo>
                        <a:pt x="327" y="225"/>
                      </a:lnTo>
                      <a:lnTo>
                        <a:pt x="328" y="239"/>
                      </a:lnTo>
                      <a:lnTo>
                        <a:pt x="336" y="289"/>
                      </a:lnTo>
                      <a:lnTo>
                        <a:pt x="341" y="319"/>
                      </a:lnTo>
                      <a:lnTo>
                        <a:pt x="345" y="334"/>
                      </a:lnTo>
                      <a:lnTo>
                        <a:pt x="346" y="337"/>
                      </a:lnTo>
                      <a:lnTo>
                        <a:pt x="340" y="335"/>
                      </a:lnTo>
                      <a:lnTo>
                        <a:pt x="330" y="330"/>
                      </a:lnTo>
                      <a:lnTo>
                        <a:pt x="327" y="330"/>
                      </a:lnTo>
                      <a:lnTo>
                        <a:pt x="325" y="330"/>
                      </a:lnTo>
                      <a:lnTo>
                        <a:pt x="321" y="331"/>
                      </a:lnTo>
                      <a:lnTo>
                        <a:pt x="319" y="332"/>
                      </a:lnTo>
                      <a:lnTo>
                        <a:pt x="318" y="334"/>
                      </a:lnTo>
                      <a:lnTo>
                        <a:pt x="317" y="336"/>
                      </a:lnTo>
                      <a:lnTo>
                        <a:pt x="315" y="341"/>
                      </a:lnTo>
                      <a:lnTo>
                        <a:pt x="315" y="346"/>
                      </a:lnTo>
                      <a:lnTo>
                        <a:pt x="320" y="383"/>
                      </a:lnTo>
                      <a:lnTo>
                        <a:pt x="328" y="432"/>
                      </a:lnTo>
                      <a:lnTo>
                        <a:pt x="332" y="455"/>
                      </a:lnTo>
                      <a:lnTo>
                        <a:pt x="338" y="474"/>
                      </a:lnTo>
                      <a:lnTo>
                        <a:pt x="341" y="481"/>
                      </a:lnTo>
                      <a:lnTo>
                        <a:pt x="344" y="487"/>
                      </a:lnTo>
                      <a:lnTo>
                        <a:pt x="347" y="489"/>
                      </a:lnTo>
                      <a:lnTo>
                        <a:pt x="349" y="490"/>
                      </a:lnTo>
                      <a:lnTo>
                        <a:pt x="363" y="487"/>
                      </a:lnTo>
                      <a:lnTo>
                        <a:pt x="365" y="485"/>
                      </a:lnTo>
                      <a:lnTo>
                        <a:pt x="366" y="497"/>
                      </a:lnTo>
                      <a:lnTo>
                        <a:pt x="369" y="523"/>
                      </a:lnTo>
                      <a:lnTo>
                        <a:pt x="372" y="538"/>
                      </a:lnTo>
                      <a:lnTo>
                        <a:pt x="375" y="552"/>
                      </a:lnTo>
                      <a:lnTo>
                        <a:pt x="378" y="559"/>
                      </a:lnTo>
                      <a:lnTo>
                        <a:pt x="380" y="564"/>
                      </a:lnTo>
                      <a:lnTo>
                        <a:pt x="383" y="570"/>
                      </a:lnTo>
                      <a:lnTo>
                        <a:pt x="387" y="574"/>
                      </a:lnTo>
                      <a:lnTo>
                        <a:pt x="406" y="594"/>
                      </a:lnTo>
                      <a:lnTo>
                        <a:pt x="411" y="602"/>
                      </a:lnTo>
                      <a:lnTo>
                        <a:pt x="414" y="624"/>
                      </a:lnTo>
                      <a:lnTo>
                        <a:pt x="389" y="622"/>
                      </a:lnTo>
                      <a:lnTo>
                        <a:pt x="388" y="629"/>
                      </a:lnTo>
                      <a:lnTo>
                        <a:pt x="384" y="645"/>
                      </a:lnTo>
                      <a:lnTo>
                        <a:pt x="382" y="650"/>
                      </a:lnTo>
                      <a:lnTo>
                        <a:pt x="379" y="655"/>
                      </a:lnTo>
                      <a:lnTo>
                        <a:pt x="375" y="660"/>
                      </a:lnTo>
                      <a:lnTo>
                        <a:pt x="371" y="666"/>
                      </a:lnTo>
                      <a:lnTo>
                        <a:pt x="365" y="672"/>
                      </a:lnTo>
                      <a:lnTo>
                        <a:pt x="358" y="676"/>
                      </a:lnTo>
                      <a:lnTo>
                        <a:pt x="350" y="682"/>
                      </a:lnTo>
                      <a:lnTo>
                        <a:pt x="341" y="686"/>
                      </a:lnTo>
                      <a:lnTo>
                        <a:pt x="315" y="699"/>
                      </a:lnTo>
                      <a:lnTo>
                        <a:pt x="280" y="714"/>
                      </a:lnTo>
                      <a:lnTo>
                        <a:pt x="240" y="730"/>
                      </a:lnTo>
                      <a:lnTo>
                        <a:pt x="195" y="749"/>
                      </a:lnTo>
                      <a:lnTo>
                        <a:pt x="149" y="768"/>
                      </a:lnTo>
                      <a:lnTo>
                        <a:pt x="108" y="786"/>
                      </a:lnTo>
                      <a:lnTo>
                        <a:pt x="90" y="795"/>
                      </a:lnTo>
                      <a:lnTo>
                        <a:pt x="73" y="803"/>
                      </a:lnTo>
                      <a:lnTo>
                        <a:pt x="59" y="811"/>
                      </a:lnTo>
                      <a:lnTo>
                        <a:pt x="48" y="817"/>
                      </a:lnTo>
                      <a:lnTo>
                        <a:pt x="31" y="830"/>
                      </a:lnTo>
                      <a:lnTo>
                        <a:pt x="19" y="840"/>
                      </a:lnTo>
                      <a:lnTo>
                        <a:pt x="14" y="846"/>
                      </a:lnTo>
                      <a:lnTo>
                        <a:pt x="9" y="851"/>
                      </a:lnTo>
                      <a:lnTo>
                        <a:pt x="7" y="856"/>
                      </a:lnTo>
                      <a:lnTo>
                        <a:pt x="4" y="861"/>
                      </a:lnTo>
                      <a:lnTo>
                        <a:pt x="2" y="874"/>
                      </a:lnTo>
                      <a:lnTo>
                        <a:pt x="0" y="887"/>
                      </a:lnTo>
                      <a:lnTo>
                        <a:pt x="0" y="903"/>
                      </a:lnTo>
                      <a:lnTo>
                        <a:pt x="0" y="922"/>
                      </a:lnTo>
                      <a:lnTo>
                        <a:pt x="3" y="960"/>
                      </a:lnTo>
                      <a:lnTo>
                        <a:pt x="4" y="988"/>
                      </a:lnTo>
                      <a:lnTo>
                        <a:pt x="5" y="1006"/>
                      </a:lnTo>
                      <a:lnTo>
                        <a:pt x="5" y="1013"/>
                      </a:lnTo>
                      <a:lnTo>
                        <a:pt x="454" y="1016"/>
                      </a:lnTo>
                      <a:lnTo>
                        <a:pt x="456" y="1008"/>
                      </a:lnTo>
                      <a:lnTo>
                        <a:pt x="458" y="1000"/>
                      </a:lnTo>
                      <a:lnTo>
                        <a:pt x="461" y="993"/>
                      </a:lnTo>
                      <a:lnTo>
                        <a:pt x="465" y="986"/>
                      </a:lnTo>
                      <a:lnTo>
                        <a:pt x="470" y="979"/>
                      </a:lnTo>
                      <a:lnTo>
                        <a:pt x="476" y="971"/>
                      </a:lnTo>
                      <a:lnTo>
                        <a:pt x="484" y="964"/>
                      </a:lnTo>
                      <a:lnTo>
                        <a:pt x="492" y="956"/>
                      </a:lnTo>
                      <a:lnTo>
                        <a:pt x="494" y="946"/>
                      </a:lnTo>
                      <a:lnTo>
                        <a:pt x="496" y="936"/>
                      </a:lnTo>
                      <a:lnTo>
                        <a:pt x="498" y="925"/>
                      </a:lnTo>
                      <a:lnTo>
                        <a:pt x="501" y="915"/>
                      </a:lnTo>
                      <a:lnTo>
                        <a:pt x="495" y="911"/>
                      </a:lnTo>
                      <a:lnTo>
                        <a:pt x="489" y="906"/>
                      </a:lnTo>
                      <a:lnTo>
                        <a:pt x="484" y="899"/>
                      </a:lnTo>
                      <a:lnTo>
                        <a:pt x="479" y="891"/>
                      </a:lnTo>
                      <a:lnTo>
                        <a:pt x="478" y="885"/>
                      </a:lnTo>
                      <a:lnTo>
                        <a:pt x="477" y="881"/>
                      </a:lnTo>
                      <a:lnTo>
                        <a:pt x="476" y="875"/>
                      </a:lnTo>
                      <a:lnTo>
                        <a:pt x="477" y="869"/>
                      </a:lnTo>
                      <a:lnTo>
                        <a:pt x="477" y="864"/>
                      </a:lnTo>
                      <a:lnTo>
                        <a:pt x="479" y="857"/>
                      </a:lnTo>
                      <a:lnTo>
                        <a:pt x="481" y="850"/>
                      </a:lnTo>
                      <a:lnTo>
                        <a:pt x="485" y="843"/>
                      </a:lnTo>
                      <a:lnTo>
                        <a:pt x="470" y="832"/>
                      </a:lnTo>
                      <a:lnTo>
                        <a:pt x="456" y="820"/>
                      </a:lnTo>
                      <a:lnTo>
                        <a:pt x="442" y="805"/>
                      </a:lnTo>
                      <a:lnTo>
                        <a:pt x="428" y="788"/>
                      </a:lnTo>
                      <a:lnTo>
                        <a:pt x="416" y="771"/>
                      </a:lnTo>
                      <a:lnTo>
                        <a:pt x="404" y="752"/>
                      </a:lnTo>
                      <a:lnTo>
                        <a:pt x="391" y="733"/>
                      </a:lnTo>
                      <a:lnTo>
                        <a:pt x="380" y="714"/>
                      </a:lnTo>
                      <a:lnTo>
                        <a:pt x="396" y="730"/>
                      </a:lnTo>
                      <a:lnTo>
                        <a:pt x="411" y="746"/>
                      </a:lnTo>
                      <a:lnTo>
                        <a:pt x="427" y="762"/>
                      </a:lnTo>
                      <a:lnTo>
                        <a:pt x="443" y="777"/>
                      </a:lnTo>
                      <a:lnTo>
                        <a:pt x="459" y="789"/>
                      </a:lnTo>
                      <a:lnTo>
                        <a:pt x="474" y="801"/>
                      </a:lnTo>
                      <a:lnTo>
                        <a:pt x="481" y="805"/>
                      </a:lnTo>
                      <a:lnTo>
                        <a:pt x="489" y="808"/>
                      </a:lnTo>
                      <a:lnTo>
                        <a:pt x="497" y="812"/>
                      </a:lnTo>
                      <a:lnTo>
                        <a:pt x="505" y="815"/>
                      </a:lnTo>
                      <a:lnTo>
                        <a:pt x="512" y="813"/>
                      </a:lnTo>
                      <a:lnTo>
                        <a:pt x="518" y="813"/>
                      </a:lnTo>
                      <a:lnTo>
                        <a:pt x="523" y="813"/>
                      </a:lnTo>
                      <a:lnTo>
                        <a:pt x="530" y="813"/>
                      </a:lnTo>
                      <a:lnTo>
                        <a:pt x="542" y="815"/>
                      </a:lnTo>
                      <a:lnTo>
                        <a:pt x="554" y="819"/>
                      </a:lnTo>
                      <a:lnTo>
                        <a:pt x="584" y="790"/>
                      </a:lnTo>
                      <a:lnTo>
                        <a:pt x="615" y="762"/>
                      </a:lnTo>
                      <a:lnTo>
                        <a:pt x="645" y="734"/>
                      </a:lnTo>
                      <a:lnTo>
                        <a:pt x="676" y="706"/>
                      </a:lnTo>
                      <a:lnTo>
                        <a:pt x="657" y="737"/>
                      </a:lnTo>
                      <a:lnTo>
                        <a:pt x="641" y="763"/>
                      </a:lnTo>
                      <a:lnTo>
                        <a:pt x="626" y="784"/>
                      </a:lnTo>
                      <a:lnTo>
                        <a:pt x="614" y="799"/>
                      </a:lnTo>
                      <a:lnTo>
                        <a:pt x="591" y="824"/>
                      </a:lnTo>
                      <a:lnTo>
                        <a:pt x="570" y="846"/>
                      </a:lnTo>
                      <a:lnTo>
                        <a:pt x="573" y="849"/>
                      </a:lnTo>
                      <a:lnTo>
                        <a:pt x="576" y="852"/>
                      </a:lnTo>
                      <a:lnTo>
                        <a:pt x="579" y="857"/>
                      </a:lnTo>
                      <a:lnTo>
                        <a:pt x="581" y="863"/>
                      </a:lnTo>
                      <a:lnTo>
                        <a:pt x="582" y="869"/>
                      </a:lnTo>
                      <a:lnTo>
                        <a:pt x="582" y="878"/>
                      </a:lnTo>
                      <a:lnTo>
                        <a:pt x="581" y="891"/>
                      </a:lnTo>
                      <a:lnTo>
                        <a:pt x="580" y="904"/>
                      </a:lnTo>
                      <a:lnTo>
                        <a:pt x="618" y="886"/>
                      </a:lnTo>
                      <a:lnTo>
                        <a:pt x="662" y="868"/>
                      </a:lnTo>
                      <a:lnTo>
                        <a:pt x="707" y="848"/>
                      </a:lnTo>
                      <a:lnTo>
                        <a:pt x="754" y="829"/>
                      </a:lnTo>
                      <a:lnTo>
                        <a:pt x="799" y="811"/>
                      </a:lnTo>
                      <a:lnTo>
                        <a:pt x="842" y="793"/>
                      </a:lnTo>
                      <a:lnTo>
                        <a:pt x="879" y="778"/>
                      </a:lnTo>
                      <a:lnTo>
                        <a:pt x="909" y="764"/>
                      </a:lnTo>
                      <a:lnTo>
                        <a:pt x="882" y="753"/>
                      </a:lnTo>
                      <a:lnTo>
                        <a:pt x="855" y="742"/>
                      </a:lnTo>
                      <a:lnTo>
                        <a:pt x="828" y="730"/>
                      </a:lnTo>
                      <a:lnTo>
                        <a:pt x="803" y="720"/>
                      </a:lnTo>
                      <a:lnTo>
                        <a:pt x="780" y="710"/>
                      </a:lnTo>
                      <a:lnTo>
                        <a:pt x="758" y="701"/>
                      </a:lnTo>
                      <a:lnTo>
                        <a:pt x="740" y="693"/>
                      </a:lnTo>
                      <a:lnTo>
                        <a:pt x="727" y="686"/>
                      </a:lnTo>
                      <a:lnTo>
                        <a:pt x="717" y="682"/>
                      </a:lnTo>
                      <a:lnTo>
                        <a:pt x="710" y="676"/>
                      </a:lnTo>
                      <a:lnTo>
                        <a:pt x="703" y="672"/>
                      </a:lnTo>
                      <a:lnTo>
                        <a:pt x="697" y="666"/>
                      </a:lnTo>
                      <a:lnTo>
                        <a:pt x="693" y="660"/>
                      </a:lnTo>
                      <a:lnTo>
                        <a:pt x="689" y="655"/>
                      </a:lnTo>
                      <a:lnTo>
                        <a:pt x="686" y="650"/>
                      </a:lnTo>
                      <a:lnTo>
                        <a:pt x="684" y="645"/>
                      </a:lnTo>
                      <a:lnTo>
                        <a:pt x="679" y="629"/>
                      </a:lnTo>
                      <a:lnTo>
                        <a:pt x="679" y="622"/>
                      </a:lnTo>
                      <a:lnTo>
                        <a:pt x="654" y="624"/>
                      </a:lnTo>
                      <a:lnTo>
                        <a:pt x="655" y="602"/>
                      </a:lnTo>
                      <a:lnTo>
                        <a:pt x="662" y="594"/>
                      </a:lnTo>
                      <a:lnTo>
                        <a:pt x="681" y="574"/>
                      </a:lnTo>
                      <a:lnTo>
                        <a:pt x="685" y="570"/>
                      </a:lnTo>
                      <a:lnTo>
                        <a:pt x="687" y="564"/>
                      </a:lnTo>
                      <a:lnTo>
                        <a:pt x="690" y="559"/>
                      </a:lnTo>
                      <a:lnTo>
                        <a:pt x="693" y="552"/>
                      </a:lnTo>
                      <a:lnTo>
                        <a:pt x="696" y="538"/>
                      </a:lnTo>
                      <a:lnTo>
                        <a:pt x="698" y="523"/>
                      </a:lnTo>
                      <a:lnTo>
                        <a:pt x="702" y="497"/>
                      </a:lnTo>
                      <a:lnTo>
                        <a:pt x="703" y="485"/>
                      </a:lnTo>
                      <a:lnTo>
                        <a:pt x="705" y="487"/>
                      </a:lnTo>
                      <a:lnTo>
                        <a:pt x="719" y="490"/>
                      </a:lnTo>
                      <a:lnTo>
                        <a:pt x="721" y="489"/>
                      </a:lnTo>
                      <a:lnTo>
                        <a:pt x="724" y="487"/>
                      </a:lnTo>
                      <a:lnTo>
                        <a:pt x="727" y="481"/>
                      </a:lnTo>
                      <a:lnTo>
                        <a:pt x="730" y="474"/>
                      </a:lnTo>
                      <a:lnTo>
                        <a:pt x="734" y="455"/>
                      </a:lnTo>
                      <a:lnTo>
                        <a:pt x="740" y="432"/>
                      </a:lnTo>
                      <a:lnTo>
                        <a:pt x="748" y="383"/>
                      </a:lnTo>
                      <a:lnTo>
                        <a:pt x="752" y="346"/>
                      </a:lnTo>
                      <a:lnTo>
                        <a:pt x="752" y="339"/>
                      </a:lnTo>
                      <a:lnTo>
                        <a:pt x="750" y="334"/>
                      </a:lnTo>
                      <a:lnTo>
                        <a:pt x="748" y="331"/>
                      </a:lnTo>
                      <a:lnTo>
                        <a:pt x="745" y="330"/>
                      </a:lnTo>
                      <a:lnTo>
                        <a:pt x="740" y="330"/>
                      </a:lnTo>
                      <a:lnTo>
                        <a:pt x="736" y="331"/>
                      </a:lnTo>
                      <a:lnTo>
                        <a:pt x="732" y="332"/>
                      </a:lnTo>
                      <a:lnTo>
                        <a:pt x="728" y="334"/>
                      </a:lnTo>
                      <a:lnTo>
                        <a:pt x="736" y="319"/>
                      </a:lnTo>
                      <a:lnTo>
                        <a:pt x="743" y="301"/>
                      </a:lnTo>
                      <a:lnTo>
                        <a:pt x="747" y="293"/>
                      </a:lnTo>
                      <a:lnTo>
                        <a:pt x="749" y="283"/>
                      </a:lnTo>
                      <a:lnTo>
                        <a:pt x="751" y="272"/>
                      </a:lnTo>
                      <a:lnTo>
                        <a:pt x="752" y="258"/>
                      </a:lnTo>
                      <a:lnTo>
                        <a:pt x="754" y="228"/>
                      </a:lnTo>
                      <a:lnTo>
                        <a:pt x="752" y="194"/>
                      </a:lnTo>
                      <a:lnTo>
                        <a:pt x="749" y="160"/>
                      </a:lnTo>
                      <a:lnTo>
                        <a:pt x="745" y="129"/>
                      </a:lnTo>
                      <a:lnTo>
                        <a:pt x="741" y="114"/>
                      </a:lnTo>
                      <a:lnTo>
                        <a:pt x="738" y="100"/>
                      </a:lnTo>
                      <a:lnTo>
                        <a:pt x="733" y="89"/>
                      </a:lnTo>
                      <a:lnTo>
                        <a:pt x="729" y="79"/>
                      </a:lnTo>
                      <a:lnTo>
                        <a:pt x="722" y="69"/>
                      </a:lnTo>
                      <a:lnTo>
                        <a:pt x="715" y="62"/>
                      </a:lnTo>
                      <a:lnTo>
                        <a:pt x="708" y="57"/>
                      </a:lnTo>
                      <a:lnTo>
                        <a:pt x="701" y="55"/>
                      </a:lnTo>
                      <a:lnTo>
                        <a:pt x="694" y="54"/>
                      </a:lnTo>
                      <a:lnTo>
                        <a:pt x="687" y="55"/>
                      </a:lnTo>
                      <a:lnTo>
                        <a:pt x="680" y="56"/>
                      </a:lnTo>
                      <a:lnTo>
                        <a:pt x="675" y="59"/>
                      </a:lnTo>
                      <a:lnTo>
                        <a:pt x="667" y="49"/>
                      </a:lnTo>
                      <a:lnTo>
                        <a:pt x="658" y="40"/>
                      </a:lnTo>
                      <a:lnTo>
                        <a:pt x="652" y="35"/>
                      </a:lnTo>
                      <a:lnTo>
                        <a:pt x="646" y="29"/>
                      </a:lnTo>
                      <a:lnTo>
                        <a:pt x="640" y="25"/>
                      </a:lnTo>
                      <a:lnTo>
                        <a:pt x="633" y="20"/>
                      </a:lnTo>
                      <a:lnTo>
                        <a:pt x="618" y="13"/>
                      </a:lnTo>
                      <a:lnTo>
                        <a:pt x="602" y="8"/>
                      </a:lnTo>
                      <a:lnTo>
                        <a:pt x="585" y="4"/>
                      </a:lnTo>
                      <a:lnTo>
                        <a:pt x="568" y="1"/>
                      </a:lnTo>
                      <a:lnTo>
                        <a:pt x="551" y="0"/>
                      </a:lnTo>
                      <a:lnTo>
                        <a:pt x="533"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cxnSp>
            <p:nvCxnSpPr>
              <p:cNvPr id="328" name="Straight Connector 327"/>
              <p:cNvCxnSpPr/>
              <p:nvPr/>
            </p:nvCxnSpPr>
            <p:spPr bwMode="auto">
              <a:xfrm flipH="1" flipV="1">
                <a:off x="6219641" y="3156819"/>
                <a:ext cx="0" cy="374203"/>
              </a:xfrm>
              <a:prstGeom prst="line">
                <a:avLst/>
              </a:prstGeom>
              <a:solidFill>
                <a:schemeClr val="accent1"/>
              </a:solidFill>
              <a:ln w="28575" cap="flat" cmpd="sng" algn="ctr">
                <a:solidFill>
                  <a:schemeClr val="tx2">
                    <a:lumMod val="75000"/>
                  </a:schemeClr>
                </a:solidFill>
                <a:prstDash val="solid"/>
                <a:round/>
                <a:headEnd type="none" w="med" len="med"/>
                <a:tailEnd type="none" w="med" len="med"/>
              </a:ln>
              <a:effectLst/>
            </p:spPr>
          </p:cxnSp>
          <p:grpSp>
            <p:nvGrpSpPr>
              <p:cNvPr id="329" name="Gruppe 956"/>
              <p:cNvGrpSpPr>
                <a:grpSpLocks/>
              </p:cNvGrpSpPr>
              <p:nvPr/>
            </p:nvGrpSpPr>
            <p:grpSpPr bwMode="auto">
              <a:xfrm>
                <a:off x="5794375" y="2840038"/>
                <a:ext cx="700088" cy="869950"/>
                <a:chOff x="215000" y="2687274"/>
                <a:chExt cx="2593295" cy="3223034"/>
              </a:xfrm>
              <a:solidFill>
                <a:schemeClr val="bg1">
                  <a:lumMod val="85000"/>
                </a:schemeClr>
              </a:solidFill>
            </p:grpSpPr>
            <p:sp>
              <p:nvSpPr>
                <p:cNvPr id="346" name="Freeform 814"/>
                <p:cNvSpPr>
                  <a:spLocks noEditPoints="1"/>
                </p:cNvSpPr>
                <p:nvPr/>
              </p:nvSpPr>
              <p:spPr bwMode="auto">
                <a:xfrm flipH="1">
                  <a:off x="215000" y="2969584"/>
                  <a:ext cx="993804" cy="2940724"/>
                </a:xfrm>
                <a:custGeom>
                  <a:avLst/>
                  <a:gdLst>
                    <a:gd name="T0" fmla="*/ 2147483647 w 642"/>
                    <a:gd name="T1" fmla="*/ 2147483647 h 1854"/>
                    <a:gd name="T2" fmla="*/ 2147483647 w 642"/>
                    <a:gd name="T3" fmla="*/ 2147483647 h 1854"/>
                    <a:gd name="T4" fmla="*/ 2147483647 w 642"/>
                    <a:gd name="T5" fmla="*/ 2147483647 h 1854"/>
                    <a:gd name="T6" fmla="*/ 2147483647 w 642"/>
                    <a:gd name="T7" fmla="*/ 2147483647 h 1854"/>
                    <a:gd name="T8" fmla="*/ 2147483647 w 642"/>
                    <a:gd name="T9" fmla="*/ 2147483647 h 1854"/>
                    <a:gd name="T10" fmla="*/ 2147483647 w 642"/>
                    <a:gd name="T11" fmla="*/ 2147483647 h 1854"/>
                    <a:gd name="T12" fmla="*/ 2147483647 w 642"/>
                    <a:gd name="T13" fmla="*/ 2147483647 h 1854"/>
                    <a:gd name="T14" fmla="*/ 2147483647 w 642"/>
                    <a:gd name="T15" fmla="*/ 2147483647 h 1854"/>
                    <a:gd name="T16" fmla="*/ 2147483647 w 642"/>
                    <a:gd name="T17" fmla="*/ 2147483647 h 1854"/>
                    <a:gd name="T18" fmla="*/ 2147483647 w 642"/>
                    <a:gd name="T19" fmla="*/ 2147483647 h 1854"/>
                    <a:gd name="T20" fmla="*/ 2147483647 w 642"/>
                    <a:gd name="T21" fmla="*/ 2147483647 h 1854"/>
                    <a:gd name="T22" fmla="*/ 2147483647 w 642"/>
                    <a:gd name="T23" fmla="*/ 2147483647 h 1854"/>
                    <a:gd name="T24" fmla="*/ 2147483647 w 642"/>
                    <a:gd name="T25" fmla="*/ 2147483647 h 1854"/>
                    <a:gd name="T26" fmla="*/ 2147483647 w 642"/>
                    <a:gd name="T27" fmla="*/ 2147483647 h 1854"/>
                    <a:gd name="T28" fmla="*/ 2147483647 w 642"/>
                    <a:gd name="T29" fmla="*/ 2147483647 h 1854"/>
                    <a:gd name="T30" fmla="*/ 2147483647 w 642"/>
                    <a:gd name="T31" fmla="*/ 2147483647 h 1854"/>
                    <a:gd name="T32" fmla="*/ 2147483647 w 642"/>
                    <a:gd name="T33" fmla="*/ 2147483647 h 1854"/>
                    <a:gd name="T34" fmla="*/ 2147483647 w 642"/>
                    <a:gd name="T35" fmla="*/ 2147483647 h 1854"/>
                    <a:gd name="T36" fmla="*/ 2147483647 w 642"/>
                    <a:gd name="T37" fmla="*/ 2147483647 h 1854"/>
                    <a:gd name="T38" fmla="*/ 2147483647 w 642"/>
                    <a:gd name="T39" fmla="*/ 2147483647 h 1854"/>
                    <a:gd name="T40" fmla="*/ 2147483647 w 642"/>
                    <a:gd name="T41" fmla="*/ 0 h 1854"/>
                    <a:gd name="T42" fmla="*/ 2147483647 w 642"/>
                    <a:gd name="T43" fmla="*/ 2147483647 h 1854"/>
                    <a:gd name="T44" fmla="*/ 2147483647 w 642"/>
                    <a:gd name="T45" fmla="*/ 2147483647 h 1854"/>
                    <a:gd name="T46" fmla="*/ 2147483647 w 642"/>
                    <a:gd name="T47" fmla="*/ 2147483647 h 1854"/>
                    <a:gd name="T48" fmla="*/ 2147483647 w 642"/>
                    <a:gd name="T49" fmla="*/ 2147483647 h 1854"/>
                    <a:gd name="T50" fmla="*/ 2147483647 w 642"/>
                    <a:gd name="T51" fmla="*/ 2147483647 h 1854"/>
                    <a:gd name="T52" fmla="*/ 2147483647 w 642"/>
                    <a:gd name="T53" fmla="*/ 2147483647 h 1854"/>
                    <a:gd name="T54" fmla="*/ 2147483647 w 642"/>
                    <a:gd name="T55" fmla="*/ 2147483647 h 1854"/>
                    <a:gd name="T56" fmla="*/ 2147483647 w 642"/>
                    <a:gd name="T57" fmla="*/ 2147483647 h 1854"/>
                    <a:gd name="T58" fmla="*/ 2147483647 w 642"/>
                    <a:gd name="T59" fmla="*/ 2147483647 h 1854"/>
                    <a:gd name="T60" fmla="*/ 2147483647 w 642"/>
                    <a:gd name="T61" fmla="*/ 2147483647 h 1854"/>
                    <a:gd name="T62" fmla="*/ 2147483647 w 642"/>
                    <a:gd name="T63" fmla="*/ 2147483647 h 1854"/>
                    <a:gd name="T64" fmla="*/ 2147483647 w 642"/>
                    <a:gd name="T65" fmla="*/ 2147483647 h 1854"/>
                    <a:gd name="T66" fmla="*/ 0 w 642"/>
                    <a:gd name="T67" fmla="*/ 2147483647 h 1854"/>
                    <a:gd name="T68" fmla="*/ 2147483647 w 642"/>
                    <a:gd name="T69" fmla="*/ 2147483647 h 1854"/>
                    <a:gd name="T70" fmla="*/ 2147483647 w 642"/>
                    <a:gd name="T71" fmla="*/ 2147483647 h 1854"/>
                    <a:gd name="T72" fmla="*/ 2147483647 w 642"/>
                    <a:gd name="T73" fmla="*/ 2147483647 h 1854"/>
                    <a:gd name="T74" fmla="*/ 2147483647 w 642"/>
                    <a:gd name="T75" fmla="*/ 2147483647 h 1854"/>
                    <a:gd name="T76" fmla="*/ 2147483647 w 642"/>
                    <a:gd name="T77" fmla="*/ 2147483647 h 1854"/>
                    <a:gd name="T78" fmla="*/ 2147483647 w 642"/>
                    <a:gd name="T79" fmla="*/ 2147483647 h 1854"/>
                    <a:gd name="T80" fmla="*/ 2147483647 w 642"/>
                    <a:gd name="T81" fmla="*/ 2147483647 h 1854"/>
                    <a:gd name="T82" fmla="*/ 2147483647 w 642"/>
                    <a:gd name="T83" fmla="*/ 2147483647 h 1854"/>
                    <a:gd name="T84" fmla="*/ 2147483647 w 642"/>
                    <a:gd name="T85" fmla="*/ 2147483647 h 1854"/>
                    <a:gd name="T86" fmla="*/ 2147483647 w 642"/>
                    <a:gd name="T87" fmla="*/ 2147483647 h 1854"/>
                    <a:gd name="T88" fmla="*/ 2147483647 w 642"/>
                    <a:gd name="T89" fmla="*/ 2147483647 h 1854"/>
                    <a:gd name="T90" fmla="*/ 2147483647 w 642"/>
                    <a:gd name="T91" fmla="*/ 2147483647 h 1854"/>
                    <a:gd name="T92" fmla="*/ 2147483647 w 642"/>
                    <a:gd name="T93" fmla="*/ 2147483647 h 1854"/>
                    <a:gd name="T94" fmla="*/ 2147483647 w 642"/>
                    <a:gd name="T95" fmla="*/ 2147483647 h 1854"/>
                    <a:gd name="T96" fmla="*/ 2147483647 w 642"/>
                    <a:gd name="T97" fmla="*/ 2147483647 h 1854"/>
                    <a:gd name="T98" fmla="*/ 2147483647 w 642"/>
                    <a:gd name="T99" fmla="*/ 2147483647 h 1854"/>
                    <a:gd name="T100" fmla="*/ 2147483647 w 642"/>
                    <a:gd name="T101" fmla="*/ 2147483647 h 1854"/>
                    <a:gd name="T102" fmla="*/ 2147483647 w 642"/>
                    <a:gd name="T103" fmla="*/ 2147483647 h 1854"/>
                    <a:gd name="T104" fmla="*/ 2147483647 w 642"/>
                    <a:gd name="T105" fmla="*/ 2147483647 h 1854"/>
                    <a:gd name="T106" fmla="*/ 2147483647 w 642"/>
                    <a:gd name="T107" fmla="*/ 2147483647 h 1854"/>
                    <a:gd name="T108" fmla="*/ 2147483647 w 642"/>
                    <a:gd name="T109" fmla="*/ 2147483647 h 1854"/>
                    <a:gd name="T110" fmla="*/ 2147483647 w 642"/>
                    <a:gd name="T111" fmla="*/ 2147483647 h 1854"/>
                    <a:gd name="T112" fmla="*/ 2147483647 w 642"/>
                    <a:gd name="T113" fmla="*/ 2147483647 h 1854"/>
                    <a:gd name="T114" fmla="*/ 2147483647 w 642"/>
                    <a:gd name="T115" fmla="*/ 2147483647 h 18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2"/>
                    <a:gd name="T175" fmla="*/ 0 h 1854"/>
                    <a:gd name="T176" fmla="*/ 642 w 642"/>
                    <a:gd name="T177" fmla="*/ 1854 h 18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2" h="1854">
                      <a:moveTo>
                        <a:pt x="642" y="1559"/>
                      </a:moveTo>
                      <a:lnTo>
                        <a:pt x="638" y="1547"/>
                      </a:lnTo>
                      <a:lnTo>
                        <a:pt x="613" y="1535"/>
                      </a:lnTo>
                      <a:lnTo>
                        <a:pt x="593" y="1518"/>
                      </a:lnTo>
                      <a:lnTo>
                        <a:pt x="568" y="1493"/>
                      </a:lnTo>
                      <a:lnTo>
                        <a:pt x="564" y="1489"/>
                      </a:lnTo>
                      <a:lnTo>
                        <a:pt x="555" y="1489"/>
                      </a:lnTo>
                      <a:lnTo>
                        <a:pt x="535" y="1489"/>
                      </a:lnTo>
                      <a:lnTo>
                        <a:pt x="506" y="1493"/>
                      </a:lnTo>
                      <a:lnTo>
                        <a:pt x="481" y="1472"/>
                      </a:lnTo>
                      <a:lnTo>
                        <a:pt x="456" y="1447"/>
                      </a:lnTo>
                      <a:lnTo>
                        <a:pt x="423" y="1402"/>
                      </a:lnTo>
                      <a:lnTo>
                        <a:pt x="402" y="1365"/>
                      </a:lnTo>
                      <a:lnTo>
                        <a:pt x="398" y="1356"/>
                      </a:lnTo>
                      <a:lnTo>
                        <a:pt x="402" y="1356"/>
                      </a:lnTo>
                      <a:lnTo>
                        <a:pt x="406" y="1356"/>
                      </a:lnTo>
                      <a:lnTo>
                        <a:pt x="414" y="1352"/>
                      </a:lnTo>
                      <a:lnTo>
                        <a:pt x="431" y="1340"/>
                      </a:lnTo>
                      <a:lnTo>
                        <a:pt x="456" y="1311"/>
                      </a:lnTo>
                      <a:lnTo>
                        <a:pt x="456" y="1294"/>
                      </a:lnTo>
                      <a:lnTo>
                        <a:pt x="460" y="1244"/>
                      </a:lnTo>
                      <a:lnTo>
                        <a:pt x="464" y="1099"/>
                      </a:lnTo>
                      <a:lnTo>
                        <a:pt x="472" y="888"/>
                      </a:lnTo>
                      <a:lnTo>
                        <a:pt x="468" y="867"/>
                      </a:lnTo>
                      <a:lnTo>
                        <a:pt x="468" y="850"/>
                      </a:lnTo>
                      <a:lnTo>
                        <a:pt x="472" y="842"/>
                      </a:lnTo>
                      <a:lnTo>
                        <a:pt x="477" y="854"/>
                      </a:lnTo>
                      <a:lnTo>
                        <a:pt x="477" y="871"/>
                      </a:lnTo>
                      <a:lnTo>
                        <a:pt x="477" y="900"/>
                      </a:lnTo>
                      <a:lnTo>
                        <a:pt x="477" y="933"/>
                      </a:lnTo>
                      <a:lnTo>
                        <a:pt x="485" y="946"/>
                      </a:lnTo>
                      <a:lnTo>
                        <a:pt x="493" y="946"/>
                      </a:lnTo>
                      <a:lnTo>
                        <a:pt x="506" y="946"/>
                      </a:lnTo>
                      <a:lnTo>
                        <a:pt x="514" y="950"/>
                      </a:lnTo>
                      <a:lnTo>
                        <a:pt x="518" y="946"/>
                      </a:lnTo>
                      <a:lnTo>
                        <a:pt x="526" y="946"/>
                      </a:lnTo>
                      <a:lnTo>
                        <a:pt x="530" y="946"/>
                      </a:lnTo>
                      <a:lnTo>
                        <a:pt x="535" y="946"/>
                      </a:lnTo>
                      <a:lnTo>
                        <a:pt x="539" y="946"/>
                      </a:lnTo>
                      <a:lnTo>
                        <a:pt x="547" y="937"/>
                      </a:lnTo>
                      <a:lnTo>
                        <a:pt x="547" y="921"/>
                      </a:lnTo>
                      <a:lnTo>
                        <a:pt x="547" y="912"/>
                      </a:lnTo>
                      <a:lnTo>
                        <a:pt x="547" y="883"/>
                      </a:lnTo>
                      <a:lnTo>
                        <a:pt x="543" y="875"/>
                      </a:lnTo>
                      <a:lnTo>
                        <a:pt x="539" y="871"/>
                      </a:lnTo>
                      <a:lnTo>
                        <a:pt x="539" y="867"/>
                      </a:lnTo>
                      <a:lnTo>
                        <a:pt x="535" y="854"/>
                      </a:lnTo>
                      <a:lnTo>
                        <a:pt x="535" y="821"/>
                      </a:lnTo>
                      <a:lnTo>
                        <a:pt x="539" y="767"/>
                      </a:lnTo>
                      <a:lnTo>
                        <a:pt x="539" y="738"/>
                      </a:lnTo>
                      <a:lnTo>
                        <a:pt x="518" y="647"/>
                      </a:lnTo>
                      <a:lnTo>
                        <a:pt x="497" y="539"/>
                      </a:lnTo>
                      <a:lnTo>
                        <a:pt x="485" y="444"/>
                      </a:lnTo>
                      <a:lnTo>
                        <a:pt x="456" y="336"/>
                      </a:lnTo>
                      <a:lnTo>
                        <a:pt x="443" y="307"/>
                      </a:lnTo>
                      <a:lnTo>
                        <a:pt x="431" y="286"/>
                      </a:lnTo>
                      <a:lnTo>
                        <a:pt x="414" y="274"/>
                      </a:lnTo>
                      <a:lnTo>
                        <a:pt x="394" y="270"/>
                      </a:lnTo>
                      <a:lnTo>
                        <a:pt x="381" y="265"/>
                      </a:lnTo>
                      <a:lnTo>
                        <a:pt x="365" y="265"/>
                      </a:lnTo>
                      <a:lnTo>
                        <a:pt x="352" y="270"/>
                      </a:lnTo>
                      <a:lnTo>
                        <a:pt x="340" y="270"/>
                      </a:lnTo>
                      <a:lnTo>
                        <a:pt x="336" y="257"/>
                      </a:lnTo>
                      <a:lnTo>
                        <a:pt x="331" y="245"/>
                      </a:lnTo>
                      <a:lnTo>
                        <a:pt x="331" y="228"/>
                      </a:lnTo>
                      <a:lnTo>
                        <a:pt x="331" y="203"/>
                      </a:lnTo>
                      <a:lnTo>
                        <a:pt x="331" y="174"/>
                      </a:lnTo>
                      <a:lnTo>
                        <a:pt x="331" y="145"/>
                      </a:lnTo>
                      <a:lnTo>
                        <a:pt x="331" y="116"/>
                      </a:lnTo>
                      <a:lnTo>
                        <a:pt x="319" y="83"/>
                      </a:lnTo>
                      <a:lnTo>
                        <a:pt x="315" y="66"/>
                      </a:lnTo>
                      <a:lnTo>
                        <a:pt x="302" y="50"/>
                      </a:lnTo>
                      <a:lnTo>
                        <a:pt x="290" y="37"/>
                      </a:lnTo>
                      <a:lnTo>
                        <a:pt x="277" y="25"/>
                      </a:lnTo>
                      <a:lnTo>
                        <a:pt x="248" y="8"/>
                      </a:lnTo>
                      <a:lnTo>
                        <a:pt x="224" y="0"/>
                      </a:lnTo>
                      <a:lnTo>
                        <a:pt x="190" y="0"/>
                      </a:lnTo>
                      <a:lnTo>
                        <a:pt x="157" y="8"/>
                      </a:lnTo>
                      <a:lnTo>
                        <a:pt x="124" y="17"/>
                      </a:lnTo>
                      <a:lnTo>
                        <a:pt x="107" y="25"/>
                      </a:lnTo>
                      <a:lnTo>
                        <a:pt x="95" y="33"/>
                      </a:lnTo>
                      <a:lnTo>
                        <a:pt x="87" y="46"/>
                      </a:lnTo>
                      <a:lnTo>
                        <a:pt x="87" y="54"/>
                      </a:lnTo>
                      <a:lnTo>
                        <a:pt x="87" y="62"/>
                      </a:lnTo>
                      <a:lnTo>
                        <a:pt x="91" y="71"/>
                      </a:lnTo>
                      <a:lnTo>
                        <a:pt x="87" y="87"/>
                      </a:lnTo>
                      <a:lnTo>
                        <a:pt x="87" y="120"/>
                      </a:lnTo>
                      <a:lnTo>
                        <a:pt x="87" y="133"/>
                      </a:lnTo>
                      <a:lnTo>
                        <a:pt x="91" y="137"/>
                      </a:lnTo>
                      <a:lnTo>
                        <a:pt x="95" y="141"/>
                      </a:lnTo>
                      <a:lnTo>
                        <a:pt x="103" y="149"/>
                      </a:lnTo>
                      <a:lnTo>
                        <a:pt x="95" y="170"/>
                      </a:lnTo>
                      <a:lnTo>
                        <a:pt x="91" y="191"/>
                      </a:lnTo>
                      <a:lnTo>
                        <a:pt x="99" y="195"/>
                      </a:lnTo>
                      <a:lnTo>
                        <a:pt x="107" y="195"/>
                      </a:lnTo>
                      <a:lnTo>
                        <a:pt x="112" y="203"/>
                      </a:lnTo>
                      <a:lnTo>
                        <a:pt x="112" y="207"/>
                      </a:lnTo>
                      <a:lnTo>
                        <a:pt x="116" y="212"/>
                      </a:lnTo>
                      <a:lnTo>
                        <a:pt x="116" y="220"/>
                      </a:lnTo>
                      <a:lnTo>
                        <a:pt x="120" y="224"/>
                      </a:lnTo>
                      <a:lnTo>
                        <a:pt x="124" y="228"/>
                      </a:lnTo>
                      <a:lnTo>
                        <a:pt x="128" y="241"/>
                      </a:lnTo>
                      <a:lnTo>
                        <a:pt x="128" y="249"/>
                      </a:lnTo>
                      <a:lnTo>
                        <a:pt x="132" y="253"/>
                      </a:lnTo>
                      <a:lnTo>
                        <a:pt x="141" y="253"/>
                      </a:lnTo>
                      <a:lnTo>
                        <a:pt x="165" y="253"/>
                      </a:lnTo>
                      <a:lnTo>
                        <a:pt x="174" y="253"/>
                      </a:lnTo>
                      <a:lnTo>
                        <a:pt x="178" y="257"/>
                      </a:lnTo>
                      <a:lnTo>
                        <a:pt x="182" y="265"/>
                      </a:lnTo>
                      <a:lnTo>
                        <a:pt x="182" y="270"/>
                      </a:lnTo>
                      <a:lnTo>
                        <a:pt x="182" y="278"/>
                      </a:lnTo>
                      <a:lnTo>
                        <a:pt x="78" y="394"/>
                      </a:lnTo>
                      <a:lnTo>
                        <a:pt x="70" y="406"/>
                      </a:lnTo>
                      <a:lnTo>
                        <a:pt x="70" y="419"/>
                      </a:lnTo>
                      <a:lnTo>
                        <a:pt x="74" y="448"/>
                      </a:lnTo>
                      <a:lnTo>
                        <a:pt x="70" y="518"/>
                      </a:lnTo>
                      <a:lnTo>
                        <a:pt x="62" y="610"/>
                      </a:lnTo>
                      <a:lnTo>
                        <a:pt x="49" y="713"/>
                      </a:lnTo>
                      <a:lnTo>
                        <a:pt x="16" y="713"/>
                      </a:lnTo>
                      <a:lnTo>
                        <a:pt x="0" y="971"/>
                      </a:lnTo>
                      <a:lnTo>
                        <a:pt x="78" y="971"/>
                      </a:lnTo>
                      <a:lnTo>
                        <a:pt x="83" y="979"/>
                      </a:lnTo>
                      <a:lnTo>
                        <a:pt x="87" y="983"/>
                      </a:lnTo>
                      <a:lnTo>
                        <a:pt x="107" y="987"/>
                      </a:lnTo>
                      <a:lnTo>
                        <a:pt x="128" y="987"/>
                      </a:lnTo>
                      <a:lnTo>
                        <a:pt x="132" y="1016"/>
                      </a:lnTo>
                      <a:lnTo>
                        <a:pt x="136" y="1058"/>
                      </a:lnTo>
                      <a:lnTo>
                        <a:pt x="149" y="1165"/>
                      </a:lnTo>
                      <a:lnTo>
                        <a:pt x="157" y="1261"/>
                      </a:lnTo>
                      <a:lnTo>
                        <a:pt x="165" y="1356"/>
                      </a:lnTo>
                      <a:lnTo>
                        <a:pt x="211" y="1356"/>
                      </a:lnTo>
                      <a:lnTo>
                        <a:pt x="224" y="1373"/>
                      </a:lnTo>
                      <a:lnTo>
                        <a:pt x="257" y="1398"/>
                      </a:lnTo>
                      <a:lnTo>
                        <a:pt x="298" y="1439"/>
                      </a:lnTo>
                      <a:lnTo>
                        <a:pt x="302" y="1539"/>
                      </a:lnTo>
                      <a:lnTo>
                        <a:pt x="307" y="1613"/>
                      </a:lnTo>
                      <a:lnTo>
                        <a:pt x="307" y="1659"/>
                      </a:lnTo>
                      <a:lnTo>
                        <a:pt x="298" y="1688"/>
                      </a:lnTo>
                      <a:lnTo>
                        <a:pt x="294" y="1700"/>
                      </a:lnTo>
                      <a:lnTo>
                        <a:pt x="282" y="1734"/>
                      </a:lnTo>
                      <a:lnTo>
                        <a:pt x="265" y="1759"/>
                      </a:lnTo>
                      <a:lnTo>
                        <a:pt x="244" y="1788"/>
                      </a:lnTo>
                      <a:lnTo>
                        <a:pt x="232" y="1792"/>
                      </a:lnTo>
                      <a:lnTo>
                        <a:pt x="203" y="1804"/>
                      </a:lnTo>
                      <a:lnTo>
                        <a:pt x="174" y="1812"/>
                      </a:lnTo>
                      <a:lnTo>
                        <a:pt x="157" y="1821"/>
                      </a:lnTo>
                      <a:lnTo>
                        <a:pt x="153" y="1825"/>
                      </a:lnTo>
                      <a:lnTo>
                        <a:pt x="153" y="1829"/>
                      </a:lnTo>
                      <a:lnTo>
                        <a:pt x="157" y="1833"/>
                      </a:lnTo>
                      <a:lnTo>
                        <a:pt x="170" y="1841"/>
                      </a:lnTo>
                      <a:lnTo>
                        <a:pt x="178" y="1841"/>
                      </a:lnTo>
                      <a:lnTo>
                        <a:pt x="265" y="1850"/>
                      </a:lnTo>
                      <a:lnTo>
                        <a:pt x="286" y="1850"/>
                      </a:lnTo>
                      <a:lnTo>
                        <a:pt x="307" y="1833"/>
                      </a:lnTo>
                      <a:lnTo>
                        <a:pt x="331" y="1812"/>
                      </a:lnTo>
                      <a:lnTo>
                        <a:pt x="352" y="1796"/>
                      </a:lnTo>
                      <a:lnTo>
                        <a:pt x="356" y="1796"/>
                      </a:lnTo>
                      <a:lnTo>
                        <a:pt x="365" y="1796"/>
                      </a:lnTo>
                      <a:lnTo>
                        <a:pt x="369" y="1800"/>
                      </a:lnTo>
                      <a:lnTo>
                        <a:pt x="365" y="1854"/>
                      </a:lnTo>
                      <a:lnTo>
                        <a:pt x="369" y="1854"/>
                      </a:lnTo>
                      <a:lnTo>
                        <a:pt x="377" y="1854"/>
                      </a:lnTo>
                      <a:lnTo>
                        <a:pt x="381" y="1825"/>
                      </a:lnTo>
                      <a:lnTo>
                        <a:pt x="385" y="1800"/>
                      </a:lnTo>
                      <a:lnTo>
                        <a:pt x="394" y="1779"/>
                      </a:lnTo>
                      <a:lnTo>
                        <a:pt x="402" y="1763"/>
                      </a:lnTo>
                      <a:lnTo>
                        <a:pt x="398" y="1750"/>
                      </a:lnTo>
                      <a:lnTo>
                        <a:pt x="389" y="1734"/>
                      </a:lnTo>
                      <a:lnTo>
                        <a:pt x="381" y="1709"/>
                      </a:lnTo>
                      <a:lnTo>
                        <a:pt x="377" y="1676"/>
                      </a:lnTo>
                      <a:lnTo>
                        <a:pt x="377" y="1651"/>
                      </a:lnTo>
                      <a:lnTo>
                        <a:pt x="381" y="1626"/>
                      </a:lnTo>
                      <a:lnTo>
                        <a:pt x="385" y="1601"/>
                      </a:lnTo>
                      <a:lnTo>
                        <a:pt x="398" y="1547"/>
                      </a:lnTo>
                      <a:lnTo>
                        <a:pt x="402" y="1510"/>
                      </a:lnTo>
                      <a:lnTo>
                        <a:pt x="435" y="1530"/>
                      </a:lnTo>
                      <a:lnTo>
                        <a:pt x="468" y="1551"/>
                      </a:lnTo>
                      <a:lnTo>
                        <a:pt x="501" y="1584"/>
                      </a:lnTo>
                      <a:lnTo>
                        <a:pt x="547" y="1642"/>
                      </a:lnTo>
                      <a:lnTo>
                        <a:pt x="555" y="1647"/>
                      </a:lnTo>
                      <a:lnTo>
                        <a:pt x="564" y="1659"/>
                      </a:lnTo>
                      <a:lnTo>
                        <a:pt x="572" y="1688"/>
                      </a:lnTo>
                      <a:lnTo>
                        <a:pt x="576" y="1734"/>
                      </a:lnTo>
                      <a:lnTo>
                        <a:pt x="576" y="1767"/>
                      </a:lnTo>
                      <a:lnTo>
                        <a:pt x="580" y="1775"/>
                      </a:lnTo>
                      <a:lnTo>
                        <a:pt x="589" y="1775"/>
                      </a:lnTo>
                      <a:lnTo>
                        <a:pt x="589" y="1771"/>
                      </a:lnTo>
                      <a:lnTo>
                        <a:pt x="605" y="1746"/>
                      </a:lnTo>
                      <a:lnTo>
                        <a:pt x="626" y="1709"/>
                      </a:lnTo>
                      <a:lnTo>
                        <a:pt x="630" y="1692"/>
                      </a:lnTo>
                      <a:lnTo>
                        <a:pt x="634" y="1671"/>
                      </a:lnTo>
                      <a:lnTo>
                        <a:pt x="626" y="1647"/>
                      </a:lnTo>
                      <a:lnTo>
                        <a:pt x="613" y="1622"/>
                      </a:lnTo>
                      <a:lnTo>
                        <a:pt x="597" y="1593"/>
                      </a:lnTo>
                      <a:lnTo>
                        <a:pt x="589" y="1568"/>
                      </a:lnTo>
                      <a:lnTo>
                        <a:pt x="589" y="1543"/>
                      </a:lnTo>
                      <a:lnTo>
                        <a:pt x="642" y="1559"/>
                      </a:lnTo>
                      <a:close/>
                      <a:moveTo>
                        <a:pt x="373" y="635"/>
                      </a:moveTo>
                      <a:lnTo>
                        <a:pt x="373" y="635"/>
                      </a:lnTo>
                      <a:lnTo>
                        <a:pt x="381" y="614"/>
                      </a:lnTo>
                      <a:lnTo>
                        <a:pt x="389" y="597"/>
                      </a:lnTo>
                      <a:lnTo>
                        <a:pt x="394" y="597"/>
                      </a:lnTo>
                      <a:lnTo>
                        <a:pt x="398" y="610"/>
                      </a:lnTo>
                      <a:lnTo>
                        <a:pt x="406" y="630"/>
                      </a:lnTo>
                      <a:lnTo>
                        <a:pt x="414" y="676"/>
                      </a:lnTo>
                      <a:lnTo>
                        <a:pt x="414" y="701"/>
                      </a:lnTo>
                      <a:lnTo>
                        <a:pt x="394" y="668"/>
                      </a:lnTo>
                      <a:lnTo>
                        <a:pt x="373"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nvGrpSpPr>
                <p:cNvPr id="347" name="Gruppe 955"/>
                <p:cNvGrpSpPr>
                  <a:grpSpLocks/>
                </p:cNvGrpSpPr>
                <p:nvPr/>
              </p:nvGrpSpPr>
              <p:grpSpPr bwMode="auto">
                <a:xfrm>
                  <a:off x="1397000" y="2687274"/>
                  <a:ext cx="1411295" cy="3138853"/>
                  <a:chOff x="1397000" y="2687274"/>
                  <a:chExt cx="1411295" cy="3138852"/>
                </a:xfrm>
                <a:grpFill/>
              </p:grpSpPr>
              <p:sp>
                <p:nvSpPr>
                  <p:cNvPr id="348" name="Freeform 810"/>
                  <p:cNvSpPr>
                    <a:spLocks/>
                  </p:cNvSpPr>
                  <p:nvPr/>
                </p:nvSpPr>
                <p:spPr bwMode="auto">
                  <a:xfrm>
                    <a:off x="1396978" y="2687274"/>
                    <a:ext cx="1411317" cy="3140693"/>
                  </a:xfrm>
                  <a:custGeom>
                    <a:avLst/>
                    <a:gdLst>
                      <a:gd name="T0" fmla="*/ 2147483647 w 772"/>
                      <a:gd name="T1" fmla="*/ 2147483647 h 1717"/>
                      <a:gd name="T2" fmla="*/ 2147483647 w 772"/>
                      <a:gd name="T3" fmla="*/ 2147483647 h 1717"/>
                      <a:gd name="T4" fmla="*/ 2147483647 w 772"/>
                      <a:gd name="T5" fmla="*/ 2147483647 h 1717"/>
                      <a:gd name="T6" fmla="*/ 2147483647 w 772"/>
                      <a:gd name="T7" fmla="*/ 2147483647 h 1717"/>
                      <a:gd name="T8" fmla="*/ 2147483647 w 772"/>
                      <a:gd name="T9" fmla="*/ 2147483647 h 1717"/>
                      <a:gd name="T10" fmla="*/ 2147483647 w 772"/>
                      <a:gd name="T11" fmla="*/ 2147483647 h 1717"/>
                      <a:gd name="T12" fmla="*/ 2147483647 w 772"/>
                      <a:gd name="T13" fmla="*/ 2147483647 h 1717"/>
                      <a:gd name="T14" fmla="*/ 2147483647 w 772"/>
                      <a:gd name="T15" fmla="*/ 2147483647 h 1717"/>
                      <a:gd name="T16" fmla="*/ 2147483647 w 772"/>
                      <a:gd name="T17" fmla="*/ 2147483647 h 1717"/>
                      <a:gd name="T18" fmla="*/ 2147483647 w 772"/>
                      <a:gd name="T19" fmla="*/ 2147483647 h 1717"/>
                      <a:gd name="T20" fmla="*/ 2147483647 w 772"/>
                      <a:gd name="T21" fmla="*/ 2147483647 h 1717"/>
                      <a:gd name="T22" fmla="*/ 2147483647 w 772"/>
                      <a:gd name="T23" fmla="*/ 2147483647 h 1717"/>
                      <a:gd name="T24" fmla="*/ 2147483647 w 772"/>
                      <a:gd name="T25" fmla="*/ 2147483647 h 1717"/>
                      <a:gd name="T26" fmla="*/ 2147483647 w 772"/>
                      <a:gd name="T27" fmla="*/ 2147483647 h 1717"/>
                      <a:gd name="T28" fmla="*/ 2147483647 w 772"/>
                      <a:gd name="T29" fmla="*/ 2147483647 h 1717"/>
                      <a:gd name="T30" fmla="*/ 2147483647 w 772"/>
                      <a:gd name="T31" fmla="*/ 2147483647 h 1717"/>
                      <a:gd name="T32" fmla="*/ 2147483647 w 772"/>
                      <a:gd name="T33" fmla="*/ 2147483647 h 1717"/>
                      <a:gd name="T34" fmla="*/ 2147483647 w 772"/>
                      <a:gd name="T35" fmla="*/ 2147483647 h 1717"/>
                      <a:gd name="T36" fmla="*/ 2147483647 w 772"/>
                      <a:gd name="T37" fmla="*/ 2147483647 h 1717"/>
                      <a:gd name="T38" fmla="*/ 2147483647 w 772"/>
                      <a:gd name="T39" fmla="*/ 2147483647 h 1717"/>
                      <a:gd name="T40" fmla="*/ 2147483647 w 772"/>
                      <a:gd name="T41" fmla="*/ 2147483647 h 1717"/>
                      <a:gd name="T42" fmla="*/ 2147483647 w 772"/>
                      <a:gd name="T43" fmla="*/ 2147483647 h 1717"/>
                      <a:gd name="T44" fmla="*/ 2147483647 w 772"/>
                      <a:gd name="T45" fmla="*/ 2147483647 h 1717"/>
                      <a:gd name="T46" fmla="*/ 2147483647 w 772"/>
                      <a:gd name="T47" fmla="*/ 2147483647 h 1717"/>
                      <a:gd name="T48" fmla="*/ 2147483647 w 772"/>
                      <a:gd name="T49" fmla="*/ 2147483647 h 1717"/>
                      <a:gd name="T50" fmla="*/ 2147483647 w 772"/>
                      <a:gd name="T51" fmla="*/ 2147483647 h 1717"/>
                      <a:gd name="T52" fmla="*/ 2147483647 w 772"/>
                      <a:gd name="T53" fmla="*/ 2147483647 h 1717"/>
                      <a:gd name="T54" fmla="*/ 2147483647 w 772"/>
                      <a:gd name="T55" fmla="*/ 2147483647 h 1717"/>
                      <a:gd name="T56" fmla="*/ 2147483647 w 772"/>
                      <a:gd name="T57" fmla="*/ 2147483647 h 1717"/>
                      <a:gd name="T58" fmla="*/ 2147483647 w 772"/>
                      <a:gd name="T59" fmla="*/ 2147483647 h 1717"/>
                      <a:gd name="T60" fmla="*/ 2147483647 w 772"/>
                      <a:gd name="T61" fmla="*/ 2147483647 h 1717"/>
                      <a:gd name="T62" fmla="*/ 2147483647 w 772"/>
                      <a:gd name="T63" fmla="*/ 2147483647 h 1717"/>
                      <a:gd name="T64" fmla="*/ 2147483647 w 772"/>
                      <a:gd name="T65" fmla="*/ 2147483647 h 1717"/>
                      <a:gd name="T66" fmla="*/ 2147483647 w 772"/>
                      <a:gd name="T67" fmla="*/ 2147483647 h 1717"/>
                      <a:gd name="T68" fmla="*/ 2147483647 w 772"/>
                      <a:gd name="T69" fmla="*/ 2147483647 h 1717"/>
                      <a:gd name="T70" fmla="*/ 2147483647 w 772"/>
                      <a:gd name="T71" fmla="*/ 2147483647 h 1717"/>
                      <a:gd name="T72" fmla="*/ 2147483647 w 772"/>
                      <a:gd name="T73" fmla="*/ 2147483647 h 1717"/>
                      <a:gd name="T74" fmla="*/ 2147483647 w 772"/>
                      <a:gd name="T75" fmla="*/ 2147483647 h 1717"/>
                      <a:gd name="T76" fmla="*/ 2147483647 w 772"/>
                      <a:gd name="T77" fmla="*/ 2147483647 h 1717"/>
                      <a:gd name="T78" fmla="*/ 2147483647 w 772"/>
                      <a:gd name="T79" fmla="*/ 2147483647 h 1717"/>
                      <a:gd name="T80" fmla="*/ 2147483647 w 772"/>
                      <a:gd name="T81" fmla="*/ 2147483647 h 1717"/>
                      <a:gd name="T82" fmla="*/ 2147483647 w 772"/>
                      <a:gd name="T83" fmla="*/ 2147483647 h 1717"/>
                      <a:gd name="T84" fmla="*/ 2147483647 w 772"/>
                      <a:gd name="T85" fmla="*/ 2147483647 h 1717"/>
                      <a:gd name="T86" fmla="*/ 2147483647 w 772"/>
                      <a:gd name="T87" fmla="*/ 2147483647 h 1717"/>
                      <a:gd name="T88" fmla="*/ 2147483647 w 772"/>
                      <a:gd name="T89" fmla="*/ 2147483647 h 1717"/>
                      <a:gd name="T90" fmla="*/ 2147483647 w 772"/>
                      <a:gd name="T91" fmla="*/ 2147483647 h 1717"/>
                      <a:gd name="T92" fmla="*/ 2147483647 w 772"/>
                      <a:gd name="T93" fmla="*/ 2147483647 h 1717"/>
                      <a:gd name="T94" fmla="*/ 2147483647 w 772"/>
                      <a:gd name="T95" fmla="*/ 2147483647 h 1717"/>
                      <a:gd name="T96" fmla="*/ 2147483647 w 772"/>
                      <a:gd name="T97" fmla="*/ 2147483647 h 1717"/>
                      <a:gd name="T98" fmla="*/ 2147483647 w 772"/>
                      <a:gd name="T99" fmla="*/ 2147483647 h 1717"/>
                      <a:gd name="T100" fmla="*/ 2147483647 w 772"/>
                      <a:gd name="T101" fmla="*/ 2147483647 h 1717"/>
                      <a:gd name="T102" fmla="*/ 2147483647 w 772"/>
                      <a:gd name="T103" fmla="*/ 2147483647 h 1717"/>
                      <a:gd name="T104" fmla="*/ 2147483647 w 772"/>
                      <a:gd name="T105" fmla="*/ 2147483647 h 1717"/>
                      <a:gd name="T106" fmla="*/ 2147483647 w 772"/>
                      <a:gd name="T107" fmla="*/ 2147483647 h 17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2"/>
                      <a:gd name="T163" fmla="*/ 0 h 1717"/>
                      <a:gd name="T164" fmla="*/ 772 w 772"/>
                      <a:gd name="T165" fmla="*/ 1717 h 17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2" h="1717">
                        <a:moveTo>
                          <a:pt x="498" y="502"/>
                        </a:moveTo>
                        <a:lnTo>
                          <a:pt x="498" y="502"/>
                        </a:lnTo>
                        <a:lnTo>
                          <a:pt x="502" y="535"/>
                        </a:lnTo>
                        <a:lnTo>
                          <a:pt x="502" y="551"/>
                        </a:lnTo>
                        <a:lnTo>
                          <a:pt x="498" y="576"/>
                        </a:lnTo>
                        <a:lnTo>
                          <a:pt x="477" y="639"/>
                        </a:lnTo>
                        <a:lnTo>
                          <a:pt x="465" y="663"/>
                        </a:lnTo>
                        <a:lnTo>
                          <a:pt x="457" y="680"/>
                        </a:lnTo>
                        <a:lnTo>
                          <a:pt x="452" y="692"/>
                        </a:lnTo>
                        <a:lnTo>
                          <a:pt x="444" y="713"/>
                        </a:lnTo>
                        <a:lnTo>
                          <a:pt x="440" y="742"/>
                        </a:lnTo>
                        <a:lnTo>
                          <a:pt x="440" y="755"/>
                        </a:lnTo>
                        <a:lnTo>
                          <a:pt x="440" y="771"/>
                        </a:lnTo>
                        <a:lnTo>
                          <a:pt x="428" y="788"/>
                        </a:lnTo>
                        <a:lnTo>
                          <a:pt x="423" y="796"/>
                        </a:lnTo>
                        <a:lnTo>
                          <a:pt x="423" y="809"/>
                        </a:lnTo>
                        <a:lnTo>
                          <a:pt x="423" y="892"/>
                        </a:lnTo>
                        <a:lnTo>
                          <a:pt x="415" y="900"/>
                        </a:lnTo>
                        <a:lnTo>
                          <a:pt x="411" y="908"/>
                        </a:lnTo>
                        <a:lnTo>
                          <a:pt x="436" y="904"/>
                        </a:lnTo>
                        <a:lnTo>
                          <a:pt x="440" y="904"/>
                        </a:lnTo>
                        <a:lnTo>
                          <a:pt x="448" y="908"/>
                        </a:lnTo>
                        <a:lnTo>
                          <a:pt x="457" y="912"/>
                        </a:lnTo>
                        <a:lnTo>
                          <a:pt x="610" y="1099"/>
                        </a:lnTo>
                        <a:lnTo>
                          <a:pt x="614" y="1103"/>
                        </a:lnTo>
                        <a:lnTo>
                          <a:pt x="622" y="1120"/>
                        </a:lnTo>
                        <a:lnTo>
                          <a:pt x="627" y="1128"/>
                        </a:lnTo>
                        <a:lnTo>
                          <a:pt x="627" y="1140"/>
                        </a:lnTo>
                        <a:lnTo>
                          <a:pt x="627" y="1149"/>
                        </a:lnTo>
                        <a:lnTo>
                          <a:pt x="614" y="1161"/>
                        </a:lnTo>
                        <a:lnTo>
                          <a:pt x="552" y="1227"/>
                        </a:lnTo>
                        <a:lnTo>
                          <a:pt x="585" y="1269"/>
                        </a:lnTo>
                        <a:lnTo>
                          <a:pt x="618" y="1302"/>
                        </a:lnTo>
                        <a:lnTo>
                          <a:pt x="631" y="1315"/>
                        </a:lnTo>
                        <a:lnTo>
                          <a:pt x="647" y="1319"/>
                        </a:lnTo>
                        <a:lnTo>
                          <a:pt x="660" y="1327"/>
                        </a:lnTo>
                        <a:lnTo>
                          <a:pt x="668" y="1339"/>
                        </a:lnTo>
                        <a:lnTo>
                          <a:pt x="676" y="1348"/>
                        </a:lnTo>
                        <a:lnTo>
                          <a:pt x="681" y="1360"/>
                        </a:lnTo>
                        <a:lnTo>
                          <a:pt x="693" y="1360"/>
                        </a:lnTo>
                        <a:lnTo>
                          <a:pt x="701" y="1360"/>
                        </a:lnTo>
                        <a:lnTo>
                          <a:pt x="730" y="1364"/>
                        </a:lnTo>
                        <a:lnTo>
                          <a:pt x="747" y="1373"/>
                        </a:lnTo>
                        <a:lnTo>
                          <a:pt x="755" y="1381"/>
                        </a:lnTo>
                        <a:lnTo>
                          <a:pt x="755" y="1385"/>
                        </a:lnTo>
                        <a:lnTo>
                          <a:pt x="759" y="1422"/>
                        </a:lnTo>
                        <a:lnTo>
                          <a:pt x="764" y="1443"/>
                        </a:lnTo>
                        <a:lnTo>
                          <a:pt x="751" y="1443"/>
                        </a:lnTo>
                        <a:lnTo>
                          <a:pt x="755" y="1472"/>
                        </a:lnTo>
                        <a:lnTo>
                          <a:pt x="764" y="1497"/>
                        </a:lnTo>
                        <a:lnTo>
                          <a:pt x="768" y="1514"/>
                        </a:lnTo>
                        <a:lnTo>
                          <a:pt x="772" y="1534"/>
                        </a:lnTo>
                        <a:lnTo>
                          <a:pt x="768" y="1555"/>
                        </a:lnTo>
                        <a:lnTo>
                          <a:pt x="759" y="1597"/>
                        </a:lnTo>
                        <a:lnTo>
                          <a:pt x="747" y="1630"/>
                        </a:lnTo>
                        <a:lnTo>
                          <a:pt x="739" y="1646"/>
                        </a:lnTo>
                        <a:lnTo>
                          <a:pt x="739" y="1651"/>
                        </a:lnTo>
                        <a:lnTo>
                          <a:pt x="726" y="1663"/>
                        </a:lnTo>
                        <a:lnTo>
                          <a:pt x="722" y="1667"/>
                        </a:lnTo>
                        <a:lnTo>
                          <a:pt x="714" y="1671"/>
                        </a:lnTo>
                        <a:lnTo>
                          <a:pt x="701" y="1671"/>
                        </a:lnTo>
                        <a:lnTo>
                          <a:pt x="689" y="1671"/>
                        </a:lnTo>
                        <a:lnTo>
                          <a:pt x="681" y="1659"/>
                        </a:lnTo>
                        <a:lnTo>
                          <a:pt x="676" y="1642"/>
                        </a:lnTo>
                        <a:lnTo>
                          <a:pt x="672" y="1622"/>
                        </a:lnTo>
                        <a:lnTo>
                          <a:pt x="664" y="1580"/>
                        </a:lnTo>
                        <a:lnTo>
                          <a:pt x="660" y="1563"/>
                        </a:lnTo>
                        <a:lnTo>
                          <a:pt x="660" y="1551"/>
                        </a:lnTo>
                        <a:lnTo>
                          <a:pt x="656" y="1510"/>
                        </a:lnTo>
                        <a:lnTo>
                          <a:pt x="652" y="1501"/>
                        </a:lnTo>
                        <a:lnTo>
                          <a:pt x="647" y="1497"/>
                        </a:lnTo>
                        <a:lnTo>
                          <a:pt x="643" y="1493"/>
                        </a:lnTo>
                        <a:lnTo>
                          <a:pt x="635" y="1493"/>
                        </a:lnTo>
                        <a:lnTo>
                          <a:pt x="627" y="1493"/>
                        </a:lnTo>
                        <a:lnTo>
                          <a:pt x="614" y="1489"/>
                        </a:lnTo>
                        <a:lnTo>
                          <a:pt x="598" y="1472"/>
                        </a:lnTo>
                        <a:lnTo>
                          <a:pt x="548" y="1427"/>
                        </a:lnTo>
                        <a:lnTo>
                          <a:pt x="511" y="1398"/>
                        </a:lnTo>
                        <a:lnTo>
                          <a:pt x="432" y="1331"/>
                        </a:lnTo>
                        <a:lnTo>
                          <a:pt x="378" y="1393"/>
                        </a:lnTo>
                        <a:lnTo>
                          <a:pt x="369" y="1398"/>
                        </a:lnTo>
                        <a:lnTo>
                          <a:pt x="357" y="1402"/>
                        </a:lnTo>
                        <a:lnTo>
                          <a:pt x="349" y="1402"/>
                        </a:lnTo>
                        <a:lnTo>
                          <a:pt x="336" y="1398"/>
                        </a:lnTo>
                        <a:lnTo>
                          <a:pt x="324" y="1393"/>
                        </a:lnTo>
                        <a:lnTo>
                          <a:pt x="307" y="1381"/>
                        </a:lnTo>
                        <a:lnTo>
                          <a:pt x="274" y="1344"/>
                        </a:lnTo>
                        <a:lnTo>
                          <a:pt x="287" y="1451"/>
                        </a:lnTo>
                        <a:lnTo>
                          <a:pt x="295" y="1526"/>
                        </a:lnTo>
                        <a:lnTo>
                          <a:pt x="303" y="1563"/>
                        </a:lnTo>
                        <a:lnTo>
                          <a:pt x="307" y="1580"/>
                        </a:lnTo>
                        <a:lnTo>
                          <a:pt x="311" y="1609"/>
                        </a:lnTo>
                        <a:lnTo>
                          <a:pt x="316" y="1646"/>
                        </a:lnTo>
                        <a:lnTo>
                          <a:pt x="316" y="1713"/>
                        </a:lnTo>
                        <a:lnTo>
                          <a:pt x="237" y="1713"/>
                        </a:lnTo>
                        <a:lnTo>
                          <a:pt x="237" y="1696"/>
                        </a:lnTo>
                        <a:lnTo>
                          <a:pt x="224" y="1696"/>
                        </a:lnTo>
                        <a:lnTo>
                          <a:pt x="199" y="1700"/>
                        </a:lnTo>
                        <a:lnTo>
                          <a:pt x="183" y="1709"/>
                        </a:lnTo>
                        <a:lnTo>
                          <a:pt x="179" y="1713"/>
                        </a:lnTo>
                        <a:lnTo>
                          <a:pt x="170" y="1717"/>
                        </a:lnTo>
                        <a:lnTo>
                          <a:pt x="92" y="1717"/>
                        </a:lnTo>
                        <a:lnTo>
                          <a:pt x="38" y="1717"/>
                        </a:lnTo>
                        <a:lnTo>
                          <a:pt x="17" y="1717"/>
                        </a:lnTo>
                        <a:lnTo>
                          <a:pt x="9" y="1713"/>
                        </a:lnTo>
                        <a:lnTo>
                          <a:pt x="4" y="1709"/>
                        </a:lnTo>
                        <a:lnTo>
                          <a:pt x="0" y="1696"/>
                        </a:lnTo>
                        <a:lnTo>
                          <a:pt x="4" y="1684"/>
                        </a:lnTo>
                        <a:lnTo>
                          <a:pt x="9" y="1680"/>
                        </a:lnTo>
                        <a:lnTo>
                          <a:pt x="29" y="1675"/>
                        </a:lnTo>
                        <a:lnTo>
                          <a:pt x="58" y="1671"/>
                        </a:lnTo>
                        <a:lnTo>
                          <a:pt x="75" y="1667"/>
                        </a:lnTo>
                        <a:lnTo>
                          <a:pt x="104" y="1659"/>
                        </a:lnTo>
                        <a:lnTo>
                          <a:pt x="125" y="1646"/>
                        </a:lnTo>
                        <a:lnTo>
                          <a:pt x="133" y="1638"/>
                        </a:lnTo>
                        <a:lnTo>
                          <a:pt x="137" y="1630"/>
                        </a:lnTo>
                        <a:lnTo>
                          <a:pt x="137" y="1609"/>
                        </a:lnTo>
                        <a:lnTo>
                          <a:pt x="137" y="1588"/>
                        </a:lnTo>
                        <a:lnTo>
                          <a:pt x="133" y="1572"/>
                        </a:lnTo>
                        <a:lnTo>
                          <a:pt x="129" y="1480"/>
                        </a:lnTo>
                        <a:lnTo>
                          <a:pt x="125" y="1431"/>
                        </a:lnTo>
                        <a:lnTo>
                          <a:pt x="116" y="1406"/>
                        </a:lnTo>
                        <a:lnTo>
                          <a:pt x="108" y="1389"/>
                        </a:lnTo>
                        <a:lnTo>
                          <a:pt x="108" y="1381"/>
                        </a:lnTo>
                        <a:lnTo>
                          <a:pt x="104" y="1369"/>
                        </a:lnTo>
                        <a:lnTo>
                          <a:pt x="100" y="1335"/>
                        </a:lnTo>
                        <a:lnTo>
                          <a:pt x="100" y="1269"/>
                        </a:lnTo>
                        <a:lnTo>
                          <a:pt x="96" y="1232"/>
                        </a:lnTo>
                        <a:lnTo>
                          <a:pt x="96" y="1207"/>
                        </a:lnTo>
                        <a:lnTo>
                          <a:pt x="92" y="1132"/>
                        </a:lnTo>
                        <a:lnTo>
                          <a:pt x="92" y="1066"/>
                        </a:lnTo>
                        <a:lnTo>
                          <a:pt x="92" y="1033"/>
                        </a:lnTo>
                        <a:lnTo>
                          <a:pt x="96" y="995"/>
                        </a:lnTo>
                        <a:lnTo>
                          <a:pt x="100" y="970"/>
                        </a:lnTo>
                        <a:lnTo>
                          <a:pt x="100" y="954"/>
                        </a:lnTo>
                        <a:lnTo>
                          <a:pt x="96" y="945"/>
                        </a:lnTo>
                        <a:lnTo>
                          <a:pt x="87" y="937"/>
                        </a:lnTo>
                        <a:lnTo>
                          <a:pt x="79" y="933"/>
                        </a:lnTo>
                        <a:lnTo>
                          <a:pt x="87" y="871"/>
                        </a:lnTo>
                        <a:lnTo>
                          <a:pt x="100" y="821"/>
                        </a:lnTo>
                        <a:lnTo>
                          <a:pt x="112" y="775"/>
                        </a:lnTo>
                        <a:lnTo>
                          <a:pt x="116" y="759"/>
                        </a:lnTo>
                        <a:lnTo>
                          <a:pt x="121" y="738"/>
                        </a:lnTo>
                        <a:lnTo>
                          <a:pt x="125" y="697"/>
                        </a:lnTo>
                        <a:lnTo>
                          <a:pt x="125" y="643"/>
                        </a:lnTo>
                        <a:lnTo>
                          <a:pt x="129" y="572"/>
                        </a:lnTo>
                        <a:lnTo>
                          <a:pt x="112" y="493"/>
                        </a:lnTo>
                        <a:lnTo>
                          <a:pt x="100" y="406"/>
                        </a:lnTo>
                        <a:lnTo>
                          <a:pt x="104" y="398"/>
                        </a:lnTo>
                        <a:lnTo>
                          <a:pt x="112" y="386"/>
                        </a:lnTo>
                        <a:lnTo>
                          <a:pt x="146" y="348"/>
                        </a:lnTo>
                        <a:lnTo>
                          <a:pt x="187" y="298"/>
                        </a:lnTo>
                        <a:lnTo>
                          <a:pt x="179" y="265"/>
                        </a:lnTo>
                        <a:lnTo>
                          <a:pt x="170" y="245"/>
                        </a:lnTo>
                        <a:lnTo>
                          <a:pt x="166" y="236"/>
                        </a:lnTo>
                        <a:lnTo>
                          <a:pt x="150" y="240"/>
                        </a:lnTo>
                        <a:lnTo>
                          <a:pt x="141" y="240"/>
                        </a:lnTo>
                        <a:lnTo>
                          <a:pt x="133" y="240"/>
                        </a:lnTo>
                        <a:lnTo>
                          <a:pt x="129" y="232"/>
                        </a:lnTo>
                        <a:lnTo>
                          <a:pt x="108" y="199"/>
                        </a:lnTo>
                        <a:lnTo>
                          <a:pt x="96" y="166"/>
                        </a:lnTo>
                        <a:lnTo>
                          <a:pt x="92" y="157"/>
                        </a:lnTo>
                        <a:lnTo>
                          <a:pt x="92" y="137"/>
                        </a:lnTo>
                        <a:lnTo>
                          <a:pt x="87" y="128"/>
                        </a:lnTo>
                        <a:lnTo>
                          <a:pt x="87" y="124"/>
                        </a:lnTo>
                        <a:lnTo>
                          <a:pt x="79" y="116"/>
                        </a:lnTo>
                        <a:lnTo>
                          <a:pt x="79" y="91"/>
                        </a:lnTo>
                        <a:lnTo>
                          <a:pt x="79" y="70"/>
                        </a:lnTo>
                        <a:lnTo>
                          <a:pt x="79" y="58"/>
                        </a:lnTo>
                        <a:lnTo>
                          <a:pt x="87" y="41"/>
                        </a:lnTo>
                        <a:lnTo>
                          <a:pt x="87" y="37"/>
                        </a:lnTo>
                        <a:lnTo>
                          <a:pt x="92" y="25"/>
                        </a:lnTo>
                        <a:lnTo>
                          <a:pt x="96" y="21"/>
                        </a:lnTo>
                        <a:lnTo>
                          <a:pt x="104" y="12"/>
                        </a:lnTo>
                        <a:lnTo>
                          <a:pt x="112" y="8"/>
                        </a:lnTo>
                        <a:lnTo>
                          <a:pt x="129" y="4"/>
                        </a:lnTo>
                        <a:lnTo>
                          <a:pt x="154" y="0"/>
                        </a:lnTo>
                        <a:lnTo>
                          <a:pt x="191" y="0"/>
                        </a:lnTo>
                        <a:lnTo>
                          <a:pt x="208" y="0"/>
                        </a:lnTo>
                        <a:lnTo>
                          <a:pt x="224" y="8"/>
                        </a:lnTo>
                        <a:lnTo>
                          <a:pt x="237" y="16"/>
                        </a:lnTo>
                        <a:lnTo>
                          <a:pt x="249" y="33"/>
                        </a:lnTo>
                        <a:lnTo>
                          <a:pt x="262" y="62"/>
                        </a:lnTo>
                        <a:lnTo>
                          <a:pt x="270" y="91"/>
                        </a:lnTo>
                        <a:lnTo>
                          <a:pt x="274" y="112"/>
                        </a:lnTo>
                        <a:lnTo>
                          <a:pt x="270" y="124"/>
                        </a:lnTo>
                        <a:lnTo>
                          <a:pt x="266" y="137"/>
                        </a:lnTo>
                        <a:lnTo>
                          <a:pt x="262" y="157"/>
                        </a:lnTo>
                        <a:lnTo>
                          <a:pt x="262" y="178"/>
                        </a:lnTo>
                        <a:lnTo>
                          <a:pt x="266" y="186"/>
                        </a:lnTo>
                        <a:lnTo>
                          <a:pt x="274" y="195"/>
                        </a:lnTo>
                        <a:lnTo>
                          <a:pt x="287" y="203"/>
                        </a:lnTo>
                        <a:lnTo>
                          <a:pt x="299" y="211"/>
                        </a:lnTo>
                        <a:lnTo>
                          <a:pt x="311" y="220"/>
                        </a:lnTo>
                        <a:lnTo>
                          <a:pt x="361" y="228"/>
                        </a:lnTo>
                        <a:lnTo>
                          <a:pt x="382" y="232"/>
                        </a:lnTo>
                        <a:lnTo>
                          <a:pt x="399" y="236"/>
                        </a:lnTo>
                        <a:lnTo>
                          <a:pt x="415" y="249"/>
                        </a:lnTo>
                        <a:lnTo>
                          <a:pt x="428" y="269"/>
                        </a:lnTo>
                        <a:lnTo>
                          <a:pt x="440" y="294"/>
                        </a:lnTo>
                        <a:lnTo>
                          <a:pt x="452" y="319"/>
                        </a:lnTo>
                        <a:lnTo>
                          <a:pt x="457" y="340"/>
                        </a:lnTo>
                        <a:lnTo>
                          <a:pt x="461" y="365"/>
                        </a:lnTo>
                        <a:lnTo>
                          <a:pt x="469" y="402"/>
                        </a:lnTo>
                        <a:lnTo>
                          <a:pt x="486" y="448"/>
                        </a:lnTo>
                        <a:lnTo>
                          <a:pt x="498" y="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349" name="Freeform 813"/>
                  <p:cNvSpPr>
                    <a:spLocks/>
                  </p:cNvSpPr>
                  <p:nvPr/>
                </p:nvSpPr>
                <p:spPr bwMode="auto">
                  <a:xfrm>
                    <a:off x="1660525" y="3389313"/>
                    <a:ext cx="177800" cy="376238"/>
                  </a:xfrm>
                  <a:custGeom>
                    <a:avLst/>
                    <a:gdLst>
                      <a:gd name="T0" fmla="*/ 0 w 112"/>
                      <a:gd name="T1" fmla="*/ 2147483647 h 237"/>
                      <a:gd name="T2" fmla="*/ 0 w 112"/>
                      <a:gd name="T3" fmla="*/ 2147483647 h 237"/>
                      <a:gd name="T4" fmla="*/ 2147483647 w 112"/>
                      <a:gd name="T5" fmla="*/ 2147483647 h 237"/>
                      <a:gd name="T6" fmla="*/ 0 w 112"/>
                      <a:gd name="T7" fmla="*/ 2147483647 h 237"/>
                      <a:gd name="T8" fmla="*/ 0 w 112"/>
                      <a:gd name="T9" fmla="*/ 2147483647 h 237"/>
                      <a:gd name="T10" fmla="*/ 0 w 112"/>
                      <a:gd name="T11" fmla="*/ 2147483647 h 237"/>
                      <a:gd name="T12" fmla="*/ 2147483647 w 112"/>
                      <a:gd name="T13" fmla="*/ 2147483647 h 237"/>
                      <a:gd name="T14" fmla="*/ 2147483647 w 112"/>
                      <a:gd name="T15" fmla="*/ 2147483647 h 237"/>
                      <a:gd name="T16" fmla="*/ 2147483647 w 112"/>
                      <a:gd name="T17" fmla="*/ 2147483647 h 237"/>
                      <a:gd name="T18" fmla="*/ 2147483647 w 112"/>
                      <a:gd name="T19" fmla="*/ 2147483647 h 237"/>
                      <a:gd name="T20" fmla="*/ 2147483647 w 112"/>
                      <a:gd name="T21" fmla="*/ 0 h 237"/>
                      <a:gd name="T22" fmla="*/ 2147483647 w 112"/>
                      <a:gd name="T23" fmla="*/ 0 h 237"/>
                      <a:gd name="T24" fmla="*/ 2147483647 w 112"/>
                      <a:gd name="T25" fmla="*/ 2147483647 h 237"/>
                      <a:gd name="T26" fmla="*/ 2147483647 w 112"/>
                      <a:gd name="T27" fmla="*/ 2147483647 h 237"/>
                      <a:gd name="T28" fmla="*/ 2147483647 w 112"/>
                      <a:gd name="T29" fmla="*/ 2147483647 h 237"/>
                      <a:gd name="T30" fmla="*/ 2147483647 w 112"/>
                      <a:gd name="T31" fmla="*/ 2147483647 h 237"/>
                      <a:gd name="T32" fmla="*/ 2147483647 w 112"/>
                      <a:gd name="T33" fmla="*/ 2147483647 h 237"/>
                      <a:gd name="T34" fmla="*/ 2147483647 w 112"/>
                      <a:gd name="T35" fmla="*/ 2147483647 h 237"/>
                      <a:gd name="T36" fmla="*/ 0 w 112"/>
                      <a:gd name="T37" fmla="*/ 2147483647 h 237"/>
                      <a:gd name="T38" fmla="*/ 0 w 112"/>
                      <a:gd name="T39" fmla="*/ 2147483647 h 2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237"/>
                      <a:gd name="T62" fmla="*/ 112 w 112"/>
                      <a:gd name="T63" fmla="*/ 237 h 2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237">
                        <a:moveTo>
                          <a:pt x="0" y="71"/>
                        </a:moveTo>
                        <a:lnTo>
                          <a:pt x="0" y="71"/>
                        </a:lnTo>
                        <a:lnTo>
                          <a:pt x="4" y="112"/>
                        </a:lnTo>
                        <a:lnTo>
                          <a:pt x="0" y="166"/>
                        </a:lnTo>
                        <a:lnTo>
                          <a:pt x="0" y="237"/>
                        </a:lnTo>
                        <a:lnTo>
                          <a:pt x="42" y="141"/>
                        </a:lnTo>
                        <a:lnTo>
                          <a:pt x="79" y="67"/>
                        </a:lnTo>
                        <a:lnTo>
                          <a:pt x="96" y="34"/>
                        </a:lnTo>
                        <a:lnTo>
                          <a:pt x="112" y="17"/>
                        </a:lnTo>
                        <a:lnTo>
                          <a:pt x="104" y="0"/>
                        </a:lnTo>
                        <a:lnTo>
                          <a:pt x="67" y="34"/>
                        </a:lnTo>
                        <a:lnTo>
                          <a:pt x="42" y="54"/>
                        </a:lnTo>
                        <a:lnTo>
                          <a:pt x="25" y="67"/>
                        </a:lnTo>
                        <a:lnTo>
                          <a:pt x="17" y="67"/>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350" name="Freeform 817"/>
                  <p:cNvSpPr>
                    <a:spLocks/>
                  </p:cNvSpPr>
                  <p:nvPr/>
                </p:nvSpPr>
                <p:spPr bwMode="auto">
                  <a:xfrm>
                    <a:off x="1641475" y="3502026"/>
                    <a:ext cx="92075" cy="282575"/>
                  </a:xfrm>
                  <a:custGeom>
                    <a:avLst/>
                    <a:gdLst>
                      <a:gd name="T0" fmla="*/ 2147483647 w 58"/>
                      <a:gd name="T1" fmla="*/ 0 h 178"/>
                      <a:gd name="T2" fmla="*/ 2147483647 w 58"/>
                      <a:gd name="T3" fmla="*/ 2147483647 h 178"/>
                      <a:gd name="T4" fmla="*/ 2147483647 w 58"/>
                      <a:gd name="T5" fmla="*/ 2147483647 h 178"/>
                      <a:gd name="T6" fmla="*/ 0 w 58"/>
                      <a:gd name="T7" fmla="*/ 2147483647 h 178"/>
                      <a:gd name="T8" fmla="*/ 2147483647 w 58"/>
                      <a:gd name="T9" fmla="*/ 2147483647 h 178"/>
                      <a:gd name="T10" fmla="*/ 2147483647 w 58"/>
                      <a:gd name="T11" fmla="*/ 2147483647 h 178"/>
                      <a:gd name="T12" fmla="*/ 2147483647 w 58"/>
                      <a:gd name="T13" fmla="*/ 2147483647 h 178"/>
                      <a:gd name="T14" fmla="*/ 2147483647 w 58"/>
                      <a:gd name="T15" fmla="*/ 2147483647 h 178"/>
                      <a:gd name="T16" fmla="*/ 2147483647 w 58"/>
                      <a:gd name="T17" fmla="*/ 2147483647 h 178"/>
                      <a:gd name="T18" fmla="*/ 2147483647 w 58"/>
                      <a:gd name="T19" fmla="*/ 0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178"/>
                      <a:gd name="T32" fmla="*/ 58 w 5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178">
                        <a:moveTo>
                          <a:pt x="33" y="0"/>
                        </a:moveTo>
                        <a:lnTo>
                          <a:pt x="21" y="29"/>
                        </a:lnTo>
                        <a:lnTo>
                          <a:pt x="29" y="45"/>
                        </a:lnTo>
                        <a:lnTo>
                          <a:pt x="0" y="133"/>
                        </a:lnTo>
                        <a:lnTo>
                          <a:pt x="12" y="178"/>
                        </a:lnTo>
                        <a:lnTo>
                          <a:pt x="21" y="170"/>
                        </a:lnTo>
                        <a:lnTo>
                          <a:pt x="58" y="79"/>
                        </a:lnTo>
                        <a:lnTo>
                          <a:pt x="33" y="45"/>
                        </a:lnTo>
                        <a:lnTo>
                          <a:pt x="41" y="33"/>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grpSp>
            <p:nvGrpSpPr>
              <p:cNvPr id="330" name="Group 7"/>
              <p:cNvGrpSpPr>
                <a:grpSpLocks/>
              </p:cNvGrpSpPr>
              <p:nvPr/>
            </p:nvGrpSpPr>
            <p:grpSpPr bwMode="auto">
              <a:xfrm>
                <a:off x="5715000" y="4430713"/>
                <a:ext cx="777875" cy="781050"/>
                <a:chOff x="820738" y="1870075"/>
                <a:chExt cx="3594100" cy="3609976"/>
              </a:xfrm>
              <a:solidFill>
                <a:schemeClr val="bg1">
                  <a:lumMod val="85000"/>
                </a:schemeClr>
              </a:solidFill>
            </p:grpSpPr>
            <p:sp>
              <p:nvSpPr>
                <p:cNvPr id="344" name="Freeform 353"/>
                <p:cNvSpPr>
                  <a:spLocks/>
                </p:cNvSpPr>
                <p:nvPr/>
              </p:nvSpPr>
              <p:spPr bwMode="auto">
                <a:xfrm>
                  <a:off x="820738" y="1870075"/>
                  <a:ext cx="3594100" cy="3597274"/>
                </a:xfrm>
                <a:custGeom>
                  <a:avLst/>
                  <a:gdLst>
                    <a:gd name="T0" fmla="*/ 2147483647 w 2264"/>
                    <a:gd name="T1" fmla="*/ 2147483647 h 2266"/>
                    <a:gd name="T2" fmla="*/ 2147483647 w 2264"/>
                    <a:gd name="T3" fmla="*/ 2147483647 h 2266"/>
                    <a:gd name="T4" fmla="*/ 2147483647 w 2264"/>
                    <a:gd name="T5" fmla="*/ 2147483647 h 2266"/>
                    <a:gd name="T6" fmla="*/ 2147483647 w 2264"/>
                    <a:gd name="T7" fmla="*/ 2147483647 h 2266"/>
                    <a:gd name="T8" fmla="*/ 2147483647 w 2264"/>
                    <a:gd name="T9" fmla="*/ 2147483647 h 2266"/>
                    <a:gd name="T10" fmla="*/ 2147483647 w 2264"/>
                    <a:gd name="T11" fmla="*/ 2147483647 h 2266"/>
                    <a:gd name="T12" fmla="*/ 2147483647 w 2264"/>
                    <a:gd name="T13" fmla="*/ 2147483647 h 2266"/>
                    <a:gd name="T14" fmla="*/ 2147483647 w 2264"/>
                    <a:gd name="T15" fmla="*/ 2147483647 h 2266"/>
                    <a:gd name="T16" fmla="*/ 2147483647 w 2264"/>
                    <a:gd name="T17" fmla="*/ 2147483647 h 2266"/>
                    <a:gd name="T18" fmla="*/ 2147483647 w 2264"/>
                    <a:gd name="T19" fmla="*/ 2147483647 h 2266"/>
                    <a:gd name="T20" fmla="*/ 2147483647 w 2264"/>
                    <a:gd name="T21" fmla="*/ 2147483647 h 2266"/>
                    <a:gd name="T22" fmla="*/ 2147483647 w 2264"/>
                    <a:gd name="T23" fmla="*/ 2147483647 h 2266"/>
                    <a:gd name="T24" fmla="*/ 2147483647 w 2264"/>
                    <a:gd name="T25" fmla="*/ 2147483647 h 2266"/>
                    <a:gd name="T26" fmla="*/ 2147483647 w 2264"/>
                    <a:gd name="T27" fmla="*/ 2147483647 h 2266"/>
                    <a:gd name="T28" fmla="*/ 2147483647 w 2264"/>
                    <a:gd name="T29" fmla="*/ 2147483647 h 2266"/>
                    <a:gd name="T30" fmla="*/ 2147483647 w 2264"/>
                    <a:gd name="T31" fmla="*/ 2147483647 h 2266"/>
                    <a:gd name="T32" fmla="*/ 2147483647 w 2264"/>
                    <a:gd name="T33" fmla="*/ 2147483647 h 2266"/>
                    <a:gd name="T34" fmla="*/ 2147483647 w 2264"/>
                    <a:gd name="T35" fmla="*/ 2147483647 h 2266"/>
                    <a:gd name="T36" fmla="*/ 2147483647 w 2264"/>
                    <a:gd name="T37" fmla="*/ 2147483647 h 2266"/>
                    <a:gd name="T38" fmla="*/ 2147483647 w 2264"/>
                    <a:gd name="T39" fmla="*/ 2147483647 h 2266"/>
                    <a:gd name="T40" fmla="*/ 2147483647 w 2264"/>
                    <a:gd name="T41" fmla="*/ 2147483647 h 2266"/>
                    <a:gd name="T42" fmla="*/ 0 w 2264"/>
                    <a:gd name="T43" fmla="*/ 2147483647 h 2266"/>
                    <a:gd name="T44" fmla="*/ 2147483647 w 2264"/>
                    <a:gd name="T45" fmla="*/ 2147483647 h 2266"/>
                    <a:gd name="T46" fmla="*/ 2147483647 w 2264"/>
                    <a:gd name="T47" fmla="*/ 2147483647 h 2266"/>
                    <a:gd name="T48" fmla="*/ 2147483647 w 2264"/>
                    <a:gd name="T49" fmla="*/ 2147483647 h 2266"/>
                    <a:gd name="T50" fmla="*/ 2147483647 w 2264"/>
                    <a:gd name="T51" fmla="*/ 2147483647 h 2266"/>
                    <a:gd name="T52" fmla="*/ 2147483647 w 2264"/>
                    <a:gd name="T53" fmla="*/ 2147483647 h 2266"/>
                    <a:gd name="T54" fmla="*/ 2147483647 w 2264"/>
                    <a:gd name="T55" fmla="*/ 2147483647 h 2266"/>
                    <a:gd name="T56" fmla="*/ 2147483647 w 2264"/>
                    <a:gd name="T57" fmla="*/ 2147483647 h 2266"/>
                    <a:gd name="T58" fmla="*/ 2147483647 w 2264"/>
                    <a:gd name="T59" fmla="*/ 2147483647 h 2266"/>
                    <a:gd name="T60" fmla="*/ 2147483647 w 2264"/>
                    <a:gd name="T61" fmla="*/ 2147483647 h 2266"/>
                    <a:gd name="T62" fmla="*/ 2147483647 w 2264"/>
                    <a:gd name="T63" fmla="*/ 2147483647 h 2266"/>
                    <a:gd name="T64" fmla="*/ 2147483647 w 2264"/>
                    <a:gd name="T65" fmla="*/ 2147483647 h 2266"/>
                    <a:gd name="T66" fmla="*/ 2147483647 w 2264"/>
                    <a:gd name="T67" fmla="*/ 2147483647 h 2266"/>
                    <a:gd name="T68" fmla="*/ 2147483647 w 2264"/>
                    <a:gd name="T69" fmla="*/ 2147483647 h 2266"/>
                    <a:gd name="T70" fmla="*/ 2147483647 w 2264"/>
                    <a:gd name="T71" fmla="*/ 2147483647 h 2266"/>
                    <a:gd name="T72" fmla="*/ 2147483647 w 2264"/>
                    <a:gd name="T73" fmla="*/ 2147483647 h 2266"/>
                    <a:gd name="T74" fmla="*/ 2147483647 w 2264"/>
                    <a:gd name="T75" fmla="*/ 2147483647 h 2266"/>
                    <a:gd name="T76" fmla="*/ 2147483647 w 2264"/>
                    <a:gd name="T77" fmla="*/ 2147483647 h 2266"/>
                    <a:gd name="T78" fmla="*/ 2147483647 w 2264"/>
                    <a:gd name="T79" fmla="*/ 2147483647 h 2266"/>
                    <a:gd name="T80" fmla="*/ 2147483647 w 2264"/>
                    <a:gd name="T81" fmla="*/ 2147483647 h 2266"/>
                    <a:gd name="T82" fmla="*/ 2147483647 w 2264"/>
                    <a:gd name="T83" fmla="*/ 2147483647 h 2266"/>
                    <a:gd name="T84" fmla="*/ 2147483647 w 2264"/>
                    <a:gd name="T85" fmla="*/ 2147483647 h 22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64"/>
                    <a:gd name="T130" fmla="*/ 0 h 2266"/>
                    <a:gd name="T131" fmla="*/ 2264 w 2264"/>
                    <a:gd name="T132" fmla="*/ 2266 h 22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64" h="2266">
                      <a:moveTo>
                        <a:pt x="2264" y="1133"/>
                      </a:moveTo>
                      <a:lnTo>
                        <a:pt x="2264" y="1191"/>
                      </a:lnTo>
                      <a:lnTo>
                        <a:pt x="2259" y="1249"/>
                      </a:lnTo>
                      <a:lnTo>
                        <a:pt x="2251" y="1304"/>
                      </a:lnTo>
                      <a:lnTo>
                        <a:pt x="2243" y="1360"/>
                      </a:lnTo>
                      <a:lnTo>
                        <a:pt x="2230" y="1415"/>
                      </a:lnTo>
                      <a:lnTo>
                        <a:pt x="2214" y="1468"/>
                      </a:lnTo>
                      <a:lnTo>
                        <a:pt x="2195" y="1521"/>
                      </a:lnTo>
                      <a:lnTo>
                        <a:pt x="2177" y="1574"/>
                      </a:lnTo>
                      <a:lnTo>
                        <a:pt x="2153" y="1624"/>
                      </a:lnTo>
                      <a:lnTo>
                        <a:pt x="2129" y="1672"/>
                      </a:lnTo>
                      <a:lnTo>
                        <a:pt x="2100" y="1719"/>
                      </a:lnTo>
                      <a:lnTo>
                        <a:pt x="2071" y="1767"/>
                      </a:lnTo>
                      <a:lnTo>
                        <a:pt x="2039" y="1809"/>
                      </a:lnTo>
                      <a:lnTo>
                        <a:pt x="2005" y="1854"/>
                      </a:lnTo>
                      <a:lnTo>
                        <a:pt x="1971" y="1893"/>
                      </a:lnTo>
                      <a:lnTo>
                        <a:pt x="1934" y="1933"/>
                      </a:lnTo>
                      <a:lnTo>
                        <a:pt x="1894" y="1970"/>
                      </a:lnTo>
                      <a:lnTo>
                        <a:pt x="1852" y="2007"/>
                      </a:lnTo>
                      <a:lnTo>
                        <a:pt x="1809" y="2041"/>
                      </a:lnTo>
                      <a:lnTo>
                        <a:pt x="1765" y="2073"/>
                      </a:lnTo>
                      <a:lnTo>
                        <a:pt x="1720" y="2102"/>
                      </a:lnTo>
                      <a:lnTo>
                        <a:pt x="1672" y="2128"/>
                      </a:lnTo>
                      <a:lnTo>
                        <a:pt x="1622" y="2152"/>
                      </a:lnTo>
                      <a:lnTo>
                        <a:pt x="1572" y="2176"/>
                      </a:lnTo>
                      <a:lnTo>
                        <a:pt x="1521" y="2197"/>
                      </a:lnTo>
                      <a:lnTo>
                        <a:pt x="1469" y="2213"/>
                      </a:lnTo>
                      <a:lnTo>
                        <a:pt x="1416" y="2229"/>
                      </a:lnTo>
                      <a:lnTo>
                        <a:pt x="1360" y="2242"/>
                      </a:lnTo>
                      <a:lnTo>
                        <a:pt x="1305" y="2253"/>
                      </a:lnTo>
                      <a:lnTo>
                        <a:pt x="1247" y="2260"/>
                      </a:lnTo>
                      <a:lnTo>
                        <a:pt x="1191" y="2263"/>
                      </a:lnTo>
                      <a:lnTo>
                        <a:pt x="1130" y="2266"/>
                      </a:lnTo>
                      <a:lnTo>
                        <a:pt x="1072" y="2263"/>
                      </a:lnTo>
                      <a:lnTo>
                        <a:pt x="1017" y="2260"/>
                      </a:lnTo>
                      <a:lnTo>
                        <a:pt x="959" y="2253"/>
                      </a:lnTo>
                      <a:lnTo>
                        <a:pt x="903" y="2242"/>
                      </a:lnTo>
                      <a:lnTo>
                        <a:pt x="848" y="2229"/>
                      </a:lnTo>
                      <a:lnTo>
                        <a:pt x="795" y="2213"/>
                      </a:lnTo>
                      <a:lnTo>
                        <a:pt x="742" y="2197"/>
                      </a:lnTo>
                      <a:lnTo>
                        <a:pt x="692" y="2176"/>
                      </a:lnTo>
                      <a:lnTo>
                        <a:pt x="642" y="2152"/>
                      </a:lnTo>
                      <a:lnTo>
                        <a:pt x="591" y="2128"/>
                      </a:lnTo>
                      <a:lnTo>
                        <a:pt x="544" y="2102"/>
                      </a:lnTo>
                      <a:lnTo>
                        <a:pt x="499" y="2073"/>
                      </a:lnTo>
                      <a:lnTo>
                        <a:pt x="454" y="2041"/>
                      </a:lnTo>
                      <a:lnTo>
                        <a:pt x="412" y="2007"/>
                      </a:lnTo>
                      <a:lnTo>
                        <a:pt x="369" y="1970"/>
                      </a:lnTo>
                      <a:lnTo>
                        <a:pt x="330" y="1933"/>
                      </a:lnTo>
                      <a:lnTo>
                        <a:pt x="293" y="1893"/>
                      </a:lnTo>
                      <a:lnTo>
                        <a:pt x="258" y="1854"/>
                      </a:lnTo>
                      <a:lnTo>
                        <a:pt x="224" y="1809"/>
                      </a:lnTo>
                      <a:lnTo>
                        <a:pt x="192" y="1767"/>
                      </a:lnTo>
                      <a:lnTo>
                        <a:pt x="163" y="1719"/>
                      </a:lnTo>
                      <a:lnTo>
                        <a:pt x="134" y="1672"/>
                      </a:lnTo>
                      <a:lnTo>
                        <a:pt x="111" y="1624"/>
                      </a:lnTo>
                      <a:lnTo>
                        <a:pt x="87" y="1574"/>
                      </a:lnTo>
                      <a:lnTo>
                        <a:pt x="68" y="1521"/>
                      </a:lnTo>
                      <a:lnTo>
                        <a:pt x="50" y="1468"/>
                      </a:lnTo>
                      <a:lnTo>
                        <a:pt x="34" y="1415"/>
                      </a:lnTo>
                      <a:lnTo>
                        <a:pt x="21" y="1360"/>
                      </a:lnTo>
                      <a:lnTo>
                        <a:pt x="13" y="1304"/>
                      </a:lnTo>
                      <a:lnTo>
                        <a:pt x="5" y="1249"/>
                      </a:lnTo>
                      <a:lnTo>
                        <a:pt x="0" y="1191"/>
                      </a:lnTo>
                      <a:lnTo>
                        <a:pt x="0" y="1133"/>
                      </a:lnTo>
                      <a:lnTo>
                        <a:pt x="0" y="1075"/>
                      </a:lnTo>
                      <a:lnTo>
                        <a:pt x="5" y="1017"/>
                      </a:lnTo>
                      <a:lnTo>
                        <a:pt x="13" y="961"/>
                      </a:lnTo>
                      <a:lnTo>
                        <a:pt x="21" y="903"/>
                      </a:lnTo>
                      <a:lnTo>
                        <a:pt x="34" y="850"/>
                      </a:lnTo>
                      <a:lnTo>
                        <a:pt x="50" y="795"/>
                      </a:lnTo>
                      <a:lnTo>
                        <a:pt x="68" y="742"/>
                      </a:lnTo>
                      <a:lnTo>
                        <a:pt x="87" y="692"/>
                      </a:lnTo>
                      <a:lnTo>
                        <a:pt x="111" y="642"/>
                      </a:lnTo>
                      <a:lnTo>
                        <a:pt x="134" y="591"/>
                      </a:lnTo>
                      <a:lnTo>
                        <a:pt x="163" y="544"/>
                      </a:lnTo>
                      <a:lnTo>
                        <a:pt x="192" y="499"/>
                      </a:lnTo>
                      <a:lnTo>
                        <a:pt x="224" y="454"/>
                      </a:lnTo>
                      <a:lnTo>
                        <a:pt x="258" y="412"/>
                      </a:lnTo>
                      <a:lnTo>
                        <a:pt x="293" y="370"/>
                      </a:lnTo>
                      <a:lnTo>
                        <a:pt x="330" y="333"/>
                      </a:lnTo>
                      <a:lnTo>
                        <a:pt x="369" y="293"/>
                      </a:lnTo>
                      <a:lnTo>
                        <a:pt x="412" y="259"/>
                      </a:lnTo>
                      <a:lnTo>
                        <a:pt x="454" y="224"/>
                      </a:lnTo>
                      <a:lnTo>
                        <a:pt x="499" y="193"/>
                      </a:lnTo>
                      <a:lnTo>
                        <a:pt x="544" y="164"/>
                      </a:lnTo>
                      <a:lnTo>
                        <a:pt x="591" y="137"/>
                      </a:lnTo>
                      <a:lnTo>
                        <a:pt x="642" y="111"/>
                      </a:lnTo>
                      <a:lnTo>
                        <a:pt x="692" y="90"/>
                      </a:lnTo>
                      <a:lnTo>
                        <a:pt x="742" y="69"/>
                      </a:lnTo>
                      <a:lnTo>
                        <a:pt x="795" y="50"/>
                      </a:lnTo>
                      <a:lnTo>
                        <a:pt x="848" y="34"/>
                      </a:lnTo>
                      <a:lnTo>
                        <a:pt x="903" y="24"/>
                      </a:lnTo>
                      <a:lnTo>
                        <a:pt x="959" y="13"/>
                      </a:lnTo>
                      <a:lnTo>
                        <a:pt x="1017" y="5"/>
                      </a:lnTo>
                      <a:lnTo>
                        <a:pt x="1072" y="3"/>
                      </a:lnTo>
                      <a:lnTo>
                        <a:pt x="1130" y="0"/>
                      </a:lnTo>
                      <a:lnTo>
                        <a:pt x="1191" y="3"/>
                      </a:lnTo>
                      <a:lnTo>
                        <a:pt x="1247" y="5"/>
                      </a:lnTo>
                      <a:lnTo>
                        <a:pt x="1305" y="13"/>
                      </a:lnTo>
                      <a:lnTo>
                        <a:pt x="1360" y="24"/>
                      </a:lnTo>
                      <a:lnTo>
                        <a:pt x="1416" y="34"/>
                      </a:lnTo>
                      <a:lnTo>
                        <a:pt x="1469" y="50"/>
                      </a:lnTo>
                      <a:lnTo>
                        <a:pt x="1521" y="69"/>
                      </a:lnTo>
                      <a:lnTo>
                        <a:pt x="1572" y="90"/>
                      </a:lnTo>
                      <a:lnTo>
                        <a:pt x="1622" y="111"/>
                      </a:lnTo>
                      <a:lnTo>
                        <a:pt x="1672" y="137"/>
                      </a:lnTo>
                      <a:lnTo>
                        <a:pt x="1720" y="164"/>
                      </a:lnTo>
                      <a:lnTo>
                        <a:pt x="1765" y="193"/>
                      </a:lnTo>
                      <a:lnTo>
                        <a:pt x="1809" y="224"/>
                      </a:lnTo>
                      <a:lnTo>
                        <a:pt x="1852" y="259"/>
                      </a:lnTo>
                      <a:lnTo>
                        <a:pt x="1894" y="293"/>
                      </a:lnTo>
                      <a:lnTo>
                        <a:pt x="1934" y="333"/>
                      </a:lnTo>
                      <a:lnTo>
                        <a:pt x="1971" y="370"/>
                      </a:lnTo>
                      <a:lnTo>
                        <a:pt x="2005" y="412"/>
                      </a:lnTo>
                      <a:lnTo>
                        <a:pt x="2039" y="454"/>
                      </a:lnTo>
                      <a:lnTo>
                        <a:pt x="2071" y="499"/>
                      </a:lnTo>
                      <a:lnTo>
                        <a:pt x="2100" y="544"/>
                      </a:lnTo>
                      <a:lnTo>
                        <a:pt x="2129" y="591"/>
                      </a:lnTo>
                      <a:lnTo>
                        <a:pt x="2153" y="642"/>
                      </a:lnTo>
                      <a:lnTo>
                        <a:pt x="2177" y="692"/>
                      </a:lnTo>
                      <a:lnTo>
                        <a:pt x="2195" y="742"/>
                      </a:lnTo>
                      <a:lnTo>
                        <a:pt x="2214" y="795"/>
                      </a:lnTo>
                      <a:lnTo>
                        <a:pt x="2230" y="850"/>
                      </a:lnTo>
                      <a:lnTo>
                        <a:pt x="2243" y="903"/>
                      </a:lnTo>
                      <a:lnTo>
                        <a:pt x="2251" y="961"/>
                      </a:lnTo>
                      <a:lnTo>
                        <a:pt x="2259" y="1017"/>
                      </a:lnTo>
                      <a:lnTo>
                        <a:pt x="2264" y="1075"/>
                      </a:lnTo>
                      <a:lnTo>
                        <a:pt x="2264" y="1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345" name="Freeform 354"/>
                <p:cNvSpPr>
                  <a:spLocks/>
                </p:cNvSpPr>
                <p:nvPr/>
              </p:nvSpPr>
              <p:spPr bwMode="auto">
                <a:xfrm>
                  <a:off x="1508126" y="1941512"/>
                  <a:ext cx="2620962" cy="3538539"/>
                </a:xfrm>
                <a:custGeom>
                  <a:avLst/>
                  <a:gdLst>
                    <a:gd name="T0" fmla="*/ 2147483647 w 1651"/>
                    <a:gd name="T1" fmla="*/ 2147483647 h 2229"/>
                    <a:gd name="T2" fmla="*/ 2147483647 w 1651"/>
                    <a:gd name="T3" fmla="*/ 2147483647 h 2229"/>
                    <a:gd name="T4" fmla="*/ 2147483647 w 1651"/>
                    <a:gd name="T5" fmla="*/ 2147483647 h 2229"/>
                    <a:gd name="T6" fmla="*/ 2147483647 w 1651"/>
                    <a:gd name="T7" fmla="*/ 2147483647 h 2229"/>
                    <a:gd name="T8" fmla="*/ 2147483647 w 1651"/>
                    <a:gd name="T9" fmla="*/ 2147483647 h 2229"/>
                    <a:gd name="T10" fmla="*/ 2147483647 w 1651"/>
                    <a:gd name="T11" fmla="*/ 2147483647 h 2229"/>
                    <a:gd name="T12" fmla="*/ 2147483647 w 1651"/>
                    <a:gd name="T13" fmla="*/ 2147483647 h 2229"/>
                    <a:gd name="T14" fmla="*/ 2147483647 w 1651"/>
                    <a:gd name="T15" fmla="*/ 2147483647 h 2229"/>
                    <a:gd name="T16" fmla="*/ 2147483647 w 1651"/>
                    <a:gd name="T17" fmla="*/ 2147483647 h 2229"/>
                    <a:gd name="T18" fmla="*/ 2147483647 w 1651"/>
                    <a:gd name="T19" fmla="*/ 2147483647 h 2229"/>
                    <a:gd name="T20" fmla="*/ 2147483647 w 1651"/>
                    <a:gd name="T21" fmla="*/ 2147483647 h 2229"/>
                    <a:gd name="T22" fmla="*/ 2147483647 w 1651"/>
                    <a:gd name="T23" fmla="*/ 2147483647 h 2229"/>
                    <a:gd name="T24" fmla="*/ 2147483647 w 1651"/>
                    <a:gd name="T25" fmla="*/ 2147483647 h 2229"/>
                    <a:gd name="T26" fmla="*/ 2147483647 w 1651"/>
                    <a:gd name="T27" fmla="*/ 2147483647 h 2229"/>
                    <a:gd name="T28" fmla="*/ 2147483647 w 1651"/>
                    <a:gd name="T29" fmla="*/ 2147483647 h 2229"/>
                    <a:gd name="T30" fmla="*/ 2147483647 w 1651"/>
                    <a:gd name="T31" fmla="*/ 2147483647 h 2229"/>
                    <a:gd name="T32" fmla="*/ 2147483647 w 1651"/>
                    <a:gd name="T33" fmla="*/ 2147483647 h 2229"/>
                    <a:gd name="T34" fmla="*/ 2147483647 w 1651"/>
                    <a:gd name="T35" fmla="*/ 2147483647 h 2229"/>
                    <a:gd name="T36" fmla="*/ 2147483647 w 1651"/>
                    <a:gd name="T37" fmla="*/ 2147483647 h 2229"/>
                    <a:gd name="T38" fmla="*/ 2147483647 w 1651"/>
                    <a:gd name="T39" fmla="*/ 2147483647 h 2229"/>
                    <a:gd name="T40" fmla="*/ 2147483647 w 1651"/>
                    <a:gd name="T41" fmla="*/ 2147483647 h 2229"/>
                    <a:gd name="T42" fmla="*/ 2147483647 w 1651"/>
                    <a:gd name="T43" fmla="*/ 2147483647 h 2229"/>
                    <a:gd name="T44" fmla="*/ 2147483647 w 1651"/>
                    <a:gd name="T45" fmla="*/ 2147483647 h 2229"/>
                    <a:gd name="T46" fmla="*/ 2147483647 w 1651"/>
                    <a:gd name="T47" fmla="*/ 2147483647 h 2229"/>
                    <a:gd name="T48" fmla="*/ 2147483647 w 1651"/>
                    <a:gd name="T49" fmla="*/ 2147483647 h 2229"/>
                    <a:gd name="T50" fmla="*/ 2147483647 w 1651"/>
                    <a:gd name="T51" fmla="*/ 2147483647 h 2229"/>
                    <a:gd name="T52" fmla="*/ 2147483647 w 1651"/>
                    <a:gd name="T53" fmla="*/ 2147483647 h 2229"/>
                    <a:gd name="T54" fmla="*/ 2147483647 w 1651"/>
                    <a:gd name="T55" fmla="*/ 2147483647 h 2229"/>
                    <a:gd name="T56" fmla="*/ 2147483647 w 1651"/>
                    <a:gd name="T57" fmla="*/ 2147483647 h 2229"/>
                    <a:gd name="T58" fmla="*/ 2147483647 w 1651"/>
                    <a:gd name="T59" fmla="*/ 2147483647 h 2229"/>
                    <a:gd name="T60" fmla="*/ 2147483647 w 1651"/>
                    <a:gd name="T61" fmla="*/ 2147483647 h 2229"/>
                    <a:gd name="T62" fmla="*/ 2147483647 w 1651"/>
                    <a:gd name="T63" fmla="*/ 2147483647 h 2229"/>
                    <a:gd name="T64" fmla="*/ 2147483647 w 1651"/>
                    <a:gd name="T65" fmla="*/ 2147483647 h 2229"/>
                    <a:gd name="T66" fmla="*/ 2147483647 w 1651"/>
                    <a:gd name="T67" fmla="*/ 2147483647 h 2229"/>
                    <a:gd name="T68" fmla="*/ 2147483647 w 1651"/>
                    <a:gd name="T69" fmla="*/ 2147483647 h 2229"/>
                    <a:gd name="T70" fmla="*/ 2147483647 w 1651"/>
                    <a:gd name="T71" fmla="*/ 2147483647 h 2229"/>
                    <a:gd name="T72" fmla="*/ 0 w 1651"/>
                    <a:gd name="T73" fmla="*/ 2147483647 h 2229"/>
                    <a:gd name="T74" fmla="*/ 2147483647 w 1651"/>
                    <a:gd name="T75" fmla="*/ 2147483647 h 2229"/>
                    <a:gd name="T76" fmla="*/ 2147483647 w 1651"/>
                    <a:gd name="T77" fmla="*/ 2147483647 h 2229"/>
                    <a:gd name="T78" fmla="*/ 2147483647 w 1651"/>
                    <a:gd name="T79" fmla="*/ 2147483647 h 2229"/>
                    <a:gd name="T80" fmla="*/ 2147483647 w 1651"/>
                    <a:gd name="T81" fmla="*/ 2147483647 h 2229"/>
                    <a:gd name="T82" fmla="*/ 2147483647 w 1651"/>
                    <a:gd name="T83" fmla="*/ 2147483647 h 2229"/>
                    <a:gd name="T84" fmla="*/ 2147483647 w 1651"/>
                    <a:gd name="T85" fmla="*/ 2147483647 h 2229"/>
                    <a:gd name="T86" fmla="*/ 2147483647 w 1651"/>
                    <a:gd name="T87" fmla="*/ 2147483647 h 2229"/>
                    <a:gd name="T88" fmla="*/ 2147483647 w 1651"/>
                    <a:gd name="T89" fmla="*/ 2147483647 h 2229"/>
                    <a:gd name="T90" fmla="*/ 2147483647 w 1651"/>
                    <a:gd name="T91" fmla="*/ 2147483647 h 2229"/>
                    <a:gd name="T92" fmla="*/ 2147483647 w 1651"/>
                    <a:gd name="T93" fmla="*/ 2147483647 h 2229"/>
                    <a:gd name="T94" fmla="*/ 2147483647 w 1651"/>
                    <a:gd name="T95" fmla="*/ 2147483647 h 2229"/>
                    <a:gd name="T96" fmla="*/ 2147483647 w 1651"/>
                    <a:gd name="T97" fmla="*/ 2147483647 h 2229"/>
                    <a:gd name="T98" fmla="*/ 2147483647 w 1651"/>
                    <a:gd name="T99" fmla="*/ 2147483647 h 2229"/>
                    <a:gd name="T100" fmla="*/ 2147483647 w 1651"/>
                    <a:gd name="T101" fmla="*/ 2147483647 h 2229"/>
                    <a:gd name="T102" fmla="*/ 2147483647 w 1651"/>
                    <a:gd name="T103" fmla="*/ 2147483647 h 2229"/>
                    <a:gd name="T104" fmla="*/ 2147483647 w 1651"/>
                    <a:gd name="T105" fmla="*/ 2147483647 h 2229"/>
                    <a:gd name="T106" fmla="*/ 2147483647 w 1651"/>
                    <a:gd name="T107" fmla="*/ 2147483647 h 2229"/>
                    <a:gd name="T108" fmla="*/ 2147483647 w 1651"/>
                    <a:gd name="T109" fmla="*/ 2147483647 h 2229"/>
                    <a:gd name="T110" fmla="*/ 2147483647 w 1651"/>
                    <a:gd name="T111" fmla="*/ 2147483647 h 2229"/>
                    <a:gd name="T112" fmla="*/ 2147483647 w 1651"/>
                    <a:gd name="T113" fmla="*/ 2147483647 h 2229"/>
                    <a:gd name="T114" fmla="*/ 2147483647 w 1651"/>
                    <a:gd name="T115" fmla="*/ 2147483647 h 2229"/>
                    <a:gd name="T116" fmla="*/ 2147483647 w 1651"/>
                    <a:gd name="T117" fmla="*/ 2147483647 h 2229"/>
                    <a:gd name="T118" fmla="*/ 2147483647 w 1651"/>
                    <a:gd name="T119" fmla="*/ 2147483647 h 2229"/>
                    <a:gd name="T120" fmla="*/ 2147483647 w 1651"/>
                    <a:gd name="T121" fmla="*/ 2147483647 h 2229"/>
                    <a:gd name="T122" fmla="*/ 2147483647 w 1651"/>
                    <a:gd name="T123" fmla="*/ 2147483647 h 22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1"/>
                    <a:gd name="T187" fmla="*/ 0 h 2229"/>
                    <a:gd name="T188" fmla="*/ 1651 w 1651"/>
                    <a:gd name="T189" fmla="*/ 2229 h 22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1" h="2229">
                      <a:moveTo>
                        <a:pt x="716" y="877"/>
                      </a:moveTo>
                      <a:lnTo>
                        <a:pt x="719" y="869"/>
                      </a:lnTo>
                      <a:lnTo>
                        <a:pt x="719" y="863"/>
                      </a:lnTo>
                      <a:lnTo>
                        <a:pt x="713" y="863"/>
                      </a:lnTo>
                      <a:lnTo>
                        <a:pt x="711" y="863"/>
                      </a:lnTo>
                      <a:lnTo>
                        <a:pt x="708" y="863"/>
                      </a:lnTo>
                      <a:lnTo>
                        <a:pt x="700" y="848"/>
                      </a:lnTo>
                      <a:lnTo>
                        <a:pt x="700" y="840"/>
                      </a:lnTo>
                      <a:lnTo>
                        <a:pt x="700" y="834"/>
                      </a:lnTo>
                      <a:lnTo>
                        <a:pt x="697" y="826"/>
                      </a:lnTo>
                      <a:lnTo>
                        <a:pt x="695" y="816"/>
                      </a:lnTo>
                      <a:lnTo>
                        <a:pt x="689" y="811"/>
                      </a:lnTo>
                      <a:lnTo>
                        <a:pt x="684" y="808"/>
                      </a:lnTo>
                      <a:lnTo>
                        <a:pt x="674" y="808"/>
                      </a:lnTo>
                      <a:lnTo>
                        <a:pt x="660" y="813"/>
                      </a:lnTo>
                      <a:lnTo>
                        <a:pt x="650" y="818"/>
                      </a:lnTo>
                      <a:lnTo>
                        <a:pt x="642" y="818"/>
                      </a:lnTo>
                      <a:lnTo>
                        <a:pt x="639" y="816"/>
                      </a:lnTo>
                      <a:lnTo>
                        <a:pt x="639" y="811"/>
                      </a:lnTo>
                      <a:lnTo>
                        <a:pt x="639" y="797"/>
                      </a:lnTo>
                      <a:lnTo>
                        <a:pt x="642" y="789"/>
                      </a:lnTo>
                      <a:lnTo>
                        <a:pt x="642" y="784"/>
                      </a:lnTo>
                      <a:lnTo>
                        <a:pt x="637" y="782"/>
                      </a:lnTo>
                      <a:lnTo>
                        <a:pt x="626" y="779"/>
                      </a:lnTo>
                      <a:lnTo>
                        <a:pt x="600" y="784"/>
                      </a:lnTo>
                      <a:lnTo>
                        <a:pt x="563" y="792"/>
                      </a:lnTo>
                      <a:lnTo>
                        <a:pt x="568" y="797"/>
                      </a:lnTo>
                      <a:lnTo>
                        <a:pt x="576" y="808"/>
                      </a:lnTo>
                      <a:lnTo>
                        <a:pt x="581" y="816"/>
                      </a:lnTo>
                      <a:lnTo>
                        <a:pt x="581" y="821"/>
                      </a:lnTo>
                      <a:lnTo>
                        <a:pt x="578" y="826"/>
                      </a:lnTo>
                      <a:lnTo>
                        <a:pt x="571" y="829"/>
                      </a:lnTo>
                      <a:lnTo>
                        <a:pt x="557" y="829"/>
                      </a:lnTo>
                      <a:lnTo>
                        <a:pt x="544" y="824"/>
                      </a:lnTo>
                      <a:lnTo>
                        <a:pt x="542" y="824"/>
                      </a:lnTo>
                      <a:lnTo>
                        <a:pt x="542" y="821"/>
                      </a:lnTo>
                      <a:lnTo>
                        <a:pt x="542" y="818"/>
                      </a:lnTo>
                      <a:lnTo>
                        <a:pt x="528" y="816"/>
                      </a:lnTo>
                      <a:lnTo>
                        <a:pt x="518" y="816"/>
                      </a:lnTo>
                      <a:lnTo>
                        <a:pt x="518" y="813"/>
                      </a:lnTo>
                      <a:lnTo>
                        <a:pt x="518" y="811"/>
                      </a:lnTo>
                      <a:lnTo>
                        <a:pt x="520" y="808"/>
                      </a:lnTo>
                      <a:lnTo>
                        <a:pt x="510" y="800"/>
                      </a:lnTo>
                      <a:lnTo>
                        <a:pt x="505" y="797"/>
                      </a:lnTo>
                      <a:lnTo>
                        <a:pt x="494" y="795"/>
                      </a:lnTo>
                      <a:lnTo>
                        <a:pt x="475" y="800"/>
                      </a:lnTo>
                      <a:lnTo>
                        <a:pt x="452" y="805"/>
                      </a:lnTo>
                      <a:lnTo>
                        <a:pt x="431" y="813"/>
                      </a:lnTo>
                      <a:lnTo>
                        <a:pt x="428" y="816"/>
                      </a:lnTo>
                      <a:lnTo>
                        <a:pt x="428" y="821"/>
                      </a:lnTo>
                      <a:lnTo>
                        <a:pt x="420" y="821"/>
                      </a:lnTo>
                      <a:lnTo>
                        <a:pt x="415" y="821"/>
                      </a:lnTo>
                      <a:lnTo>
                        <a:pt x="404" y="826"/>
                      </a:lnTo>
                      <a:lnTo>
                        <a:pt x="399" y="834"/>
                      </a:lnTo>
                      <a:lnTo>
                        <a:pt x="399" y="848"/>
                      </a:lnTo>
                      <a:lnTo>
                        <a:pt x="399" y="861"/>
                      </a:lnTo>
                      <a:lnTo>
                        <a:pt x="399" y="877"/>
                      </a:lnTo>
                      <a:lnTo>
                        <a:pt x="396" y="892"/>
                      </a:lnTo>
                      <a:lnTo>
                        <a:pt x="394" y="903"/>
                      </a:lnTo>
                      <a:lnTo>
                        <a:pt x="391" y="914"/>
                      </a:lnTo>
                      <a:lnTo>
                        <a:pt x="388" y="914"/>
                      </a:lnTo>
                      <a:lnTo>
                        <a:pt x="386" y="911"/>
                      </a:lnTo>
                      <a:lnTo>
                        <a:pt x="383" y="914"/>
                      </a:lnTo>
                      <a:lnTo>
                        <a:pt x="378" y="921"/>
                      </a:lnTo>
                      <a:lnTo>
                        <a:pt x="372" y="935"/>
                      </a:lnTo>
                      <a:lnTo>
                        <a:pt x="372" y="937"/>
                      </a:lnTo>
                      <a:lnTo>
                        <a:pt x="372" y="943"/>
                      </a:lnTo>
                      <a:lnTo>
                        <a:pt x="375" y="953"/>
                      </a:lnTo>
                      <a:lnTo>
                        <a:pt x="372" y="956"/>
                      </a:lnTo>
                      <a:lnTo>
                        <a:pt x="367" y="961"/>
                      </a:lnTo>
                      <a:lnTo>
                        <a:pt x="367" y="982"/>
                      </a:lnTo>
                      <a:lnTo>
                        <a:pt x="370" y="1006"/>
                      </a:lnTo>
                      <a:lnTo>
                        <a:pt x="375" y="1027"/>
                      </a:lnTo>
                      <a:lnTo>
                        <a:pt x="386" y="1048"/>
                      </a:lnTo>
                      <a:lnTo>
                        <a:pt x="396" y="1067"/>
                      </a:lnTo>
                      <a:lnTo>
                        <a:pt x="409" y="1080"/>
                      </a:lnTo>
                      <a:lnTo>
                        <a:pt x="417" y="1085"/>
                      </a:lnTo>
                      <a:lnTo>
                        <a:pt x="428" y="1090"/>
                      </a:lnTo>
                      <a:lnTo>
                        <a:pt x="438" y="1090"/>
                      </a:lnTo>
                      <a:lnTo>
                        <a:pt x="449" y="1090"/>
                      </a:lnTo>
                      <a:lnTo>
                        <a:pt x="462" y="1088"/>
                      </a:lnTo>
                      <a:lnTo>
                        <a:pt x="489" y="1083"/>
                      </a:lnTo>
                      <a:lnTo>
                        <a:pt x="505" y="1075"/>
                      </a:lnTo>
                      <a:lnTo>
                        <a:pt x="518" y="1064"/>
                      </a:lnTo>
                      <a:lnTo>
                        <a:pt x="528" y="1054"/>
                      </a:lnTo>
                      <a:lnTo>
                        <a:pt x="531" y="1046"/>
                      </a:lnTo>
                      <a:lnTo>
                        <a:pt x="534" y="1038"/>
                      </a:lnTo>
                      <a:lnTo>
                        <a:pt x="534" y="1027"/>
                      </a:lnTo>
                      <a:lnTo>
                        <a:pt x="539" y="1022"/>
                      </a:lnTo>
                      <a:lnTo>
                        <a:pt x="544" y="1017"/>
                      </a:lnTo>
                      <a:lnTo>
                        <a:pt x="549" y="1011"/>
                      </a:lnTo>
                      <a:lnTo>
                        <a:pt x="565" y="1009"/>
                      </a:lnTo>
                      <a:lnTo>
                        <a:pt x="581" y="1009"/>
                      </a:lnTo>
                      <a:lnTo>
                        <a:pt x="592" y="1009"/>
                      </a:lnTo>
                      <a:lnTo>
                        <a:pt x="613" y="1011"/>
                      </a:lnTo>
                      <a:lnTo>
                        <a:pt x="610" y="1024"/>
                      </a:lnTo>
                      <a:lnTo>
                        <a:pt x="608" y="1027"/>
                      </a:lnTo>
                      <a:lnTo>
                        <a:pt x="605" y="1027"/>
                      </a:lnTo>
                      <a:lnTo>
                        <a:pt x="602" y="1027"/>
                      </a:lnTo>
                      <a:lnTo>
                        <a:pt x="600" y="1030"/>
                      </a:lnTo>
                      <a:lnTo>
                        <a:pt x="600" y="1040"/>
                      </a:lnTo>
                      <a:lnTo>
                        <a:pt x="600" y="1048"/>
                      </a:lnTo>
                      <a:lnTo>
                        <a:pt x="592" y="1056"/>
                      </a:lnTo>
                      <a:lnTo>
                        <a:pt x="592" y="1061"/>
                      </a:lnTo>
                      <a:lnTo>
                        <a:pt x="592" y="1067"/>
                      </a:lnTo>
                      <a:lnTo>
                        <a:pt x="586" y="1077"/>
                      </a:lnTo>
                      <a:lnTo>
                        <a:pt x="586" y="1088"/>
                      </a:lnTo>
                      <a:lnTo>
                        <a:pt x="589" y="1114"/>
                      </a:lnTo>
                      <a:lnTo>
                        <a:pt x="592" y="1117"/>
                      </a:lnTo>
                      <a:lnTo>
                        <a:pt x="597" y="1120"/>
                      </a:lnTo>
                      <a:lnTo>
                        <a:pt x="594" y="1125"/>
                      </a:lnTo>
                      <a:lnTo>
                        <a:pt x="592" y="1130"/>
                      </a:lnTo>
                      <a:lnTo>
                        <a:pt x="589" y="1141"/>
                      </a:lnTo>
                      <a:lnTo>
                        <a:pt x="586" y="1146"/>
                      </a:lnTo>
                      <a:lnTo>
                        <a:pt x="584" y="1149"/>
                      </a:lnTo>
                      <a:lnTo>
                        <a:pt x="613" y="1143"/>
                      </a:lnTo>
                      <a:lnTo>
                        <a:pt x="615" y="1146"/>
                      </a:lnTo>
                      <a:lnTo>
                        <a:pt x="615" y="1149"/>
                      </a:lnTo>
                      <a:lnTo>
                        <a:pt x="615" y="1151"/>
                      </a:lnTo>
                      <a:lnTo>
                        <a:pt x="626" y="1146"/>
                      </a:lnTo>
                      <a:lnTo>
                        <a:pt x="637" y="1143"/>
                      </a:lnTo>
                      <a:lnTo>
                        <a:pt x="639" y="1143"/>
                      </a:lnTo>
                      <a:lnTo>
                        <a:pt x="645" y="1146"/>
                      </a:lnTo>
                      <a:lnTo>
                        <a:pt x="652" y="1141"/>
                      </a:lnTo>
                      <a:lnTo>
                        <a:pt x="655" y="1138"/>
                      </a:lnTo>
                      <a:lnTo>
                        <a:pt x="658" y="1141"/>
                      </a:lnTo>
                      <a:lnTo>
                        <a:pt x="655" y="1146"/>
                      </a:lnTo>
                      <a:lnTo>
                        <a:pt x="658" y="1149"/>
                      </a:lnTo>
                      <a:lnTo>
                        <a:pt x="671" y="1151"/>
                      </a:lnTo>
                      <a:lnTo>
                        <a:pt x="684" y="1154"/>
                      </a:lnTo>
                      <a:lnTo>
                        <a:pt x="697" y="1159"/>
                      </a:lnTo>
                      <a:lnTo>
                        <a:pt x="705" y="1170"/>
                      </a:lnTo>
                      <a:lnTo>
                        <a:pt x="705" y="1175"/>
                      </a:lnTo>
                      <a:lnTo>
                        <a:pt x="708" y="1183"/>
                      </a:lnTo>
                      <a:lnTo>
                        <a:pt x="705" y="1201"/>
                      </a:lnTo>
                      <a:lnTo>
                        <a:pt x="703" y="1217"/>
                      </a:lnTo>
                      <a:lnTo>
                        <a:pt x="695" y="1236"/>
                      </a:lnTo>
                      <a:lnTo>
                        <a:pt x="692" y="1244"/>
                      </a:lnTo>
                      <a:lnTo>
                        <a:pt x="689" y="1252"/>
                      </a:lnTo>
                      <a:lnTo>
                        <a:pt x="689" y="1262"/>
                      </a:lnTo>
                      <a:lnTo>
                        <a:pt x="689" y="1278"/>
                      </a:lnTo>
                      <a:lnTo>
                        <a:pt x="705" y="1291"/>
                      </a:lnTo>
                      <a:lnTo>
                        <a:pt x="711" y="1302"/>
                      </a:lnTo>
                      <a:lnTo>
                        <a:pt x="719" y="1310"/>
                      </a:lnTo>
                      <a:lnTo>
                        <a:pt x="724" y="1312"/>
                      </a:lnTo>
                      <a:lnTo>
                        <a:pt x="729" y="1312"/>
                      </a:lnTo>
                      <a:lnTo>
                        <a:pt x="734" y="1323"/>
                      </a:lnTo>
                      <a:lnTo>
                        <a:pt x="740" y="1331"/>
                      </a:lnTo>
                      <a:lnTo>
                        <a:pt x="745" y="1331"/>
                      </a:lnTo>
                      <a:lnTo>
                        <a:pt x="748" y="1328"/>
                      </a:lnTo>
                      <a:lnTo>
                        <a:pt x="753" y="1323"/>
                      </a:lnTo>
                      <a:lnTo>
                        <a:pt x="758" y="1320"/>
                      </a:lnTo>
                      <a:lnTo>
                        <a:pt x="777" y="1307"/>
                      </a:lnTo>
                      <a:lnTo>
                        <a:pt x="787" y="1299"/>
                      </a:lnTo>
                      <a:lnTo>
                        <a:pt x="790" y="1302"/>
                      </a:lnTo>
                      <a:lnTo>
                        <a:pt x="795" y="1302"/>
                      </a:lnTo>
                      <a:lnTo>
                        <a:pt x="806" y="1299"/>
                      </a:lnTo>
                      <a:lnTo>
                        <a:pt x="816" y="1296"/>
                      </a:lnTo>
                      <a:lnTo>
                        <a:pt x="827" y="1299"/>
                      </a:lnTo>
                      <a:lnTo>
                        <a:pt x="840" y="1304"/>
                      </a:lnTo>
                      <a:lnTo>
                        <a:pt x="840" y="1312"/>
                      </a:lnTo>
                      <a:lnTo>
                        <a:pt x="840" y="1318"/>
                      </a:lnTo>
                      <a:lnTo>
                        <a:pt x="845" y="1320"/>
                      </a:lnTo>
                      <a:lnTo>
                        <a:pt x="848" y="1320"/>
                      </a:lnTo>
                      <a:lnTo>
                        <a:pt x="853" y="1320"/>
                      </a:lnTo>
                      <a:lnTo>
                        <a:pt x="856" y="1323"/>
                      </a:lnTo>
                      <a:lnTo>
                        <a:pt x="864" y="1315"/>
                      </a:lnTo>
                      <a:lnTo>
                        <a:pt x="872" y="1304"/>
                      </a:lnTo>
                      <a:lnTo>
                        <a:pt x="874" y="1302"/>
                      </a:lnTo>
                      <a:lnTo>
                        <a:pt x="903" y="1265"/>
                      </a:lnTo>
                      <a:lnTo>
                        <a:pt x="909" y="1259"/>
                      </a:lnTo>
                      <a:lnTo>
                        <a:pt x="919" y="1254"/>
                      </a:lnTo>
                      <a:lnTo>
                        <a:pt x="943" y="1244"/>
                      </a:lnTo>
                      <a:lnTo>
                        <a:pt x="967" y="1233"/>
                      </a:lnTo>
                      <a:lnTo>
                        <a:pt x="975" y="1228"/>
                      </a:lnTo>
                      <a:lnTo>
                        <a:pt x="983" y="1225"/>
                      </a:lnTo>
                      <a:lnTo>
                        <a:pt x="985" y="1228"/>
                      </a:lnTo>
                      <a:lnTo>
                        <a:pt x="993" y="1236"/>
                      </a:lnTo>
                      <a:lnTo>
                        <a:pt x="996" y="1241"/>
                      </a:lnTo>
                      <a:lnTo>
                        <a:pt x="996" y="1249"/>
                      </a:lnTo>
                      <a:lnTo>
                        <a:pt x="993" y="1257"/>
                      </a:lnTo>
                      <a:lnTo>
                        <a:pt x="985" y="1265"/>
                      </a:lnTo>
                      <a:lnTo>
                        <a:pt x="972" y="1283"/>
                      </a:lnTo>
                      <a:lnTo>
                        <a:pt x="964" y="1299"/>
                      </a:lnTo>
                      <a:lnTo>
                        <a:pt x="964" y="1307"/>
                      </a:lnTo>
                      <a:lnTo>
                        <a:pt x="964" y="1312"/>
                      </a:lnTo>
                      <a:lnTo>
                        <a:pt x="967" y="1315"/>
                      </a:lnTo>
                      <a:lnTo>
                        <a:pt x="972" y="1315"/>
                      </a:lnTo>
                      <a:lnTo>
                        <a:pt x="980" y="1312"/>
                      </a:lnTo>
                      <a:lnTo>
                        <a:pt x="985" y="1304"/>
                      </a:lnTo>
                      <a:lnTo>
                        <a:pt x="999" y="1283"/>
                      </a:lnTo>
                      <a:lnTo>
                        <a:pt x="1020" y="1236"/>
                      </a:lnTo>
                      <a:lnTo>
                        <a:pt x="1025" y="1228"/>
                      </a:lnTo>
                      <a:lnTo>
                        <a:pt x="1030" y="1225"/>
                      </a:lnTo>
                      <a:lnTo>
                        <a:pt x="1036" y="1228"/>
                      </a:lnTo>
                      <a:lnTo>
                        <a:pt x="1041" y="1230"/>
                      </a:lnTo>
                      <a:lnTo>
                        <a:pt x="1049" y="1236"/>
                      </a:lnTo>
                      <a:lnTo>
                        <a:pt x="1065" y="1257"/>
                      </a:lnTo>
                      <a:lnTo>
                        <a:pt x="1073" y="1265"/>
                      </a:lnTo>
                      <a:lnTo>
                        <a:pt x="1078" y="1270"/>
                      </a:lnTo>
                      <a:lnTo>
                        <a:pt x="1086" y="1273"/>
                      </a:lnTo>
                      <a:lnTo>
                        <a:pt x="1094" y="1275"/>
                      </a:lnTo>
                      <a:lnTo>
                        <a:pt x="1110" y="1273"/>
                      </a:lnTo>
                      <a:lnTo>
                        <a:pt x="1123" y="1267"/>
                      </a:lnTo>
                      <a:lnTo>
                        <a:pt x="1128" y="1267"/>
                      </a:lnTo>
                      <a:lnTo>
                        <a:pt x="1136" y="1267"/>
                      </a:lnTo>
                      <a:lnTo>
                        <a:pt x="1147" y="1270"/>
                      </a:lnTo>
                      <a:lnTo>
                        <a:pt x="1144" y="1262"/>
                      </a:lnTo>
                      <a:lnTo>
                        <a:pt x="1147" y="1257"/>
                      </a:lnTo>
                      <a:lnTo>
                        <a:pt x="1152" y="1252"/>
                      </a:lnTo>
                      <a:lnTo>
                        <a:pt x="1154" y="1252"/>
                      </a:lnTo>
                      <a:lnTo>
                        <a:pt x="1162" y="1254"/>
                      </a:lnTo>
                      <a:lnTo>
                        <a:pt x="1168" y="1254"/>
                      </a:lnTo>
                      <a:lnTo>
                        <a:pt x="1173" y="1254"/>
                      </a:lnTo>
                      <a:lnTo>
                        <a:pt x="1194" y="1246"/>
                      </a:lnTo>
                      <a:lnTo>
                        <a:pt x="1202" y="1244"/>
                      </a:lnTo>
                      <a:lnTo>
                        <a:pt x="1210" y="1244"/>
                      </a:lnTo>
                      <a:lnTo>
                        <a:pt x="1236" y="1262"/>
                      </a:lnTo>
                      <a:lnTo>
                        <a:pt x="1271" y="1289"/>
                      </a:lnTo>
                      <a:lnTo>
                        <a:pt x="1276" y="1291"/>
                      </a:lnTo>
                      <a:lnTo>
                        <a:pt x="1287" y="1291"/>
                      </a:lnTo>
                      <a:lnTo>
                        <a:pt x="1295" y="1291"/>
                      </a:lnTo>
                      <a:lnTo>
                        <a:pt x="1300" y="1294"/>
                      </a:lnTo>
                      <a:lnTo>
                        <a:pt x="1300" y="1296"/>
                      </a:lnTo>
                      <a:lnTo>
                        <a:pt x="1297" y="1302"/>
                      </a:lnTo>
                      <a:lnTo>
                        <a:pt x="1295" y="1304"/>
                      </a:lnTo>
                      <a:lnTo>
                        <a:pt x="1295" y="1307"/>
                      </a:lnTo>
                      <a:lnTo>
                        <a:pt x="1313" y="1323"/>
                      </a:lnTo>
                      <a:lnTo>
                        <a:pt x="1326" y="1323"/>
                      </a:lnTo>
                      <a:lnTo>
                        <a:pt x="1355" y="1320"/>
                      </a:lnTo>
                      <a:lnTo>
                        <a:pt x="1387" y="1320"/>
                      </a:lnTo>
                      <a:lnTo>
                        <a:pt x="1398" y="1323"/>
                      </a:lnTo>
                      <a:lnTo>
                        <a:pt x="1400" y="1326"/>
                      </a:lnTo>
                      <a:lnTo>
                        <a:pt x="1403" y="1328"/>
                      </a:lnTo>
                      <a:lnTo>
                        <a:pt x="1405" y="1344"/>
                      </a:lnTo>
                      <a:lnTo>
                        <a:pt x="1408" y="1344"/>
                      </a:lnTo>
                      <a:lnTo>
                        <a:pt x="1413" y="1347"/>
                      </a:lnTo>
                      <a:lnTo>
                        <a:pt x="1416" y="1352"/>
                      </a:lnTo>
                      <a:lnTo>
                        <a:pt x="1419" y="1357"/>
                      </a:lnTo>
                      <a:lnTo>
                        <a:pt x="1421" y="1365"/>
                      </a:lnTo>
                      <a:lnTo>
                        <a:pt x="1421" y="1378"/>
                      </a:lnTo>
                      <a:lnTo>
                        <a:pt x="1427" y="1378"/>
                      </a:lnTo>
                      <a:lnTo>
                        <a:pt x="1432" y="1378"/>
                      </a:lnTo>
                      <a:lnTo>
                        <a:pt x="1437" y="1381"/>
                      </a:lnTo>
                      <a:lnTo>
                        <a:pt x="1445" y="1386"/>
                      </a:lnTo>
                      <a:lnTo>
                        <a:pt x="1448" y="1394"/>
                      </a:lnTo>
                      <a:lnTo>
                        <a:pt x="1450" y="1407"/>
                      </a:lnTo>
                      <a:lnTo>
                        <a:pt x="1450" y="1423"/>
                      </a:lnTo>
                      <a:lnTo>
                        <a:pt x="1456" y="1421"/>
                      </a:lnTo>
                      <a:lnTo>
                        <a:pt x="1461" y="1418"/>
                      </a:lnTo>
                      <a:lnTo>
                        <a:pt x="1472" y="1418"/>
                      </a:lnTo>
                      <a:lnTo>
                        <a:pt x="1474" y="1421"/>
                      </a:lnTo>
                      <a:lnTo>
                        <a:pt x="1477" y="1423"/>
                      </a:lnTo>
                      <a:lnTo>
                        <a:pt x="1477" y="1426"/>
                      </a:lnTo>
                      <a:lnTo>
                        <a:pt x="1479" y="1428"/>
                      </a:lnTo>
                      <a:lnTo>
                        <a:pt x="1495" y="1436"/>
                      </a:lnTo>
                      <a:lnTo>
                        <a:pt x="1511" y="1442"/>
                      </a:lnTo>
                      <a:lnTo>
                        <a:pt x="1519" y="1442"/>
                      </a:lnTo>
                      <a:lnTo>
                        <a:pt x="1524" y="1436"/>
                      </a:lnTo>
                      <a:lnTo>
                        <a:pt x="1527" y="1434"/>
                      </a:lnTo>
                      <a:lnTo>
                        <a:pt x="1530" y="1431"/>
                      </a:lnTo>
                      <a:lnTo>
                        <a:pt x="1546" y="1439"/>
                      </a:lnTo>
                      <a:lnTo>
                        <a:pt x="1567" y="1450"/>
                      </a:lnTo>
                      <a:lnTo>
                        <a:pt x="1588" y="1455"/>
                      </a:lnTo>
                      <a:lnTo>
                        <a:pt x="1598" y="1455"/>
                      </a:lnTo>
                      <a:lnTo>
                        <a:pt x="1606" y="1452"/>
                      </a:lnTo>
                      <a:lnTo>
                        <a:pt x="1612" y="1452"/>
                      </a:lnTo>
                      <a:lnTo>
                        <a:pt x="1620" y="1452"/>
                      </a:lnTo>
                      <a:lnTo>
                        <a:pt x="1635" y="1460"/>
                      </a:lnTo>
                      <a:lnTo>
                        <a:pt x="1646" y="1468"/>
                      </a:lnTo>
                      <a:lnTo>
                        <a:pt x="1651" y="1473"/>
                      </a:lnTo>
                      <a:lnTo>
                        <a:pt x="1641" y="1505"/>
                      </a:lnTo>
                      <a:lnTo>
                        <a:pt x="1630" y="1537"/>
                      </a:lnTo>
                      <a:lnTo>
                        <a:pt x="1617" y="1576"/>
                      </a:lnTo>
                      <a:lnTo>
                        <a:pt x="1604" y="1598"/>
                      </a:lnTo>
                      <a:lnTo>
                        <a:pt x="1590" y="1621"/>
                      </a:lnTo>
                      <a:lnTo>
                        <a:pt x="1588" y="1629"/>
                      </a:lnTo>
                      <a:lnTo>
                        <a:pt x="1585" y="1637"/>
                      </a:lnTo>
                      <a:lnTo>
                        <a:pt x="1575" y="1653"/>
                      </a:lnTo>
                      <a:lnTo>
                        <a:pt x="1572" y="1653"/>
                      </a:lnTo>
                      <a:lnTo>
                        <a:pt x="1569" y="1650"/>
                      </a:lnTo>
                      <a:lnTo>
                        <a:pt x="1564" y="1664"/>
                      </a:lnTo>
                      <a:lnTo>
                        <a:pt x="1559" y="1674"/>
                      </a:lnTo>
                      <a:lnTo>
                        <a:pt x="1561" y="1685"/>
                      </a:lnTo>
                      <a:lnTo>
                        <a:pt x="1561" y="1695"/>
                      </a:lnTo>
                      <a:lnTo>
                        <a:pt x="1556" y="1714"/>
                      </a:lnTo>
                      <a:lnTo>
                        <a:pt x="1553" y="1714"/>
                      </a:lnTo>
                      <a:lnTo>
                        <a:pt x="1551" y="1711"/>
                      </a:lnTo>
                      <a:lnTo>
                        <a:pt x="1548" y="1714"/>
                      </a:lnTo>
                      <a:lnTo>
                        <a:pt x="1548" y="1727"/>
                      </a:lnTo>
                      <a:lnTo>
                        <a:pt x="1546" y="1740"/>
                      </a:lnTo>
                      <a:lnTo>
                        <a:pt x="1543" y="1745"/>
                      </a:lnTo>
                      <a:lnTo>
                        <a:pt x="1540" y="1753"/>
                      </a:lnTo>
                      <a:lnTo>
                        <a:pt x="1532" y="1764"/>
                      </a:lnTo>
                      <a:lnTo>
                        <a:pt x="1522" y="1772"/>
                      </a:lnTo>
                      <a:lnTo>
                        <a:pt x="1490" y="1811"/>
                      </a:lnTo>
                      <a:lnTo>
                        <a:pt x="1466" y="1835"/>
                      </a:lnTo>
                      <a:lnTo>
                        <a:pt x="1448" y="1848"/>
                      </a:lnTo>
                      <a:lnTo>
                        <a:pt x="1440" y="1854"/>
                      </a:lnTo>
                      <a:lnTo>
                        <a:pt x="1432" y="1856"/>
                      </a:lnTo>
                      <a:lnTo>
                        <a:pt x="1419" y="1859"/>
                      </a:lnTo>
                      <a:lnTo>
                        <a:pt x="1405" y="1864"/>
                      </a:lnTo>
                      <a:lnTo>
                        <a:pt x="1390" y="1872"/>
                      </a:lnTo>
                      <a:lnTo>
                        <a:pt x="1374" y="1883"/>
                      </a:lnTo>
                      <a:lnTo>
                        <a:pt x="1358" y="1896"/>
                      </a:lnTo>
                      <a:lnTo>
                        <a:pt x="1345" y="1912"/>
                      </a:lnTo>
                      <a:lnTo>
                        <a:pt x="1334" y="1925"/>
                      </a:lnTo>
                      <a:lnTo>
                        <a:pt x="1326" y="1943"/>
                      </a:lnTo>
                      <a:lnTo>
                        <a:pt x="1321" y="1957"/>
                      </a:lnTo>
                      <a:lnTo>
                        <a:pt x="1318" y="1957"/>
                      </a:lnTo>
                      <a:lnTo>
                        <a:pt x="1316" y="1957"/>
                      </a:lnTo>
                      <a:lnTo>
                        <a:pt x="1316" y="1954"/>
                      </a:lnTo>
                      <a:lnTo>
                        <a:pt x="1313" y="1954"/>
                      </a:lnTo>
                      <a:lnTo>
                        <a:pt x="1310" y="1970"/>
                      </a:lnTo>
                      <a:lnTo>
                        <a:pt x="1287" y="1994"/>
                      </a:lnTo>
                      <a:lnTo>
                        <a:pt x="1276" y="2004"/>
                      </a:lnTo>
                      <a:lnTo>
                        <a:pt x="1265" y="2015"/>
                      </a:lnTo>
                      <a:lnTo>
                        <a:pt x="1255" y="2017"/>
                      </a:lnTo>
                      <a:lnTo>
                        <a:pt x="1247" y="2020"/>
                      </a:lnTo>
                      <a:lnTo>
                        <a:pt x="1242" y="2025"/>
                      </a:lnTo>
                      <a:lnTo>
                        <a:pt x="1234" y="2033"/>
                      </a:lnTo>
                      <a:lnTo>
                        <a:pt x="1228" y="2036"/>
                      </a:lnTo>
                      <a:lnTo>
                        <a:pt x="1226" y="2036"/>
                      </a:lnTo>
                      <a:lnTo>
                        <a:pt x="1223" y="2033"/>
                      </a:lnTo>
                      <a:lnTo>
                        <a:pt x="1221" y="2033"/>
                      </a:lnTo>
                      <a:lnTo>
                        <a:pt x="1218" y="2036"/>
                      </a:lnTo>
                      <a:lnTo>
                        <a:pt x="1213" y="2041"/>
                      </a:lnTo>
                      <a:lnTo>
                        <a:pt x="1197" y="2052"/>
                      </a:lnTo>
                      <a:lnTo>
                        <a:pt x="1149" y="2052"/>
                      </a:lnTo>
                      <a:lnTo>
                        <a:pt x="1149" y="2054"/>
                      </a:lnTo>
                      <a:lnTo>
                        <a:pt x="1147" y="2068"/>
                      </a:lnTo>
                      <a:lnTo>
                        <a:pt x="1144" y="2078"/>
                      </a:lnTo>
                      <a:lnTo>
                        <a:pt x="1139" y="2083"/>
                      </a:lnTo>
                      <a:lnTo>
                        <a:pt x="1131" y="2089"/>
                      </a:lnTo>
                      <a:lnTo>
                        <a:pt x="1110" y="2099"/>
                      </a:lnTo>
                      <a:lnTo>
                        <a:pt x="1078" y="2118"/>
                      </a:lnTo>
                      <a:lnTo>
                        <a:pt x="1012" y="2155"/>
                      </a:lnTo>
                      <a:lnTo>
                        <a:pt x="980" y="2171"/>
                      </a:lnTo>
                      <a:lnTo>
                        <a:pt x="954" y="2186"/>
                      </a:lnTo>
                      <a:lnTo>
                        <a:pt x="927" y="2205"/>
                      </a:lnTo>
                      <a:lnTo>
                        <a:pt x="898" y="2215"/>
                      </a:lnTo>
                      <a:lnTo>
                        <a:pt x="795" y="2229"/>
                      </a:lnTo>
                      <a:lnTo>
                        <a:pt x="885" y="2160"/>
                      </a:lnTo>
                      <a:lnTo>
                        <a:pt x="896" y="2149"/>
                      </a:lnTo>
                      <a:lnTo>
                        <a:pt x="919" y="2126"/>
                      </a:lnTo>
                      <a:lnTo>
                        <a:pt x="930" y="2110"/>
                      </a:lnTo>
                      <a:lnTo>
                        <a:pt x="940" y="2094"/>
                      </a:lnTo>
                      <a:lnTo>
                        <a:pt x="946" y="2078"/>
                      </a:lnTo>
                      <a:lnTo>
                        <a:pt x="948" y="2062"/>
                      </a:lnTo>
                      <a:lnTo>
                        <a:pt x="948" y="2049"/>
                      </a:lnTo>
                      <a:lnTo>
                        <a:pt x="954" y="2033"/>
                      </a:lnTo>
                      <a:lnTo>
                        <a:pt x="959" y="2017"/>
                      </a:lnTo>
                      <a:lnTo>
                        <a:pt x="967" y="2002"/>
                      </a:lnTo>
                      <a:lnTo>
                        <a:pt x="983" y="1978"/>
                      </a:lnTo>
                      <a:lnTo>
                        <a:pt x="991" y="1967"/>
                      </a:lnTo>
                      <a:lnTo>
                        <a:pt x="1001" y="1938"/>
                      </a:lnTo>
                      <a:lnTo>
                        <a:pt x="1004" y="1936"/>
                      </a:lnTo>
                      <a:lnTo>
                        <a:pt x="1012" y="1930"/>
                      </a:lnTo>
                      <a:lnTo>
                        <a:pt x="1020" y="1928"/>
                      </a:lnTo>
                      <a:lnTo>
                        <a:pt x="1022" y="1922"/>
                      </a:lnTo>
                      <a:lnTo>
                        <a:pt x="1020" y="1920"/>
                      </a:lnTo>
                      <a:lnTo>
                        <a:pt x="1014" y="1917"/>
                      </a:lnTo>
                      <a:lnTo>
                        <a:pt x="1012" y="1917"/>
                      </a:lnTo>
                      <a:lnTo>
                        <a:pt x="1009" y="1914"/>
                      </a:lnTo>
                      <a:lnTo>
                        <a:pt x="1014" y="1891"/>
                      </a:lnTo>
                      <a:lnTo>
                        <a:pt x="1014" y="1872"/>
                      </a:lnTo>
                      <a:lnTo>
                        <a:pt x="1014" y="1862"/>
                      </a:lnTo>
                      <a:lnTo>
                        <a:pt x="1012" y="1856"/>
                      </a:lnTo>
                      <a:lnTo>
                        <a:pt x="1007" y="1851"/>
                      </a:lnTo>
                      <a:lnTo>
                        <a:pt x="999" y="1848"/>
                      </a:lnTo>
                      <a:lnTo>
                        <a:pt x="985" y="1851"/>
                      </a:lnTo>
                      <a:lnTo>
                        <a:pt x="977" y="1851"/>
                      </a:lnTo>
                      <a:lnTo>
                        <a:pt x="970" y="1851"/>
                      </a:lnTo>
                      <a:lnTo>
                        <a:pt x="967" y="1848"/>
                      </a:lnTo>
                      <a:lnTo>
                        <a:pt x="962" y="1843"/>
                      </a:lnTo>
                      <a:lnTo>
                        <a:pt x="954" y="1838"/>
                      </a:lnTo>
                      <a:lnTo>
                        <a:pt x="948" y="1838"/>
                      </a:lnTo>
                      <a:lnTo>
                        <a:pt x="946" y="1838"/>
                      </a:lnTo>
                      <a:lnTo>
                        <a:pt x="943" y="1840"/>
                      </a:lnTo>
                      <a:lnTo>
                        <a:pt x="940" y="1840"/>
                      </a:lnTo>
                      <a:lnTo>
                        <a:pt x="919" y="1830"/>
                      </a:lnTo>
                      <a:lnTo>
                        <a:pt x="898" y="1819"/>
                      </a:lnTo>
                      <a:lnTo>
                        <a:pt x="882" y="1806"/>
                      </a:lnTo>
                      <a:lnTo>
                        <a:pt x="861" y="1764"/>
                      </a:lnTo>
                      <a:lnTo>
                        <a:pt x="845" y="1748"/>
                      </a:lnTo>
                      <a:lnTo>
                        <a:pt x="843" y="1719"/>
                      </a:lnTo>
                      <a:lnTo>
                        <a:pt x="827" y="1727"/>
                      </a:lnTo>
                      <a:lnTo>
                        <a:pt x="766" y="1661"/>
                      </a:lnTo>
                      <a:lnTo>
                        <a:pt x="763" y="1653"/>
                      </a:lnTo>
                      <a:lnTo>
                        <a:pt x="761" y="1640"/>
                      </a:lnTo>
                      <a:lnTo>
                        <a:pt x="761" y="1632"/>
                      </a:lnTo>
                      <a:lnTo>
                        <a:pt x="763" y="1621"/>
                      </a:lnTo>
                      <a:lnTo>
                        <a:pt x="771" y="1613"/>
                      </a:lnTo>
                      <a:lnTo>
                        <a:pt x="782" y="1605"/>
                      </a:lnTo>
                      <a:lnTo>
                        <a:pt x="782" y="1590"/>
                      </a:lnTo>
                      <a:lnTo>
                        <a:pt x="779" y="1579"/>
                      </a:lnTo>
                      <a:lnTo>
                        <a:pt x="777" y="1574"/>
                      </a:lnTo>
                      <a:lnTo>
                        <a:pt x="774" y="1568"/>
                      </a:lnTo>
                      <a:lnTo>
                        <a:pt x="769" y="1563"/>
                      </a:lnTo>
                      <a:lnTo>
                        <a:pt x="766" y="1555"/>
                      </a:lnTo>
                      <a:lnTo>
                        <a:pt x="769" y="1553"/>
                      </a:lnTo>
                      <a:lnTo>
                        <a:pt x="771" y="1547"/>
                      </a:lnTo>
                      <a:lnTo>
                        <a:pt x="779" y="1542"/>
                      </a:lnTo>
                      <a:lnTo>
                        <a:pt x="777" y="1539"/>
                      </a:lnTo>
                      <a:lnTo>
                        <a:pt x="771" y="1537"/>
                      </a:lnTo>
                      <a:lnTo>
                        <a:pt x="766" y="1534"/>
                      </a:lnTo>
                      <a:lnTo>
                        <a:pt x="766" y="1531"/>
                      </a:lnTo>
                      <a:lnTo>
                        <a:pt x="769" y="1521"/>
                      </a:lnTo>
                      <a:lnTo>
                        <a:pt x="774" y="1508"/>
                      </a:lnTo>
                      <a:lnTo>
                        <a:pt x="785" y="1497"/>
                      </a:lnTo>
                      <a:lnTo>
                        <a:pt x="790" y="1495"/>
                      </a:lnTo>
                      <a:lnTo>
                        <a:pt x="795" y="1492"/>
                      </a:lnTo>
                      <a:lnTo>
                        <a:pt x="800" y="1492"/>
                      </a:lnTo>
                      <a:lnTo>
                        <a:pt x="803" y="1492"/>
                      </a:lnTo>
                      <a:lnTo>
                        <a:pt x="806" y="1495"/>
                      </a:lnTo>
                      <a:lnTo>
                        <a:pt x="808" y="1492"/>
                      </a:lnTo>
                      <a:lnTo>
                        <a:pt x="822" y="1489"/>
                      </a:lnTo>
                      <a:lnTo>
                        <a:pt x="837" y="1481"/>
                      </a:lnTo>
                      <a:lnTo>
                        <a:pt x="837" y="1479"/>
                      </a:lnTo>
                      <a:lnTo>
                        <a:pt x="835" y="1479"/>
                      </a:lnTo>
                      <a:lnTo>
                        <a:pt x="832" y="1476"/>
                      </a:lnTo>
                      <a:lnTo>
                        <a:pt x="832" y="1473"/>
                      </a:lnTo>
                      <a:lnTo>
                        <a:pt x="845" y="1452"/>
                      </a:lnTo>
                      <a:lnTo>
                        <a:pt x="853" y="1431"/>
                      </a:lnTo>
                      <a:lnTo>
                        <a:pt x="856" y="1407"/>
                      </a:lnTo>
                      <a:lnTo>
                        <a:pt x="856" y="1397"/>
                      </a:lnTo>
                      <a:lnTo>
                        <a:pt x="853" y="1386"/>
                      </a:lnTo>
                      <a:lnTo>
                        <a:pt x="851" y="1378"/>
                      </a:lnTo>
                      <a:lnTo>
                        <a:pt x="845" y="1357"/>
                      </a:lnTo>
                      <a:lnTo>
                        <a:pt x="843" y="1357"/>
                      </a:lnTo>
                      <a:lnTo>
                        <a:pt x="840" y="1357"/>
                      </a:lnTo>
                      <a:lnTo>
                        <a:pt x="837" y="1352"/>
                      </a:lnTo>
                      <a:lnTo>
                        <a:pt x="840" y="1344"/>
                      </a:lnTo>
                      <a:lnTo>
                        <a:pt x="840" y="1339"/>
                      </a:lnTo>
                      <a:lnTo>
                        <a:pt x="837" y="1339"/>
                      </a:lnTo>
                      <a:lnTo>
                        <a:pt x="835" y="1339"/>
                      </a:lnTo>
                      <a:lnTo>
                        <a:pt x="832" y="1339"/>
                      </a:lnTo>
                      <a:lnTo>
                        <a:pt x="822" y="1323"/>
                      </a:lnTo>
                      <a:lnTo>
                        <a:pt x="816" y="1318"/>
                      </a:lnTo>
                      <a:lnTo>
                        <a:pt x="811" y="1318"/>
                      </a:lnTo>
                      <a:lnTo>
                        <a:pt x="803" y="1318"/>
                      </a:lnTo>
                      <a:lnTo>
                        <a:pt x="798" y="1318"/>
                      </a:lnTo>
                      <a:lnTo>
                        <a:pt x="795" y="1320"/>
                      </a:lnTo>
                      <a:lnTo>
                        <a:pt x="795" y="1328"/>
                      </a:lnTo>
                      <a:lnTo>
                        <a:pt x="795" y="1336"/>
                      </a:lnTo>
                      <a:lnTo>
                        <a:pt x="793" y="1339"/>
                      </a:lnTo>
                      <a:lnTo>
                        <a:pt x="790" y="1339"/>
                      </a:lnTo>
                      <a:lnTo>
                        <a:pt x="790" y="1341"/>
                      </a:lnTo>
                      <a:lnTo>
                        <a:pt x="790" y="1349"/>
                      </a:lnTo>
                      <a:lnTo>
                        <a:pt x="790" y="1357"/>
                      </a:lnTo>
                      <a:lnTo>
                        <a:pt x="787" y="1362"/>
                      </a:lnTo>
                      <a:lnTo>
                        <a:pt x="785" y="1368"/>
                      </a:lnTo>
                      <a:lnTo>
                        <a:pt x="779" y="1373"/>
                      </a:lnTo>
                      <a:lnTo>
                        <a:pt x="774" y="1373"/>
                      </a:lnTo>
                      <a:lnTo>
                        <a:pt x="763" y="1373"/>
                      </a:lnTo>
                      <a:lnTo>
                        <a:pt x="756" y="1370"/>
                      </a:lnTo>
                      <a:lnTo>
                        <a:pt x="742" y="1360"/>
                      </a:lnTo>
                      <a:lnTo>
                        <a:pt x="732" y="1349"/>
                      </a:lnTo>
                      <a:lnTo>
                        <a:pt x="729" y="1344"/>
                      </a:lnTo>
                      <a:lnTo>
                        <a:pt x="721" y="1339"/>
                      </a:lnTo>
                      <a:lnTo>
                        <a:pt x="705" y="1323"/>
                      </a:lnTo>
                      <a:lnTo>
                        <a:pt x="684" y="1310"/>
                      </a:lnTo>
                      <a:lnTo>
                        <a:pt x="674" y="1304"/>
                      </a:lnTo>
                      <a:lnTo>
                        <a:pt x="660" y="1302"/>
                      </a:lnTo>
                      <a:lnTo>
                        <a:pt x="652" y="1302"/>
                      </a:lnTo>
                      <a:lnTo>
                        <a:pt x="645" y="1299"/>
                      </a:lnTo>
                      <a:lnTo>
                        <a:pt x="639" y="1294"/>
                      </a:lnTo>
                      <a:lnTo>
                        <a:pt x="637" y="1286"/>
                      </a:lnTo>
                      <a:lnTo>
                        <a:pt x="634" y="1273"/>
                      </a:lnTo>
                      <a:lnTo>
                        <a:pt x="637" y="1262"/>
                      </a:lnTo>
                      <a:lnTo>
                        <a:pt x="637" y="1257"/>
                      </a:lnTo>
                      <a:lnTo>
                        <a:pt x="631" y="1249"/>
                      </a:lnTo>
                      <a:lnTo>
                        <a:pt x="615" y="1233"/>
                      </a:lnTo>
                      <a:lnTo>
                        <a:pt x="592" y="1217"/>
                      </a:lnTo>
                      <a:lnTo>
                        <a:pt x="581" y="1212"/>
                      </a:lnTo>
                      <a:lnTo>
                        <a:pt x="571" y="1212"/>
                      </a:lnTo>
                      <a:lnTo>
                        <a:pt x="549" y="1212"/>
                      </a:lnTo>
                      <a:lnTo>
                        <a:pt x="539" y="1209"/>
                      </a:lnTo>
                      <a:lnTo>
                        <a:pt x="526" y="1204"/>
                      </a:lnTo>
                      <a:lnTo>
                        <a:pt x="512" y="1196"/>
                      </a:lnTo>
                      <a:lnTo>
                        <a:pt x="499" y="1188"/>
                      </a:lnTo>
                      <a:lnTo>
                        <a:pt x="483" y="1172"/>
                      </a:lnTo>
                      <a:lnTo>
                        <a:pt x="468" y="1154"/>
                      </a:lnTo>
                      <a:lnTo>
                        <a:pt x="465" y="1149"/>
                      </a:lnTo>
                      <a:lnTo>
                        <a:pt x="460" y="1143"/>
                      </a:lnTo>
                      <a:lnTo>
                        <a:pt x="454" y="1138"/>
                      </a:lnTo>
                      <a:lnTo>
                        <a:pt x="449" y="1135"/>
                      </a:lnTo>
                      <a:lnTo>
                        <a:pt x="441" y="1135"/>
                      </a:lnTo>
                      <a:lnTo>
                        <a:pt x="431" y="1138"/>
                      </a:lnTo>
                      <a:lnTo>
                        <a:pt x="417" y="1146"/>
                      </a:lnTo>
                      <a:lnTo>
                        <a:pt x="412" y="1146"/>
                      </a:lnTo>
                      <a:lnTo>
                        <a:pt x="394" y="1146"/>
                      </a:lnTo>
                      <a:lnTo>
                        <a:pt x="378" y="1141"/>
                      </a:lnTo>
                      <a:lnTo>
                        <a:pt x="357" y="1135"/>
                      </a:lnTo>
                      <a:lnTo>
                        <a:pt x="330" y="1125"/>
                      </a:lnTo>
                      <a:lnTo>
                        <a:pt x="296" y="1109"/>
                      </a:lnTo>
                      <a:lnTo>
                        <a:pt x="291" y="1101"/>
                      </a:lnTo>
                      <a:lnTo>
                        <a:pt x="275" y="1085"/>
                      </a:lnTo>
                      <a:lnTo>
                        <a:pt x="251" y="1069"/>
                      </a:lnTo>
                      <a:lnTo>
                        <a:pt x="240" y="1064"/>
                      </a:lnTo>
                      <a:lnTo>
                        <a:pt x="230" y="1061"/>
                      </a:lnTo>
                      <a:lnTo>
                        <a:pt x="219" y="1061"/>
                      </a:lnTo>
                      <a:lnTo>
                        <a:pt x="209" y="1056"/>
                      </a:lnTo>
                      <a:lnTo>
                        <a:pt x="201" y="1051"/>
                      </a:lnTo>
                      <a:lnTo>
                        <a:pt x="193" y="1046"/>
                      </a:lnTo>
                      <a:lnTo>
                        <a:pt x="190" y="1035"/>
                      </a:lnTo>
                      <a:lnTo>
                        <a:pt x="187" y="1027"/>
                      </a:lnTo>
                      <a:lnTo>
                        <a:pt x="190" y="1017"/>
                      </a:lnTo>
                      <a:lnTo>
                        <a:pt x="195" y="1009"/>
                      </a:lnTo>
                      <a:lnTo>
                        <a:pt x="203" y="998"/>
                      </a:lnTo>
                      <a:lnTo>
                        <a:pt x="209" y="990"/>
                      </a:lnTo>
                      <a:lnTo>
                        <a:pt x="209" y="982"/>
                      </a:lnTo>
                      <a:lnTo>
                        <a:pt x="209" y="974"/>
                      </a:lnTo>
                      <a:lnTo>
                        <a:pt x="206" y="964"/>
                      </a:lnTo>
                      <a:lnTo>
                        <a:pt x="198" y="953"/>
                      </a:lnTo>
                      <a:lnTo>
                        <a:pt x="174" y="921"/>
                      </a:lnTo>
                      <a:lnTo>
                        <a:pt x="150" y="887"/>
                      </a:lnTo>
                      <a:lnTo>
                        <a:pt x="135" y="863"/>
                      </a:lnTo>
                      <a:lnTo>
                        <a:pt x="127" y="845"/>
                      </a:lnTo>
                      <a:lnTo>
                        <a:pt x="119" y="837"/>
                      </a:lnTo>
                      <a:lnTo>
                        <a:pt x="106" y="818"/>
                      </a:lnTo>
                      <a:lnTo>
                        <a:pt x="100" y="808"/>
                      </a:lnTo>
                      <a:lnTo>
                        <a:pt x="98" y="795"/>
                      </a:lnTo>
                      <a:lnTo>
                        <a:pt x="98" y="784"/>
                      </a:lnTo>
                      <a:lnTo>
                        <a:pt x="100" y="776"/>
                      </a:lnTo>
                      <a:lnTo>
                        <a:pt x="103" y="766"/>
                      </a:lnTo>
                      <a:lnTo>
                        <a:pt x="103" y="758"/>
                      </a:lnTo>
                      <a:lnTo>
                        <a:pt x="98" y="747"/>
                      </a:lnTo>
                      <a:lnTo>
                        <a:pt x="92" y="739"/>
                      </a:lnTo>
                      <a:lnTo>
                        <a:pt x="84" y="731"/>
                      </a:lnTo>
                      <a:lnTo>
                        <a:pt x="79" y="729"/>
                      </a:lnTo>
                      <a:lnTo>
                        <a:pt x="74" y="729"/>
                      </a:lnTo>
                      <a:lnTo>
                        <a:pt x="71" y="734"/>
                      </a:lnTo>
                      <a:lnTo>
                        <a:pt x="74" y="758"/>
                      </a:lnTo>
                      <a:lnTo>
                        <a:pt x="79" y="792"/>
                      </a:lnTo>
                      <a:lnTo>
                        <a:pt x="87" y="834"/>
                      </a:lnTo>
                      <a:lnTo>
                        <a:pt x="98" y="850"/>
                      </a:lnTo>
                      <a:lnTo>
                        <a:pt x="103" y="866"/>
                      </a:lnTo>
                      <a:lnTo>
                        <a:pt x="106" y="874"/>
                      </a:lnTo>
                      <a:lnTo>
                        <a:pt x="106" y="884"/>
                      </a:lnTo>
                      <a:lnTo>
                        <a:pt x="106" y="892"/>
                      </a:lnTo>
                      <a:lnTo>
                        <a:pt x="108" y="900"/>
                      </a:lnTo>
                      <a:lnTo>
                        <a:pt x="119" y="911"/>
                      </a:lnTo>
                      <a:lnTo>
                        <a:pt x="129" y="921"/>
                      </a:lnTo>
                      <a:lnTo>
                        <a:pt x="135" y="927"/>
                      </a:lnTo>
                      <a:lnTo>
                        <a:pt x="135" y="932"/>
                      </a:lnTo>
                      <a:lnTo>
                        <a:pt x="129" y="943"/>
                      </a:lnTo>
                      <a:lnTo>
                        <a:pt x="127" y="945"/>
                      </a:lnTo>
                      <a:lnTo>
                        <a:pt x="121" y="945"/>
                      </a:lnTo>
                      <a:lnTo>
                        <a:pt x="113" y="940"/>
                      </a:lnTo>
                      <a:lnTo>
                        <a:pt x="106" y="929"/>
                      </a:lnTo>
                      <a:lnTo>
                        <a:pt x="100" y="921"/>
                      </a:lnTo>
                      <a:lnTo>
                        <a:pt x="92" y="916"/>
                      </a:lnTo>
                      <a:lnTo>
                        <a:pt x="79" y="908"/>
                      </a:lnTo>
                      <a:lnTo>
                        <a:pt x="74" y="903"/>
                      </a:lnTo>
                      <a:lnTo>
                        <a:pt x="71" y="898"/>
                      </a:lnTo>
                      <a:lnTo>
                        <a:pt x="71" y="892"/>
                      </a:lnTo>
                      <a:lnTo>
                        <a:pt x="76" y="884"/>
                      </a:lnTo>
                      <a:lnTo>
                        <a:pt x="79" y="877"/>
                      </a:lnTo>
                      <a:lnTo>
                        <a:pt x="82" y="869"/>
                      </a:lnTo>
                      <a:lnTo>
                        <a:pt x="82" y="866"/>
                      </a:lnTo>
                      <a:lnTo>
                        <a:pt x="79" y="861"/>
                      </a:lnTo>
                      <a:lnTo>
                        <a:pt x="69" y="853"/>
                      </a:lnTo>
                      <a:lnTo>
                        <a:pt x="58" y="842"/>
                      </a:lnTo>
                      <a:lnTo>
                        <a:pt x="39" y="813"/>
                      </a:lnTo>
                      <a:lnTo>
                        <a:pt x="37" y="808"/>
                      </a:lnTo>
                      <a:lnTo>
                        <a:pt x="37" y="805"/>
                      </a:lnTo>
                      <a:lnTo>
                        <a:pt x="39" y="805"/>
                      </a:lnTo>
                      <a:lnTo>
                        <a:pt x="47" y="805"/>
                      </a:lnTo>
                      <a:lnTo>
                        <a:pt x="53" y="805"/>
                      </a:lnTo>
                      <a:lnTo>
                        <a:pt x="61" y="803"/>
                      </a:lnTo>
                      <a:lnTo>
                        <a:pt x="66" y="797"/>
                      </a:lnTo>
                      <a:lnTo>
                        <a:pt x="69" y="792"/>
                      </a:lnTo>
                      <a:lnTo>
                        <a:pt x="69" y="787"/>
                      </a:lnTo>
                      <a:lnTo>
                        <a:pt x="69" y="782"/>
                      </a:lnTo>
                      <a:lnTo>
                        <a:pt x="66" y="779"/>
                      </a:lnTo>
                      <a:lnTo>
                        <a:pt x="58" y="776"/>
                      </a:lnTo>
                      <a:lnTo>
                        <a:pt x="53" y="774"/>
                      </a:lnTo>
                      <a:lnTo>
                        <a:pt x="47" y="768"/>
                      </a:lnTo>
                      <a:lnTo>
                        <a:pt x="39" y="758"/>
                      </a:lnTo>
                      <a:lnTo>
                        <a:pt x="39" y="747"/>
                      </a:lnTo>
                      <a:lnTo>
                        <a:pt x="37" y="742"/>
                      </a:lnTo>
                      <a:lnTo>
                        <a:pt x="34" y="671"/>
                      </a:lnTo>
                      <a:lnTo>
                        <a:pt x="29" y="671"/>
                      </a:lnTo>
                      <a:lnTo>
                        <a:pt x="16" y="665"/>
                      </a:lnTo>
                      <a:lnTo>
                        <a:pt x="10" y="660"/>
                      </a:lnTo>
                      <a:lnTo>
                        <a:pt x="5" y="655"/>
                      </a:lnTo>
                      <a:lnTo>
                        <a:pt x="0" y="649"/>
                      </a:lnTo>
                      <a:lnTo>
                        <a:pt x="0" y="642"/>
                      </a:lnTo>
                      <a:lnTo>
                        <a:pt x="3" y="618"/>
                      </a:lnTo>
                      <a:lnTo>
                        <a:pt x="3" y="581"/>
                      </a:lnTo>
                      <a:lnTo>
                        <a:pt x="0" y="533"/>
                      </a:lnTo>
                      <a:lnTo>
                        <a:pt x="32" y="483"/>
                      </a:lnTo>
                      <a:lnTo>
                        <a:pt x="55" y="441"/>
                      </a:lnTo>
                      <a:lnTo>
                        <a:pt x="76" y="409"/>
                      </a:lnTo>
                      <a:lnTo>
                        <a:pt x="87" y="391"/>
                      </a:lnTo>
                      <a:lnTo>
                        <a:pt x="92" y="372"/>
                      </a:lnTo>
                      <a:lnTo>
                        <a:pt x="92" y="356"/>
                      </a:lnTo>
                      <a:lnTo>
                        <a:pt x="87" y="343"/>
                      </a:lnTo>
                      <a:lnTo>
                        <a:pt x="87" y="338"/>
                      </a:lnTo>
                      <a:lnTo>
                        <a:pt x="87" y="330"/>
                      </a:lnTo>
                      <a:lnTo>
                        <a:pt x="90" y="319"/>
                      </a:lnTo>
                      <a:lnTo>
                        <a:pt x="95" y="309"/>
                      </a:lnTo>
                      <a:lnTo>
                        <a:pt x="95" y="301"/>
                      </a:lnTo>
                      <a:lnTo>
                        <a:pt x="92" y="280"/>
                      </a:lnTo>
                      <a:lnTo>
                        <a:pt x="92" y="269"/>
                      </a:lnTo>
                      <a:lnTo>
                        <a:pt x="95" y="259"/>
                      </a:lnTo>
                      <a:lnTo>
                        <a:pt x="98" y="251"/>
                      </a:lnTo>
                      <a:lnTo>
                        <a:pt x="106" y="248"/>
                      </a:lnTo>
                      <a:lnTo>
                        <a:pt x="108" y="248"/>
                      </a:lnTo>
                      <a:lnTo>
                        <a:pt x="95" y="253"/>
                      </a:lnTo>
                      <a:lnTo>
                        <a:pt x="87" y="259"/>
                      </a:lnTo>
                      <a:lnTo>
                        <a:pt x="76" y="267"/>
                      </a:lnTo>
                      <a:lnTo>
                        <a:pt x="71" y="274"/>
                      </a:lnTo>
                      <a:lnTo>
                        <a:pt x="66" y="285"/>
                      </a:lnTo>
                      <a:lnTo>
                        <a:pt x="66" y="293"/>
                      </a:lnTo>
                      <a:lnTo>
                        <a:pt x="63" y="293"/>
                      </a:lnTo>
                      <a:lnTo>
                        <a:pt x="63" y="290"/>
                      </a:lnTo>
                      <a:lnTo>
                        <a:pt x="63" y="282"/>
                      </a:lnTo>
                      <a:lnTo>
                        <a:pt x="66" y="272"/>
                      </a:lnTo>
                      <a:lnTo>
                        <a:pt x="71" y="259"/>
                      </a:lnTo>
                      <a:lnTo>
                        <a:pt x="82" y="243"/>
                      </a:lnTo>
                      <a:lnTo>
                        <a:pt x="95" y="227"/>
                      </a:lnTo>
                      <a:lnTo>
                        <a:pt x="111" y="211"/>
                      </a:lnTo>
                      <a:lnTo>
                        <a:pt x="119" y="195"/>
                      </a:lnTo>
                      <a:lnTo>
                        <a:pt x="124" y="179"/>
                      </a:lnTo>
                      <a:lnTo>
                        <a:pt x="124" y="164"/>
                      </a:lnTo>
                      <a:lnTo>
                        <a:pt x="119" y="153"/>
                      </a:lnTo>
                      <a:lnTo>
                        <a:pt x="111" y="145"/>
                      </a:lnTo>
                      <a:lnTo>
                        <a:pt x="100" y="140"/>
                      </a:lnTo>
                      <a:lnTo>
                        <a:pt x="87" y="140"/>
                      </a:lnTo>
                      <a:lnTo>
                        <a:pt x="76" y="142"/>
                      </a:lnTo>
                      <a:lnTo>
                        <a:pt x="66" y="148"/>
                      </a:lnTo>
                      <a:lnTo>
                        <a:pt x="50" y="161"/>
                      </a:lnTo>
                      <a:lnTo>
                        <a:pt x="34" y="171"/>
                      </a:lnTo>
                      <a:lnTo>
                        <a:pt x="26" y="174"/>
                      </a:lnTo>
                      <a:lnTo>
                        <a:pt x="13" y="177"/>
                      </a:lnTo>
                      <a:lnTo>
                        <a:pt x="69" y="132"/>
                      </a:lnTo>
                      <a:lnTo>
                        <a:pt x="90" y="119"/>
                      </a:lnTo>
                      <a:lnTo>
                        <a:pt x="143" y="90"/>
                      </a:lnTo>
                      <a:lnTo>
                        <a:pt x="214" y="50"/>
                      </a:lnTo>
                      <a:lnTo>
                        <a:pt x="251" y="34"/>
                      </a:lnTo>
                      <a:lnTo>
                        <a:pt x="288" y="18"/>
                      </a:lnTo>
                      <a:lnTo>
                        <a:pt x="291" y="32"/>
                      </a:lnTo>
                      <a:lnTo>
                        <a:pt x="296" y="42"/>
                      </a:lnTo>
                      <a:lnTo>
                        <a:pt x="301" y="45"/>
                      </a:lnTo>
                      <a:lnTo>
                        <a:pt x="304" y="47"/>
                      </a:lnTo>
                      <a:lnTo>
                        <a:pt x="320" y="50"/>
                      </a:lnTo>
                      <a:lnTo>
                        <a:pt x="346" y="50"/>
                      </a:lnTo>
                      <a:lnTo>
                        <a:pt x="370" y="50"/>
                      </a:lnTo>
                      <a:lnTo>
                        <a:pt x="380" y="53"/>
                      </a:lnTo>
                      <a:lnTo>
                        <a:pt x="388" y="55"/>
                      </a:lnTo>
                      <a:lnTo>
                        <a:pt x="401" y="68"/>
                      </a:lnTo>
                      <a:lnTo>
                        <a:pt x="417" y="79"/>
                      </a:lnTo>
                      <a:lnTo>
                        <a:pt x="423" y="79"/>
                      </a:lnTo>
                      <a:lnTo>
                        <a:pt x="428" y="84"/>
                      </a:lnTo>
                      <a:lnTo>
                        <a:pt x="431" y="82"/>
                      </a:lnTo>
                      <a:lnTo>
                        <a:pt x="436" y="84"/>
                      </a:lnTo>
                      <a:lnTo>
                        <a:pt x="441" y="82"/>
                      </a:lnTo>
                      <a:lnTo>
                        <a:pt x="444" y="79"/>
                      </a:lnTo>
                      <a:lnTo>
                        <a:pt x="441" y="76"/>
                      </a:lnTo>
                      <a:lnTo>
                        <a:pt x="441" y="74"/>
                      </a:lnTo>
                      <a:lnTo>
                        <a:pt x="438" y="74"/>
                      </a:lnTo>
                      <a:lnTo>
                        <a:pt x="438" y="71"/>
                      </a:lnTo>
                      <a:lnTo>
                        <a:pt x="436" y="71"/>
                      </a:lnTo>
                      <a:lnTo>
                        <a:pt x="428" y="63"/>
                      </a:lnTo>
                      <a:lnTo>
                        <a:pt x="423" y="61"/>
                      </a:lnTo>
                      <a:lnTo>
                        <a:pt x="423" y="55"/>
                      </a:lnTo>
                      <a:lnTo>
                        <a:pt x="425" y="53"/>
                      </a:lnTo>
                      <a:lnTo>
                        <a:pt x="425" y="50"/>
                      </a:lnTo>
                      <a:lnTo>
                        <a:pt x="428" y="47"/>
                      </a:lnTo>
                      <a:lnTo>
                        <a:pt x="428" y="45"/>
                      </a:lnTo>
                      <a:lnTo>
                        <a:pt x="425" y="45"/>
                      </a:lnTo>
                      <a:lnTo>
                        <a:pt x="412" y="34"/>
                      </a:lnTo>
                      <a:lnTo>
                        <a:pt x="412" y="37"/>
                      </a:lnTo>
                      <a:lnTo>
                        <a:pt x="409" y="37"/>
                      </a:lnTo>
                      <a:lnTo>
                        <a:pt x="407" y="34"/>
                      </a:lnTo>
                      <a:lnTo>
                        <a:pt x="404" y="34"/>
                      </a:lnTo>
                      <a:lnTo>
                        <a:pt x="401" y="29"/>
                      </a:lnTo>
                      <a:lnTo>
                        <a:pt x="399" y="26"/>
                      </a:lnTo>
                      <a:lnTo>
                        <a:pt x="399" y="21"/>
                      </a:lnTo>
                      <a:lnTo>
                        <a:pt x="404" y="18"/>
                      </a:lnTo>
                      <a:lnTo>
                        <a:pt x="420" y="13"/>
                      </a:lnTo>
                      <a:lnTo>
                        <a:pt x="423" y="13"/>
                      </a:lnTo>
                      <a:lnTo>
                        <a:pt x="425" y="16"/>
                      </a:lnTo>
                      <a:lnTo>
                        <a:pt x="428" y="13"/>
                      </a:lnTo>
                      <a:lnTo>
                        <a:pt x="428" y="10"/>
                      </a:lnTo>
                      <a:lnTo>
                        <a:pt x="441" y="10"/>
                      </a:lnTo>
                      <a:lnTo>
                        <a:pt x="454" y="10"/>
                      </a:lnTo>
                      <a:lnTo>
                        <a:pt x="454" y="8"/>
                      </a:lnTo>
                      <a:lnTo>
                        <a:pt x="452" y="5"/>
                      </a:lnTo>
                      <a:lnTo>
                        <a:pt x="452" y="2"/>
                      </a:lnTo>
                      <a:lnTo>
                        <a:pt x="465" y="0"/>
                      </a:lnTo>
                      <a:lnTo>
                        <a:pt x="475" y="0"/>
                      </a:lnTo>
                      <a:lnTo>
                        <a:pt x="483" y="2"/>
                      </a:lnTo>
                      <a:lnTo>
                        <a:pt x="486" y="8"/>
                      </a:lnTo>
                      <a:lnTo>
                        <a:pt x="486" y="16"/>
                      </a:lnTo>
                      <a:lnTo>
                        <a:pt x="489" y="18"/>
                      </a:lnTo>
                      <a:lnTo>
                        <a:pt x="491" y="21"/>
                      </a:lnTo>
                      <a:lnTo>
                        <a:pt x="489" y="21"/>
                      </a:lnTo>
                      <a:lnTo>
                        <a:pt x="491" y="24"/>
                      </a:lnTo>
                      <a:lnTo>
                        <a:pt x="491" y="26"/>
                      </a:lnTo>
                      <a:lnTo>
                        <a:pt x="494" y="26"/>
                      </a:lnTo>
                      <a:lnTo>
                        <a:pt x="502" y="26"/>
                      </a:lnTo>
                      <a:lnTo>
                        <a:pt x="523" y="45"/>
                      </a:lnTo>
                      <a:lnTo>
                        <a:pt x="526" y="47"/>
                      </a:lnTo>
                      <a:lnTo>
                        <a:pt x="528" y="47"/>
                      </a:lnTo>
                      <a:lnTo>
                        <a:pt x="531" y="53"/>
                      </a:lnTo>
                      <a:lnTo>
                        <a:pt x="528" y="61"/>
                      </a:lnTo>
                      <a:lnTo>
                        <a:pt x="526" y="63"/>
                      </a:lnTo>
                      <a:lnTo>
                        <a:pt x="520" y="66"/>
                      </a:lnTo>
                      <a:lnTo>
                        <a:pt x="512" y="68"/>
                      </a:lnTo>
                      <a:lnTo>
                        <a:pt x="505" y="68"/>
                      </a:lnTo>
                      <a:lnTo>
                        <a:pt x="499" y="71"/>
                      </a:lnTo>
                      <a:lnTo>
                        <a:pt x="497" y="68"/>
                      </a:lnTo>
                      <a:lnTo>
                        <a:pt x="494" y="68"/>
                      </a:lnTo>
                      <a:lnTo>
                        <a:pt x="489" y="71"/>
                      </a:lnTo>
                      <a:lnTo>
                        <a:pt x="478" y="74"/>
                      </a:lnTo>
                      <a:lnTo>
                        <a:pt x="473" y="79"/>
                      </a:lnTo>
                      <a:lnTo>
                        <a:pt x="470" y="82"/>
                      </a:lnTo>
                      <a:lnTo>
                        <a:pt x="473" y="84"/>
                      </a:lnTo>
                      <a:lnTo>
                        <a:pt x="478" y="84"/>
                      </a:lnTo>
                      <a:lnTo>
                        <a:pt x="518" y="82"/>
                      </a:lnTo>
                      <a:lnTo>
                        <a:pt x="523" y="84"/>
                      </a:lnTo>
                      <a:lnTo>
                        <a:pt x="523" y="82"/>
                      </a:lnTo>
                      <a:lnTo>
                        <a:pt x="534" y="82"/>
                      </a:lnTo>
                      <a:lnTo>
                        <a:pt x="536" y="82"/>
                      </a:lnTo>
                      <a:lnTo>
                        <a:pt x="565" y="76"/>
                      </a:lnTo>
                      <a:lnTo>
                        <a:pt x="568" y="66"/>
                      </a:lnTo>
                      <a:lnTo>
                        <a:pt x="571" y="63"/>
                      </a:lnTo>
                      <a:lnTo>
                        <a:pt x="571" y="61"/>
                      </a:lnTo>
                      <a:lnTo>
                        <a:pt x="573" y="55"/>
                      </a:lnTo>
                      <a:lnTo>
                        <a:pt x="571" y="55"/>
                      </a:lnTo>
                      <a:lnTo>
                        <a:pt x="573" y="45"/>
                      </a:lnTo>
                      <a:lnTo>
                        <a:pt x="584" y="45"/>
                      </a:lnTo>
                      <a:lnTo>
                        <a:pt x="584" y="47"/>
                      </a:lnTo>
                      <a:lnTo>
                        <a:pt x="584" y="50"/>
                      </a:lnTo>
                      <a:lnTo>
                        <a:pt x="586" y="53"/>
                      </a:lnTo>
                      <a:lnTo>
                        <a:pt x="589" y="50"/>
                      </a:lnTo>
                      <a:lnTo>
                        <a:pt x="592" y="47"/>
                      </a:lnTo>
                      <a:lnTo>
                        <a:pt x="597" y="53"/>
                      </a:lnTo>
                      <a:lnTo>
                        <a:pt x="602" y="47"/>
                      </a:lnTo>
                      <a:lnTo>
                        <a:pt x="608" y="63"/>
                      </a:lnTo>
                      <a:lnTo>
                        <a:pt x="608" y="66"/>
                      </a:lnTo>
                      <a:lnTo>
                        <a:pt x="610" y="68"/>
                      </a:lnTo>
                      <a:lnTo>
                        <a:pt x="618" y="82"/>
                      </a:lnTo>
                      <a:lnTo>
                        <a:pt x="623" y="90"/>
                      </a:lnTo>
                      <a:lnTo>
                        <a:pt x="631" y="98"/>
                      </a:lnTo>
                      <a:lnTo>
                        <a:pt x="637" y="103"/>
                      </a:lnTo>
                      <a:lnTo>
                        <a:pt x="637" y="111"/>
                      </a:lnTo>
                      <a:lnTo>
                        <a:pt x="631" y="119"/>
                      </a:lnTo>
                      <a:lnTo>
                        <a:pt x="621" y="124"/>
                      </a:lnTo>
                      <a:lnTo>
                        <a:pt x="618" y="129"/>
                      </a:lnTo>
                      <a:lnTo>
                        <a:pt x="615" y="127"/>
                      </a:lnTo>
                      <a:lnTo>
                        <a:pt x="613" y="129"/>
                      </a:lnTo>
                      <a:lnTo>
                        <a:pt x="610" y="129"/>
                      </a:lnTo>
                      <a:lnTo>
                        <a:pt x="608" y="129"/>
                      </a:lnTo>
                      <a:lnTo>
                        <a:pt x="602" y="135"/>
                      </a:lnTo>
                      <a:lnTo>
                        <a:pt x="594" y="135"/>
                      </a:lnTo>
                      <a:lnTo>
                        <a:pt x="584" y="135"/>
                      </a:lnTo>
                      <a:lnTo>
                        <a:pt x="586" y="137"/>
                      </a:lnTo>
                      <a:lnTo>
                        <a:pt x="586" y="140"/>
                      </a:lnTo>
                      <a:lnTo>
                        <a:pt x="584" y="142"/>
                      </a:lnTo>
                      <a:lnTo>
                        <a:pt x="565" y="153"/>
                      </a:lnTo>
                      <a:lnTo>
                        <a:pt x="547" y="166"/>
                      </a:lnTo>
                      <a:lnTo>
                        <a:pt x="542" y="177"/>
                      </a:lnTo>
                      <a:lnTo>
                        <a:pt x="536" y="185"/>
                      </a:lnTo>
                      <a:lnTo>
                        <a:pt x="536" y="195"/>
                      </a:lnTo>
                      <a:lnTo>
                        <a:pt x="536" y="208"/>
                      </a:lnTo>
                      <a:lnTo>
                        <a:pt x="539" y="211"/>
                      </a:lnTo>
                      <a:lnTo>
                        <a:pt x="552" y="219"/>
                      </a:lnTo>
                      <a:lnTo>
                        <a:pt x="578" y="232"/>
                      </a:lnTo>
                      <a:lnTo>
                        <a:pt x="615" y="248"/>
                      </a:lnTo>
                      <a:lnTo>
                        <a:pt x="652" y="261"/>
                      </a:lnTo>
                      <a:lnTo>
                        <a:pt x="674" y="272"/>
                      </a:lnTo>
                      <a:lnTo>
                        <a:pt x="679" y="274"/>
                      </a:lnTo>
                      <a:lnTo>
                        <a:pt x="684" y="280"/>
                      </a:lnTo>
                      <a:lnTo>
                        <a:pt x="687" y="293"/>
                      </a:lnTo>
                      <a:lnTo>
                        <a:pt x="695" y="311"/>
                      </a:lnTo>
                      <a:lnTo>
                        <a:pt x="703" y="330"/>
                      </a:lnTo>
                      <a:lnTo>
                        <a:pt x="711" y="335"/>
                      </a:lnTo>
                      <a:lnTo>
                        <a:pt x="716" y="340"/>
                      </a:lnTo>
                      <a:lnTo>
                        <a:pt x="724" y="343"/>
                      </a:lnTo>
                      <a:lnTo>
                        <a:pt x="732" y="338"/>
                      </a:lnTo>
                      <a:lnTo>
                        <a:pt x="737" y="335"/>
                      </a:lnTo>
                      <a:lnTo>
                        <a:pt x="742" y="327"/>
                      </a:lnTo>
                      <a:lnTo>
                        <a:pt x="745" y="322"/>
                      </a:lnTo>
                      <a:lnTo>
                        <a:pt x="745" y="314"/>
                      </a:lnTo>
                      <a:lnTo>
                        <a:pt x="745" y="306"/>
                      </a:lnTo>
                      <a:lnTo>
                        <a:pt x="742" y="296"/>
                      </a:lnTo>
                      <a:lnTo>
                        <a:pt x="734" y="280"/>
                      </a:lnTo>
                      <a:lnTo>
                        <a:pt x="734" y="272"/>
                      </a:lnTo>
                      <a:lnTo>
                        <a:pt x="737" y="267"/>
                      </a:lnTo>
                      <a:lnTo>
                        <a:pt x="740" y="264"/>
                      </a:lnTo>
                      <a:lnTo>
                        <a:pt x="745" y="261"/>
                      </a:lnTo>
                      <a:lnTo>
                        <a:pt x="756" y="259"/>
                      </a:lnTo>
                      <a:lnTo>
                        <a:pt x="758" y="256"/>
                      </a:lnTo>
                      <a:lnTo>
                        <a:pt x="766" y="251"/>
                      </a:lnTo>
                      <a:lnTo>
                        <a:pt x="769" y="248"/>
                      </a:lnTo>
                      <a:lnTo>
                        <a:pt x="771" y="243"/>
                      </a:lnTo>
                      <a:lnTo>
                        <a:pt x="771" y="235"/>
                      </a:lnTo>
                      <a:lnTo>
                        <a:pt x="769" y="230"/>
                      </a:lnTo>
                      <a:lnTo>
                        <a:pt x="753" y="219"/>
                      </a:lnTo>
                      <a:lnTo>
                        <a:pt x="745" y="208"/>
                      </a:lnTo>
                      <a:lnTo>
                        <a:pt x="740" y="203"/>
                      </a:lnTo>
                      <a:lnTo>
                        <a:pt x="740" y="201"/>
                      </a:lnTo>
                      <a:lnTo>
                        <a:pt x="740" y="195"/>
                      </a:lnTo>
                      <a:lnTo>
                        <a:pt x="742" y="190"/>
                      </a:lnTo>
                      <a:lnTo>
                        <a:pt x="742" y="182"/>
                      </a:lnTo>
                      <a:lnTo>
                        <a:pt x="740" y="179"/>
                      </a:lnTo>
                      <a:lnTo>
                        <a:pt x="734" y="177"/>
                      </a:lnTo>
                      <a:lnTo>
                        <a:pt x="734" y="166"/>
                      </a:lnTo>
                      <a:lnTo>
                        <a:pt x="737" y="164"/>
                      </a:lnTo>
                      <a:lnTo>
                        <a:pt x="740" y="161"/>
                      </a:lnTo>
                      <a:lnTo>
                        <a:pt x="753" y="153"/>
                      </a:lnTo>
                      <a:lnTo>
                        <a:pt x="761" y="150"/>
                      </a:lnTo>
                      <a:lnTo>
                        <a:pt x="766" y="150"/>
                      </a:lnTo>
                      <a:lnTo>
                        <a:pt x="774" y="153"/>
                      </a:lnTo>
                      <a:lnTo>
                        <a:pt x="785" y="156"/>
                      </a:lnTo>
                      <a:lnTo>
                        <a:pt x="787" y="156"/>
                      </a:lnTo>
                      <a:lnTo>
                        <a:pt x="790" y="153"/>
                      </a:lnTo>
                      <a:lnTo>
                        <a:pt x="793" y="153"/>
                      </a:lnTo>
                      <a:lnTo>
                        <a:pt x="803" y="156"/>
                      </a:lnTo>
                      <a:lnTo>
                        <a:pt x="814" y="161"/>
                      </a:lnTo>
                      <a:lnTo>
                        <a:pt x="824" y="169"/>
                      </a:lnTo>
                      <a:lnTo>
                        <a:pt x="830" y="179"/>
                      </a:lnTo>
                      <a:lnTo>
                        <a:pt x="832" y="187"/>
                      </a:lnTo>
                      <a:lnTo>
                        <a:pt x="840" y="201"/>
                      </a:lnTo>
                      <a:lnTo>
                        <a:pt x="845" y="208"/>
                      </a:lnTo>
                      <a:lnTo>
                        <a:pt x="851" y="211"/>
                      </a:lnTo>
                      <a:lnTo>
                        <a:pt x="859" y="214"/>
                      </a:lnTo>
                      <a:lnTo>
                        <a:pt x="866" y="211"/>
                      </a:lnTo>
                      <a:lnTo>
                        <a:pt x="880" y="195"/>
                      </a:lnTo>
                      <a:lnTo>
                        <a:pt x="885" y="182"/>
                      </a:lnTo>
                      <a:lnTo>
                        <a:pt x="888" y="177"/>
                      </a:lnTo>
                      <a:lnTo>
                        <a:pt x="885" y="174"/>
                      </a:lnTo>
                      <a:lnTo>
                        <a:pt x="888" y="174"/>
                      </a:lnTo>
                      <a:lnTo>
                        <a:pt x="893" y="174"/>
                      </a:lnTo>
                      <a:lnTo>
                        <a:pt x="903" y="182"/>
                      </a:lnTo>
                      <a:lnTo>
                        <a:pt x="917" y="195"/>
                      </a:lnTo>
                      <a:lnTo>
                        <a:pt x="927" y="206"/>
                      </a:lnTo>
                      <a:lnTo>
                        <a:pt x="940" y="214"/>
                      </a:lnTo>
                      <a:lnTo>
                        <a:pt x="940" y="216"/>
                      </a:lnTo>
                      <a:lnTo>
                        <a:pt x="940" y="219"/>
                      </a:lnTo>
                      <a:lnTo>
                        <a:pt x="940" y="222"/>
                      </a:lnTo>
                      <a:lnTo>
                        <a:pt x="954" y="224"/>
                      </a:lnTo>
                      <a:lnTo>
                        <a:pt x="964" y="227"/>
                      </a:lnTo>
                      <a:lnTo>
                        <a:pt x="1025" y="253"/>
                      </a:lnTo>
                      <a:lnTo>
                        <a:pt x="1036" y="259"/>
                      </a:lnTo>
                      <a:lnTo>
                        <a:pt x="1054" y="272"/>
                      </a:lnTo>
                      <a:lnTo>
                        <a:pt x="1059" y="277"/>
                      </a:lnTo>
                      <a:lnTo>
                        <a:pt x="1062" y="282"/>
                      </a:lnTo>
                      <a:lnTo>
                        <a:pt x="1067" y="304"/>
                      </a:lnTo>
                      <a:lnTo>
                        <a:pt x="1073" y="319"/>
                      </a:lnTo>
                      <a:lnTo>
                        <a:pt x="1083" y="335"/>
                      </a:lnTo>
                      <a:lnTo>
                        <a:pt x="1107" y="343"/>
                      </a:lnTo>
                      <a:lnTo>
                        <a:pt x="1125" y="354"/>
                      </a:lnTo>
                      <a:lnTo>
                        <a:pt x="1131" y="359"/>
                      </a:lnTo>
                      <a:lnTo>
                        <a:pt x="1136" y="364"/>
                      </a:lnTo>
                      <a:lnTo>
                        <a:pt x="1139" y="375"/>
                      </a:lnTo>
                      <a:lnTo>
                        <a:pt x="1136" y="388"/>
                      </a:lnTo>
                      <a:lnTo>
                        <a:pt x="1136" y="393"/>
                      </a:lnTo>
                      <a:lnTo>
                        <a:pt x="1131" y="396"/>
                      </a:lnTo>
                      <a:lnTo>
                        <a:pt x="1125" y="399"/>
                      </a:lnTo>
                      <a:lnTo>
                        <a:pt x="1117" y="399"/>
                      </a:lnTo>
                      <a:lnTo>
                        <a:pt x="1102" y="396"/>
                      </a:lnTo>
                      <a:lnTo>
                        <a:pt x="1086" y="391"/>
                      </a:lnTo>
                      <a:lnTo>
                        <a:pt x="1083" y="385"/>
                      </a:lnTo>
                      <a:lnTo>
                        <a:pt x="1081" y="380"/>
                      </a:lnTo>
                      <a:lnTo>
                        <a:pt x="1078" y="383"/>
                      </a:lnTo>
                      <a:lnTo>
                        <a:pt x="1073" y="385"/>
                      </a:lnTo>
                      <a:lnTo>
                        <a:pt x="1059" y="380"/>
                      </a:lnTo>
                      <a:lnTo>
                        <a:pt x="1054" y="375"/>
                      </a:lnTo>
                      <a:lnTo>
                        <a:pt x="1057" y="354"/>
                      </a:lnTo>
                      <a:lnTo>
                        <a:pt x="1057" y="335"/>
                      </a:lnTo>
                      <a:lnTo>
                        <a:pt x="1057" y="327"/>
                      </a:lnTo>
                      <a:lnTo>
                        <a:pt x="1057" y="317"/>
                      </a:lnTo>
                      <a:lnTo>
                        <a:pt x="1054" y="311"/>
                      </a:lnTo>
                      <a:lnTo>
                        <a:pt x="1051" y="311"/>
                      </a:lnTo>
                      <a:lnTo>
                        <a:pt x="1046" y="314"/>
                      </a:lnTo>
                      <a:lnTo>
                        <a:pt x="1036" y="322"/>
                      </a:lnTo>
                      <a:lnTo>
                        <a:pt x="1038" y="325"/>
                      </a:lnTo>
                      <a:lnTo>
                        <a:pt x="1041" y="333"/>
                      </a:lnTo>
                      <a:lnTo>
                        <a:pt x="1041" y="335"/>
                      </a:lnTo>
                      <a:lnTo>
                        <a:pt x="1036" y="340"/>
                      </a:lnTo>
                      <a:lnTo>
                        <a:pt x="1028" y="343"/>
                      </a:lnTo>
                      <a:lnTo>
                        <a:pt x="1017" y="343"/>
                      </a:lnTo>
                      <a:lnTo>
                        <a:pt x="1004" y="343"/>
                      </a:lnTo>
                      <a:lnTo>
                        <a:pt x="991" y="338"/>
                      </a:lnTo>
                      <a:lnTo>
                        <a:pt x="967" y="333"/>
                      </a:lnTo>
                      <a:lnTo>
                        <a:pt x="956" y="330"/>
                      </a:lnTo>
                      <a:lnTo>
                        <a:pt x="946" y="333"/>
                      </a:lnTo>
                      <a:lnTo>
                        <a:pt x="935" y="338"/>
                      </a:lnTo>
                      <a:lnTo>
                        <a:pt x="927" y="348"/>
                      </a:lnTo>
                      <a:lnTo>
                        <a:pt x="906" y="388"/>
                      </a:lnTo>
                      <a:lnTo>
                        <a:pt x="917" y="383"/>
                      </a:lnTo>
                      <a:lnTo>
                        <a:pt x="938" y="370"/>
                      </a:lnTo>
                      <a:lnTo>
                        <a:pt x="948" y="367"/>
                      </a:lnTo>
                      <a:lnTo>
                        <a:pt x="959" y="364"/>
                      </a:lnTo>
                      <a:lnTo>
                        <a:pt x="967" y="364"/>
                      </a:lnTo>
                      <a:lnTo>
                        <a:pt x="970" y="367"/>
                      </a:lnTo>
                      <a:lnTo>
                        <a:pt x="972" y="370"/>
                      </a:lnTo>
                      <a:lnTo>
                        <a:pt x="970" y="383"/>
                      </a:lnTo>
                      <a:lnTo>
                        <a:pt x="970" y="396"/>
                      </a:lnTo>
                      <a:lnTo>
                        <a:pt x="972" y="404"/>
                      </a:lnTo>
                      <a:lnTo>
                        <a:pt x="975" y="407"/>
                      </a:lnTo>
                      <a:lnTo>
                        <a:pt x="985" y="409"/>
                      </a:lnTo>
                      <a:lnTo>
                        <a:pt x="1001" y="407"/>
                      </a:lnTo>
                      <a:lnTo>
                        <a:pt x="1012" y="407"/>
                      </a:lnTo>
                      <a:lnTo>
                        <a:pt x="1017" y="409"/>
                      </a:lnTo>
                      <a:lnTo>
                        <a:pt x="1017" y="414"/>
                      </a:lnTo>
                      <a:lnTo>
                        <a:pt x="1025" y="407"/>
                      </a:lnTo>
                      <a:lnTo>
                        <a:pt x="1033" y="401"/>
                      </a:lnTo>
                      <a:lnTo>
                        <a:pt x="1038" y="399"/>
                      </a:lnTo>
                      <a:lnTo>
                        <a:pt x="1041" y="401"/>
                      </a:lnTo>
                      <a:lnTo>
                        <a:pt x="1044" y="407"/>
                      </a:lnTo>
                      <a:lnTo>
                        <a:pt x="1046" y="407"/>
                      </a:lnTo>
                      <a:lnTo>
                        <a:pt x="1049" y="404"/>
                      </a:lnTo>
                      <a:lnTo>
                        <a:pt x="1051" y="414"/>
                      </a:lnTo>
                      <a:lnTo>
                        <a:pt x="1059" y="420"/>
                      </a:lnTo>
                      <a:lnTo>
                        <a:pt x="1062" y="420"/>
                      </a:lnTo>
                      <a:lnTo>
                        <a:pt x="1044" y="438"/>
                      </a:lnTo>
                      <a:lnTo>
                        <a:pt x="1004" y="473"/>
                      </a:lnTo>
                      <a:lnTo>
                        <a:pt x="996" y="478"/>
                      </a:lnTo>
                      <a:lnTo>
                        <a:pt x="991" y="478"/>
                      </a:lnTo>
                      <a:lnTo>
                        <a:pt x="988" y="475"/>
                      </a:lnTo>
                      <a:lnTo>
                        <a:pt x="988" y="467"/>
                      </a:lnTo>
                      <a:lnTo>
                        <a:pt x="991" y="451"/>
                      </a:lnTo>
                      <a:lnTo>
                        <a:pt x="993" y="436"/>
                      </a:lnTo>
                      <a:lnTo>
                        <a:pt x="991" y="433"/>
                      </a:lnTo>
                      <a:lnTo>
                        <a:pt x="991" y="430"/>
                      </a:lnTo>
                      <a:lnTo>
                        <a:pt x="983" y="436"/>
                      </a:lnTo>
                      <a:lnTo>
                        <a:pt x="970" y="443"/>
                      </a:lnTo>
                      <a:lnTo>
                        <a:pt x="948" y="462"/>
                      </a:lnTo>
                      <a:lnTo>
                        <a:pt x="927" y="475"/>
                      </a:lnTo>
                      <a:lnTo>
                        <a:pt x="903" y="488"/>
                      </a:lnTo>
                      <a:lnTo>
                        <a:pt x="909" y="510"/>
                      </a:lnTo>
                      <a:lnTo>
                        <a:pt x="909" y="523"/>
                      </a:lnTo>
                      <a:lnTo>
                        <a:pt x="906" y="528"/>
                      </a:lnTo>
                      <a:lnTo>
                        <a:pt x="903" y="533"/>
                      </a:lnTo>
                      <a:lnTo>
                        <a:pt x="896" y="539"/>
                      </a:lnTo>
                      <a:lnTo>
                        <a:pt x="890" y="539"/>
                      </a:lnTo>
                      <a:lnTo>
                        <a:pt x="888" y="541"/>
                      </a:lnTo>
                      <a:lnTo>
                        <a:pt x="885" y="544"/>
                      </a:lnTo>
                      <a:lnTo>
                        <a:pt x="874" y="544"/>
                      </a:lnTo>
                      <a:lnTo>
                        <a:pt x="866" y="546"/>
                      </a:lnTo>
                      <a:lnTo>
                        <a:pt x="861" y="549"/>
                      </a:lnTo>
                      <a:lnTo>
                        <a:pt x="861" y="552"/>
                      </a:lnTo>
                      <a:lnTo>
                        <a:pt x="859" y="554"/>
                      </a:lnTo>
                      <a:lnTo>
                        <a:pt x="837" y="570"/>
                      </a:lnTo>
                      <a:lnTo>
                        <a:pt x="840" y="573"/>
                      </a:lnTo>
                      <a:lnTo>
                        <a:pt x="843" y="576"/>
                      </a:lnTo>
                      <a:lnTo>
                        <a:pt x="830" y="597"/>
                      </a:lnTo>
                      <a:lnTo>
                        <a:pt x="830" y="607"/>
                      </a:lnTo>
                      <a:lnTo>
                        <a:pt x="832" y="620"/>
                      </a:lnTo>
                      <a:lnTo>
                        <a:pt x="835" y="636"/>
                      </a:lnTo>
                      <a:lnTo>
                        <a:pt x="837" y="644"/>
                      </a:lnTo>
                      <a:lnTo>
                        <a:pt x="837" y="652"/>
                      </a:lnTo>
                      <a:lnTo>
                        <a:pt x="830" y="671"/>
                      </a:lnTo>
                      <a:lnTo>
                        <a:pt x="824" y="673"/>
                      </a:lnTo>
                      <a:lnTo>
                        <a:pt x="822" y="681"/>
                      </a:lnTo>
                      <a:lnTo>
                        <a:pt x="816" y="689"/>
                      </a:lnTo>
                      <a:lnTo>
                        <a:pt x="814" y="689"/>
                      </a:lnTo>
                      <a:lnTo>
                        <a:pt x="811" y="686"/>
                      </a:lnTo>
                      <a:lnTo>
                        <a:pt x="811" y="692"/>
                      </a:lnTo>
                      <a:lnTo>
                        <a:pt x="808" y="697"/>
                      </a:lnTo>
                      <a:lnTo>
                        <a:pt x="806" y="700"/>
                      </a:lnTo>
                      <a:lnTo>
                        <a:pt x="806" y="702"/>
                      </a:lnTo>
                      <a:lnTo>
                        <a:pt x="795" y="705"/>
                      </a:lnTo>
                      <a:lnTo>
                        <a:pt x="782" y="708"/>
                      </a:lnTo>
                      <a:lnTo>
                        <a:pt x="777" y="705"/>
                      </a:lnTo>
                      <a:lnTo>
                        <a:pt x="774" y="705"/>
                      </a:lnTo>
                      <a:lnTo>
                        <a:pt x="771" y="710"/>
                      </a:lnTo>
                      <a:lnTo>
                        <a:pt x="771" y="718"/>
                      </a:lnTo>
                      <a:lnTo>
                        <a:pt x="769" y="726"/>
                      </a:lnTo>
                      <a:lnTo>
                        <a:pt x="766" y="726"/>
                      </a:lnTo>
                      <a:lnTo>
                        <a:pt x="763" y="723"/>
                      </a:lnTo>
                      <a:lnTo>
                        <a:pt x="761" y="721"/>
                      </a:lnTo>
                      <a:lnTo>
                        <a:pt x="758" y="721"/>
                      </a:lnTo>
                      <a:lnTo>
                        <a:pt x="748" y="731"/>
                      </a:lnTo>
                      <a:lnTo>
                        <a:pt x="742" y="745"/>
                      </a:lnTo>
                      <a:lnTo>
                        <a:pt x="740" y="747"/>
                      </a:lnTo>
                      <a:lnTo>
                        <a:pt x="737" y="747"/>
                      </a:lnTo>
                      <a:lnTo>
                        <a:pt x="737" y="755"/>
                      </a:lnTo>
                      <a:lnTo>
                        <a:pt x="734" y="766"/>
                      </a:lnTo>
                      <a:lnTo>
                        <a:pt x="732" y="776"/>
                      </a:lnTo>
                      <a:lnTo>
                        <a:pt x="734" y="789"/>
                      </a:lnTo>
                      <a:lnTo>
                        <a:pt x="740" y="803"/>
                      </a:lnTo>
                      <a:lnTo>
                        <a:pt x="748" y="821"/>
                      </a:lnTo>
                      <a:lnTo>
                        <a:pt x="750" y="832"/>
                      </a:lnTo>
                      <a:lnTo>
                        <a:pt x="753" y="845"/>
                      </a:lnTo>
                      <a:lnTo>
                        <a:pt x="756" y="848"/>
                      </a:lnTo>
                      <a:lnTo>
                        <a:pt x="758" y="848"/>
                      </a:lnTo>
                      <a:lnTo>
                        <a:pt x="763" y="871"/>
                      </a:lnTo>
                      <a:lnTo>
                        <a:pt x="769" y="892"/>
                      </a:lnTo>
                      <a:lnTo>
                        <a:pt x="769" y="911"/>
                      </a:lnTo>
                      <a:lnTo>
                        <a:pt x="766" y="916"/>
                      </a:lnTo>
                      <a:lnTo>
                        <a:pt x="761" y="919"/>
                      </a:lnTo>
                      <a:lnTo>
                        <a:pt x="753" y="921"/>
                      </a:lnTo>
                      <a:lnTo>
                        <a:pt x="748" y="919"/>
                      </a:lnTo>
                      <a:lnTo>
                        <a:pt x="734" y="911"/>
                      </a:lnTo>
                      <a:lnTo>
                        <a:pt x="726" y="898"/>
                      </a:lnTo>
                      <a:lnTo>
                        <a:pt x="724" y="890"/>
                      </a:lnTo>
                      <a:lnTo>
                        <a:pt x="721" y="884"/>
                      </a:lnTo>
                      <a:lnTo>
                        <a:pt x="716" y="8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nvGrpSpPr>
              <p:cNvPr id="331" name="Group 9"/>
              <p:cNvGrpSpPr>
                <a:grpSpLocks/>
              </p:cNvGrpSpPr>
              <p:nvPr/>
            </p:nvGrpSpPr>
            <p:grpSpPr bwMode="auto">
              <a:xfrm>
                <a:off x="2665413" y="4497388"/>
                <a:ext cx="730250" cy="628650"/>
                <a:chOff x="2606754" y="4566276"/>
                <a:chExt cx="802127" cy="688236"/>
              </a:xfrm>
              <a:solidFill>
                <a:schemeClr val="bg1">
                  <a:lumMod val="85000"/>
                </a:schemeClr>
              </a:solidFill>
            </p:grpSpPr>
            <p:grpSp>
              <p:nvGrpSpPr>
                <p:cNvPr id="338" name="Group 8"/>
                <p:cNvGrpSpPr>
                  <a:grpSpLocks/>
                </p:cNvGrpSpPr>
                <p:nvPr/>
              </p:nvGrpSpPr>
              <p:grpSpPr bwMode="auto">
                <a:xfrm>
                  <a:off x="2606754" y="4566276"/>
                  <a:ext cx="741523" cy="496821"/>
                  <a:chOff x="7035800" y="1363644"/>
                  <a:chExt cx="706893" cy="473618"/>
                </a:xfrm>
                <a:grpFill/>
              </p:grpSpPr>
              <p:sp>
                <p:nvSpPr>
                  <p:cNvPr id="342" name="Oval Callout 341"/>
                  <p:cNvSpPr/>
                  <p:nvPr/>
                </p:nvSpPr>
                <p:spPr>
                  <a:xfrm>
                    <a:off x="7035800" y="1363644"/>
                    <a:ext cx="706485" cy="473846"/>
                  </a:xfrm>
                  <a:prstGeom prst="wedgeEllipseCallou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43" name="5-Point Star 342"/>
                  <p:cNvSpPr/>
                  <p:nvPr/>
                </p:nvSpPr>
                <p:spPr>
                  <a:xfrm>
                    <a:off x="7238603" y="1438200"/>
                    <a:ext cx="299217" cy="301538"/>
                  </a:xfrm>
                  <a:prstGeom prst="star5">
                    <a:avLst>
                      <a:gd name="adj" fmla="val 26194"/>
                      <a:gd name="hf" fmla="val 105146"/>
                      <a:gd name="vf" fmla="val 11055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nvGrpSpPr>
                <p:cNvPr id="339" name="Group 305"/>
                <p:cNvGrpSpPr>
                  <a:grpSpLocks/>
                </p:cNvGrpSpPr>
                <p:nvPr/>
              </p:nvGrpSpPr>
              <p:grpSpPr bwMode="auto">
                <a:xfrm>
                  <a:off x="2995133" y="4977301"/>
                  <a:ext cx="413748" cy="277211"/>
                  <a:chOff x="7035800" y="1363644"/>
                  <a:chExt cx="706893" cy="473618"/>
                </a:xfrm>
                <a:grpFill/>
              </p:grpSpPr>
              <p:sp>
                <p:nvSpPr>
                  <p:cNvPr id="340" name="Oval Callout 339"/>
                  <p:cNvSpPr/>
                  <p:nvPr/>
                </p:nvSpPr>
                <p:spPr>
                  <a:xfrm>
                    <a:off x="7036616" y="1362168"/>
                    <a:ext cx="706077" cy="475094"/>
                  </a:xfrm>
                  <a:prstGeom prst="wedgeEllipseCallout">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41" name="5-Point Star 340"/>
                  <p:cNvSpPr/>
                  <p:nvPr/>
                </p:nvSpPr>
                <p:spPr>
                  <a:xfrm>
                    <a:off x="7239203" y="1436401"/>
                    <a:ext cx="300902" cy="302872"/>
                  </a:xfrm>
                  <a:prstGeom prst="star5">
                    <a:avLst>
                      <a:gd name="adj" fmla="val 26194"/>
                      <a:gd name="hf" fmla="val 105146"/>
                      <a:gd name="vf" fmla="val 11055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sp>
            <p:nvSpPr>
              <p:cNvPr id="332" name="Oval 331"/>
              <p:cNvSpPr/>
              <p:nvPr/>
            </p:nvSpPr>
            <p:spPr>
              <a:xfrm>
                <a:off x="3932931" y="2705916"/>
                <a:ext cx="1217720" cy="121557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33" name="Circular Arrow 332"/>
              <p:cNvSpPr/>
              <p:nvPr/>
            </p:nvSpPr>
            <p:spPr>
              <a:xfrm>
                <a:off x="4114194" y="2894180"/>
                <a:ext cx="852868" cy="852995"/>
              </a:xfrm>
              <a:prstGeom prst="circularArrow">
                <a:avLst>
                  <a:gd name="adj1" fmla="val 12500"/>
                  <a:gd name="adj2" fmla="val 1142319"/>
                  <a:gd name="adj3" fmla="val 20457681"/>
                  <a:gd name="adj4" fmla="val 1085162"/>
                  <a:gd name="adj5" fmla="val 1250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grpSp>
            <p:nvGrpSpPr>
              <p:cNvPr id="334" name="Group 2"/>
              <p:cNvGrpSpPr>
                <a:grpSpLocks/>
              </p:cNvGrpSpPr>
              <p:nvPr/>
            </p:nvGrpSpPr>
            <p:grpSpPr bwMode="auto">
              <a:xfrm>
                <a:off x="7310438" y="3005138"/>
                <a:ext cx="688975" cy="530225"/>
                <a:chOff x="7215188" y="1"/>
                <a:chExt cx="2387921" cy="1837262"/>
              </a:xfrm>
              <a:solidFill>
                <a:schemeClr val="bg1">
                  <a:lumMod val="85000"/>
                </a:schemeClr>
              </a:solidFill>
            </p:grpSpPr>
            <p:sp>
              <p:nvSpPr>
                <p:cNvPr id="335" name="Rectangle 334"/>
                <p:cNvSpPr/>
                <p:nvPr/>
              </p:nvSpPr>
              <p:spPr>
                <a:xfrm>
                  <a:off x="7215188" y="715103"/>
                  <a:ext cx="764793" cy="112216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36" name="Rectangle 335"/>
                <p:cNvSpPr/>
                <p:nvPr/>
              </p:nvSpPr>
              <p:spPr>
                <a:xfrm>
                  <a:off x="8029502" y="1"/>
                  <a:ext cx="764793" cy="183726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37" name="Rectangle 336"/>
                <p:cNvSpPr/>
                <p:nvPr/>
              </p:nvSpPr>
              <p:spPr>
                <a:xfrm>
                  <a:off x="8838312" y="1144164"/>
                  <a:ext cx="764797" cy="6930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grpSp>
    </p:spTree>
    <p:extLst>
      <p:ext uri="{BB962C8B-B14F-4D97-AF65-F5344CB8AC3E}">
        <p14:creationId xmlns:p14="http://schemas.microsoft.com/office/powerpoint/2010/main" val="8924186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extBox 3"/>
          <p:cNvSpPr txBox="1">
            <a:spLocks noChangeArrowheads="1"/>
          </p:cNvSpPr>
          <p:nvPr/>
        </p:nvSpPr>
        <p:spPr bwMode="auto">
          <a:xfrm>
            <a:off x="296863" y="227013"/>
            <a:ext cx="307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800" b="1">
                <a:solidFill>
                  <a:srgbClr val="404040"/>
                </a:solidFill>
              </a:rPr>
              <a:t>BUSINESS EXCELLENCE </a:t>
            </a:r>
            <a:r>
              <a:rPr lang="en-US" sz="1800">
                <a:solidFill>
                  <a:srgbClr val="404040"/>
                </a:solidFill>
              </a:rPr>
              <a:t>MODEL</a:t>
            </a:r>
          </a:p>
        </p:txBody>
      </p:sp>
      <p:cxnSp>
        <p:nvCxnSpPr>
          <p:cNvPr id="40" name="Straight Connector 39"/>
          <p:cNvCxnSpPr>
            <a:endCxn id="57" idx="3"/>
          </p:cNvCxnSpPr>
          <p:nvPr/>
        </p:nvCxnSpPr>
        <p:spPr>
          <a:xfrm flipV="1">
            <a:off x="4978400" y="2224088"/>
            <a:ext cx="696913" cy="6604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endCxn id="58" idx="1"/>
          </p:cNvCxnSpPr>
          <p:nvPr/>
        </p:nvCxnSpPr>
        <p:spPr>
          <a:xfrm>
            <a:off x="5048250" y="3770313"/>
            <a:ext cx="627063" cy="61912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a:stCxn id="309" idx="1"/>
            <a:endCxn id="55" idx="5"/>
          </p:cNvCxnSpPr>
          <p:nvPr/>
        </p:nvCxnSpPr>
        <p:spPr>
          <a:xfrm flipH="1" flipV="1">
            <a:off x="3449638" y="2224088"/>
            <a:ext cx="663575" cy="6604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a:stCxn id="309" idx="3"/>
            <a:endCxn id="56" idx="7"/>
          </p:cNvCxnSpPr>
          <p:nvPr/>
        </p:nvCxnSpPr>
        <p:spPr>
          <a:xfrm flipH="1">
            <a:off x="3449638" y="3744913"/>
            <a:ext cx="663575" cy="64452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a:stCxn id="54" idx="1"/>
            <a:endCxn id="57" idx="5"/>
          </p:cNvCxnSpPr>
          <p:nvPr/>
        </p:nvCxnSpPr>
        <p:spPr>
          <a:xfrm flipH="1" flipV="1">
            <a:off x="6535738" y="2224088"/>
            <a:ext cx="679450" cy="6604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a:stCxn id="54" idx="3"/>
            <a:endCxn id="58" idx="7"/>
          </p:cNvCxnSpPr>
          <p:nvPr/>
        </p:nvCxnSpPr>
        <p:spPr>
          <a:xfrm flipH="1">
            <a:off x="6535738" y="3744913"/>
            <a:ext cx="679450" cy="64452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a:stCxn id="57" idx="4"/>
            <a:endCxn id="58" idx="0"/>
          </p:cNvCxnSpPr>
          <p:nvPr/>
        </p:nvCxnSpPr>
        <p:spPr>
          <a:xfrm>
            <a:off x="6105525" y="2401888"/>
            <a:ext cx="0" cy="180975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a:stCxn id="53" idx="6"/>
            <a:endCxn id="54" idx="2"/>
          </p:cNvCxnSpPr>
          <p:nvPr/>
        </p:nvCxnSpPr>
        <p:spPr>
          <a:xfrm>
            <a:off x="2108200" y="3313113"/>
            <a:ext cx="4927600" cy="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53" idx="7"/>
            <a:endCxn id="55" idx="3"/>
          </p:cNvCxnSpPr>
          <p:nvPr/>
        </p:nvCxnSpPr>
        <p:spPr>
          <a:xfrm flipV="1">
            <a:off x="1928813" y="2224088"/>
            <a:ext cx="660400" cy="6604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a:stCxn id="53" idx="5"/>
            <a:endCxn id="56" idx="1"/>
          </p:cNvCxnSpPr>
          <p:nvPr/>
        </p:nvCxnSpPr>
        <p:spPr>
          <a:xfrm>
            <a:off x="1928813" y="3744913"/>
            <a:ext cx="660400" cy="64452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a:stCxn id="55" idx="4"/>
            <a:endCxn id="56" idx="0"/>
          </p:cNvCxnSpPr>
          <p:nvPr/>
        </p:nvCxnSpPr>
        <p:spPr>
          <a:xfrm>
            <a:off x="3019425" y="2401888"/>
            <a:ext cx="0" cy="180975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3" name="Oval 52"/>
          <p:cNvSpPr/>
          <p:nvPr/>
        </p:nvSpPr>
        <p:spPr>
          <a:xfrm>
            <a:off x="890588" y="2706688"/>
            <a:ext cx="1217612"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4" name="Oval 53"/>
          <p:cNvSpPr/>
          <p:nvPr/>
        </p:nvSpPr>
        <p:spPr>
          <a:xfrm>
            <a:off x="7035800" y="2706688"/>
            <a:ext cx="1217613"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5" name="Oval 54"/>
          <p:cNvSpPr/>
          <p:nvPr/>
        </p:nvSpPr>
        <p:spPr>
          <a:xfrm>
            <a:off x="2409825" y="1185863"/>
            <a:ext cx="1217613"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6" name="Oval 55"/>
          <p:cNvSpPr/>
          <p:nvPr/>
        </p:nvSpPr>
        <p:spPr>
          <a:xfrm>
            <a:off x="2409825" y="4211638"/>
            <a:ext cx="1217613" cy="12192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7" name="Oval 56"/>
          <p:cNvSpPr/>
          <p:nvPr/>
        </p:nvSpPr>
        <p:spPr>
          <a:xfrm>
            <a:off x="5497513" y="1185863"/>
            <a:ext cx="1216025"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8" name="Oval 57"/>
          <p:cNvSpPr/>
          <p:nvPr/>
        </p:nvSpPr>
        <p:spPr>
          <a:xfrm>
            <a:off x="5497513" y="4211638"/>
            <a:ext cx="1216025" cy="12192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9" name="Oval 58"/>
          <p:cNvSpPr/>
          <p:nvPr/>
        </p:nvSpPr>
        <p:spPr>
          <a:xfrm>
            <a:off x="5497513" y="2706688"/>
            <a:ext cx="1216025"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1" name="Oval 60"/>
          <p:cNvSpPr/>
          <p:nvPr/>
        </p:nvSpPr>
        <p:spPr>
          <a:xfrm>
            <a:off x="2409825" y="2706688"/>
            <a:ext cx="1217613"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3" name="TextBox 62"/>
          <p:cNvSpPr txBox="1"/>
          <p:nvPr/>
        </p:nvSpPr>
        <p:spPr>
          <a:xfrm>
            <a:off x="4219575" y="3856038"/>
            <a:ext cx="668338"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process</a:t>
            </a:r>
          </a:p>
        </p:txBody>
      </p:sp>
      <p:grpSp>
        <p:nvGrpSpPr>
          <p:cNvPr id="15382" name="Group 165"/>
          <p:cNvGrpSpPr>
            <a:grpSpLocks/>
          </p:cNvGrpSpPr>
          <p:nvPr/>
        </p:nvGrpSpPr>
        <p:grpSpPr bwMode="auto">
          <a:xfrm>
            <a:off x="1312863" y="2852738"/>
            <a:ext cx="354012" cy="968375"/>
            <a:chOff x="-39797" y="1590244"/>
            <a:chExt cx="825079" cy="2412051"/>
          </a:xfrm>
        </p:grpSpPr>
        <p:sp>
          <p:nvSpPr>
            <p:cNvPr id="159" name="Freeform 1578"/>
            <p:cNvSpPr>
              <a:spLocks/>
            </p:cNvSpPr>
            <p:nvPr/>
          </p:nvSpPr>
          <p:spPr bwMode="auto">
            <a:xfrm>
              <a:off x="348692" y="3725502"/>
              <a:ext cx="403291" cy="193754"/>
            </a:xfrm>
            <a:custGeom>
              <a:avLst/>
              <a:gdLst>
                <a:gd name="T0" fmla="*/ 2147483647 w 470"/>
                <a:gd name="T1" fmla="*/ 0 h 225"/>
                <a:gd name="T2" fmla="*/ 2147483647 w 470"/>
                <a:gd name="T3" fmla="*/ 0 h 225"/>
                <a:gd name="T4" fmla="*/ 0 w 470"/>
                <a:gd name="T5" fmla="*/ 2147483647 h 225"/>
                <a:gd name="T6" fmla="*/ 0 w 470"/>
                <a:gd name="T7" fmla="*/ 2147483647 h 225"/>
                <a:gd name="T8" fmla="*/ 0 w 470"/>
                <a:gd name="T9" fmla="*/ 2147483647 h 225"/>
                <a:gd name="T10" fmla="*/ 0 w 470"/>
                <a:gd name="T11" fmla="*/ 2147483647 h 225"/>
                <a:gd name="T12" fmla="*/ 2147483647 w 470"/>
                <a:gd name="T13" fmla="*/ 2147483647 h 225"/>
                <a:gd name="T14" fmla="*/ 2147483647 w 470"/>
                <a:gd name="T15" fmla="*/ 2147483647 h 225"/>
                <a:gd name="T16" fmla="*/ 2147483647 w 470"/>
                <a:gd name="T17" fmla="*/ 2147483647 h 225"/>
                <a:gd name="T18" fmla="*/ 2147483647 w 470"/>
                <a:gd name="T19" fmla="*/ 2147483647 h 225"/>
                <a:gd name="T20" fmla="*/ 2147483647 w 470"/>
                <a:gd name="T21" fmla="*/ 2147483647 h 225"/>
                <a:gd name="T22" fmla="*/ 2147483647 w 470"/>
                <a:gd name="T23" fmla="*/ 2147483647 h 225"/>
                <a:gd name="T24" fmla="*/ 2147483647 w 470"/>
                <a:gd name="T25" fmla="*/ 2147483647 h 225"/>
                <a:gd name="T26" fmla="*/ 2147483647 w 470"/>
                <a:gd name="T27" fmla="*/ 2147483647 h 225"/>
                <a:gd name="T28" fmla="*/ 2147483647 w 470"/>
                <a:gd name="T29" fmla="*/ 2147483647 h 225"/>
                <a:gd name="T30" fmla="*/ 2147483647 w 470"/>
                <a:gd name="T31" fmla="*/ 2147483647 h 225"/>
                <a:gd name="T32" fmla="*/ 2147483647 w 470"/>
                <a:gd name="T33" fmla="*/ 2147483647 h 225"/>
                <a:gd name="T34" fmla="*/ 2147483647 w 470"/>
                <a:gd name="T35" fmla="*/ 2147483647 h 225"/>
                <a:gd name="T36" fmla="*/ 2147483647 w 470"/>
                <a:gd name="T37" fmla="*/ 2147483647 h 225"/>
                <a:gd name="T38" fmla="*/ 2147483647 w 470"/>
                <a:gd name="T39" fmla="*/ 2147483647 h 225"/>
                <a:gd name="T40" fmla="*/ 2147483647 w 470"/>
                <a:gd name="T41" fmla="*/ 2147483647 h 225"/>
                <a:gd name="T42" fmla="*/ 2147483647 w 470"/>
                <a:gd name="T43" fmla="*/ 2147483647 h 225"/>
                <a:gd name="T44" fmla="*/ 2147483647 w 470"/>
                <a:gd name="T45" fmla="*/ 2147483647 h 225"/>
                <a:gd name="T46" fmla="*/ 2147483647 w 470"/>
                <a:gd name="T47" fmla="*/ 2147483647 h 225"/>
                <a:gd name="T48" fmla="*/ 2147483647 w 470"/>
                <a:gd name="T49" fmla="*/ 2147483647 h 225"/>
                <a:gd name="T50" fmla="*/ 2147483647 w 470"/>
                <a:gd name="T51" fmla="*/ 2147483647 h 225"/>
                <a:gd name="T52" fmla="*/ 2147483647 w 470"/>
                <a:gd name="T53" fmla="*/ 2147483647 h 225"/>
                <a:gd name="T54" fmla="*/ 2147483647 w 470"/>
                <a:gd name="T55" fmla="*/ 2147483647 h 225"/>
                <a:gd name="T56" fmla="*/ 2147483647 w 470"/>
                <a:gd name="T57" fmla="*/ 2147483647 h 225"/>
                <a:gd name="T58" fmla="*/ 2147483647 w 470"/>
                <a:gd name="T59" fmla="*/ 2147483647 h 225"/>
                <a:gd name="T60" fmla="*/ 2147483647 w 470"/>
                <a:gd name="T61" fmla="*/ 2147483647 h 225"/>
                <a:gd name="T62" fmla="*/ 2147483647 w 470"/>
                <a:gd name="T63" fmla="*/ 2147483647 h 225"/>
                <a:gd name="T64" fmla="*/ 2147483647 w 470"/>
                <a:gd name="T65" fmla="*/ 2147483647 h 225"/>
                <a:gd name="T66" fmla="*/ 2147483647 w 470"/>
                <a:gd name="T67" fmla="*/ 2147483647 h 225"/>
                <a:gd name="T68" fmla="*/ 2147483647 w 470"/>
                <a:gd name="T69" fmla="*/ 2147483647 h 225"/>
                <a:gd name="T70" fmla="*/ 2147483647 w 470"/>
                <a:gd name="T71" fmla="*/ 2147483647 h 225"/>
                <a:gd name="T72" fmla="*/ 2147483647 w 470"/>
                <a:gd name="T73" fmla="*/ 2147483647 h 225"/>
                <a:gd name="T74" fmla="*/ 2147483647 w 470"/>
                <a:gd name="T75" fmla="*/ 2147483647 h 225"/>
                <a:gd name="T76" fmla="*/ 2147483647 w 470"/>
                <a:gd name="T77" fmla="*/ 2147483647 h 225"/>
                <a:gd name="T78" fmla="*/ 2147483647 w 470"/>
                <a:gd name="T79" fmla="*/ 2147483647 h 225"/>
                <a:gd name="T80" fmla="*/ 2147483647 w 470"/>
                <a:gd name="T81" fmla="*/ 2147483647 h 225"/>
                <a:gd name="T82" fmla="*/ 2147483647 w 470"/>
                <a:gd name="T83" fmla="*/ 2147483647 h 225"/>
                <a:gd name="T84" fmla="*/ 2147483647 w 470"/>
                <a:gd name="T85" fmla="*/ 2147483647 h 225"/>
                <a:gd name="T86" fmla="*/ 2147483647 w 470"/>
                <a:gd name="T87" fmla="*/ 2147483647 h 225"/>
                <a:gd name="T88" fmla="*/ 2147483647 w 470"/>
                <a:gd name="T89" fmla="*/ 2147483647 h 225"/>
                <a:gd name="T90" fmla="*/ 2147483647 w 470"/>
                <a:gd name="T91" fmla="*/ 0 h 225"/>
                <a:gd name="T92" fmla="*/ 2147483647 w 470"/>
                <a:gd name="T93" fmla="*/ 0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0"/>
                <a:gd name="T142" fmla="*/ 0 h 225"/>
                <a:gd name="T143" fmla="*/ 470 w 470"/>
                <a:gd name="T144" fmla="*/ 225 h 22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0" h="225">
                  <a:moveTo>
                    <a:pt x="16" y="0"/>
                  </a:moveTo>
                  <a:lnTo>
                    <a:pt x="16" y="0"/>
                  </a:lnTo>
                  <a:lnTo>
                    <a:pt x="0" y="77"/>
                  </a:lnTo>
                  <a:lnTo>
                    <a:pt x="0" y="115"/>
                  </a:lnTo>
                  <a:lnTo>
                    <a:pt x="0" y="126"/>
                  </a:lnTo>
                  <a:lnTo>
                    <a:pt x="0" y="137"/>
                  </a:lnTo>
                  <a:lnTo>
                    <a:pt x="5" y="186"/>
                  </a:lnTo>
                  <a:lnTo>
                    <a:pt x="5" y="197"/>
                  </a:lnTo>
                  <a:lnTo>
                    <a:pt x="11" y="203"/>
                  </a:lnTo>
                  <a:lnTo>
                    <a:pt x="16" y="208"/>
                  </a:lnTo>
                  <a:lnTo>
                    <a:pt x="22" y="208"/>
                  </a:lnTo>
                  <a:lnTo>
                    <a:pt x="93" y="214"/>
                  </a:lnTo>
                  <a:lnTo>
                    <a:pt x="126" y="208"/>
                  </a:lnTo>
                  <a:lnTo>
                    <a:pt x="142" y="203"/>
                  </a:lnTo>
                  <a:lnTo>
                    <a:pt x="147" y="197"/>
                  </a:lnTo>
                  <a:lnTo>
                    <a:pt x="147" y="186"/>
                  </a:lnTo>
                  <a:lnTo>
                    <a:pt x="202" y="203"/>
                  </a:lnTo>
                  <a:lnTo>
                    <a:pt x="246" y="219"/>
                  </a:lnTo>
                  <a:lnTo>
                    <a:pt x="284" y="225"/>
                  </a:lnTo>
                  <a:lnTo>
                    <a:pt x="361" y="225"/>
                  </a:lnTo>
                  <a:lnTo>
                    <a:pt x="421" y="225"/>
                  </a:lnTo>
                  <a:lnTo>
                    <a:pt x="470" y="214"/>
                  </a:lnTo>
                  <a:lnTo>
                    <a:pt x="470" y="208"/>
                  </a:lnTo>
                  <a:lnTo>
                    <a:pt x="465" y="192"/>
                  </a:lnTo>
                  <a:lnTo>
                    <a:pt x="454" y="181"/>
                  </a:lnTo>
                  <a:lnTo>
                    <a:pt x="437" y="170"/>
                  </a:lnTo>
                  <a:lnTo>
                    <a:pt x="415" y="159"/>
                  </a:lnTo>
                  <a:lnTo>
                    <a:pt x="388" y="153"/>
                  </a:lnTo>
                  <a:lnTo>
                    <a:pt x="312" y="137"/>
                  </a:lnTo>
                  <a:lnTo>
                    <a:pt x="301" y="132"/>
                  </a:lnTo>
                  <a:lnTo>
                    <a:pt x="284" y="121"/>
                  </a:lnTo>
                  <a:lnTo>
                    <a:pt x="246" y="82"/>
                  </a:lnTo>
                  <a:lnTo>
                    <a:pt x="229" y="39"/>
                  </a:lnTo>
                  <a:lnTo>
                    <a:pt x="175" y="39"/>
                  </a:lnTo>
                  <a:lnTo>
                    <a:pt x="120" y="33"/>
                  </a:lnTo>
                  <a:lnTo>
                    <a:pt x="71" y="22"/>
                  </a:lnTo>
                  <a:lnTo>
                    <a:pt x="16" y="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15425" name="Freeform 1579"/>
            <p:cNvSpPr>
              <a:spLocks/>
            </p:cNvSpPr>
            <p:nvPr/>
          </p:nvSpPr>
          <p:spPr bwMode="auto">
            <a:xfrm>
              <a:off x="180624" y="1829561"/>
              <a:ext cx="154381" cy="155257"/>
            </a:xfrm>
            <a:custGeom>
              <a:avLst/>
              <a:gdLst>
                <a:gd name="T0" fmla="*/ 2147483647 w 180"/>
                <a:gd name="T1" fmla="*/ 0 h 181"/>
                <a:gd name="T2" fmla="*/ 2147483647 w 180"/>
                <a:gd name="T3" fmla="*/ 0 h 181"/>
                <a:gd name="T4" fmla="*/ 0 w 180"/>
                <a:gd name="T5" fmla="*/ 2147483647 h 181"/>
                <a:gd name="T6" fmla="*/ 0 w 180"/>
                <a:gd name="T7" fmla="*/ 2147483647 h 181"/>
                <a:gd name="T8" fmla="*/ 2147483647 w 180"/>
                <a:gd name="T9" fmla="*/ 2147483647 h 181"/>
                <a:gd name="T10" fmla="*/ 2147483647 w 180"/>
                <a:gd name="T11" fmla="*/ 2147483647 h 181"/>
                <a:gd name="T12" fmla="*/ 2147483647 w 180"/>
                <a:gd name="T13" fmla="*/ 2147483647 h 181"/>
                <a:gd name="T14" fmla="*/ 2147483647 w 180"/>
                <a:gd name="T15" fmla="*/ 2147483647 h 181"/>
                <a:gd name="T16" fmla="*/ 2147483647 w 180"/>
                <a:gd name="T17" fmla="*/ 2147483647 h 181"/>
                <a:gd name="T18" fmla="*/ 2147483647 w 180"/>
                <a:gd name="T19" fmla="*/ 2147483647 h 181"/>
                <a:gd name="T20" fmla="*/ 2147483647 w 180"/>
                <a:gd name="T21" fmla="*/ 2147483647 h 181"/>
                <a:gd name="T22" fmla="*/ 2147483647 w 180"/>
                <a:gd name="T23" fmla="*/ 2147483647 h 181"/>
                <a:gd name="T24" fmla="*/ 2147483647 w 180"/>
                <a:gd name="T25" fmla="*/ 2147483647 h 181"/>
                <a:gd name="T26" fmla="*/ 2147483647 w 180"/>
                <a:gd name="T27" fmla="*/ 2147483647 h 181"/>
                <a:gd name="T28" fmla="*/ 2147483647 w 180"/>
                <a:gd name="T29" fmla="*/ 2147483647 h 181"/>
                <a:gd name="T30" fmla="*/ 2147483647 w 180"/>
                <a:gd name="T31" fmla="*/ 0 h 181"/>
                <a:gd name="T32" fmla="*/ 2147483647 w 180"/>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0"/>
                <a:gd name="T52" fmla="*/ 0 h 181"/>
                <a:gd name="T53" fmla="*/ 180 w 180"/>
                <a:gd name="T54" fmla="*/ 181 h 1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0" h="181">
                  <a:moveTo>
                    <a:pt x="22" y="0"/>
                  </a:moveTo>
                  <a:lnTo>
                    <a:pt x="22" y="0"/>
                  </a:lnTo>
                  <a:lnTo>
                    <a:pt x="0" y="49"/>
                  </a:lnTo>
                  <a:lnTo>
                    <a:pt x="44" y="109"/>
                  </a:lnTo>
                  <a:lnTo>
                    <a:pt x="82" y="153"/>
                  </a:lnTo>
                  <a:lnTo>
                    <a:pt x="109" y="181"/>
                  </a:lnTo>
                  <a:lnTo>
                    <a:pt x="120" y="181"/>
                  </a:lnTo>
                  <a:lnTo>
                    <a:pt x="137" y="175"/>
                  </a:lnTo>
                  <a:lnTo>
                    <a:pt x="158" y="153"/>
                  </a:lnTo>
                  <a:lnTo>
                    <a:pt x="180" y="115"/>
                  </a:lnTo>
                  <a:lnTo>
                    <a:pt x="76" y="27"/>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1" name="Freeform 1580"/>
            <p:cNvSpPr>
              <a:spLocks noEditPoints="1"/>
            </p:cNvSpPr>
            <p:nvPr/>
          </p:nvSpPr>
          <p:spPr bwMode="auto">
            <a:xfrm>
              <a:off x="-39797" y="1590244"/>
              <a:ext cx="825079" cy="2412051"/>
            </a:xfrm>
            <a:custGeom>
              <a:avLst/>
              <a:gdLst>
                <a:gd name="T0" fmla="*/ 2147483647 w 962"/>
                <a:gd name="T1" fmla="*/ 2147483647 h 2812"/>
                <a:gd name="T2" fmla="*/ 2147483647 w 962"/>
                <a:gd name="T3" fmla="*/ 2147483647 h 2812"/>
                <a:gd name="T4" fmla="*/ 2147483647 w 962"/>
                <a:gd name="T5" fmla="*/ 2147483647 h 2812"/>
                <a:gd name="T6" fmla="*/ 2147483647 w 962"/>
                <a:gd name="T7" fmla="*/ 2147483647 h 2812"/>
                <a:gd name="T8" fmla="*/ 2147483647 w 962"/>
                <a:gd name="T9" fmla="*/ 2147483647 h 2812"/>
                <a:gd name="T10" fmla="*/ 2147483647 w 962"/>
                <a:gd name="T11" fmla="*/ 2147483647 h 2812"/>
                <a:gd name="T12" fmla="*/ 2147483647 w 962"/>
                <a:gd name="T13" fmla="*/ 2147483647 h 2812"/>
                <a:gd name="T14" fmla="*/ 2147483647 w 962"/>
                <a:gd name="T15" fmla="*/ 2147483647 h 2812"/>
                <a:gd name="T16" fmla="*/ 2147483647 w 962"/>
                <a:gd name="T17" fmla="*/ 2147483647 h 2812"/>
                <a:gd name="T18" fmla="*/ 2147483647 w 962"/>
                <a:gd name="T19" fmla="*/ 2147483647 h 2812"/>
                <a:gd name="T20" fmla="*/ 2147483647 w 962"/>
                <a:gd name="T21" fmla="*/ 2147483647 h 2812"/>
                <a:gd name="T22" fmla="*/ 2147483647 w 962"/>
                <a:gd name="T23" fmla="*/ 2147483647 h 2812"/>
                <a:gd name="T24" fmla="*/ 2147483647 w 962"/>
                <a:gd name="T25" fmla="*/ 2147483647 h 2812"/>
                <a:gd name="T26" fmla="*/ 2147483647 w 962"/>
                <a:gd name="T27" fmla="*/ 2147483647 h 2812"/>
                <a:gd name="T28" fmla="*/ 2147483647 w 962"/>
                <a:gd name="T29" fmla="*/ 2147483647 h 2812"/>
                <a:gd name="T30" fmla="*/ 2147483647 w 962"/>
                <a:gd name="T31" fmla="*/ 2147483647 h 2812"/>
                <a:gd name="T32" fmla="*/ 2147483647 w 962"/>
                <a:gd name="T33" fmla="*/ 2147483647 h 2812"/>
                <a:gd name="T34" fmla="*/ 2147483647 w 962"/>
                <a:gd name="T35" fmla="*/ 2147483647 h 2812"/>
                <a:gd name="T36" fmla="*/ 2147483647 w 962"/>
                <a:gd name="T37" fmla="*/ 2147483647 h 2812"/>
                <a:gd name="T38" fmla="*/ 2147483647 w 962"/>
                <a:gd name="T39" fmla="*/ 2147483647 h 2812"/>
                <a:gd name="T40" fmla="*/ 2147483647 w 962"/>
                <a:gd name="T41" fmla="*/ 2147483647 h 2812"/>
                <a:gd name="T42" fmla="*/ 2147483647 w 962"/>
                <a:gd name="T43" fmla="*/ 2147483647 h 2812"/>
                <a:gd name="T44" fmla="*/ 2147483647 w 962"/>
                <a:gd name="T45" fmla="*/ 2147483647 h 2812"/>
                <a:gd name="T46" fmla="*/ 2147483647 w 962"/>
                <a:gd name="T47" fmla="*/ 2147483647 h 2812"/>
                <a:gd name="T48" fmla="*/ 2147483647 w 962"/>
                <a:gd name="T49" fmla="*/ 2147483647 h 2812"/>
                <a:gd name="T50" fmla="*/ 2147483647 w 962"/>
                <a:gd name="T51" fmla="*/ 2147483647 h 2812"/>
                <a:gd name="T52" fmla="*/ 2147483647 w 962"/>
                <a:gd name="T53" fmla="*/ 2147483647 h 2812"/>
                <a:gd name="T54" fmla="*/ 2147483647 w 962"/>
                <a:gd name="T55" fmla="*/ 2147483647 h 2812"/>
                <a:gd name="T56" fmla="*/ 2147483647 w 962"/>
                <a:gd name="T57" fmla="*/ 2147483647 h 2812"/>
                <a:gd name="T58" fmla="*/ 2147483647 w 962"/>
                <a:gd name="T59" fmla="*/ 2147483647 h 2812"/>
                <a:gd name="T60" fmla="*/ 2147483647 w 962"/>
                <a:gd name="T61" fmla="*/ 2147483647 h 2812"/>
                <a:gd name="T62" fmla="*/ 2147483647 w 962"/>
                <a:gd name="T63" fmla="*/ 2147483647 h 2812"/>
                <a:gd name="T64" fmla="*/ 2147483647 w 962"/>
                <a:gd name="T65" fmla="*/ 2147483647 h 2812"/>
                <a:gd name="T66" fmla="*/ 2147483647 w 962"/>
                <a:gd name="T67" fmla="*/ 2147483647 h 2812"/>
                <a:gd name="T68" fmla="*/ 2147483647 w 962"/>
                <a:gd name="T69" fmla="*/ 2147483647 h 2812"/>
                <a:gd name="T70" fmla="*/ 2147483647 w 962"/>
                <a:gd name="T71" fmla="*/ 2147483647 h 2812"/>
                <a:gd name="T72" fmla="*/ 2147483647 w 962"/>
                <a:gd name="T73" fmla="*/ 2147483647 h 2812"/>
                <a:gd name="T74" fmla="*/ 2147483647 w 962"/>
                <a:gd name="T75" fmla="*/ 2147483647 h 2812"/>
                <a:gd name="T76" fmla="*/ 2147483647 w 962"/>
                <a:gd name="T77" fmla="*/ 2147483647 h 2812"/>
                <a:gd name="T78" fmla="*/ 2147483647 w 962"/>
                <a:gd name="T79" fmla="*/ 2147483647 h 2812"/>
                <a:gd name="T80" fmla="*/ 2147483647 w 962"/>
                <a:gd name="T81" fmla="*/ 2147483647 h 2812"/>
                <a:gd name="T82" fmla="*/ 2147483647 w 962"/>
                <a:gd name="T83" fmla="*/ 2147483647 h 2812"/>
                <a:gd name="T84" fmla="*/ 2147483647 w 962"/>
                <a:gd name="T85" fmla="*/ 2147483647 h 2812"/>
                <a:gd name="T86" fmla="*/ 2147483647 w 962"/>
                <a:gd name="T87" fmla="*/ 2147483647 h 2812"/>
                <a:gd name="T88" fmla="*/ 2147483647 w 962"/>
                <a:gd name="T89" fmla="*/ 2147483647 h 2812"/>
                <a:gd name="T90" fmla="*/ 2147483647 w 962"/>
                <a:gd name="T91" fmla="*/ 2147483647 h 2812"/>
                <a:gd name="T92" fmla="*/ 2147483647 w 962"/>
                <a:gd name="T93" fmla="*/ 2147483647 h 2812"/>
                <a:gd name="T94" fmla="*/ 2147483647 w 962"/>
                <a:gd name="T95" fmla="*/ 2147483647 h 2812"/>
                <a:gd name="T96" fmla="*/ 2147483647 w 962"/>
                <a:gd name="T97" fmla="*/ 2147483647 h 2812"/>
                <a:gd name="T98" fmla="*/ 2147483647 w 962"/>
                <a:gd name="T99" fmla="*/ 2147483647 h 2812"/>
                <a:gd name="T100" fmla="*/ 2147483647 w 962"/>
                <a:gd name="T101" fmla="*/ 2147483647 h 2812"/>
                <a:gd name="T102" fmla="*/ 2147483647 w 962"/>
                <a:gd name="T103" fmla="*/ 2147483647 h 2812"/>
                <a:gd name="T104" fmla="*/ 2147483647 w 962"/>
                <a:gd name="T105" fmla="*/ 2147483647 h 2812"/>
                <a:gd name="T106" fmla="*/ 2147483647 w 962"/>
                <a:gd name="T107" fmla="*/ 2147483647 h 2812"/>
                <a:gd name="T108" fmla="*/ 2147483647 w 962"/>
                <a:gd name="T109" fmla="*/ 2147483647 h 2812"/>
                <a:gd name="T110" fmla="*/ 2147483647 w 962"/>
                <a:gd name="T111" fmla="*/ 2147483647 h 2812"/>
                <a:gd name="T112" fmla="*/ 2147483647 w 962"/>
                <a:gd name="T113" fmla="*/ 2147483647 h 2812"/>
                <a:gd name="T114" fmla="*/ 2147483647 w 962"/>
                <a:gd name="T115" fmla="*/ 2147483647 h 2812"/>
                <a:gd name="T116" fmla="*/ 2147483647 w 962"/>
                <a:gd name="T117" fmla="*/ 2147483647 h 2812"/>
                <a:gd name="T118" fmla="*/ 2147483647 w 962"/>
                <a:gd name="T119" fmla="*/ 2147483647 h 2812"/>
                <a:gd name="T120" fmla="*/ 2147483647 w 962"/>
                <a:gd name="T121" fmla="*/ 2147483647 h 2812"/>
                <a:gd name="T122" fmla="*/ 2147483647 w 962"/>
                <a:gd name="T123" fmla="*/ 2147483647 h 28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62"/>
                <a:gd name="T187" fmla="*/ 0 h 2812"/>
                <a:gd name="T188" fmla="*/ 962 w 962"/>
                <a:gd name="T189" fmla="*/ 2812 h 28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62" h="2812">
                  <a:moveTo>
                    <a:pt x="880" y="377"/>
                  </a:moveTo>
                  <a:lnTo>
                    <a:pt x="880" y="377"/>
                  </a:lnTo>
                  <a:lnTo>
                    <a:pt x="864" y="372"/>
                  </a:lnTo>
                  <a:lnTo>
                    <a:pt x="842" y="356"/>
                  </a:lnTo>
                  <a:lnTo>
                    <a:pt x="809" y="323"/>
                  </a:lnTo>
                  <a:lnTo>
                    <a:pt x="804" y="312"/>
                  </a:lnTo>
                  <a:lnTo>
                    <a:pt x="798" y="301"/>
                  </a:lnTo>
                  <a:lnTo>
                    <a:pt x="776" y="290"/>
                  </a:lnTo>
                  <a:lnTo>
                    <a:pt x="776" y="279"/>
                  </a:lnTo>
                  <a:lnTo>
                    <a:pt x="766" y="241"/>
                  </a:lnTo>
                  <a:lnTo>
                    <a:pt x="755" y="208"/>
                  </a:lnTo>
                  <a:lnTo>
                    <a:pt x="744" y="191"/>
                  </a:lnTo>
                  <a:lnTo>
                    <a:pt x="727" y="186"/>
                  </a:lnTo>
                  <a:lnTo>
                    <a:pt x="716" y="186"/>
                  </a:lnTo>
                  <a:lnTo>
                    <a:pt x="711" y="186"/>
                  </a:lnTo>
                  <a:lnTo>
                    <a:pt x="700" y="186"/>
                  </a:lnTo>
                  <a:lnTo>
                    <a:pt x="683" y="181"/>
                  </a:lnTo>
                  <a:lnTo>
                    <a:pt x="673" y="181"/>
                  </a:lnTo>
                  <a:lnTo>
                    <a:pt x="667" y="186"/>
                  </a:lnTo>
                  <a:lnTo>
                    <a:pt x="667" y="191"/>
                  </a:lnTo>
                  <a:lnTo>
                    <a:pt x="645" y="186"/>
                  </a:lnTo>
                  <a:lnTo>
                    <a:pt x="634" y="186"/>
                  </a:lnTo>
                  <a:lnTo>
                    <a:pt x="629" y="191"/>
                  </a:lnTo>
                  <a:lnTo>
                    <a:pt x="623" y="197"/>
                  </a:lnTo>
                  <a:lnTo>
                    <a:pt x="612" y="191"/>
                  </a:lnTo>
                  <a:lnTo>
                    <a:pt x="596" y="191"/>
                  </a:lnTo>
                  <a:lnTo>
                    <a:pt x="585" y="197"/>
                  </a:lnTo>
                  <a:lnTo>
                    <a:pt x="574" y="213"/>
                  </a:lnTo>
                  <a:lnTo>
                    <a:pt x="563" y="252"/>
                  </a:lnTo>
                  <a:lnTo>
                    <a:pt x="563" y="257"/>
                  </a:lnTo>
                  <a:lnTo>
                    <a:pt x="574" y="268"/>
                  </a:lnTo>
                  <a:lnTo>
                    <a:pt x="590" y="290"/>
                  </a:lnTo>
                  <a:lnTo>
                    <a:pt x="618" y="312"/>
                  </a:lnTo>
                  <a:lnTo>
                    <a:pt x="623" y="323"/>
                  </a:lnTo>
                  <a:lnTo>
                    <a:pt x="640" y="334"/>
                  </a:lnTo>
                  <a:lnTo>
                    <a:pt x="667" y="345"/>
                  </a:lnTo>
                  <a:lnTo>
                    <a:pt x="705" y="356"/>
                  </a:lnTo>
                  <a:lnTo>
                    <a:pt x="711" y="372"/>
                  </a:lnTo>
                  <a:lnTo>
                    <a:pt x="716" y="377"/>
                  </a:lnTo>
                  <a:lnTo>
                    <a:pt x="716" y="388"/>
                  </a:lnTo>
                  <a:lnTo>
                    <a:pt x="722" y="421"/>
                  </a:lnTo>
                  <a:lnTo>
                    <a:pt x="744" y="465"/>
                  </a:lnTo>
                  <a:lnTo>
                    <a:pt x="771" y="520"/>
                  </a:lnTo>
                  <a:lnTo>
                    <a:pt x="771" y="547"/>
                  </a:lnTo>
                  <a:lnTo>
                    <a:pt x="755" y="536"/>
                  </a:lnTo>
                  <a:lnTo>
                    <a:pt x="722" y="520"/>
                  </a:lnTo>
                  <a:lnTo>
                    <a:pt x="667" y="503"/>
                  </a:lnTo>
                  <a:lnTo>
                    <a:pt x="645" y="481"/>
                  </a:lnTo>
                  <a:lnTo>
                    <a:pt x="607" y="449"/>
                  </a:lnTo>
                  <a:lnTo>
                    <a:pt x="596" y="438"/>
                  </a:lnTo>
                  <a:lnTo>
                    <a:pt x="585" y="432"/>
                  </a:lnTo>
                  <a:lnTo>
                    <a:pt x="574" y="427"/>
                  </a:lnTo>
                  <a:lnTo>
                    <a:pt x="558" y="421"/>
                  </a:lnTo>
                  <a:lnTo>
                    <a:pt x="519" y="421"/>
                  </a:lnTo>
                  <a:lnTo>
                    <a:pt x="497" y="416"/>
                  </a:lnTo>
                  <a:lnTo>
                    <a:pt x="481" y="410"/>
                  </a:lnTo>
                  <a:lnTo>
                    <a:pt x="465" y="405"/>
                  </a:lnTo>
                  <a:lnTo>
                    <a:pt x="459" y="399"/>
                  </a:lnTo>
                  <a:lnTo>
                    <a:pt x="454" y="394"/>
                  </a:lnTo>
                  <a:lnTo>
                    <a:pt x="465" y="399"/>
                  </a:lnTo>
                  <a:lnTo>
                    <a:pt x="487" y="399"/>
                  </a:lnTo>
                  <a:lnTo>
                    <a:pt x="497" y="394"/>
                  </a:lnTo>
                  <a:lnTo>
                    <a:pt x="503" y="383"/>
                  </a:lnTo>
                  <a:lnTo>
                    <a:pt x="508" y="372"/>
                  </a:lnTo>
                  <a:lnTo>
                    <a:pt x="508" y="361"/>
                  </a:lnTo>
                  <a:lnTo>
                    <a:pt x="514" y="356"/>
                  </a:lnTo>
                  <a:lnTo>
                    <a:pt x="519" y="356"/>
                  </a:lnTo>
                  <a:lnTo>
                    <a:pt x="519" y="350"/>
                  </a:lnTo>
                  <a:lnTo>
                    <a:pt x="525" y="345"/>
                  </a:lnTo>
                  <a:lnTo>
                    <a:pt x="519" y="345"/>
                  </a:lnTo>
                  <a:lnTo>
                    <a:pt x="519" y="339"/>
                  </a:lnTo>
                  <a:lnTo>
                    <a:pt x="525" y="339"/>
                  </a:lnTo>
                  <a:lnTo>
                    <a:pt x="530" y="334"/>
                  </a:lnTo>
                  <a:lnTo>
                    <a:pt x="530" y="328"/>
                  </a:lnTo>
                  <a:lnTo>
                    <a:pt x="530" y="317"/>
                  </a:lnTo>
                  <a:lnTo>
                    <a:pt x="530" y="312"/>
                  </a:lnTo>
                  <a:lnTo>
                    <a:pt x="552" y="312"/>
                  </a:lnTo>
                  <a:lnTo>
                    <a:pt x="563" y="312"/>
                  </a:lnTo>
                  <a:lnTo>
                    <a:pt x="563" y="284"/>
                  </a:lnTo>
                  <a:lnTo>
                    <a:pt x="563" y="257"/>
                  </a:lnTo>
                  <a:lnTo>
                    <a:pt x="563" y="252"/>
                  </a:lnTo>
                  <a:lnTo>
                    <a:pt x="563" y="235"/>
                  </a:lnTo>
                  <a:lnTo>
                    <a:pt x="563" y="224"/>
                  </a:lnTo>
                  <a:lnTo>
                    <a:pt x="574" y="213"/>
                  </a:lnTo>
                  <a:lnTo>
                    <a:pt x="574" y="208"/>
                  </a:lnTo>
                  <a:lnTo>
                    <a:pt x="580" y="186"/>
                  </a:lnTo>
                  <a:lnTo>
                    <a:pt x="585" y="164"/>
                  </a:lnTo>
                  <a:lnTo>
                    <a:pt x="580" y="137"/>
                  </a:lnTo>
                  <a:lnTo>
                    <a:pt x="585" y="131"/>
                  </a:lnTo>
                  <a:lnTo>
                    <a:pt x="590" y="126"/>
                  </a:lnTo>
                  <a:lnTo>
                    <a:pt x="601" y="115"/>
                  </a:lnTo>
                  <a:lnTo>
                    <a:pt x="601" y="104"/>
                  </a:lnTo>
                  <a:lnTo>
                    <a:pt x="580" y="77"/>
                  </a:lnTo>
                  <a:lnTo>
                    <a:pt x="580" y="66"/>
                  </a:lnTo>
                  <a:lnTo>
                    <a:pt x="569" y="55"/>
                  </a:lnTo>
                  <a:lnTo>
                    <a:pt x="552" y="44"/>
                  </a:lnTo>
                  <a:lnTo>
                    <a:pt x="530" y="27"/>
                  </a:lnTo>
                  <a:lnTo>
                    <a:pt x="497" y="16"/>
                  </a:lnTo>
                  <a:lnTo>
                    <a:pt x="454" y="5"/>
                  </a:lnTo>
                  <a:lnTo>
                    <a:pt x="394" y="0"/>
                  </a:lnTo>
                  <a:lnTo>
                    <a:pt x="377" y="5"/>
                  </a:lnTo>
                  <a:lnTo>
                    <a:pt x="355" y="11"/>
                  </a:lnTo>
                  <a:lnTo>
                    <a:pt x="333" y="27"/>
                  </a:lnTo>
                  <a:lnTo>
                    <a:pt x="311" y="49"/>
                  </a:lnTo>
                  <a:lnTo>
                    <a:pt x="295" y="82"/>
                  </a:lnTo>
                  <a:lnTo>
                    <a:pt x="290" y="126"/>
                  </a:lnTo>
                  <a:lnTo>
                    <a:pt x="290" y="186"/>
                  </a:lnTo>
                  <a:lnTo>
                    <a:pt x="295" y="191"/>
                  </a:lnTo>
                  <a:lnTo>
                    <a:pt x="301" y="219"/>
                  </a:lnTo>
                  <a:lnTo>
                    <a:pt x="295" y="252"/>
                  </a:lnTo>
                  <a:lnTo>
                    <a:pt x="290" y="268"/>
                  </a:lnTo>
                  <a:lnTo>
                    <a:pt x="284" y="284"/>
                  </a:lnTo>
                  <a:lnTo>
                    <a:pt x="426" y="394"/>
                  </a:lnTo>
                  <a:lnTo>
                    <a:pt x="394" y="427"/>
                  </a:lnTo>
                  <a:lnTo>
                    <a:pt x="366" y="454"/>
                  </a:lnTo>
                  <a:lnTo>
                    <a:pt x="311" y="394"/>
                  </a:lnTo>
                  <a:lnTo>
                    <a:pt x="262" y="339"/>
                  </a:lnTo>
                  <a:lnTo>
                    <a:pt x="257" y="328"/>
                  </a:lnTo>
                  <a:lnTo>
                    <a:pt x="218" y="388"/>
                  </a:lnTo>
                  <a:lnTo>
                    <a:pt x="175" y="421"/>
                  </a:lnTo>
                  <a:lnTo>
                    <a:pt x="136" y="443"/>
                  </a:lnTo>
                  <a:lnTo>
                    <a:pt x="114" y="454"/>
                  </a:lnTo>
                  <a:lnTo>
                    <a:pt x="93" y="454"/>
                  </a:lnTo>
                  <a:lnTo>
                    <a:pt x="82" y="460"/>
                  </a:lnTo>
                  <a:lnTo>
                    <a:pt x="60" y="476"/>
                  </a:lnTo>
                  <a:lnTo>
                    <a:pt x="49" y="492"/>
                  </a:lnTo>
                  <a:lnTo>
                    <a:pt x="43" y="514"/>
                  </a:lnTo>
                  <a:lnTo>
                    <a:pt x="38" y="542"/>
                  </a:lnTo>
                  <a:lnTo>
                    <a:pt x="38" y="580"/>
                  </a:lnTo>
                  <a:lnTo>
                    <a:pt x="38" y="624"/>
                  </a:lnTo>
                  <a:lnTo>
                    <a:pt x="27" y="673"/>
                  </a:lnTo>
                  <a:lnTo>
                    <a:pt x="11" y="733"/>
                  </a:lnTo>
                  <a:lnTo>
                    <a:pt x="11" y="739"/>
                  </a:lnTo>
                  <a:lnTo>
                    <a:pt x="5" y="782"/>
                  </a:lnTo>
                  <a:lnTo>
                    <a:pt x="0" y="903"/>
                  </a:lnTo>
                  <a:lnTo>
                    <a:pt x="0" y="963"/>
                  </a:lnTo>
                  <a:lnTo>
                    <a:pt x="5" y="1018"/>
                  </a:lnTo>
                  <a:lnTo>
                    <a:pt x="16" y="1050"/>
                  </a:lnTo>
                  <a:lnTo>
                    <a:pt x="27" y="1083"/>
                  </a:lnTo>
                  <a:lnTo>
                    <a:pt x="60" y="1143"/>
                  </a:lnTo>
                  <a:lnTo>
                    <a:pt x="93" y="1204"/>
                  </a:lnTo>
                  <a:lnTo>
                    <a:pt x="120" y="1264"/>
                  </a:lnTo>
                  <a:lnTo>
                    <a:pt x="125" y="1264"/>
                  </a:lnTo>
                  <a:lnTo>
                    <a:pt x="136" y="1297"/>
                  </a:lnTo>
                  <a:lnTo>
                    <a:pt x="142" y="1318"/>
                  </a:lnTo>
                  <a:lnTo>
                    <a:pt x="153" y="1346"/>
                  </a:lnTo>
                  <a:lnTo>
                    <a:pt x="175" y="1384"/>
                  </a:lnTo>
                  <a:lnTo>
                    <a:pt x="180" y="1444"/>
                  </a:lnTo>
                  <a:lnTo>
                    <a:pt x="180" y="1483"/>
                  </a:lnTo>
                  <a:lnTo>
                    <a:pt x="180" y="1504"/>
                  </a:lnTo>
                  <a:lnTo>
                    <a:pt x="207" y="1504"/>
                  </a:lnTo>
                  <a:lnTo>
                    <a:pt x="229" y="1504"/>
                  </a:lnTo>
                  <a:lnTo>
                    <a:pt x="240" y="1504"/>
                  </a:lnTo>
                  <a:lnTo>
                    <a:pt x="235" y="1515"/>
                  </a:lnTo>
                  <a:lnTo>
                    <a:pt x="224" y="1548"/>
                  </a:lnTo>
                  <a:lnTo>
                    <a:pt x="213" y="1592"/>
                  </a:lnTo>
                  <a:lnTo>
                    <a:pt x="213" y="1614"/>
                  </a:lnTo>
                  <a:lnTo>
                    <a:pt x="218" y="1641"/>
                  </a:lnTo>
                  <a:lnTo>
                    <a:pt x="224" y="1696"/>
                  </a:lnTo>
                  <a:lnTo>
                    <a:pt x="229" y="1773"/>
                  </a:lnTo>
                  <a:lnTo>
                    <a:pt x="229" y="1882"/>
                  </a:lnTo>
                  <a:lnTo>
                    <a:pt x="224" y="1937"/>
                  </a:lnTo>
                  <a:lnTo>
                    <a:pt x="213" y="1986"/>
                  </a:lnTo>
                  <a:lnTo>
                    <a:pt x="197" y="2062"/>
                  </a:lnTo>
                  <a:lnTo>
                    <a:pt x="191" y="2101"/>
                  </a:lnTo>
                  <a:lnTo>
                    <a:pt x="186" y="2145"/>
                  </a:lnTo>
                  <a:lnTo>
                    <a:pt x="186" y="2205"/>
                  </a:lnTo>
                  <a:lnTo>
                    <a:pt x="186" y="2276"/>
                  </a:lnTo>
                  <a:lnTo>
                    <a:pt x="197" y="2407"/>
                  </a:lnTo>
                  <a:lnTo>
                    <a:pt x="207" y="2495"/>
                  </a:lnTo>
                  <a:lnTo>
                    <a:pt x="213" y="2555"/>
                  </a:lnTo>
                  <a:lnTo>
                    <a:pt x="213" y="2599"/>
                  </a:lnTo>
                  <a:lnTo>
                    <a:pt x="207" y="2631"/>
                  </a:lnTo>
                  <a:lnTo>
                    <a:pt x="207" y="2653"/>
                  </a:lnTo>
                  <a:lnTo>
                    <a:pt x="207" y="2670"/>
                  </a:lnTo>
                  <a:lnTo>
                    <a:pt x="207" y="2730"/>
                  </a:lnTo>
                  <a:lnTo>
                    <a:pt x="268" y="2752"/>
                  </a:lnTo>
                  <a:lnTo>
                    <a:pt x="301" y="2752"/>
                  </a:lnTo>
                  <a:lnTo>
                    <a:pt x="306" y="2763"/>
                  </a:lnTo>
                  <a:lnTo>
                    <a:pt x="328" y="2779"/>
                  </a:lnTo>
                  <a:lnTo>
                    <a:pt x="350" y="2790"/>
                  </a:lnTo>
                  <a:lnTo>
                    <a:pt x="372" y="2801"/>
                  </a:lnTo>
                  <a:lnTo>
                    <a:pt x="399" y="2807"/>
                  </a:lnTo>
                  <a:lnTo>
                    <a:pt x="437" y="2812"/>
                  </a:lnTo>
                  <a:lnTo>
                    <a:pt x="508" y="2807"/>
                  </a:lnTo>
                  <a:lnTo>
                    <a:pt x="541" y="2801"/>
                  </a:lnTo>
                  <a:lnTo>
                    <a:pt x="552" y="2801"/>
                  </a:lnTo>
                  <a:lnTo>
                    <a:pt x="552" y="2796"/>
                  </a:lnTo>
                  <a:lnTo>
                    <a:pt x="552" y="2785"/>
                  </a:lnTo>
                  <a:lnTo>
                    <a:pt x="547" y="2768"/>
                  </a:lnTo>
                  <a:lnTo>
                    <a:pt x="536" y="2752"/>
                  </a:lnTo>
                  <a:lnTo>
                    <a:pt x="470" y="2692"/>
                  </a:lnTo>
                  <a:lnTo>
                    <a:pt x="432" y="2648"/>
                  </a:lnTo>
                  <a:lnTo>
                    <a:pt x="415" y="2631"/>
                  </a:lnTo>
                  <a:lnTo>
                    <a:pt x="404" y="2615"/>
                  </a:lnTo>
                  <a:lnTo>
                    <a:pt x="404" y="2599"/>
                  </a:lnTo>
                  <a:lnTo>
                    <a:pt x="399" y="2588"/>
                  </a:lnTo>
                  <a:lnTo>
                    <a:pt x="394" y="2566"/>
                  </a:lnTo>
                  <a:lnTo>
                    <a:pt x="388" y="2555"/>
                  </a:lnTo>
                  <a:lnTo>
                    <a:pt x="388" y="2528"/>
                  </a:lnTo>
                  <a:lnTo>
                    <a:pt x="394" y="2467"/>
                  </a:lnTo>
                  <a:lnTo>
                    <a:pt x="399" y="2424"/>
                  </a:lnTo>
                  <a:lnTo>
                    <a:pt x="394" y="2402"/>
                  </a:lnTo>
                  <a:lnTo>
                    <a:pt x="383" y="2374"/>
                  </a:lnTo>
                  <a:lnTo>
                    <a:pt x="394" y="2238"/>
                  </a:lnTo>
                  <a:lnTo>
                    <a:pt x="399" y="2145"/>
                  </a:lnTo>
                  <a:lnTo>
                    <a:pt x="404" y="2095"/>
                  </a:lnTo>
                  <a:lnTo>
                    <a:pt x="415" y="2062"/>
                  </a:lnTo>
                  <a:lnTo>
                    <a:pt x="421" y="2013"/>
                  </a:lnTo>
                  <a:lnTo>
                    <a:pt x="432" y="1948"/>
                  </a:lnTo>
                  <a:lnTo>
                    <a:pt x="437" y="1931"/>
                  </a:lnTo>
                  <a:lnTo>
                    <a:pt x="454" y="1893"/>
                  </a:lnTo>
                  <a:lnTo>
                    <a:pt x="476" y="1827"/>
                  </a:lnTo>
                  <a:lnTo>
                    <a:pt x="492" y="1729"/>
                  </a:lnTo>
                  <a:lnTo>
                    <a:pt x="497" y="1723"/>
                  </a:lnTo>
                  <a:lnTo>
                    <a:pt x="503" y="1718"/>
                  </a:lnTo>
                  <a:lnTo>
                    <a:pt x="503" y="1729"/>
                  </a:lnTo>
                  <a:lnTo>
                    <a:pt x="558" y="1893"/>
                  </a:lnTo>
                  <a:lnTo>
                    <a:pt x="569" y="1920"/>
                  </a:lnTo>
                  <a:lnTo>
                    <a:pt x="569" y="1948"/>
                  </a:lnTo>
                  <a:lnTo>
                    <a:pt x="563" y="1980"/>
                  </a:lnTo>
                  <a:lnTo>
                    <a:pt x="547" y="2035"/>
                  </a:lnTo>
                  <a:lnTo>
                    <a:pt x="541" y="2084"/>
                  </a:lnTo>
                  <a:lnTo>
                    <a:pt x="536" y="2145"/>
                  </a:lnTo>
                  <a:lnTo>
                    <a:pt x="519" y="2287"/>
                  </a:lnTo>
                  <a:lnTo>
                    <a:pt x="503" y="2380"/>
                  </a:lnTo>
                  <a:lnTo>
                    <a:pt x="497" y="2429"/>
                  </a:lnTo>
                  <a:lnTo>
                    <a:pt x="481" y="2445"/>
                  </a:lnTo>
                  <a:lnTo>
                    <a:pt x="476" y="2462"/>
                  </a:lnTo>
                  <a:lnTo>
                    <a:pt x="470" y="2506"/>
                  </a:lnTo>
                  <a:lnTo>
                    <a:pt x="519" y="2528"/>
                  </a:lnTo>
                  <a:lnTo>
                    <a:pt x="580" y="2544"/>
                  </a:lnTo>
                  <a:lnTo>
                    <a:pt x="640" y="2555"/>
                  </a:lnTo>
                  <a:lnTo>
                    <a:pt x="694" y="2555"/>
                  </a:lnTo>
                  <a:lnTo>
                    <a:pt x="689" y="2517"/>
                  </a:lnTo>
                  <a:lnTo>
                    <a:pt x="705" y="2484"/>
                  </a:lnTo>
                  <a:lnTo>
                    <a:pt x="716" y="2445"/>
                  </a:lnTo>
                  <a:lnTo>
                    <a:pt x="738" y="2396"/>
                  </a:lnTo>
                  <a:lnTo>
                    <a:pt x="755" y="2331"/>
                  </a:lnTo>
                  <a:lnTo>
                    <a:pt x="771" y="2249"/>
                  </a:lnTo>
                  <a:lnTo>
                    <a:pt x="782" y="2156"/>
                  </a:lnTo>
                  <a:lnTo>
                    <a:pt x="787" y="2041"/>
                  </a:lnTo>
                  <a:lnTo>
                    <a:pt x="787" y="2013"/>
                  </a:lnTo>
                  <a:lnTo>
                    <a:pt x="787" y="1991"/>
                  </a:lnTo>
                  <a:lnTo>
                    <a:pt x="787" y="1980"/>
                  </a:lnTo>
                  <a:lnTo>
                    <a:pt x="793" y="1969"/>
                  </a:lnTo>
                  <a:lnTo>
                    <a:pt x="798" y="1937"/>
                  </a:lnTo>
                  <a:lnTo>
                    <a:pt x="798" y="1882"/>
                  </a:lnTo>
                  <a:lnTo>
                    <a:pt x="798" y="1805"/>
                  </a:lnTo>
                  <a:lnTo>
                    <a:pt x="782" y="1690"/>
                  </a:lnTo>
                  <a:lnTo>
                    <a:pt x="755" y="1559"/>
                  </a:lnTo>
                  <a:lnTo>
                    <a:pt x="722" y="1411"/>
                  </a:lnTo>
                  <a:lnTo>
                    <a:pt x="733" y="1401"/>
                  </a:lnTo>
                  <a:lnTo>
                    <a:pt x="738" y="1390"/>
                  </a:lnTo>
                  <a:lnTo>
                    <a:pt x="744" y="1368"/>
                  </a:lnTo>
                  <a:lnTo>
                    <a:pt x="733" y="1313"/>
                  </a:lnTo>
                  <a:lnTo>
                    <a:pt x="711" y="1220"/>
                  </a:lnTo>
                  <a:lnTo>
                    <a:pt x="683" y="1083"/>
                  </a:lnTo>
                  <a:lnTo>
                    <a:pt x="673" y="1018"/>
                  </a:lnTo>
                  <a:lnTo>
                    <a:pt x="656" y="957"/>
                  </a:lnTo>
                  <a:lnTo>
                    <a:pt x="645" y="914"/>
                  </a:lnTo>
                  <a:lnTo>
                    <a:pt x="634" y="870"/>
                  </a:lnTo>
                  <a:lnTo>
                    <a:pt x="634" y="821"/>
                  </a:lnTo>
                  <a:lnTo>
                    <a:pt x="640" y="777"/>
                  </a:lnTo>
                  <a:lnTo>
                    <a:pt x="634" y="739"/>
                  </a:lnTo>
                  <a:lnTo>
                    <a:pt x="634" y="706"/>
                  </a:lnTo>
                  <a:lnTo>
                    <a:pt x="678" y="717"/>
                  </a:lnTo>
                  <a:lnTo>
                    <a:pt x="776" y="728"/>
                  </a:lnTo>
                  <a:lnTo>
                    <a:pt x="837" y="733"/>
                  </a:lnTo>
                  <a:lnTo>
                    <a:pt x="891" y="728"/>
                  </a:lnTo>
                  <a:lnTo>
                    <a:pt x="913" y="722"/>
                  </a:lnTo>
                  <a:lnTo>
                    <a:pt x="935" y="717"/>
                  </a:lnTo>
                  <a:lnTo>
                    <a:pt x="952" y="706"/>
                  </a:lnTo>
                  <a:lnTo>
                    <a:pt x="962" y="689"/>
                  </a:lnTo>
                  <a:lnTo>
                    <a:pt x="946" y="618"/>
                  </a:lnTo>
                  <a:lnTo>
                    <a:pt x="924" y="520"/>
                  </a:lnTo>
                  <a:lnTo>
                    <a:pt x="880" y="377"/>
                  </a:lnTo>
                  <a:close/>
                  <a:moveTo>
                    <a:pt x="640" y="279"/>
                  </a:moveTo>
                  <a:lnTo>
                    <a:pt x="640" y="279"/>
                  </a:lnTo>
                  <a:lnTo>
                    <a:pt x="634" y="279"/>
                  </a:lnTo>
                  <a:lnTo>
                    <a:pt x="618" y="274"/>
                  </a:lnTo>
                  <a:lnTo>
                    <a:pt x="607" y="263"/>
                  </a:lnTo>
                  <a:lnTo>
                    <a:pt x="596" y="246"/>
                  </a:lnTo>
                  <a:lnTo>
                    <a:pt x="580" y="241"/>
                  </a:lnTo>
                  <a:lnTo>
                    <a:pt x="590" y="230"/>
                  </a:lnTo>
                  <a:lnTo>
                    <a:pt x="596" y="224"/>
                  </a:lnTo>
                  <a:lnTo>
                    <a:pt x="618" y="224"/>
                  </a:lnTo>
                  <a:lnTo>
                    <a:pt x="623" y="230"/>
                  </a:lnTo>
                  <a:lnTo>
                    <a:pt x="623" y="235"/>
                  </a:lnTo>
                  <a:lnTo>
                    <a:pt x="623" y="246"/>
                  </a:lnTo>
                  <a:lnTo>
                    <a:pt x="623" y="252"/>
                  </a:lnTo>
                  <a:lnTo>
                    <a:pt x="629" y="257"/>
                  </a:lnTo>
                  <a:lnTo>
                    <a:pt x="634" y="263"/>
                  </a:lnTo>
                  <a:lnTo>
                    <a:pt x="640" y="263"/>
                  </a:lnTo>
                  <a:lnTo>
                    <a:pt x="645" y="263"/>
                  </a:lnTo>
                  <a:lnTo>
                    <a:pt x="645" y="268"/>
                  </a:lnTo>
                  <a:lnTo>
                    <a:pt x="640" y="279"/>
                  </a:lnTo>
                  <a:close/>
                  <a:moveTo>
                    <a:pt x="235" y="990"/>
                  </a:moveTo>
                  <a:lnTo>
                    <a:pt x="235" y="990"/>
                  </a:lnTo>
                  <a:lnTo>
                    <a:pt x="235" y="1023"/>
                  </a:lnTo>
                  <a:lnTo>
                    <a:pt x="229" y="1067"/>
                  </a:lnTo>
                  <a:lnTo>
                    <a:pt x="224" y="1089"/>
                  </a:lnTo>
                  <a:lnTo>
                    <a:pt x="218" y="1089"/>
                  </a:lnTo>
                  <a:lnTo>
                    <a:pt x="213" y="1083"/>
                  </a:lnTo>
                  <a:lnTo>
                    <a:pt x="213" y="1072"/>
                  </a:lnTo>
                  <a:lnTo>
                    <a:pt x="207" y="1056"/>
                  </a:lnTo>
                  <a:lnTo>
                    <a:pt x="202" y="1045"/>
                  </a:lnTo>
                  <a:lnTo>
                    <a:pt x="191" y="1029"/>
                  </a:lnTo>
                  <a:lnTo>
                    <a:pt x="191" y="1012"/>
                  </a:lnTo>
                  <a:lnTo>
                    <a:pt x="197" y="1001"/>
                  </a:lnTo>
                  <a:lnTo>
                    <a:pt x="202" y="985"/>
                  </a:lnTo>
                  <a:lnTo>
                    <a:pt x="207" y="979"/>
                  </a:lnTo>
                  <a:lnTo>
                    <a:pt x="207" y="963"/>
                  </a:lnTo>
                  <a:lnTo>
                    <a:pt x="207" y="946"/>
                  </a:lnTo>
                  <a:lnTo>
                    <a:pt x="207" y="936"/>
                  </a:lnTo>
                  <a:lnTo>
                    <a:pt x="213" y="930"/>
                  </a:lnTo>
                  <a:lnTo>
                    <a:pt x="224" y="952"/>
                  </a:lnTo>
                  <a:lnTo>
                    <a:pt x="235" y="968"/>
                  </a:lnTo>
                  <a:lnTo>
                    <a:pt x="235" y="99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15427" name="Freeform 1581"/>
            <p:cNvSpPr>
              <a:spLocks/>
            </p:cNvSpPr>
            <p:nvPr/>
          </p:nvSpPr>
          <p:spPr bwMode="auto">
            <a:xfrm>
              <a:off x="443070" y="1772949"/>
              <a:ext cx="9435" cy="37741"/>
            </a:xfrm>
            <a:custGeom>
              <a:avLst/>
              <a:gdLst>
                <a:gd name="T0" fmla="*/ 0 w 11"/>
                <a:gd name="T1" fmla="*/ 2147483647 h 44"/>
                <a:gd name="T2" fmla="*/ 0 w 11"/>
                <a:gd name="T3" fmla="*/ 2147483647 h 44"/>
                <a:gd name="T4" fmla="*/ 0 w 11"/>
                <a:gd name="T5" fmla="*/ 2147483647 h 44"/>
                <a:gd name="T6" fmla="*/ 0 w 11"/>
                <a:gd name="T7" fmla="*/ 2147483647 h 44"/>
                <a:gd name="T8" fmla="*/ 0 w 11"/>
                <a:gd name="T9" fmla="*/ 2147483647 h 44"/>
                <a:gd name="T10" fmla="*/ 0 w 11"/>
                <a:gd name="T11" fmla="*/ 2147483647 h 44"/>
                <a:gd name="T12" fmla="*/ 2147483647 w 11"/>
                <a:gd name="T13" fmla="*/ 0 h 44"/>
                <a:gd name="T14" fmla="*/ 2147483647 w 11"/>
                <a:gd name="T15" fmla="*/ 0 h 44"/>
                <a:gd name="T16" fmla="*/ 0 w 11"/>
                <a:gd name="T17" fmla="*/ 2147483647 h 44"/>
                <a:gd name="T18" fmla="*/ 0 w 11"/>
                <a:gd name="T19" fmla="*/ 2147483647 h 44"/>
                <a:gd name="T20" fmla="*/ 0 w 11"/>
                <a:gd name="T21" fmla="*/ 2147483647 h 44"/>
                <a:gd name="T22" fmla="*/ 0 w 11"/>
                <a:gd name="T23" fmla="*/ 2147483647 h 44"/>
                <a:gd name="T24" fmla="*/ 0 w 11"/>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44"/>
                <a:gd name="T41" fmla="*/ 11 w 1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44">
                  <a:moveTo>
                    <a:pt x="0" y="39"/>
                  </a:moveTo>
                  <a:lnTo>
                    <a:pt x="0" y="39"/>
                  </a:lnTo>
                  <a:lnTo>
                    <a:pt x="0" y="44"/>
                  </a:lnTo>
                  <a:lnTo>
                    <a:pt x="0" y="39"/>
                  </a:lnTo>
                  <a:lnTo>
                    <a:pt x="11" y="0"/>
                  </a:lnTo>
                  <a:lnTo>
                    <a:pt x="0" y="11"/>
                  </a:lnTo>
                  <a:lnTo>
                    <a:pt x="0" y="22"/>
                  </a:lnTo>
                  <a:lnTo>
                    <a:pt x="0" y="3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28" name="Freeform 1582"/>
            <p:cNvSpPr>
              <a:spLocks noEditPoints="1"/>
            </p:cNvSpPr>
            <p:nvPr/>
          </p:nvSpPr>
          <p:spPr bwMode="auto">
            <a:xfrm>
              <a:off x="302413" y="1726628"/>
              <a:ext cx="173251" cy="93497"/>
            </a:xfrm>
            <a:custGeom>
              <a:avLst/>
              <a:gdLst>
                <a:gd name="T0" fmla="*/ 2147483647 w 202"/>
                <a:gd name="T1" fmla="*/ 2147483647 h 109"/>
                <a:gd name="T2" fmla="*/ 2147483647 w 202"/>
                <a:gd name="T3" fmla="*/ 2147483647 h 109"/>
                <a:gd name="T4" fmla="*/ 2147483647 w 202"/>
                <a:gd name="T5" fmla="*/ 2147483647 h 109"/>
                <a:gd name="T6" fmla="*/ 2147483647 w 202"/>
                <a:gd name="T7" fmla="*/ 2147483647 h 109"/>
                <a:gd name="T8" fmla="*/ 2147483647 w 202"/>
                <a:gd name="T9" fmla="*/ 2147483647 h 109"/>
                <a:gd name="T10" fmla="*/ 2147483647 w 202"/>
                <a:gd name="T11" fmla="*/ 2147483647 h 109"/>
                <a:gd name="T12" fmla="*/ 2147483647 w 202"/>
                <a:gd name="T13" fmla="*/ 2147483647 h 109"/>
                <a:gd name="T14" fmla="*/ 2147483647 w 202"/>
                <a:gd name="T15" fmla="*/ 2147483647 h 109"/>
                <a:gd name="T16" fmla="*/ 2147483647 w 202"/>
                <a:gd name="T17" fmla="*/ 2147483647 h 109"/>
                <a:gd name="T18" fmla="*/ 2147483647 w 202"/>
                <a:gd name="T19" fmla="*/ 2147483647 h 109"/>
                <a:gd name="T20" fmla="*/ 2147483647 w 202"/>
                <a:gd name="T21" fmla="*/ 2147483647 h 109"/>
                <a:gd name="T22" fmla="*/ 2147483647 w 202"/>
                <a:gd name="T23" fmla="*/ 2147483647 h 109"/>
                <a:gd name="T24" fmla="*/ 2147483647 w 202"/>
                <a:gd name="T25" fmla="*/ 2147483647 h 109"/>
                <a:gd name="T26" fmla="*/ 2147483647 w 202"/>
                <a:gd name="T27" fmla="*/ 2147483647 h 109"/>
                <a:gd name="T28" fmla="*/ 2147483647 w 202"/>
                <a:gd name="T29" fmla="*/ 2147483647 h 109"/>
                <a:gd name="T30" fmla="*/ 2147483647 w 202"/>
                <a:gd name="T31" fmla="*/ 0 h 109"/>
                <a:gd name="T32" fmla="*/ 0 w 202"/>
                <a:gd name="T33" fmla="*/ 0 h 109"/>
                <a:gd name="T34" fmla="*/ 0 w 202"/>
                <a:gd name="T35" fmla="*/ 2147483647 h 109"/>
                <a:gd name="T36" fmla="*/ 0 w 202"/>
                <a:gd name="T37" fmla="*/ 2147483647 h 109"/>
                <a:gd name="T38" fmla="*/ 0 w 202"/>
                <a:gd name="T39" fmla="*/ 2147483647 h 109"/>
                <a:gd name="T40" fmla="*/ 2147483647 w 202"/>
                <a:gd name="T41" fmla="*/ 2147483647 h 109"/>
                <a:gd name="T42" fmla="*/ 2147483647 w 202"/>
                <a:gd name="T43" fmla="*/ 2147483647 h 109"/>
                <a:gd name="T44" fmla="*/ 2147483647 w 202"/>
                <a:gd name="T45" fmla="*/ 2147483647 h 109"/>
                <a:gd name="T46" fmla="*/ 2147483647 w 202"/>
                <a:gd name="T47" fmla="*/ 2147483647 h 109"/>
                <a:gd name="T48" fmla="*/ 2147483647 w 202"/>
                <a:gd name="T49" fmla="*/ 2147483647 h 109"/>
                <a:gd name="T50" fmla="*/ 2147483647 w 202"/>
                <a:gd name="T51" fmla="*/ 2147483647 h 109"/>
                <a:gd name="T52" fmla="*/ 2147483647 w 202"/>
                <a:gd name="T53" fmla="*/ 2147483647 h 109"/>
                <a:gd name="T54" fmla="*/ 2147483647 w 202"/>
                <a:gd name="T55" fmla="*/ 2147483647 h 109"/>
                <a:gd name="T56" fmla="*/ 2147483647 w 202"/>
                <a:gd name="T57" fmla="*/ 2147483647 h 109"/>
                <a:gd name="T58" fmla="*/ 2147483647 w 202"/>
                <a:gd name="T59" fmla="*/ 2147483647 h 109"/>
                <a:gd name="T60" fmla="*/ 2147483647 w 202"/>
                <a:gd name="T61" fmla="*/ 2147483647 h 109"/>
                <a:gd name="T62" fmla="*/ 2147483647 w 202"/>
                <a:gd name="T63" fmla="*/ 2147483647 h 109"/>
                <a:gd name="T64" fmla="*/ 2147483647 w 202"/>
                <a:gd name="T65" fmla="*/ 2147483647 h 109"/>
                <a:gd name="T66" fmla="*/ 2147483647 w 202"/>
                <a:gd name="T67" fmla="*/ 2147483647 h 109"/>
                <a:gd name="T68" fmla="*/ 2147483647 w 202"/>
                <a:gd name="T69" fmla="*/ 2147483647 h 109"/>
                <a:gd name="T70" fmla="*/ 2147483647 w 202"/>
                <a:gd name="T71" fmla="*/ 2147483647 h 109"/>
                <a:gd name="T72" fmla="*/ 2147483647 w 202"/>
                <a:gd name="T73" fmla="*/ 2147483647 h 109"/>
                <a:gd name="T74" fmla="*/ 2147483647 w 202"/>
                <a:gd name="T75" fmla="*/ 2147483647 h 109"/>
                <a:gd name="T76" fmla="*/ 2147483647 w 202"/>
                <a:gd name="T77" fmla="*/ 2147483647 h 109"/>
                <a:gd name="T78" fmla="*/ 2147483647 w 202"/>
                <a:gd name="T79" fmla="*/ 2147483647 h 109"/>
                <a:gd name="T80" fmla="*/ 2147483647 w 202"/>
                <a:gd name="T81" fmla="*/ 2147483647 h 109"/>
                <a:gd name="T82" fmla="*/ 2147483647 w 202"/>
                <a:gd name="T83" fmla="*/ 2147483647 h 109"/>
                <a:gd name="T84" fmla="*/ 2147483647 w 202"/>
                <a:gd name="T85" fmla="*/ 2147483647 h 109"/>
                <a:gd name="T86" fmla="*/ 2147483647 w 202"/>
                <a:gd name="T87" fmla="*/ 2147483647 h 109"/>
                <a:gd name="T88" fmla="*/ 2147483647 w 202"/>
                <a:gd name="T89" fmla="*/ 2147483647 h 109"/>
                <a:gd name="T90" fmla="*/ 2147483647 w 202"/>
                <a:gd name="T91" fmla="*/ 2147483647 h 109"/>
                <a:gd name="T92" fmla="*/ 2147483647 w 202"/>
                <a:gd name="T93" fmla="*/ 2147483647 h 109"/>
                <a:gd name="T94" fmla="*/ 2147483647 w 202"/>
                <a:gd name="T95" fmla="*/ 2147483647 h 109"/>
                <a:gd name="T96" fmla="*/ 2147483647 w 202"/>
                <a:gd name="T97" fmla="*/ 2147483647 h 109"/>
                <a:gd name="T98" fmla="*/ 2147483647 w 202"/>
                <a:gd name="T99" fmla="*/ 2147483647 h 109"/>
                <a:gd name="T100" fmla="*/ 2147483647 w 202"/>
                <a:gd name="T101" fmla="*/ 2147483647 h 109"/>
                <a:gd name="T102" fmla="*/ 2147483647 w 202"/>
                <a:gd name="T103" fmla="*/ 2147483647 h 109"/>
                <a:gd name="T104" fmla="*/ 2147483647 w 202"/>
                <a:gd name="T105" fmla="*/ 2147483647 h 109"/>
                <a:gd name="T106" fmla="*/ 2147483647 w 202"/>
                <a:gd name="T107" fmla="*/ 2147483647 h 109"/>
                <a:gd name="T108" fmla="*/ 2147483647 w 202"/>
                <a:gd name="T109" fmla="*/ 2147483647 h 109"/>
                <a:gd name="T110" fmla="*/ 2147483647 w 202"/>
                <a:gd name="T111" fmla="*/ 2147483647 h 109"/>
                <a:gd name="T112" fmla="*/ 2147483647 w 202"/>
                <a:gd name="T113" fmla="*/ 2147483647 h 109"/>
                <a:gd name="T114" fmla="*/ 2147483647 w 202"/>
                <a:gd name="T115" fmla="*/ 2147483647 h 109"/>
                <a:gd name="T116" fmla="*/ 2147483647 w 202"/>
                <a:gd name="T117" fmla="*/ 2147483647 h 1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2"/>
                <a:gd name="T178" fmla="*/ 0 h 109"/>
                <a:gd name="T179" fmla="*/ 202 w 202"/>
                <a:gd name="T180" fmla="*/ 109 h 1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2" h="109">
                  <a:moveTo>
                    <a:pt x="202" y="71"/>
                  </a:moveTo>
                  <a:lnTo>
                    <a:pt x="202" y="71"/>
                  </a:lnTo>
                  <a:lnTo>
                    <a:pt x="202" y="60"/>
                  </a:lnTo>
                  <a:lnTo>
                    <a:pt x="197" y="54"/>
                  </a:lnTo>
                  <a:lnTo>
                    <a:pt x="175" y="38"/>
                  </a:lnTo>
                  <a:lnTo>
                    <a:pt x="148" y="32"/>
                  </a:lnTo>
                  <a:lnTo>
                    <a:pt x="137" y="38"/>
                  </a:lnTo>
                  <a:lnTo>
                    <a:pt x="131" y="43"/>
                  </a:lnTo>
                  <a:lnTo>
                    <a:pt x="126" y="43"/>
                  </a:lnTo>
                  <a:lnTo>
                    <a:pt x="115" y="38"/>
                  </a:lnTo>
                  <a:lnTo>
                    <a:pt x="55" y="11"/>
                  </a:lnTo>
                  <a:lnTo>
                    <a:pt x="16" y="0"/>
                  </a:lnTo>
                  <a:lnTo>
                    <a:pt x="0" y="0"/>
                  </a:lnTo>
                  <a:lnTo>
                    <a:pt x="0" y="5"/>
                  </a:lnTo>
                  <a:lnTo>
                    <a:pt x="11" y="5"/>
                  </a:lnTo>
                  <a:lnTo>
                    <a:pt x="49" y="22"/>
                  </a:lnTo>
                  <a:lnTo>
                    <a:pt x="82" y="43"/>
                  </a:lnTo>
                  <a:lnTo>
                    <a:pt x="120" y="65"/>
                  </a:lnTo>
                  <a:lnTo>
                    <a:pt x="115" y="76"/>
                  </a:lnTo>
                  <a:lnTo>
                    <a:pt x="120" y="87"/>
                  </a:lnTo>
                  <a:lnTo>
                    <a:pt x="126" y="98"/>
                  </a:lnTo>
                  <a:lnTo>
                    <a:pt x="142" y="109"/>
                  </a:lnTo>
                  <a:lnTo>
                    <a:pt x="159" y="109"/>
                  </a:lnTo>
                  <a:lnTo>
                    <a:pt x="175" y="109"/>
                  </a:lnTo>
                  <a:lnTo>
                    <a:pt x="181" y="104"/>
                  </a:lnTo>
                  <a:lnTo>
                    <a:pt x="191" y="98"/>
                  </a:lnTo>
                  <a:lnTo>
                    <a:pt x="202" y="82"/>
                  </a:lnTo>
                  <a:lnTo>
                    <a:pt x="202" y="71"/>
                  </a:lnTo>
                  <a:close/>
                  <a:moveTo>
                    <a:pt x="77" y="82"/>
                  </a:moveTo>
                  <a:lnTo>
                    <a:pt x="77" y="82"/>
                  </a:lnTo>
                  <a:lnTo>
                    <a:pt x="60" y="71"/>
                  </a:lnTo>
                  <a:lnTo>
                    <a:pt x="55" y="65"/>
                  </a:lnTo>
                  <a:lnTo>
                    <a:pt x="55" y="49"/>
                  </a:lnTo>
                  <a:lnTo>
                    <a:pt x="60" y="38"/>
                  </a:lnTo>
                  <a:lnTo>
                    <a:pt x="66" y="27"/>
                  </a:lnTo>
                  <a:lnTo>
                    <a:pt x="77" y="22"/>
                  </a:lnTo>
                  <a:lnTo>
                    <a:pt x="82" y="22"/>
                  </a:lnTo>
                  <a:lnTo>
                    <a:pt x="93" y="27"/>
                  </a:lnTo>
                  <a:lnTo>
                    <a:pt x="115" y="38"/>
                  </a:lnTo>
                  <a:lnTo>
                    <a:pt x="120" y="49"/>
                  </a:lnTo>
                  <a:lnTo>
                    <a:pt x="115" y="60"/>
                  </a:lnTo>
                  <a:lnTo>
                    <a:pt x="109" y="76"/>
                  </a:lnTo>
                  <a:lnTo>
                    <a:pt x="98" y="82"/>
                  </a:lnTo>
                  <a:lnTo>
                    <a:pt x="77" y="82"/>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29" name="Freeform 1583"/>
            <p:cNvSpPr>
              <a:spLocks/>
            </p:cNvSpPr>
            <p:nvPr/>
          </p:nvSpPr>
          <p:spPr bwMode="auto">
            <a:xfrm>
              <a:off x="288691" y="1918766"/>
              <a:ext cx="112354" cy="385137"/>
            </a:xfrm>
            <a:custGeom>
              <a:avLst/>
              <a:gdLst>
                <a:gd name="T0" fmla="*/ 0 w 131"/>
                <a:gd name="T1" fmla="*/ 2147483647 h 449"/>
                <a:gd name="T2" fmla="*/ 0 w 131"/>
                <a:gd name="T3" fmla="*/ 2147483647 h 449"/>
                <a:gd name="T4" fmla="*/ 2147483647 w 131"/>
                <a:gd name="T5" fmla="*/ 2147483647 h 449"/>
                <a:gd name="T6" fmla="*/ 2147483647 w 131"/>
                <a:gd name="T7" fmla="*/ 2147483647 h 449"/>
                <a:gd name="T8" fmla="*/ 2147483647 w 131"/>
                <a:gd name="T9" fmla="*/ 2147483647 h 449"/>
                <a:gd name="T10" fmla="*/ 2147483647 w 131"/>
                <a:gd name="T11" fmla="*/ 2147483647 h 449"/>
                <a:gd name="T12" fmla="*/ 2147483647 w 131"/>
                <a:gd name="T13" fmla="*/ 2147483647 h 449"/>
                <a:gd name="T14" fmla="*/ 2147483647 w 131"/>
                <a:gd name="T15" fmla="*/ 2147483647 h 449"/>
                <a:gd name="T16" fmla="*/ 2147483647 w 131"/>
                <a:gd name="T17" fmla="*/ 2147483647 h 449"/>
                <a:gd name="T18" fmla="*/ 2147483647 w 131"/>
                <a:gd name="T19" fmla="*/ 2147483647 h 449"/>
                <a:gd name="T20" fmla="*/ 2147483647 w 131"/>
                <a:gd name="T21" fmla="*/ 2147483647 h 449"/>
                <a:gd name="T22" fmla="*/ 2147483647 w 131"/>
                <a:gd name="T23" fmla="*/ 2147483647 h 449"/>
                <a:gd name="T24" fmla="*/ 2147483647 w 131"/>
                <a:gd name="T25" fmla="*/ 2147483647 h 449"/>
                <a:gd name="T26" fmla="*/ 2147483647 w 131"/>
                <a:gd name="T27" fmla="*/ 2147483647 h 449"/>
                <a:gd name="T28" fmla="*/ 2147483647 w 131"/>
                <a:gd name="T29" fmla="*/ 2147483647 h 449"/>
                <a:gd name="T30" fmla="*/ 2147483647 w 131"/>
                <a:gd name="T31" fmla="*/ 2147483647 h 449"/>
                <a:gd name="T32" fmla="*/ 2147483647 w 131"/>
                <a:gd name="T33" fmla="*/ 2147483647 h 449"/>
                <a:gd name="T34" fmla="*/ 2147483647 w 131"/>
                <a:gd name="T35" fmla="*/ 2147483647 h 449"/>
                <a:gd name="T36" fmla="*/ 2147483647 w 131"/>
                <a:gd name="T37" fmla="*/ 2147483647 h 449"/>
                <a:gd name="T38" fmla="*/ 2147483647 w 131"/>
                <a:gd name="T39" fmla="*/ 2147483647 h 449"/>
                <a:gd name="T40" fmla="*/ 2147483647 w 131"/>
                <a:gd name="T41" fmla="*/ 2147483647 h 449"/>
                <a:gd name="T42" fmla="*/ 2147483647 w 131"/>
                <a:gd name="T43" fmla="*/ 2147483647 h 449"/>
                <a:gd name="T44" fmla="*/ 2147483647 w 131"/>
                <a:gd name="T45" fmla="*/ 2147483647 h 449"/>
                <a:gd name="T46" fmla="*/ 2147483647 w 131"/>
                <a:gd name="T47" fmla="*/ 2147483647 h 449"/>
                <a:gd name="T48" fmla="*/ 2147483647 w 131"/>
                <a:gd name="T49" fmla="*/ 2147483647 h 449"/>
                <a:gd name="T50" fmla="*/ 2147483647 w 131"/>
                <a:gd name="T51" fmla="*/ 2147483647 h 449"/>
                <a:gd name="T52" fmla="*/ 2147483647 w 131"/>
                <a:gd name="T53" fmla="*/ 2147483647 h 449"/>
                <a:gd name="T54" fmla="*/ 2147483647 w 131"/>
                <a:gd name="T55" fmla="*/ 2147483647 h 449"/>
                <a:gd name="T56" fmla="*/ 2147483647 w 131"/>
                <a:gd name="T57" fmla="*/ 0 h 449"/>
                <a:gd name="T58" fmla="*/ 2147483647 w 131"/>
                <a:gd name="T59" fmla="*/ 0 h 449"/>
                <a:gd name="T60" fmla="*/ 2147483647 w 131"/>
                <a:gd name="T61" fmla="*/ 2147483647 h 449"/>
                <a:gd name="T62" fmla="*/ 2147483647 w 131"/>
                <a:gd name="T63" fmla="*/ 2147483647 h 449"/>
                <a:gd name="T64" fmla="*/ 0 w 131"/>
                <a:gd name="T65" fmla="*/ 2147483647 h 44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1"/>
                <a:gd name="T100" fmla="*/ 0 h 449"/>
                <a:gd name="T101" fmla="*/ 131 w 131"/>
                <a:gd name="T102" fmla="*/ 449 h 44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1" h="449">
                  <a:moveTo>
                    <a:pt x="0" y="55"/>
                  </a:moveTo>
                  <a:lnTo>
                    <a:pt x="0" y="55"/>
                  </a:lnTo>
                  <a:lnTo>
                    <a:pt x="11" y="60"/>
                  </a:lnTo>
                  <a:lnTo>
                    <a:pt x="21" y="77"/>
                  </a:lnTo>
                  <a:lnTo>
                    <a:pt x="32" y="104"/>
                  </a:lnTo>
                  <a:lnTo>
                    <a:pt x="54" y="186"/>
                  </a:lnTo>
                  <a:lnTo>
                    <a:pt x="76" y="273"/>
                  </a:lnTo>
                  <a:lnTo>
                    <a:pt x="98" y="323"/>
                  </a:lnTo>
                  <a:lnTo>
                    <a:pt x="120" y="372"/>
                  </a:lnTo>
                  <a:lnTo>
                    <a:pt x="125" y="410"/>
                  </a:lnTo>
                  <a:lnTo>
                    <a:pt x="125" y="449"/>
                  </a:lnTo>
                  <a:lnTo>
                    <a:pt x="131" y="399"/>
                  </a:lnTo>
                  <a:lnTo>
                    <a:pt x="131" y="350"/>
                  </a:lnTo>
                  <a:lnTo>
                    <a:pt x="120" y="235"/>
                  </a:lnTo>
                  <a:lnTo>
                    <a:pt x="109" y="126"/>
                  </a:lnTo>
                  <a:lnTo>
                    <a:pt x="93" y="27"/>
                  </a:lnTo>
                  <a:lnTo>
                    <a:pt x="87" y="22"/>
                  </a:lnTo>
                  <a:lnTo>
                    <a:pt x="76" y="22"/>
                  </a:lnTo>
                  <a:lnTo>
                    <a:pt x="60" y="22"/>
                  </a:lnTo>
                  <a:lnTo>
                    <a:pt x="49" y="16"/>
                  </a:lnTo>
                  <a:lnTo>
                    <a:pt x="38" y="5"/>
                  </a:lnTo>
                  <a:lnTo>
                    <a:pt x="32" y="5"/>
                  </a:lnTo>
                  <a:lnTo>
                    <a:pt x="21" y="0"/>
                  </a:lnTo>
                  <a:lnTo>
                    <a:pt x="11" y="16"/>
                  </a:lnTo>
                  <a:lnTo>
                    <a:pt x="5" y="44"/>
                  </a:lnTo>
                  <a:lnTo>
                    <a:pt x="0"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30" name="Freeform 1584"/>
            <p:cNvSpPr>
              <a:spLocks/>
            </p:cNvSpPr>
            <p:nvPr/>
          </p:nvSpPr>
          <p:spPr bwMode="auto">
            <a:xfrm>
              <a:off x="316135" y="1923054"/>
              <a:ext cx="108067" cy="408298"/>
            </a:xfrm>
            <a:custGeom>
              <a:avLst/>
              <a:gdLst>
                <a:gd name="T0" fmla="*/ 2147483647 w 126"/>
                <a:gd name="T1" fmla="*/ 2147483647 h 476"/>
                <a:gd name="T2" fmla="*/ 0 w 126"/>
                <a:gd name="T3" fmla="*/ 2147483647 h 476"/>
                <a:gd name="T4" fmla="*/ 2147483647 w 126"/>
                <a:gd name="T5" fmla="*/ 2147483647 h 476"/>
                <a:gd name="T6" fmla="*/ 2147483647 w 126"/>
                <a:gd name="T7" fmla="*/ 2147483647 h 476"/>
                <a:gd name="T8" fmla="*/ 2147483647 w 126"/>
                <a:gd name="T9" fmla="*/ 2147483647 h 476"/>
                <a:gd name="T10" fmla="*/ 2147483647 w 126"/>
                <a:gd name="T11" fmla="*/ 2147483647 h 476"/>
                <a:gd name="T12" fmla="*/ 2147483647 w 126"/>
                <a:gd name="T13" fmla="*/ 2147483647 h 476"/>
                <a:gd name="T14" fmla="*/ 2147483647 w 126"/>
                <a:gd name="T15" fmla="*/ 2147483647 h 476"/>
                <a:gd name="T16" fmla="*/ 2147483647 w 126"/>
                <a:gd name="T17" fmla="*/ 2147483647 h 476"/>
                <a:gd name="T18" fmla="*/ 2147483647 w 126"/>
                <a:gd name="T19" fmla="*/ 2147483647 h 476"/>
                <a:gd name="T20" fmla="*/ 2147483647 w 126"/>
                <a:gd name="T21" fmla="*/ 2147483647 h 476"/>
                <a:gd name="T22" fmla="*/ 2147483647 w 126"/>
                <a:gd name="T23" fmla="*/ 2147483647 h 476"/>
                <a:gd name="T24" fmla="*/ 2147483647 w 126"/>
                <a:gd name="T25" fmla="*/ 2147483647 h 476"/>
                <a:gd name="T26" fmla="*/ 2147483647 w 126"/>
                <a:gd name="T27" fmla="*/ 2147483647 h 476"/>
                <a:gd name="T28" fmla="*/ 2147483647 w 126"/>
                <a:gd name="T29" fmla="*/ 2147483647 h 476"/>
                <a:gd name="T30" fmla="*/ 2147483647 w 126"/>
                <a:gd name="T31" fmla="*/ 2147483647 h 476"/>
                <a:gd name="T32" fmla="*/ 2147483647 w 126"/>
                <a:gd name="T33" fmla="*/ 2147483647 h 476"/>
                <a:gd name="T34" fmla="*/ 2147483647 w 126"/>
                <a:gd name="T35" fmla="*/ 2147483647 h 476"/>
                <a:gd name="T36" fmla="*/ 2147483647 w 126"/>
                <a:gd name="T37" fmla="*/ 0 h 476"/>
                <a:gd name="T38" fmla="*/ 2147483647 w 126"/>
                <a:gd name="T39" fmla="*/ 0 h 476"/>
                <a:gd name="T40" fmla="*/ 2147483647 w 126"/>
                <a:gd name="T41" fmla="*/ 2147483647 h 476"/>
                <a:gd name="T42" fmla="*/ 2147483647 w 126"/>
                <a:gd name="T43" fmla="*/ 2147483647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6"/>
                <a:gd name="T67" fmla="*/ 0 h 476"/>
                <a:gd name="T68" fmla="*/ 126 w 126"/>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6" h="476">
                  <a:moveTo>
                    <a:pt x="11" y="6"/>
                  </a:moveTo>
                  <a:lnTo>
                    <a:pt x="0" y="17"/>
                  </a:lnTo>
                  <a:lnTo>
                    <a:pt x="22" y="55"/>
                  </a:lnTo>
                  <a:lnTo>
                    <a:pt x="28" y="88"/>
                  </a:lnTo>
                  <a:lnTo>
                    <a:pt x="39" y="121"/>
                  </a:lnTo>
                  <a:lnTo>
                    <a:pt x="44" y="214"/>
                  </a:lnTo>
                  <a:lnTo>
                    <a:pt x="44" y="323"/>
                  </a:lnTo>
                  <a:lnTo>
                    <a:pt x="77" y="444"/>
                  </a:lnTo>
                  <a:lnTo>
                    <a:pt x="99" y="476"/>
                  </a:lnTo>
                  <a:lnTo>
                    <a:pt x="126" y="372"/>
                  </a:lnTo>
                  <a:lnTo>
                    <a:pt x="82" y="148"/>
                  </a:lnTo>
                  <a:lnTo>
                    <a:pt x="44" y="50"/>
                  </a:lnTo>
                  <a:lnTo>
                    <a:pt x="50" y="17"/>
                  </a:lnTo>
                  <a:lnTo>
                    <a:pt x="39" y="6"/>
                  </a:lnTo>
                  <a:lnTo>
                    <a:pt x="22" y="0"/>
                  </a:lnTo>
                  <a:lnTo>
                    <a:pt x="17" y="0"/>
                  </a:lnTo>
                  <a:lnTo>
                    <a:pt x="11" y="6"/>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5383" name="Gruppe 291"/>
          <p:cNvGrpSpPr>
            <a:grpSpLocks/>
          </p:cNvGrpSpPr>
          <p:nvPr/>
        </p:nvGrpSpPr>
        <p:grpSpPr bwMode="auto">
          <a:xfrm>
            <a:off x="2727325" y="1208088"/>
            <a:ext cx="600075" cy="1108075"/>
            <a:chOff x="-1" y="-1241699"/>
            <a:chExt cx="5000630" cy="9231491"/>
          </a:xfrm>
        </p:grpSpPr>
        <p:grpSp>
          <p:nvGrpSpPr>
            <p:cNvPr id="168" name="Gruppe 111"/>
            <p:cNvGrpSpPr/>
            <p:nvPr/>
          </p:nvGrpSpPr>
          <p:grpSpPr>
            <a:xfrm>
              <a:off x="-1" y="-1241699"/>
              <a:ext cx="5000630" cy="9231491"/>
              <a:chOff x="3295650" y="3451225"/>
              <a:chExt cx="1392238" cy="2570163"/>
            </a:xfrm>
            <a:solidFill>
              <a:schemeClr val="tx1"/>
            </a:solidFill>
          </p:grpSpPr>
          <p:sp>
            <p:nvSpPr>
              <p:cNvPr id="172" name="Freeform 207"/>
              <p:cNvSpPr>
                <a:spLocks/>
              </p:cNvSpPr>
              <p:nvPr/>
            </p:nvSpPr>
            <p:spPr bwMode="auto">
              <a:xfrm>
                <a:off x="4586288" y="4176713"/>
                <a:ext cx="30162" cy="30162"/>
              </a:xfrm>
              <a:custGeom>
                <a:avLst/>
                <a:gdLst>
                  <a:gd name="T0" fmla="*/ 20637 w 19"/>
                  <a:gd name="T1" fmla="*/ 0 h 19"/>
                  <a:gd name="T2" fmla="*/ 20637 w 19"/>
                  <a:gd name="T3" fmla="*/ 0 h 19"/>
                  <a:gd name="T4" fmla="*/ 20637 w 19"/>
                  <a:gd name="T5" fmla="*/ 9525 h 19"/>
                  <a:gd name="T6" fmla="*/ 9525 w 19"/>
                  <a:gd name="T7" fmla="*/ 9525 h 19"/>
                  <a:gd name="T8" fmla="*/ 0 w 19"/>
                  <a:gd name="T9" fmla="*/ 0 h 19"/>
                  <a:gd name="T10" fmla="*/ 0 w 19"/>
                  <a:gd name="T11" fmla="*/ 0 h 19"/>
                  <a:gd name="T12" fmla="*/ 0 w 19"/>
                  <a:gd name="T13" fmla="*/ 30162 h 19"/>
                  <a:gd name="T14" fmla="*/ 0 w 19"/>
                  <a:gd name="T15" fmla="*/ 30162 h 19"/>
                  <a:gd name="T16" fmla="*/ 9525 w 19"/>
                  <a:gd name="T17" fmla="*/ 30162 h 19"/>
                  <a:gd name="T18" fmla="*/ 30162 w 19"/>
                  <a:gd name="T19" fmla="*/ 20637 h 19"/>
                  <a:gd name="T20" fmla="*/ 30162 w 19"/>
                  <a:gd name="T21" fmla="*/ 9525 h 19"/>
                  <a:gd name="T22" fmla="*/ 20637 w 19"/>
                  <a:gd name="T23" fmla="*/ 0 h 19"/>
                  <a:gd name="T24" fmla="*/ 206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3" y="0"/>
                    </a:moveTo>
                    <a:lnTo>
                      <a:pt x="13" y="0"/>
                    </a:lnTo>
                    <a:lnTo>
                      <a:pt x="13" y="6"/>
                    </a:lnTo>
                    <a:lnTo>
                      <a:pt x="6" y="6"/>
                    </a:lnTo>
                    <a:lnTo>
                      <a:pt x="0" y="0"/>
                    </a:lnTo>
                    <a:lnTo>
                      <a:pt x="0" y="19"/>
                    </a:lnTo>
                    <a:lnTo>
                      <a:pt x="6" y="19"/>
                    </a:lnTo>
                    <a:lnTo>
                      <a:pt x="19" y="13"/>
                    </a:lnTo>
                    <a:lnTo>
                      <a:pt x="19" y="6"/>
                    </a:lnTo>
                    <a:lnTo>
                      <a:pt x="13"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3" name="Freeform 212"/>
              <p:cNvSpPr>
                <a:spLocks/>
              </p:cNvSpPr>
              <p:nvPr/>
            </p:nvSpPr>
            <p:spPr bwMode="auto">
              <a:xfrm>
                <a:off x="4465638" y="4348163"/>
                <a:ext cx="80962" cy="20637"/>
              </a:xfrm>
              <a:custGeom>
                <a:avLst/>
                <a:gdLst>
                  <a:gd name="T0" fmla="*/ 0 w 51"/>
                  <a:gd name="T1" fmla="*/ 0 h 13"/>
                  <a:gd name="T2" fmla="*/ 0 w 51"/>
                  <a:gd name="T3" fmla="*/ 0 h 13"/>
                  <a:gd name="T4" fmla="*/ 0 w 51"/>
                  <a:gd name="T5" fmla="*/ 9525 h 13"/>
                  <a:gd name="T6" fmla="*/ 9525 w 51"/>
                  <a:gd name="T7" fmla="*/ 20637 h 13"/>
                  <a:gd name="T8" fmla="*/ 30162 w 51"/>
                  <a:gd name="T9" fmla="*/ 20637 h 13"/>
                  <a:gd name="T10" fmla="*/ 50800 w 51"/>
                  <a:gd name="T11" fmla="*/ 20637 h 13"/>
                  <a:gd name="T12" fmla="*/ 80962 w 51"/>
                  <a:gd name="T13" fmla="*/ 20637 h 13"/>
                  <a:gd name="T14" fmla="*/ 80962 w 51"/>
                  <a:gd name="T15" fmla="*/ 20637 h 13"/>
                  <a:gd name="T16" fmla="*/ 80962 w 51"/>
                  <a:gd name="T17" fmla="*/ 9525 h 13"/>
                  <a:gd name="T18" fmla="*/ 69850 w 51"/>
                  <a:gd name="T19" fmla="*/ 0 h 13"/>
                  <a:gd name="T20" fmla="*/ 39687 w 51"/>
                  <a:gd name="T21" fmla="*/ 0 h 13"/>
                  <a:gd name="T22" fmla="*/ 9525 w 51"/>
                  <a:gd name="T23" fmla="*/ 0 h 13"/>
                  <a:gd name="T24" fmla="*/ 0 w 51"/>
                  <a:gd name="T25" fmla="*/ 0 h 13"/>
                  <a:gd name="T26" fmla="*/ 0 w 51"/>
                  <a:gd name="T27" fmla="*/ 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13"/>
                  <a:gd name="T44" fmla="*/ 51 w 5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13">
                    <a:moveTo>
                      <a:pt x="0" y="0"/>
                    </a:moveTo>
                    <a:lnTo>
                      <a:pt x="0" y="0"/>
                    </a:lnTo>
                    <a:lnTo>
                      <a:pt x="0" y="6"/>
                    </a:lnTo>
                    <a:lnTo>
                      <a:pt x="6" y="13"/>
                    </a:lnTo>
                    <a:lnTo>
                      <a:pt x="19" y="13"/>
                    </a:lnTo>
                    <a:lnTo>
                      <a:pt x="32" y="13"/>
                    </a:lnTo>
                    <a:lnTo>
                      <a:pt x="51" y="13"/>
                    </a:lnTo>
                    <a:lnTo>
                      <a:pt x="51" y="6"/>
                    </a:lnTo>
                    <a:lnTo>
                      <a:pt x="44" y="0"/>
                    </a:lnTo>
                    <a:lnTo>
                      <a:pt x="25" y="0"/>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4" name="Freeform 214"/>
              <p:cNvSpPr>
                <a:spLocks/>
              </p:cNvSpPr>
              <p:nvPr/>
            </p:nvSpPr>
            <p:spPr bwMode="auto">
              <a:xfrm>
                <a:off x="4475163" y="4378325"/>
                <a:ext cx="71437" cy="30163"/>
              </a:xfrm>
              <a:custGeom>
                <a:avLst/>
                <a:gdLst>
                  <a:gd name="T0" fmla="*/ 0 w 45"/>
                  <a:gd name="T1" fmla="*/ 0 h 19"/>
                  <a:gd name="T2" fmla="*/ 0 w 45"/>
                  <a:gd name="T3" fmla="*/ 0 h 19"/>
                  <a:gd name="T4" fmla="*/ 0 w 45"/>
                  <a:gd name="T5" fmla="*/ 30163 h 19"/>
                  <a:gd name="T6" fmla="*/ 0 w 45"/>
                  <a:gd name="T7" fmla="*/ 30163 h 19"/>
                  <a:gd name="T8" fmla="*/ 41275 w 45"/>
                  <a:gd name="T9" fmla="*/ 20638 h 19"/>
                  <a:gd name="T10" fmla="*/ 71437 w 45"/>
                  <a:gd name="T11" fmla="*/ 20638 h 19"/>
                  <a:gd name="T12" fmla="*/ 71437 w 45"/>
                  <a:gd name="T13" fmla="*/ 20638 h 19"/>
                  <a:gd name="T14" fmla="*/ 60325 w 45"/>
                  <a:gd name="T15" fmla="*/ 0 h 19"/>
                  <a:gd name="T16" fmla="*/ 41275 w 45"/>
                  <a:gd name="T17" fmla="*/ 0 h 19"/>
                  <a:gd name="T18" fmla="*/ 0 w 45"/>
                  <a:gd name="T19" fmla="*/ 0 h 19"/>
                  <a:gd name="T20" fmla="*/ 0 w 45"/>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9"/>
                  <a:gd name="T35" fmla="*/ 45 w 45"/>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9">
                    <a:moveTo>
                      <a:pt x="0" y="0"/>
                    </a:moveTo>
                    <a:lnTo>
                      <a:pt x="0" y="0"/>
                    </a:lnTo>
                    <a:lnTo>
                      <a:pt x="0" y="19"/>
                    </a:lnTo>
                    <a:lnTo>
                      <a:pt x="26" y="13"/>
                    </a:lnTo>
                    <a:lnTo>
                      <a:pt x="45" y="13"/>
                    </a:lnTo>
                    <a:lnTo>
                      <a:pt x="38" y="0"/>
                    </a:lnTo>
                    <a:lnTo>
                      <a:pt x="2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5" name="Freeform 216"/>
              <p:cNvSpPr>
                <a:spLocks/>
              </p:cNvSpPr>
              <p:nvPr/>
            </p:nvSpPr>
            <p:spPr bwMode="auto">
              <a:xfrm>
                <a:off x="4465638" y="4408488"/>
                <a:ext cx="60325" cy="20637"/>
              </a:xfrm>
              <a:custGeom>
                <a:avLst/>
                <a:gdLst>
                  <a:gd name="T0" fmla="*/ 60325 w 38"/>
                  <a:gd name="T1" fmla="*/ 20637 h 13"/>
                  <a:gd name="T2" fmla="*/ 60325 w 38"/>
                  <a:gd name="T3" fmla="*/ 20637 h 13"/>
                  <a:gd name="T4" fmla="*/ 60325 w 38"/>
                  <a:gd name="T5" fmla="*/ 11112 h 13"/>
                  <a:gd name="T6" fmla="*/ 50800 w 38"/>
                  <a:gd name="T7" fmla="*/ 0 h 13"/>
                  <a:gd name="T8" fmla="*/ 30163 w 38"/>
                  <a:gd name="T9" fmla="*/ 0 h 13"/>
                  <a:gd name="T10" fmla="*/ 0 w 38"/>
                  <a:gd name="T11" fmla="*/ 0 h 13"/>
                  <a:gd name="T12" fmla="*/ 0 w 38"/>
                  <a:gd name="T13" fmla="*/ 11112 h 13"/>
                  <a:gd name="T14" fmla="*/ 0 w 38"/>
                  <a:gd name="T15" fmla="*/ 20637 h 13"/>
                  <a:gd name="T16" fmla="*/ 0 w 38"/>
                  <a:gd name="T17" fmla="*/ 20637 h 13"/>
                  <a:gd name="T18" fmla="*/ 9525 w 38"/>
                  <a:gd name="T19" fmla="*/ 20637 h 13"/>
                  <a:gd name="T20" fmla="*/ 30163 w 38"/>
                  <a:gd name="T21" fmla="*/ 20637 h 13"/>
                  <a:gd name="T22" fmla="*/ 50800 w 38"/>
                  <a:gd name="T23" fmla="*/ 11112 h 13"/>
                  <a:gd name="T24" fmla="*/ 60325 w 38"/>
                  <a:gd name="T25" fmla="*/ 20637 h 13"/>
                  <a:gd name="T26" fmla="*/ 60325 w 38"/>
                  <a:gd name="T27" fmla="*/ 2063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13"/>
                  <a:gd name="T44" fmla="*/ 38 w 38"/>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13">
                    <a:moveTo>
                      <a:pt x="38" y="13"/>
                    </a:moveTo>
                    <a:lnTo>
                      <a:pt x="38" y="13"/>
                    </a:lnTo>
                    <a:lnTo>
                      <a:pt x="38" y="7"/>
                    </a:lnTo>
                    <a:lnTo>
                      <a:pt x="32" y="0"/>
                    </a:lnTo>
                    <a:lnTo>
                      <a:pt x="19" y="0"/>
                    </a:lnTo>
                    <a:lnTo>
                      <a:pt x="0" y="0"/>
                    </a:lnTo>
                    <a:lnTo>
                      <a:pt x="0" y="7"/>
                    </a:lnTo>
                    <a:lnTo>
                      <a:pt x="0" y="13"/>
                    </a:lnTo>
                    <a:lnTo>
                      <a:pt x="6" y="13"/>
                    </a:lnTo>
                    <a:lnTo>
                      <a:pt x="19" y="13"/>
                    </a:lnTo>
                    <a:lnTo>
                      <a:pt x="32" y="7"/>
                    </a:lnTo>
                    <a:lnTo>
                      <a:pt x="38"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6" name="Freeform 219"/>
              <p:cNvSpPr>
                <a:spLocks/>
              </p:cNvSpPr>
              <p:nvPr/>
            </p:nvSpPr>
            <p:spPr bwMode="auto">
              <a:xfrm>
                <a:off x="4475163" y="4176713"/>
                <a:ext cx="50800" cy="30162"/>
              </a:xfrm>
              <a:custGeom>
                <a:avLst/>
                <a:gdLst>
                  <a:gd name="T0" fmla="*/ 50800 w 32"/>
                  <a:gd name="T1" fmla="*/ 30162 h 19"/>
                  <a:gd name="T2" fmla="*/ 50800 w 32"/>
                  <a:gd name="T3" fmla="*/ 30162 h 19"/>
                  <a:gd name="T4" fmla="*/ 50800 w 32"/>
                  <a:gd name="T5" fmla="*/ 9525 h 19"/>
                  <a:gd name="T6" fmla="*/ 41275 w 32"/>
                  <a:gd name="T7" fmla="*/ 0 h 19"/>
                  <a:gd name="T8" fmla="*/ 41275 w 32"/>
                  <a:gd name="T9" fmla="*/ 0 h 19"/>
                  <a:gd name="T10" fmla="*/ 30162 w 32"/>
                  <a:gd name="T11" fmla="*/ 9525 h 19"/>
                  <a:gd name="T12" fmla="*/ 11112 w 32"/>
                  <a:gd name="T13" fmla="*/ 20637 h 19"/>
                  <a:gd name="T14" fmla="*/ 0 w 32"/>
                  <a:gd name="T15" fmla="*/ 20637 h 19"/>
                  <a:gd name="T16" fmla="*/ 0 w 32"/>
                  <a:gd name="T17" fmla="*/ 30162 h 19"/>
                  <a:gd name="T18" fmla="*/ 0 w 32"/>
                  <a:gd name="T19" fmla="*/ 30162 h 19"/>
                  <a:gd name="T20" fmla="*/ 11112 w 32"/>
                  <a:gd name="T21" fmla="*/ 30162 h 19"/>
                  <a:gd name="T22" fmla="*/ 20637 w 32"/>
                  <a:gd name="T23" fmla="*/ 30162 h 19"/>
                  <a:gd name="T24" fmla="*/ 50800 w 32"/>
                  <a:gd name="T25" fmla="*/ 30162 h 19"/>
                  <a:gd name="T26" fmla="*/ 50800 w 32"/>
                  <a:gd name="T27" fmla="*/ 3016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9"/>
                  <a:gd name="T44" fmla="*/ 32 w 3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9">
                    <a:moveTo>
                      <a:pt x="32" y="19"/>
                    </a:moveTo>
                    <a:lnTo>
                      <a:pt x="32" y="19"/>
                    </a:lnTo>
                    <a:lnTo>
                      <a:pt x="32" y="6"/>
                    </a:lnTo>
                    <a:lnTo>
                      <a:pt x="26" y="0"/>
                    </a:lnTo>
                    <a:lnTo>
                      <a:pt x="19" y="6"/>
                    </a:lnTo>
                    <a:lnTo>
                      <a:pt x="7" y="13"/>
                    </a:lnTo>
                    <a:lnTo>
                      <a:pt x="0" y="13"/>
                    </a:lnTo>
                    <a:lnTo>
                      <a:pt x="0" y="19"/>
                    </a:lnTo>
                    <a:lnTo>
                      <a:pt x="7" y="19"/>
                    </a:lnTo>
                    <a:lnTo>
                      <a:pt x="13" y="19"/>
                    </a:lnTo>
                    <a:lnTo>
                      <a:pt x="32"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7" name="Freeform 220"/>
              <p:cNvSpPr>
                <a:spLocks/>
              </p:cNvSpPr>
              <p:nvPr/>
            </p:nvSpPr>
            <p:spPr bwMode="auto">
              <a:xfrm>
                <a:off x="4586288" y="4176713"/>
                <a:ext cx="30162" cy="30162"/>
              </a:xfrm>
              <a:custGeom>
                <a:avLst/>
                <a:gdLst>
                  <a:gd name="T0" fmla="*/ 20637 w 19"/>
                  <a:gd name="T1" fmla="*/ 0 h 19"/>
                  <a:gd name="T2" fmla="*/ 20637 w 19"/>
                  <a:gd name="T3" fmla="*/ 0 h 19"/>
                  <a:gd name="T4" fmla="*/ 20637 w 19"/>
                  <a:gd name="T5" fmla="*/ 9525 h 19"/>
                  <a:gd name="T6" fmla="*/ 9525 w 19"/>
                  <a:gd name="T7" fmla="*/ 9525 h 19"/>
                  <a:gd name="T8" fmla="*/ 0 w 19"/>
                  <a:gd name="T9" fmla="*/ 0 h 19"/>
                  <a:gd name="T10" fmla="*/ 0 w 19"/>
                  <a:gd name="T11" fmla="*/ 0 h 19"/>
                  <a:gd name="T12" fmla="*/ 0 w 19"/>
                  <a:gd name="T13" fmla="*/ 30162 h 19"/>
                  <a:gd name="T14" fmla="*/ 0 w 19"/>
                  <a:gd name="T15" fmla="*/ 30162 h 19"/>
                  <a:gd name="T16" fmla="*/ 9525 w 19"/>
                  <a:gd name="T17" fmla="*/ 30162 h 19"/>
                  <a:gd name="T18" fmla="*/ 30162 w 19"/>
                  <a:gd name="T19" fmla="*/ 20637 h 19"/>
                  <a:gd name="T20" fmla="*/ 30162 w 19"/>
                  <a:gd name="T21" fmla="*/ 9525 h 19"/>
                  <a:gd name="T22" fmla="*/ 20637 w 19"/>
                  <a:gd name="T23" fmla="*/ 0 h 19"/>
                  <a:gd name="T24" fmla="*/ 206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3" y="0"/>
                    </a:moveTo>
                    <a:lnTo>
                      <a:pt x="13" y="0"/>
                    </a:lnTo>
                    <a:lnTo>
                      <a:pt x="13" y="6"/>
                    </a:lnTo>
                    <a:lnTo>
                      <a:pt x="6" y="6"/>
                    </a:lnTo>
                    <a:lnTo>
                      <a:pt x="0" y="0"/>
                    </a:lnTo>
                    <a:lnTo>
                      <a:pt x="0" y="19"/>
                    </a:lnTo>
                    <a:lnTo>
                      <a:pt x="6" y="19"/>
                    </a:lnTo>
                    <a:lnTo>
                      <a:pt x="19" y="13"/>
                    </a:lnTo>
                    <a:lnTo>
                      <a:pt x="19" y="6"/>
                    </a:lnTo>
                    <a:lnTo>
                      <a:pt x="13"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8" name="Freeform 226"/>
              <p:cNvSpPr>
                <a:spLocks/>
              </p:cNvSpPr>
              <p:nvPr/>
            </p:nvSpPr>
            <p:spPr bwMode="auto">
              <a:xfrm>
                <a:off x="4465638" y="4348163"/>
                <a:ext cx="80962" cy="20637"/>
              </a:xfrm>
              <a:custGeom>
                <a:avLst/>
                <a:gdLst>
                  <a:gd name="T0" fmla="*/ 0 w 51"/>
                  <a:gd name="T1" fmla="*/ 0 h 13"/>
                  <a:gd name="T2" fmla="*/ 0 w 51"/>
                  <a:gd name="T3" fmla="*/ 0 h 13"/>
                  <a:gd name="T4" fmla="*/ 0 w 51"/>
                  <a:gd name="T5" fmla="*/ 9525 h 13"/>
                  <a:gd name="T6" fmla="*/ 9525 w 51"/>
                  <a:gd name="T7" fmla="*/ 20637 h 13"/>
                  <a:gd name="T8" fmla="*/ 30162 w 51"/>
                  <a:gd name="T9" fmla="*/ 20637 h 13"/>
                  <a:gd name="T10" fmla="*/ 50800 w 51"/>
                  <a:gd name="T11" fmla="*/ 20637 h 13"/>
                  <a:gd name="T12" fmla="*/ 80962 w 51"/>
                  <a:gd name="T13" fmla="*/ 20637 h 13"/>
                  <a:gd name="T14" fmla="*/ 80962 w 51"/>
                  <a:gd name="T15" fmla="*/ 20637 h 13"/>
                  <a:gd name="T16" fmla="*/ 80962 w 51"/>
                  <a:gd name="T17" fmla="*/ 9525 h 13"/>
                  <a:gd name="T18" fmla="*/ 69850 w 51"/>
                  <a:gd name="T19" fmla="*/ 0 h 13"/>
                  <a:gd name="T20" fmla="*/ 39687 w 51"/>
                  <a:gd name="T21" fmla="*/ 0 h 13"/>
                  <a:gd name="T22" fmla="*/ 9525 w 51"/>
                  <a:gd name="T23" fmla="*/ 0 h 13"/>
                  <a:gd name="T24" fmla="*/ 0 w 51"/>
                  <a:gd name="T25" fmla="*/ 0 h 13"/>
                  <a:gd name="T26" fmla="*/ 0 w 51"/>
                  <a:gd name="T27" fmla="*/ 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13"/>
                  <a:gd name="T44" fmla="*/ 51 w 5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13">
                    <a:moveTo>
                      <a:pt x="0" y="0"/>
                    </a:moveTo>
                    <a:lnTo>
                      <a:pt x="0" y="0"/>
                    </a:lnTo>
                    <a:lnTo>
                      <a:pt x="0" y="6"/>
                    </a:lnTo>
                    <a:lnTo>
                      <a:pt x="6" y="13"/>
                    </a:lnTo>
                    <a:lnTo>
                      <a:pt x="19" y="13"/>
                    </a:lnTo>
                    <a:lnTo>
                      <a:pt x="32" y="13"/>
                    </a:lnTo>
                    <a:lnTo>
                      <a:pt x="51" y="13"/>
                    </a:lnTo>
                    <a:lnTo>
                      <a:pt x="51" y="6"/>
                    </a:lnTo>
                    <a:lnTo>
                      <a:pt x="44" y="0"/>
                    </a:lnTo>
                    <a:lnTo>
                      <a:pt x="25" y="0"/>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9" name="Freeform 228"/>
              <p:cNvSpPr>
                <a:spLocks/>
              </p:cNvSpPr>
              <p:nvPr/>
            </p:nvSpPr>
            <p:spPr bwMode="auto">
              <a:xfrm>
                <a:off x="4475163" y="4378325"/>
                <a:ext cx="71437" cy="30163"/>
              </a:xfrm>
              <a:custGeom>
                <a:avLst/>
                <a:gdLst>
                  <a:gd name="T0" fmla="*/ 0 w 45"/>
                  <a:gd name="T1" fmla="*/ 0 h 19"/>
                  <a:gd name="T2" fmla="*/ 0 w 45"/>
                  <a:gd name="T3" fmla="*/ 0 h 19"/>
                  <a:gd name="T4" fmla="*/ 0 w 45"/>
                  <a:gd name="T5" fmla="*/ 30163 h 19"/>
                  <a:gd name="T6" fmla="*/ 0 w 45"/>
                  <a:gd name="T7" fmla="*/ 30163 h 19"/>
                  <a:gd name="T8" fmla="*/ 41275 w 45"/>
                  <a:gd name="T9" fmla="*/ 20638 h 19"/>
                  <a:gd name="T10" fmla="*/ 71437 w 45"/>
                  <a:gd name="T11" fmla="*/ 20638 h 19"/>
                  <a:gd name="T12" fmla="*/ 71437 w 45"/>
                  <a:gd name="T13" fmla="*/ 20638 h 19"/>
                  <a:gd name="T14" fmla="*/ 60325 w 45"/>
                  <a:gd name="T15" fmla="*/ 0 h 19"/>
                  <a:gd name="T16" fmla="*/ 41275 w 45"/>
                  <a:gd name="T17" fmla="*/ 0 h 19"/>
                  <a:gd name="T18" fmla="*/ 0 w 45"/>
                  <a:gd name="T19" fmla="*/ 0 h 19"/>
                  <a:gd name="T20" fmla="*/ 0 w 45"/>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9"/>
                  <a:gd name="T35" fmla="*/ 45 w 45"/>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9">
                    <a:moveTo>
                      <a:pt x="0" y="0"/>
                    </a:moveTo>
                    <a:lnTo>
                      <a:pt x="0" y="0"/>
                    </a:lnTo>
                    <a:lnTo>
                      <a:pt x="0" y="19"/>
                    </a:lnTo>
                    <a:lnTo>
                      <a:pt x="26" y="13"/>
                    </a:lnTo>
                    <a:lnTo>
                      <a:pt x="45" y="13"/>
                    </a:lnTo>
                    <a:lnTo>
                      <a:pt x="38" y="0"/>
                    </a:lnTo>
                    <a:lnTo>
                      <a:pt x="2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0" name="Freeform 231"/>
              <p:cNvSpPr>
                <a:spLocks/>
              </p:cNvSpPr>
              <p:nvPr/>
            </p:nvSpPr>
            <p:spPr bwMode="auto">
              <a:xfrm>
                <a:off x="4475163" y="4498975"/>
                <a:ext cx="50800" cy="30163"/>
              </a:xfrm>
              <a:custGeom>
                <a:avLst/>
                <a:gdLst>
                  <a:gd name="T0" fmla="*/ 50800 w 32"/>
                  <a:gd name="T1" fmla="*/ 30163 h 19"/>
                  <a:gd name="T2" fmla="*/ 50800 w 32"/>
                  <a:gd name="T3" fmla="*/ 30163 h 19"/>
                  <a:gd name="T4" fmla="*/ 50800 w 32"/>
                  <a:gd name="T5" fmla="*/ 11113 h 19"/>
                  <a:gd name="T6" fmla="*/ 41275 w 32"/>
                  <a:gd name="T7" fmla="*/ 0 h 19"/>
                  <a:gd name="T8" fmla="*/ 41275 w 32"/>
                  <a:gd name="T9" fmla="*/ 0 h 19"/>
                  <a:gd name="T10" fmla="*/ 30162 w 32"/>
                  <a:gd name="T11" fmla="*/ 11113 h 19"/>
                  <a:gd name="T12" fmla="*/ 11112 w 32"/>
                  <a:gd name="T13" fmla="*/ 20638 h 19"/>
                  <a:gd name="T14" fmla="*/ 0 w 32"/>
                  <a:gd name="T15" fmla="*/ 20638 h 19"/>
                  <a:gd name="T16" fmla="*/ 0 w 32"/>
                  <a:gd name="T17" fmla="*/ 30163 h 19"/>
                  <a:gd name="T18" fmla="*/ 0 w 32"/>
                  <a:gd name="T19" fmla="*/ 30163 h 19"/>
                  <a:gd name="T20" fmla="*/ 11112 w 32"/>
                  <a:gd name="T21" fmla="*/ 30163 h 19"/>
                  <a:gd name="T22" fmla="*/ 20637 w 32"/>
                  <a:gd name="T23" fmla="*/ 30163 h 19"/>
                  <a:gd name="T24" fmla="*/ 50800 w 32"/>
                  <a:gd name="T25" fmla="*/ 30163 h 19"/>
                  <a:gd name="T26" fmla="*/ 50800 w 32"/>
                  <a:gd name="T27" fmla="*/ 30163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9"/>
                  <a:gd name="T44" fmla="*/ 32 w 3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9">
                    <a:moveTo>
                      <a:pt x="32" y="19"/>
                    </a:moveTo>
                    <a:lnTo>
                      <a:pt x="32" y="19"/>
                    </a:lnTo>
                    <a:lnTo>
                      <a:pt x="32" y="7"/>
                    </a:lnTo>
                    <a:lnTo>
                      <a:pt x="26" y="0"/>
                    </a:lnTo>
                    <a:lnTo>
                      <a:pt x="19" y="7"/>
                    </a:lnTo>
                    <a:lnTo>
                      <a:pt x="7" y="13"/>
                    </a:lnTo>
                    <a:lnTo>
                      <a:pt x="0" y="13"/>
                    </a:lnTo>
                    <a:lnTo>
                      <a:pt x="0" y="19"/>
                    </a:lnTo>
                    <a:lnTo>
                      <a:pt x="7" y="19"/>
                    </a:lnTo>
                    <a:lnTo>
                      <a:pt x="13" y="19"/>
                    </a:lnTo>
                    <a:lnTo>
                      <a:pt x="32"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1" name="Freeform 234"/>
              <p:cNvSpPr>
                <a:spLocks/>
              </p:cNvSpPr>
              <p:nvPr/>
            </p:nvSpPr>
            <p:spPr bwMode="auto">
              <a:xfrm>
                <a:off x="4465638" y="4579938"/>
                <a:ext cx="80962" cy="20637"/>
              </a:xfrm>
              <a:custGeom>
                <a:avLst/>
                <a:gdLst>
                  <a:gd name="T0" fmla="*/ 80962 w 51"/>
                  <a:gd name="T1" fmla="*/ 0 h 13"/>
                  <a:gd name="T2" fmla="*/ 80962 w 51"/>
                  <a:gd name="T3" fmla="*/ 0 h 13"/>
                  <a:gd name="T4" fmla="*/ 39687 w 51"/>
                  <a:gd name="T5" fmla="*/ 0 h 13"/>
                  <a:gd name="T6" fmla="*/ 20637 w 51"/>
                  <a:gd name="T7" fmla="*/ 0 h 13"/>
                  <a:gd name="T8" fmla="*/ 0 w 51"/>
                  <a:gd name="T9" fmla="*/ 20637 h 13"/>
                  <a:gd name="T10" fmla="*/ 0 w 51"/>
                  <a:gd name="T11" fmla="*/ 20637 h 13"/>
                  <a:gd name="T12" fmla="*/ 50800 w 51"/>
                  <a:gd name="T13" fmla="*/ 20637 h 13"/>
                  <a:gd name="T14" fmla="*/ 69850 w 51"/>
                  <a:gd name="T15" fmla="*/ 9525 h 13"/>
                  <a:gd name="T16" fmla="*/ 80962 w 51"/>
                  <a:gd name="T17" fmla="*/ 0 h 13"/>
                  <a:gd name="T18" fmla="*/ 80962 w 5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13"/>
                  <a:gd name="T32" fmla="*/ 51 w 5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13">
                    <a:moveTo>
                      <a:pt x="51" y="0"/>
                    </a:moveTo>
                    <a:lnTo>
                      <a:pt x="51" y="0"/>
                    </a:lnTo>
                    <a:lnTo>
                      <a:pt x="25" y="0"/>
                    </a:lnTo>
                    <a:lnTo>
                      <a:pt x="13" y="0"/>
                    </a:lnTo>
                    <a:lnTo>
                      <a:pt x="0" y="13"/>
                    </a:lnTo>
                    <a:lnTo>
                      <a:pt x="32" y="13"/>
                    </a:lnTo>
                    <a:lnTo>
                      <a:pt x="44" y="6"/>
                    </a:lnTo>
                    <a:lnTo>
                      <a:pt x="51"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2" name="Freeform 236"/>
              <p:cNvSpPr>
                <a:spLocks/>
              </p:cNvSpPr>
              <p:nvPr/>
            </p:nvSpPr>
            <p:spPr bwMode="auto">
              <a:xfrm>
                <a:off x="4465638" y="4610100"/>
                <a:ext cx="60325" cy="20638"/>
              </a:xfrm>
              <a:custGeom>
                <a:avLst/>
                <a:gdLst>
                  <a:gd name="T0" fmla="*/ 9525 w 38"/>
                  <a:gd name="T1" fmla="*/ 20638 h 13"/>
                  <a:gd name="T2" fmla="*/ 9525 w 38"/>
                  <a:gd name="T3" fmla="*/ 20638 h 13"/>
                  <a:gd name="T4" fmla="*/ 30163 w 38"/>
                  <a:gd name="T5" fmla="*/ 20638 h 13"/>
                  <a:gd name="T6" fmla="*/ 60325 w 38"/>
                  <a:gd name="T7" fmla="*/ 20638 h 13"/>
                  <a:gd name="T8" fmla="*/ 60325 w 38"/>
                  <a:gd name="T9" fmla="*/ 20638 h 13"/>
                  <a:gd name="T10" fmla="*/ 60325 w 38"/>
                  <a:gd name="T11" fmla="*/ 0 h 13"/>
                  <a:gd name="T12" fmla="*/ 60325 w 38"/>
                  <a:gd name="T13" fmla="*/ 0 h 13"/>
                  <a:gd name="T14" fmla="*/ 60325 w 38"/>
                  <a:gd name="T15" fmla="*/ 0 h 13"/>
                  <a:gd name="T16" fmla="*/ 50800 w 38"/>
                  <a:gd name="T17" fmla="*/ 0 h 13"/>
                  <a:gd name="T18" fmla="*/ 50800 w 38"/>
                  <a:gd name="T19" fmla="*/ 0 h 13"/>
                  <a:gd name="T20" fmla="*/ 39687 w 38"/>
                  <a:gd name="T21" fmla="*/ 0 h 13"/>
                  <a:gd name="T22" fmla="*/ 20637 w 38"/>
                  <a:gd name="T23" fmla="*/ 11113 h 13"/>
                  <a:gd name="T24" fmla="*/ 0 w 38"/>
                  <a:gd name="T25" fmla="*/ 11113 h 13"/>
                  <a:gd name="T26" fmla="*/ 0 w 38"/>
                  <a:gd name="T27" fmla="*/ 11113 h 13"/>
                  <a:gd name="T28" fmla="*/ 9525 w 38"/>
                  <a:gd name="T29" fmla="*/ 20638 h 13"/>
                  <a:gd name="T30" fmla="*/ 9525 w 38"/>
                  <a:gd name="T31" fmla="*/ 20638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3"/>
                  <a:gd name="T50" fmla="*/ 38 w 38"/>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3">
                    <a:moveTo>
                      <a:pt x="6" y="13"/>
                    </a:moveTo>
                    <a:lnTo>
                      <a:pt x="6" y="13"/>
                    </a:lnTo>
                    <a:lnTo>
                      <a:pt x="19" y="13"/>
                    </a:lnTo>
                    <a:lnTo>
                      <a:pt x="38" y="13"/>
                    </a:lnTo>
                    <a:lnTo>
                      <a:pt x="38" y="0"/>
                    </a:lnTo>
                    <a:lnTo>
                      <a:pt x="32" y="0"/>
                    </a:lnTo>
                    <a:lnTo>
                      <a:pt x="25" y="0"/>
                    </a:lnTo>
                    <a:lnTo>
                      <a:pt x="13" y="7"/>
                    </a:lnTo>
                    <a:lnTo>
                      <a:pt x="0" y="7"/>
                    </a:lnTo>
                    <a:lnTo>
                      <a:pt x="6"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3" name="Freeform 238"/>
              <p:cNvSpPr>
                <a:spLocks/>
              </p:cNvSpPr>
              <p:nvPr/>
            </p:nvSpPr>
            <p:spPr bwMode="auto">
              <a:xfrm>
                <a:off x="4465638" y="4540250"/>
                <a:ext cx="60325" cy="30163"/>
              </a:xfrm>
              <a:custGeom>
                <a:avLst/>
                <a:gdLst>
                  <a:gd name="T0" fmla="*/ 50800 w 38"/>
                  <a:gd name="T1" fmla="*/ 0 h 19"/>
                  <a:gd name="T2" fmla="*/ 50800 w 38"/>
                  <a:gd name="T3" fmla="*/ 0 h 19"/>
                  <a:gd name="T4" fmla="*/ 50800 w 38"/>
                  <a:gd name="T5" fmla="*/ 9525 h 19"/>
                  <a:gd name="T6" fmla="*/ 50800 w 38"/>
                  <a:gd name="T7" fmla="*/ 9525 h 19"/>
                  <a:gd name="T8" fmla="*/ 30163 w 38"/>
                  <a:gd name="T9" fmla="*/ 9525 h 19"/>
                  <a:gd name="T10" fmla="*/ 9525 w 38"/>
                  <a:gd name="T11" fmla="*/ 9525 h 19"/>
                  <a:gd name="T12" fmla="*/ 0 w 38"/>
                  <a:gd name="T13" fmla="*/ 9525 h 19"/>
                  <a:gd name="T14" fmla="*/ 0 w 38"/>
                  <a:gd name="T15" fmla="*/ 30163 h 19"/>
                  <a:gd name="T16" fmla="*/ 0 w 38"/>
                  <a:gd name="T17" fmla="*/ 30163 h 19"/>
                  <a:gd name="T18" fmla="*/ 50800 w 38"/>
                  <a:gd name="T19" fmla="*/ 30163 h 19"/>
                  <a:gd name="T20" fmla="*/ 60325 w 38"/>
                  <a:gd name="T21" fmla="*/ 19050 h 19"/>
                  <a:gd name="T22" fmla="*/ 50800 w 38"/>
                  <a:gd name="T23" fmla="*/ 0 h 19"/>
                  <a:gd name="T24" fmla="*/ 5080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32" y="0"/>
                    </a:moveTo>
                    <a:lnTo>
                      <a:pt x="32" y="0"/>
                    </a:lnTo>
                    <a:lnTo>
                      <a:pt x="32" y="6"/>
                    </a:lnTo>
                    <a:lnTo>
                      <a:pt x="19" y="6"/>
                    </a:lnTo>
                    <a:lnTo>
                      <a:pt x="6" y="6"/>
                    </a:lnTo>
                    <a:lnTo>
                      <a:pt x="0" y="6"/>
                    </a:lnTo>
                    <a:lnTo>
                      <a:pt x="0" y="19"/>
                    </a:lnTo>
                    <a:lnTo>
                      <a:pt x="32" y="19"/>
                    </a:lnTo>
                    <a:lnTo>
                      <a:pt x="38" y="12"/>
                    </a:lnTo>
                    <a:lnTo>
                      <a:pt x="32"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4" name="Freeform 241"/>
              <p:cNvSpPr>
                <a:spLocks/>
              </p:cNvSpPr>
              <p:nvPr/>
            </p:nvSpPr>
            <p:spPr bwMode="auto">
              <a:xfrm>
                <a:off x="4465638" y="4579938"/>
                <a:ext cx="80962" cy="20637"/>
              </a:xfrm>
              <a:custGeom>
                <a:avLst/>
                <a:gdLst>
                  <a:gd name="T0" fmla="*/ 80962 w 51"/>
                  <a:gd name="T1" fmla="*/ 0 h 13"/>
                  <a:gd name="T2" fmla="*/ 80962 w 51"/>
                  <a:gd name="T3" fmla="*/ 0 h 13"/>
                  <a:gd name="T4" fmla="*/ 39687 w 51"/>
                  <a:gd name="T5" fmla="*/ 0 h 13"/>
                  <a:gd name="T6" fmla="*/ 20637 w 51"/>
                  <a:gd name="T7" fmla="*/ 0 h 13"/>
                  <a:gd name="T8" fmla="*/ 0 w 51"/>
                  <a:gd name="T9" fmla="*/ 20637 h 13"/>
                  <a:gd name="T10" fmla="*/ 0 w 51"/>
                  <a:gd name="T11" fmla="*/ 20637 h 13"/>
                  <a:gd name="T12" fmla="*/ 50800 w 51"/>
                  <a:gd name="T13" fmla="*/ 20637 h 13"/>
                  <a:gd name="T14" fmla="*/ 69850 w 51"/>
                  <a:gd name="T15" fmla="*/ 9525 h 13"/>
                  <a:gd name="T16" fmla="*/ 80962 w 51"/>
                  <a:gd name="T17" fmla="*/ 0 h 13"/>
                  <a:gd name="T18" fmla="*/ 80962 w 5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13"/>
                  <a:gd name="T32" fmla="*/ 51 w 5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13">
                    <a:moveTo>
                      <a:pt x="51" y="0"/>
                    </a:moveTo>
                    <a:lnTo>
                      <a:pt x="51" y="0"/>
                    </a:lnTo>
                    <a:lnTo>
                      <a:pt x="25" y="0"/>
                    </a:lnTo>
                    <a:lnTo>
                      <a:pt x="13" y="0"/>
                    </a:lnTo>
                    <a:lnTo>
                      <a:pt x="0" y="13"/>
                    </a:lnTo>
                    <a:lnTo>
                      <a:pt x="32" y="13"/>
                    </a:lnTo>
                    <a:lnTo>
                      <a:pt x="44" y="6"/>
                    </a:lnTo>
                    <a:lnTo>
                      <a:pt x="51"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5" name="Freeform 243"/>
              <p:cNvSpPr>
                <a:spLocks/>
              </p:cNvSpPr>
              <p:nvPr/>
            </p:nvSpPr>
            <p:spPr bwMode="auto">
              <a:xfrm>
                <a:off x="4465638" y="4610100"/>
                <a:ext cx="60325" cy="20638"/>
              </a:xfrm>
              <a:custGeom>
                <a:avLst/>
                <a:gdLst>
                  <a:gd name="T0" fmla="*/ 9525 w 38"/>
                  <a:gd name="T1" fmla="*/ 20638 h 13"/>
                  <a:gd name="T2" fmla="*/ 9525 w 38"/>
                  <a:gd name="T3" fmla="*/ 20638 h 13"/>
                  <a:gd name="T4" fmla="*/ 30163 w 38"/>
                  <a:gd name="T5" fmla="*/ 20638 h 13"/>
                  <a:gd name="T6" fmla="*/ 60325 w 38"/>
                  <a:gd name="T7" fmla="*/ 20638 h 13"/>
                  <a:gd name="T8" fmla="*/ 60325 w 38"/>
                  <a:gd name="T9" fmla="*/ 20638 h 13"/>
                  <a:gd name="T10" fmla="*/ 60325 w 38"/>
                  <a:gd name="T11" fmla="*/ 0 h 13"/>
                  <a:gd name="T12" fmla="*/ 60325 w 38"/>
                  <a:gd name="T13" fmla="*/ 0 h 13"/>
                  <a:gd name="T14" fmla="*/ 60325 w 38"/>
                  <a:gd name="T15" fmla="*/ 0 h 13"/>
                  <a:gd name="T16" fmla="*/ 50800 w 38"/>
                  <a:gd name="T17" fmla="*/ 0 h 13"/>
                  <a:gd name="T18" fmla="*/ 50800 w 38"/>
                  <a:gd name="T19" fmla="*/ 0 h 13"/>
                  <a:gd name="T20" fmla="*/ 39687 w 38"/>
                  <a:gd name="T21" fmla="*/ 0 h 13"/>
                  <a:gd name="T22" fmla="*/ 20637 w 38"/>
                  <a:gd name="T23" fmla="*/ 11113 h 13"/>
                  <a:gd name="T24" fmla="*/ 0 w 38"/>
                  <a:gd name="T25" fmla="*/ 11113 h 13"/>
                  <a:gd name="T26" fmla="*/ 0 w 38"/>
                  <a:gd name="T27" fmla="*/ 11113 h 13"/>
                  <a:gd name="T28" fmla="*/ 9525 w 38"/>
                  <a:gd name="T29" fmla="*/ 20638 h 13"/>
                  <a:gd name="T30" fmla="*/ 9525 w 38"/>
                  <a:gd name="T31" fmla="*/ 20638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3"/>
                  <a:gd name="T50" fmla="*/ 38 w 38"/>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3">
                    <a:moveTo>
                      <a:pt x="6" y="13"/>
                    </a:moveTo>
                    <a:lnTo>
                      <a:pt x="6" y="13"/>
                    </a:lnTo>
                    <a:lnTo>
                      <a:pt x="19" y="13"/>
                    </a:lnTo>
                    <a:lnTo>
                      <a:pt x="38" y="13"/>
                    </a:lnTo>
                    <a:lnTo>
                      <a:pt x="38" y="0"/>
                    </a:lnTo>
                    <a:lnTo>
                      <a:pt x="32" y="0"/>
                    </a:lnTo>
                    <a:lnTo>
                      <a:pt x="25" y="0"/>
                    </a:lnTo>
                    <a:lnTo>
                      <a:pt x="13" y="7"/>
                    </a:lnTo>
                    <a:lnTo>
                      <a:pt x="0" y="7"/>
                    </a:lnTo>
                    <a:lnTo>
                      <a:pt x="6"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6" name="Freeform 245"/>
              <p:cNvSpPr>
                <a:spLocks/>
              </p:cNvSpPr>
              <p:nvPr/>
            </p:nvSpPr>
            <p:spPr bwMode="auto">
              <a:xfrm>
                <a:off x="4465638" y="4540250"/>
                <a:ext cx="60325" cy="30163"/>
              </a:xfrm>
              <a:custGeom>
                <a:avLst/>
                <a:gdLst>
                  <a:gd name="T0" fmla="*/ 50800 w 38"/>
                  <a:gd name="T1" fmla="*/ 0 h 19"/>
                  <a:gd name="T2" fmla="*/ 50800 w 38"/>
                  <a:gd name="T3" fmla="*/ 0 h 19"/>
                  <a:gd name="T4" fmla="*/ 50800 w 38"/>
                  <a:gd name="T5" fmla="*/ 9525 h 19"/>
                  <a:gd name="T6" fmla="*/ 50800 w 38"/>
                  <a:gd name="T7" fmla="*/ 9525 h 19"/>
                  <a:gd name="T8" fmla="*/ 30163 w 38"/>
                  <a:gd name="T9" fmla="*/ 9525 h 19"/>
                  <a:gd name="T10" fmla="*/ 9525 w 38"/>
                  <a:gd name="T11" fmla="*/ 9525 h 19"/>
                  <a:gd name="T12" fmla="*/ 0 w 38"/>
                  <a:gd name="T13" fmla="*/ 9525 h 19"/>
                  <a:gd name="T14" fmla="*/ 0 w 38"/>
                  <a:gd name="T15" fmla="*/ 30163 h 19"/>
                  <a:gd name="T16" fmla="*/ 0 w 38"/>
                  <a:gd name="T17" fmla="*/ 30163 h 19"/>
                  <a:gd name="T18" fmla="*/ 50800 w 38"/>
                  <a:gd name="T19" fmla="*/ 30163 h 19"/>
                  <a:gd name="T20" fmla="*/ 60325 w 38"/>
                  <a:gd name="T21" fmla="*/ 19050 h 19"/>
                  <a:gd name="T22" fmla="*/ 50800 w 38"/>
                  <a:gd name="T23" fmla="*/ 0 h 19"/>
                  <a:gd name="T24" fmla="*/ 5080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32" y="0"/>
                    </a:moveTo>
                    <a:lnTo>
                      <a:pt x="32" y="0"/>
                    </a:lnTo>
                    <a:lnTo>
                      <a:pt x="32" y="6"/>
                    </a:lnTo>
                    <a:lnTo>
                      <a:pt x="19" y="6"/>
                    </a:lnTo>
                    <a:lnTo>
                      <a:pt x="6" y="6"/>
                    </a:lnTo>
                    <a:lnTo>
                      <a:pt x="0" y="6"/>
                    </a:lnTo>
                    <a:lnTo>
                      <a:pt x="0" y="19"/>
                    </a:lnTo>
                    <a:lnTo>
                      <a:pt x="32" y="19"/>
                    </a:lnTo>
                    <a:lnTo>
                      <a:pt x="38" y="12"/>
                    </a:lnTo>
                    <a:lnTo>
                      <a:pt x="32"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7" name="Freeform 281"/>
              <p:cNvSpPr>
                <a:spLocks/>
              </p:cNvSpPr>
              <p:nvPr/>
            </p:nvSpPr>
            <p:spPr bwMode="auto">
              <a:xfrm>
                <a:off x="3629025" y="34512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8" name="Freeform 282"/>
              <p:cNvSpPr>
                <a:spLocks/>
              </p:cNvSpPr>
              <p:nvPr/>
            </p:nvSpPr>
            <p:spPr bwMode="auto">
              <a:xfrm>
                <a:off x="3629025" y="3511550"/>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w 1588"/>
                  <a:gd name="T19" fmla="*/ 0 h 15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8"/>
                  <a:gd name="T31" fmla="*/ 0 h 1588"/>
                  <a:gd name="T32" fmla="*/ 1588 w 1588"/>
                  <a:gd name="T33" fmla="*/ 1588 h 15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9" name="Freeform 283"/>
              <p:cNvSpPr>
                <a:spLocks/>
              </p:cNvSpPr>
              <p:nvPr/>
            </p:nvSpPr>
            <p:spPr bwMode="auto">
              <a:xfrm>
                <a:off x="3629025" y="351155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0" name="Rectangle 284"/>
              <p:cNvSpPr>
                <a:spLocks noChangeArrowheads="1"/>
              </p:cNvSpPr>
              <p:nvPr/>
            </p:nvSpPr>
            <p:spPr bwMode="auto">
              <a:xfrm>
                <a:off x="3629025" y="352107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1" name="Freeform 285"/>
              <p:cNvSpPr>
                <a:spLocks/>
              </p:cNvSpPr>
              <p:nvPr/>
            </p:nvSpPr>
            <p:spPr bwMode="auto">
              <a:xfrm>
                <a:off x="3608388" y="353218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2" name="Freeform 286"/>
              <p:cNvSpPr>
                <a:spLocks/>
              </p:cNvSpPr>
              <p:nvPr/>
            </p:nvSpPr>
            <p:spPr bwMode="auto">
              <a:xfrm>
                <a:off x="3629025" y="3532188"/>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3" name="Freeform 287"/>
              <p:cNvSpPr>
                <a:spLocks/>
              </p:cNvSpPr>
              <p:nvPr/>
            </p:nvSpPr>
            <p:spPr bwMode="auto">
              <a:xfrm>
                <a:off x="3648075" y="3551238"/>
                <a:ext cx="1588"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8"/>
                  <a:gd name="T28" fmla="*/ 0 h 1588"/>
                  <a:gd name="T29" fmla="*/ 1588 w 1588"/>
                  <a:gd name="T30" fmla="*/ 1588 h 15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4" name="Rectangle 290"/>
              <p:cNvSpPr>
                <a:spLocks noChangeArrowheads="1"/>
              </p:cNvSpPr>
              <p:nvPr/>
            </p:nvSpPr>
            <p:spPr bwMode="auto">
              <a:xfrm>
                <a:off x="3648075" y="38338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5" name="Freeform 291"/>
              <p:cNvSpPr>
                <a:spLocks/>
              </p:cNvSpPr>
              <p:nvPr/>
            </p:nvSpPr>
            <p:spPr bwMode="auto">
              <a:xfrm>
                <a:off x="3659188" y="3833813"/>
                <a:ext cx="1587" cy="11112"/>
              </a:xfrm>
              <a:custGeom>
                <a:avLst/>
                <a:gdLst>
                  <a:gd name="T0" fmla="*/ 0 w 1588"/>
                  <a:gd name="T1" fmla="*/ 11112 h 7"/>
                  <a:gd name="T2" fmla="*/ 0 w 1588"/>
                  <a:gd name="T3" fmla="*/ 11112 h 7"/>
                  <a:gd name="T4" fmla="*/ 0 w 1588"/>
                  <a:gd name="T5" fmla="*/ 0 h 7"/>
                  <a:gd name="T6" fmla="*/ 0 w 1588"/>
                  <a:gd name="T7" fmla="*/ 11112 h 7"/>
                  <a:gd name="T8" fmla="*/ 0 w 1588"/>
                  <a:gd name="T9" fmla="*/ 11112 h 7"/>
                  <a:gd name="T10" fmla="*/ 0 60000 65536"/>
                  <a:gd name="T11" fmla="*/ 0 60000 65536"/>
                  <a:gd name="T12" fmla="*/ 0 60000 65536"/>
                  <a:gd name="T13" fmla="*/ 0 60000 65536"/>
                  <a:gd name="T14" fmla="*/ 0 60000 65536"/>
                  <a:gd name="T15" fmla="*/ 0 w 1588"/>
                  <a:gd name="T16" fmla="*/ 0 h 7"/>
                  <a:gd name="T17" fmla="*/ 1588 w 1588"/>
                  <a:gd name="T18" fmla="*/ 7 h 7"/>
                </a:gdLst>
                <a:ahLst/>
                <a:cxnLst>
                  <a:cxn ang="T10">
                    <a:pos x="T0" y="T1"/>
                  </a:cxn>
                  <a:cxn ang="T11">
                    <a:pos x="T2" y="T3"/>
                  </a:cxn>
                  <a:cxn ang="T12">
                    <a:pos x="T4" y="T5"/>
                  </a:cxn>
                  <a:cxn ang="T13">
                    <a:pos x="T6" y="T7"/>
                  </a:cxn>
                  <a:cxn ang="T14">
                    <a:pos x="T8" y="T9"/>
                  </a:cxn>
                </a:cxnLst>
                <a:rect l="T15" t="T16" r="T17" b="T18"/>
                <a:pathLst>
                  <a:path w="1588" h="7">
                    <a:moveTo>
                      <a:pt x="0" y="7"/>
                    </a:moveTo>
                    <a:lnTo>
                      <a:pt x="0" y="7"/>
                    </a:lnTo>
                    <a:lnTo>
                      <a:pt x="0" y="0"/>
                    </a:lnTo>
                    <a:lnTo>
                      <a:pt x="0"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6" name="Rectangle 292"/>
              <p:cNvSpPr>
                <a:spLocks noChangeArrowheads="1"/>
              </p:cNvSpPr>
              <p:nvPr/>
            </p:nvSpPr>
            <p:spPr bwMode="auto">
              <a:xfrm>
                <a:off x="3538538" y="384492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7" name="Rectangle 293"/>
              <p:cNvSpPr>
                <a:spLocks noChangeArrowheads="1"/>
              </p:cNvSpPr>
              <p:nvPr/>
            </p:nvSpPr>
            <p:spPr bwMode="auto">
              <a:xfrm>
                <a:off x="3659188" y="384492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8" name="Freeform 294"/>
              <p:cNvSpPr>
                <a:spLocks/>
              </p:cNvSpPr>
              <p:nvPr/>
            </p:nvSpPr>
            <p:spPr bwMode="auto">
              <a:xfrm>
                <a:off x="3648075" y="38449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9" name="Freeform 295"/>
              <p:cNvSpPr>
                <a:spLocks/>
              </p:cNvSpPr>
              <p:nvPr/>
            </p:nvSpPr>
            <p:spPr bwMode="auto">
              <a:xfrm>
                <a:off x="3648075" y="38449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0" name="Rectangle 296"/>
              <p:cNvSpPr>
                <a:spLocks noChangeArrowheads="1"/>
              </p:cNvSpPr>
              <p:nvPr/>
            </p:nvSpPr>
            <p:spPr bwMode="auto">
              <a:xfrm>
                <a:off x="3659188"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01" name="Freeform 297"/>
              <p:cNvSpPr>
                <a:spLocks/>
              </p:cNvSpPr>
              <p:nvPr/>
            </p:nvSpPr>
            <p:spPr bwMode="auto">
              <a:xfrm>
                <a:off x="3638550" y="39147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2" name="Rectangle 298"/>
              <p:cNvSpPr>
                <a:spLocks noChangeArrowheads="1"/>
              </p:cNvSpPr>
              <p:nvPr/>
            </p:nvSpPr>
            <p:spPr bwMode="auto">
              <a:xfrm>
                <a:off x="3668713"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03" name="Freeform 299"/>
              <p:cNvSpPr>
                <a:spLocks/>
              </p:cNvSpPr>
              <p:nvPr/>
            </p:nvSpPr>
            <p:spPr bwMode="auto">
              <a:xfrm>
                <a:off x="3679825" y="391477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4" name="Rectangle 300"/>
              <p:cNvSpPr>
                <a:spLocks noChangeArrowheads="1"/>
              </p:cNvSpPr>
              <p:nvPr/>
            </p:nvSpPr>
            <p:spPr bwMode="auto">
              <a:xfrm>
                <a:off x="3709988"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05" name="Freeform 301"/>
              <p:cNvSpPr>
                <a:spLocks/>
              </p:cNvSpPr>
              <p:nvPr/>
            </p:nvSpPr>
            <p:spPr bwMode="auto">
              <a:xfrm>
                <a:off x="3587750" y="3914775"/>
                <a:ext cx="1588" cy="30163"/>
              </a:xfrm>
              <a:custGeom>
                <a:avLst/>
                <a:gdLst>
                  <a:gd name="T0" fmla="*/ 0 w 1588"/>
                  <a:gd name="T1" fmla="*/ 30163 h 19"/>
                  <a:gd name="T2" fmla="*/ 0 w 1588"/>
                  <a:gd name="T3" fmla="*/ 30163 h 19"/>
                  <a:gd name="T4" fmla="*/ 0 w 1588"/>
                  <a:gd name="T5" fmla="*/ 0 h 19"/>
                  <a:gd name="T6" fmla="*/ 0 w 1588"/>
                  <a:gd name="T7" fmla="*/ 0 h 19"/>
                  <a:gd name="T8" fmla="*/ 0 w 1588"/>
                  <a:gd name="T9" fmla="*/ 30163 h 19"/>
                  <a:gd name="T10" fmla="*/ 0 w 1588"/>
                  <a:gd name="T11" fmla="*/ 30163 h 19"/>
                  <a:gd name="T12" fmla="*/ 0 60000 65536"/>
                  <a:gd name="T13" fmla="*/ 0 60000 65536"/>
                  <a:gd name="T14" fmla="*/ 0 60000 65536"/>
                  <a:gd name="T15" fmla="*/ 0 60000 65536"/>
                  <a:gd name="T16" fmla="*/ 0 60000 65536"/>
                  <a:gd name="T17" fmla="*/ 0 60000 65536"/>
                  <a:gd name="T18" fmla="*/ 0 w 1588"/>
                  <a:gd name="T19" fmla="*/ 0 h 19"/>
                  <a:gd name="T20" fmla="*/ 1588 w 1588"/>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588" h="19">
                    <a:moveTo>
                      <a:pt x="0" y="19"/>
                    </a:moveTo>
                    <a:lnTo>
                      <a:pt x="0" y="19"/>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6" name="Freeform 302"/>
              <p:cNvSpPr>
                <a:spLocks/>
              </p:cNvSpPr>
              <p:nvPr/>
            </p:nvSpPr>
            <p:spPr bwMode="auto">
              <a:xfrm>
                <a:off x="3698875" y="391477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9525 h 6"/>
                  <a:gd name="T12" fmla="*/ 0 w 1588"/>
                  <a:gd name="T13" fmla="*/ 0 h 6"/>
                  <a:gd name="T14" fmla="*/ 0 w 1588"/>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6"/>
                  <a:gd name="T26" fmla="*/ 1588 w 158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7" name="Freeform 303"/>
              <p:cNvSpPr>
                <a:spLocks/>
              </p:cNvSpPr>
              <p:nvPr/>
            </p:nvSpPr>
            <p:spPr bwMode="auto">
              <a:xfrm>
                <a:off x="3587750" y="3924300"/>
                <a:ext cx="1588"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11113 h 13"/>
                  <a:gd name="T10" fmla="*/ 0 w 1588"/>
                  <a:gd name="T11" fmla="*/ 20638 h 13"/>
                  <a:gd name="T12" fmla="*/ 0 w 1588"/>
                  <a:gd name="T13" fmla="*/ 20638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7"/>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8" name="Rectangle 304"/>
              <p:cNvSpPr>
                <a:spLocks noChangeArrowheads="1"/>
              </p:cNvSpPr>
              <p:nvPr/>
            </p:nvSpPr>
            <p:spPr bwMode="auto">
              <a:xfrm>
                <a:off x="3659188" y="3924300"/>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09" name="Freeform 305"/>
              <p:cNvSpPr>
                <a:spLocks/>
              </p:cNvSpPr>
              <p:nvPr/>
            </p:nvSpPr>
            <p:spPr bwMode="auto">
              <a:xfrm>
                <a:off x="3578225" y="3924300"/>
                <a:ext cx="1588" cy="30163"/>
              </a:xfrm>
              <a:custGeom>
                <a:avLst/>
                <a:gdLst>
                  <a:gd name="T0" fmla="*/ 0 w 1588"/>
                  <a:gd name="T1" fmla="*/ 30163 h 19"/>
                  <a:gd name="T2" fmla="*/ 0 w 1588"/>
                  <a:gd name="T3" fmla="*/ 30163 h 19"/>
                  <a:gd name="T4" fmla="*/ 0 w 1588"/>
                  <a:gd name="T5" fmla="*/ 0 h 19"/>
                  <a:gd name="T6" fmla="*/ 0 w 1588"/>
                  <a:gd name="T7" fmla="*/ 0 h 19"/>
                  <a:gd name="T8" fmla="*/ 0 w 1588"/>
                  <a:gd name="T9" fmla="*/ 20638 h 19"/>
                  <a:gd name="T10" fmla="*/ 0 w 1588"/>
                  <a:gd name="T11" fmla="*/ 30163 h 19"/>
                  <a:gd name="T12" fmla="*/ 0 w 1588"/>
                  <a:gd name="T13" fmla="*/ 30163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0"/>
                    </a:lnTo>
                    <a:lnTo>
                      <a:pt x="0" y="13"/>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0" name="Freeform 306"/>
              <p:cNvSpPr>
                <a:spLocks/>
              </p:cNvSpPr>
              <p:nvPr/>
            </p:nvSpPr>
            <p:spPr bwMode="auto">
              <a:xfrm>
                <a:off x="3568700" y="3924300"/>
                <a:ext cx="9525" cy="30163"/>
              </a:xfrm>
              <a:custGeom>
                <a:avLst/>
                <a:gdLst>
                  <a:gd name="T0" fmla="*/ 0 w 6"/>
                  <a:gd name="T1" fmla="*/ 0 h 19"/>
                  <a:gd name="T2" fmla="*/ 0 w 6"/>
                  <a:gd name="T3" fmla="*/ 0 h 19"/>
                  <a:gd name="T4" fmla="*/ 0 w 6"/>
                  <a:gd name="T5" fmla="*/ 20638 h 19"/>
                  <a:gd name="T6" fmla="*/ 9525 w 6"/>
                  <a:gd name="T7" fmla="*/ 30163 h 19"/>
                  <a:gd name="T8" fmla="*/ 9525 w 6"/>
                  <a:gd name="T9" fmla="*/ 30163 h 19"/>
                  <a:gd name="T10" fmla="*/ 0 w 6"/>
                  <a:gd name="T11" fmla="*/ 0 h 19"/>
                  <a:gd name="T12" fmla="*/ 0 w 6"/>
                  <a:gd name="T13" fmla="*/ 0 h 19"/>
                  <a:gd name="T14" fmla="*/ 0 60000 65536"/>
                  <a:gd name="T15" fmla="*/ 0 60000 65536"/>
                  <a:gd name="T16" fmla="*/ 0 60000 65536"/>
                  <a:gd name="T17" fmla="*/ 0 60000 65536"/>
                  <a:gd name="T18" fmla="*/ 0 60000 65536"/>
                  <a:gd name="T19" fmla="*/ 0 60000 65536"/>
                  <a:gd name="T20" fmla="*/ 0 60000 65536"/>
                  <a:gd name="T21" fmla="*/ 0 w 6"/>
                  <a:gd name="T22" fmla="*/ 0 h 19"/>
                  <a:gd name="T23" fmla="*/ 6 w 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9">
                    <a:moveTo>
                      <a:pt x="0" y="0"/>
                    </a:moveTo>
                    <a:lnTo>
                      <a:pt x="0" y="0"/>
                    </a:lnTo>
                    <a:lnTo>
                      <a:pt x="0" y="13"/>
                    </a:lnTo>
                    <a:lnTo>
                      <a:pt x="6" y="19"/>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1" name="Rectangle 307"/>
              <p:cNvSpPr>
                <a:spLocks noChangeArrowheads="1"/>
              </p:cNvSpPr>
              <p:nvPr/>
            </p:nvSpPr>
            <p:spPr bwMode="auto">
              <a:xfrm>
                <a:off x="3648075" y="39354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12" name="Rectangle 308"/>
              <p:cNvSpPr>
                <a:spLocks noChangeArrowheads="1"/>
              </p:cNvSpPr>
              <p:nvPr/>
            </p:nvSpPr>
            <p:spPr bwMode="auto">
              <a:xfrm>
                <a:off x="3648075" y="39354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13" name="Freeform 309"/>
              <p:cNvSpPr>
                <a:spLocks/>
              </p:cNvSpPr>
              <p:nvPr/>
            </p:nvSpPr>
            <p:spPr bwMode="auto">
              <a:xfrm>
                <a:off x="3557588" y="3944938"/>
                <a:ext cx="1587" cy="9525"/>
              </a:xfrm>
              <a:custGeom>
                <a:avLst/>
                <a:gdLst>
                  <a:gd name="T0" fmla="*/ 0 w 1588"/>
                  <a:gd name="T1" fmla="*/ 0 h 6"/>
                  <a:gd name="T2" fmla="*/ 0 w 1588"/>
                  <a:gd name="T3" fmla="*/ 0 h 6"/>
                  <a:gd name="T4" fmla="*/ 0 w 1588"/>
                  <a:gd name="T5" fmla="*/ 0 h 6"/>
                  <a:gd name="T6" fmla="*/ 0 w 1588"/>
                  <a:gd name="T7" fmla="*/ 0 h 6"/>
                  <a:gd name="T8" fmla="*/ 0 w 1588"/>
                  <a:gd name="T9" fmla="*/ 9525 h 6"/>
                  <a:gd name="T10" fmla="*/ 0 w 1588"/>
                  <a:gd name="T11" fmla="*/ 9525 h 6"/>
                  <a:gd name="T12" fmla="*/ 0 w 1588"/>
                  <a:gd name="T13" fmla="*/ 0 h 6"/>
                  <a:gd name="T14" fmla="*/ 0 w 1588"/>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6"/>
                  <a:gd name="T26" fmla="*/ 1588 w 158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4" name="Freeform 310"/>
              <p:cNvSpPr>
                <a:spLocks/>
              </p:cNvSpPr>
              <p:nvPr/>
            </p:nvSpPr>
            <p:spPr bwMode="auto">
              <a:xfrm>
                <a:off x="3557588" y="3954463"/>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5" name="Freeform 311"/>
              <p:cNvSpPr>
                <a:spLocks/>
              </p:cNvSpPr>
              <p:nvPr/>
            </p:nvSpPr>
            <p:spPr bwMode="auto">
              <a:xfrm>
                <a:off x="3557588" y="3954463"/>
                <a:ext cx="11112" cy="11112"/>
              </a:xfrm>
              <a:custGeom>
                <a:avLst/>
                <a:gdLst>
                  <a:gd name="T0" fmla="*/ 11112 w 7"/>
                  <a:gd name="T1" fmla="*/ 0 h 7"/>
                  <a:gd name="T2" fmla="*/ 11112 w 7"/>
                  <a:gd name="T3" fmla="*/ 0 h 7"/>
                  <a:gd name="T4" fmla="*/ 0 w 7"/>
                  <a:gd name="T5" fmla="*/ 0 h 7"/>
                  <a:gd name="T6" fmla="*/ 0 w 7"/>
                  <a:gd name="T7" fmla="*/ 11112 h 7"/>
                  <a:gd name="T8" fmla="*/ 0 w 7"/>
                  <a:gd name="T9" fmla="*/ 11112 h 7"/>
                  <a:gd name="T10" fmla="*/ 11112 w 7"/>
                  <a:gd name="T11" fmla="*/ 11112 h 7"/>
                  <a:gd name="T12" fmla="*/ 11112 w 7"/>
                  <a:gd name="T13" fmla="*/ 0 h 7"/>
                  <a:gd name="T14" fmla="*/ 11112 w 7"/>
                  <a:gd name="T15" fmla="*/ 0 h 7"/>
                  <a:gd name="T16" fmla="*/ 11112 w 7"/>
                  <a:gd name="T17" fmla="*/ 0 h 7"/>
                  <a:gd name="T18" fmla="*/ 11112 w 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7" y="0"/>
                    </a:moveTo>
                    <a:lnTo>
                      <a:pt x="7" y="0"/>
                    </a:lnTo>
                    <a:lnTo>
                      <a:pt x="0" y="0"/>
                    </a:lnTo>
                    <a:lnTo>
                      <a:pt x="0" y="7"/>
                    </a:lnTo>
                    <a:lnTo>
                      <a:pt x="7" y="7"/>
                    </a:lnTo>
                    <a:lnTo>
                      <a:pt x="7"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6" name="Freeform 312"/>
              <p:cNvSpPr>
                <a:spLocks/>
              </p:cNvSpPr>
              <p:nvPr/>
            </p:nvSpPr>
            <p:spPr bwMode="auto">
              <a:xfrm>
                <a:off x="3587750" y="3954463"/>
                <a:ext cx="1588" cy="20637"/>
              </a:xfrm>
              <a:custGeom>
                <a:avLst/>
                <a:gdLst>
                  <a:gd name="T0" fmla="*/ 0 w 1588"/>
                  <a:gd name="T1" fmla="*/ 20637 h 13"/>
                  <a:gd name="T2" fmla="*/ 0 w 1588"/>
                  <a:gd name="T3" fmla="*/ 20637 h 13"/>
                  <a:gd name="T4" fmla="*/ 0 w 1588"/>
                  <a:gd name="T5" fmla="*/ 11112 h 13"/>
                  <a:gd name="T6" fmla="*/ 0 w 1588"/>
                  <a:gd name="T7" fmla="*/ 0 h 13"/>
                  <a:gd name="T8" fmla="*/ 0 w 1588"/>
                  <a:gd name="T9" fmla="*/ 0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7"/>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7" name="Freeform 313"/>
              <p:cNvSpPr>
                <a:spLocks/>
              </p:cNvSpPr>
              <p:nvPr/>
            </p:nvSpPr>
            <p:spPr bwMode="auto">
              <a:xfrm>
                <a:off x="3587750" y="3954463"/>
                <a:ext cx="1588" cy="30162"/>
              </a:xfrm>
              <a:custGeom>
                <a:avLst/>
                <a:gdLst>
                  <a:gd name="T0" fmla="*/ 0 w 1588"/>
                  <a:gd name="T1" fmla="*/ 30162 h 19"/>
                  <a:gd name="T2" fmla="*/ 0 w 1588"/>
                  <a:gd name="T3" fmla="*/ 30162 h 19"/>
                  <a:gd name="T4" fmla="*/ 0 w 1588"/>
                  <a:gd name="T5" fmla="*/ 11112 h 19"/>
                  <a:gd name="T6" fmla="*/ 0 w 1588"/>
                  <a:gd name="T7" fmla="*/ 0 h 19"/>
                  <a:gd name="T8" fmla="*/ 0 w 1588"/>
                  <a:gd name="T9" fmla="*/ 0 h 19"/>
                  <a:gd name="T10" fmla="*/ 0 w 1588"/>
                  <a:gd name="T11" fmla="*/ 30162 h 19"/>
                  <a:gd name="T12" fmla="*/ 0 w 1588"/>
                  <a:gd name="T13" fmla="*/ 30162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7"/>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8" name="Freeform 314"/>
              <p:cNvSpPr>
                <a:spLocks/>
              </p:cNvSpPr>
              <p:nvPr/>
            </p:nvSpPr>
            <p:spPr bwMode="auto">
              <a:xfrm>
                <a:off x="3578225" y="3965575"/>
                <a:ext cx="1588" cy="19050"/>
              </a:xfrm>
              <a:custGeom>
                <a:avLst/>
                <a:gdLst>
                  <a:gd name="T0" fmla="*/ 0 w 1588"/>
                  <a:gd name="T1" fmla="*/ 0 h 12"/>
                  <a:gd name="T2" fmla="*/ 0 w 1588"/>
                  <a:gd name="T3" fmla="*/ 0 h 12"/>
                  <a:gd name="T4" fmla="*/ 0 w 1588"/>
                  <a:gd name="T5" fmla="*/ 9525 h 12"/>
                  <a:gd name="T6" fmla="*/ 0 w 1588"/>
                  <a:gd name="T7" fmla="*/ 19050 h 12"/>
                  <a:gd name="T8" fmla="*/ 0 w 1588"/>
                  <a:gd name="T9" fmla="*/ 19050 h 12"/>
                  <a:gd name="T10" fmla="*/ 0 w 1588"/>
                  <a:gd name="T11" fmla="*/ 9525 h 12"/>
                  <a:gd name="T12" fmla="*/ 0 w 1588"/>
                  <a:gd name="T13" fmla="*/ 0 h 12"/>
                  <a:gd name="T14" fmla="*/ 0 w 1588"/>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12"/>
                  <a:gd name="T26" fmla="*/ 1588 w 158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12">
                    <a:moveTo>
                      <a:pt x="0" y="0"/>
                    </a:moveTo>
                    <a:lnTo>
                      <a:pt x="0" y="0"/>
                    </a:lnTo>
                    <a:lnTo>
                      <a:pt x="0" y="6"/>
                    </a:lnTo>
                    <a:lnTo>
                      <a:pt x="0" y="12"/>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9" name="Freeform 315"/>
              <p:cNvSpPr>
                <a:spLocks/>
              </p:cNvSpPr>
              <p:nvPr/>
            </p:nvSpPr>
            <p:spPr bwMode="auto">
              <a:xfrm>
                <a:off x="3568700" y="3965575"/>
                <a:ext cx="9525" cy="19050"/>
              </a:xfrm>
              <a:custGeom>
                <a:avLst/>
                <a:gdLst>
                  <a:gd name="T0" fmla="*/ 9525 w 6"/>
                  <a:gd name="T1" fmla="*/ 19050 h 12"/>
                  <a:gd name="T2" fmla="*/ 9525 w 6"/>
                  <a:gd name="T3" fmla="*/ 19050 h 12"/>
                  <a:gd name="T4" fmla="*/ 0 w 6"/>
                  <a:gd name="T5" fmla="*/ 0 h 12"/>
                  <a:gd name="T6" fmla="*/ 0 w 6"/>
                  <a:gd name="T7" fmla="*/ 0 h 12"/>
                  <a:gd name="T8" fmla="*/ 9525 w 6"/>
                  <a:gd name="T9" fmla="*/ 19050 h 12"/>
                  <a:gd name="T10" fmla="*/ 9525 w 6"/>
                  <a:gd name="T11" fmla="*/ 1905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6" y="12"/>
                    </a:moveTo>
                    <a:lnTo>
                      <a:pt x="6" y="12"/>
                    </a:lnTo>
                    <a:lnTo>
                      <a:pt x="0" y="0"/>
                    </a:lnTo>
                    <a:lnTo>
                      <a:pt x="6" y="12"/>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0" name="Freeform 316"/>
              <p:cNvSpPr>
                <a:spLocks/>
              </p:cNvSpPr>
              <p:nvPr/>
            </p:nvSpPr>
            <p:spPr bwMode="auto">
              <a:xfrm>
                <a:off x="3648075" y="39655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1" name="Freeform 317"/>
              <p:cNvSpPr>
                <a:spLocks/>
              </p:cNvSpPr>
              <p:nvPr/>
            </p:nvSpPr>
            <p:spPr bwMode="auto">
              <a:xfrm>
                <a:off x="3568700" y="3965575"/>
                <a:ext cx="1588" cy="30163"/>
              </a:xfrm>
              <a:custGeom>
                <a:avLst/>
                <a:gdLst>
                  <a:gd name="T0" fmla="*/ 0 w 1588"/>
                  <a:gd name="T1" fmla="*/ 30163 h 19"/>
                  <a:gd name="T2" fmla="*/ 0 w 1588"/>
                  <a:gd name="T3" fmla="*/ 30163 h 19"/>
                  <a:gd name="T4" fmla="*/ 0 w 1588"/>
                  <a:gd name="T5" fmla="*/ 19050 h 19"/>
                  <a:gd name="T6" fmla="*/ 0 w 1588"/>
                  <a:gd name="T7" fmla="*/ 0 h 19"/>
                  <a:gd name="T8" fmla="*/ 0 w 1588"/>
                  <a:gd name="T9" fmla="*/ 0 h 19"/>
                  <a:gd name="T10" fmla="*/ 0 w 1588"/>
                  <a:gd name="T11" fmla="*/ 30163 h 19"/>
                  <a:gd name="T12" fmla="*/ 0 w 1588"/>
                  <a:gd name="T13" fmla="*/ 30163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12"/>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2" name="Freeform 318"/>
              <p:cNvSpPr>
                <a:spLocks/>
              </p:cNvSpPr>
              <p:nvPr/>
            </p:nvSpPr>
            <p:spPr bwMode="auto">
              <a:xfrm>
                <a:off x="3557588" y="3975100"/>
                <a:ext cx="1587"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9525 h 13"/>
                  <a:gd name="T10" fmla="*/ 0 w 1588"/>
                  <a:gd name="T11" fmla="*/ 20638 h 13"/>
                  <a:gd name="T12" fmla="*/ 0 w 1588"/>
                  <a:gd name="T13" fmla="*/ 20638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3" name="Freeform 319"/>
              <p:cNvSpPr>
                <a:spLocks/>
              </p:cNvSpPr>
              <p:nvPr/>
            </p:nvSpPr>
            <p:spPr bwMode="auto">
              <a:xfrm>
                <a:off x="3659188" y="3984625"/>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4" name="Freeform 320"/>
              <p:cNvSpPr>
                <a:spLocks/>
              </p:cNvSpPr>
              <p:nvPr/>
            </p:nvSpPr>
            <p:spPr bwMode="auto">
              <a:xfrm>
                <a:off x="3729038" y="3984625"/>
                <a:ext cx="1587"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20638 h 13"/>
                  <a:gd name="T10" fmla="*/ 0 w 1588"/>
                  <a:gd name="T11" fmla="*/ 20638 h 13"/>
                  <a:gd name="T12" fmla="*/ 0 60000 65536"/>
                  <a:gd name="T13" fmla="*/ 0 60000 65536"/>
                  <a:gd name="T14" fmla="*/ 0 60000 65536"/>
                  <a:gd name="T15" fmla="*/ 0 60000 65536"/>
                  <a:gd name="T16" fmla="*/ 0 60000 65536"/>
                  <a:gd name="T17" fmla="*/ 0 60000 65536"/>
                  <a:gd name="T18" fmla="*/ 0 w 1588"/>
                  <a:gd name="T19" fmla="*/ 0 h 13"/>
                  <a:gd name="T20" fmla="*/ 1588 w 158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88" h="13">
                    <a:moveTo>
                      <a:pt x="0" y="13"/>
                    </a:moveTo>
                    <a:lnTo>
                      <a:pt x="0" y="13"/>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5" name="Freeform 322"/>
              <p:cNvSpPr>
                <a:spLocks/>
              </p:cNvSpPr>
              <p:nvPr/>
            </p:nvSpPr>
            <p:spPr bwMode="auto">
              <a:xfrm>
                <a:off x="3659188" y="399573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6" name="Rectangle 323"/>
              <p:cNvSpPr>
                <a:spLocks noChangeArrowheads="1"/>
              </p:cNvSpPr>
              <p:nvPr/>
            </p:nvSpPr>
            <p:spPr bwMode="auto">
              <a:xfrm>
                <a:off x="3648075" y="3995738"/>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27" name="Freeform 324"/>
              <p:cNvSpPr>
                <a:spLocks/>
              </p:cNvSpPr>
              <p:nvPr/>
            </p:nvSpPr>
            <p:spPr bwMode="auto">
              <a:xfrm>
                <a:off x="3538538" y="399573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8" name="Freeform 325"/>
              <p:cNvSpPr>
                <a:spLocks/>
              </p:cNvSpPr>
              <p:nvPr/>
            </p:nvSpPr>
            <p:spPr bwMode="auto">
              <a:xfrm>
                <a:off x="3587750" y="3995738"/>
                <a:ext cx="1588" cy="20637"/>
              </a:xfrm>
              <a:custGeom>
                <a:avLst/>
                <a:gdLst>
                  <a:gd name="T0" fmla="*/ 0 w 1588"/>
                  <a:gd name="T1" fmla="*/ 20637 h 13"/>
                  <a:gd name="T2" fmla="*/ 0 w 1588"/>
                  <a:gd name="T3" fmla="*/ 20637 h 13"/>
                  <a:gd name="T4" fmla="*/ 0 w 1588"/>
                  <a:gd name="T5" fmla="*/ 0 h 13"/>
                  <a:gd name="T6" fmla="*/ 0 w 1588"/>
                  <a:gd name="T7" fmla="*/ 0 h 13"/>
                  <a:gd name="T8" fmla="*/ 0 w 1588"/>
                  <a:gd name="T9" fmla="*/ 9525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9" name="Rectangle 326"/>
              <p:cNvSpPr>
                <a:spLocks noChangeArrowheads="1"/>
              </p:cNvSpPr>
              <p:nvPr/>
            </p:nvSpPr>
            <p:spPr bwMode="auto">
              <a:xfrm>
                <a:off x="3538538" y="3995738"/>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0" name="Freeform 327"/>
              <p:cNvSpPr>
                <a:spLocks/>
              </p:cNvSpPr>
              <p:nvPr/>
            </p:nvSpPr>
            <p:spPr bwMode="auto">
              <a:xfrm>
                <a:off x="3587750" y="4005263"/>
                <a:ext cx="11113" cy="11112"/>
              </a:xfrm>
              <a:custGeom>
                <a:avLst/>
                <a:gdLst>
                  <a:gd name="T0" fmla="*/ 0 w 7"/>
                  <a:gd name="T1" fmla="*/ 11112 h 7"/>
                  <a:gd name="T2" fmla="*/ 0 w 7"/>
                  <a:gd name="T3" fmla="*/ 11112 h 7"/>
                  <a:gd name="T4" fmla="*/ 11113 w 7"/>
                  <a:gd name="T5" fmla="*/ 0 h 7"/>
                  <a:gd name="T6" fmla="*/ 0 w 7"/>
                  <a:gd name="T7" fmla="*/ 0 h 7"/>
                  <a:gd name="T8" fmla="*/ 0 w 7"/>
                  <a:gd name="T9" fmla="*/ 0 h 7"/>
                  <a:gd name="T10" fmla="*/ 0 w 7"/>
                  <a:gd name="T11" fmla="*/ 11112 h 7"/>
                  <a:gd name="T12" fmla="*/ 0 w 7"/>
                  <a:gd name="T13" fmla="*/ 11112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0" y="7"/>
                    </a:moveTo>
                    <a:lnTo>
                      <a:pt x="0" y="7"/>
                    </a:lnTo>
                    <a:lnTo>
                      <a:pt x="7" y="0"/>
                    </a:lnTo>
                    <a:lnTo>
                      <a:pt x="0" y="0"/>
                    </a:lnTo>
                    <a:lnTo>
                      <a:pt x="0"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1" name="Rectangle 328"/>
              <p:cNvSpPr>
                <a:spLocks noChangeArrowheads="1"/>
              </p:cNvSpPr>
              <p:nvPr/>
            </p:nvSpPr>
            <p:spPr bwMode="auto">
              <a:xfrm>
                <a:off x="3527425" y="400526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2" name="Freeform 329"/>
              <p:cNvSpPr>
                <a:spLocks/>
              </p:cNvSpPr>
              <p:nvPr/>
            </p:nvSpPr>
            <p:spPr bwMode="auto">
              <a:xfrm>
                <a:off x="3578225" y="4005263"/>
                <a:ext cx="1588" cy="11112"/>
              </a:xfrm>
              <a:custGeom>
                <a:avLst/>
                <a:gdLst>
                  <a:gd name="T0" fmla="*/ 0 w 1588"/>
                  <a:gd name="T1" fmla="*/ 0 h 7"/>
                  <a:gd name="T2" fmla="*/ 0 w 1588"/>
                  <a:gd name="T3" fmla="*/ 0 h 7"/>
                  <a:gd name="T4" fmla="*/ 0 w 1588"/>
                  <a:gd name="T5" fmla="*/ 0 h 7"/>
                  <a:gd name="T6" fmla="*/ 0 w 1588"/>
                  <a:gd name="T7" fmla="*/ 11112 h 7"/>
                  <a:gd name="T8" fmla="*/ 0 w 1588"/>
                  <a:gd name="T9" fmla="*/ 11112 h 7"/>
                  <a:gd name="T10" fmla="*/ 0 w 1588"/>
                  <a:gd name="T11" fmla="*/ 0 h 7"/>
                  <a:gd name="T12" fmla="*/ 0 w 1588"/>
                  <a:gd name="T13" fmla="*/ 0 h 7"/>
                  <a:gd name="T14" fmla="*/ 0 60000 65536"/>
                  <a:gd name="T15" fmla="*/ 0 60000 65536"/>
                  <a:gd name="T16" fmla="*/ 0 60000 65536"/>
                  <a:gd name="T17" fmla="*/ 0 60000 65536"/>
                  <a:gd name="T18" fmla="*/ 0 60000 65536"/>
                  <a:gd name="T19" fmla="*/ 0 60000 65536"/>
                  <a:gd name="T20" fmla="*/ 0 60000 65536"/>
                  <a:gd name="T21" fmla="*/ 0 w 1588"/>
                  <a:gd name="T22" fmla="*/ 0 h 7"/>
                  <a:gd name="T23" fmla="*/ 1588 w 158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7">
                    <a:moveTo>
                      <a:pt x="0" y="0"/>
                    </a:moveTo>
                    <a:lnTo>
                      <a:pt x="0" y="0"/>
                    </a:lnTo>
                    <a:lnTo>
                      <a:pt x="0" y="7"/>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3" name="Freeform 330"/>
              <p:cNvSpPr>
                <a:spLocks/>
              </p:cNvSpPr>
              <p:nvPr/>
            </p:nvSpPr>
            <p:spPr bwMode="auto">
              <a:xfrm>
                <a:off x="3568700" y="4005263"/>
                <a:ext cx="9525" cy="20637"/>
              </a:xfrm>
              <a:custGeom>
                <a:avLst/>
                <a:gdLst>
                  <a:gd name="T0" fmla="*/ 9525 w 6"/>
                  <a:gd name="T1" fmla="*/ 0 h 13"/>
                  <a:gd name="T2" fmla="*/ 9525 w 6"/>
                  <a:gd name="T3" fmla="*/ 0 h 13"/>
                  <a:gd name="T4" fmla="*/ 0 w 6"/>
                  <a:gd name="T5" fmla="*/ 0 h 13"/>
                  <a:gd name="T6" fmla="*/ 9525 w 6"/>
                  <a:gd name="T7" fmla="*/ 20637 h 13"/>
                  <a:gd name="T8" fmla="*/ 9525 w 6"/>
                  <a:gd name="T9" fmla="*/ 20637 h 13"/>
                  <a:gd name="T10" fmla="*/ 9525 w 6"/>
                  <a:gd name="T11" fmla="*/ 0 h 13"/>
                  <a:gd name="T12" fmla="*/ 9525 w 6"/>
                  <a:gd name="T13" fmla="*/ 0 h 13"/>
                  <a:gd name="T14" fmla="*/ 0 60000 65536"/>
                  <a:gd name="T15" fmla="*/ 0 60000 65536"/>
                  <a:gd name="T16" fmla="*/ 0 60000 65536"/>
                  <a:gd name="T17" fmla="*/ 0 60000 65536"/>
                  <a:gd name="T18" fmla="*/ 0 60000 65536"/>
                  <a:gd name="T19" fmla="*/ 0 60000 65536"/>
                  <a:gd name="T20" fmla="*/ 0 60000 65536"/>
                  <a:gd name="T21" fmla="*/ 0 w 6"/>
                  <a:gd name="T22" fmla="*/ 0 h 13"/>
                  <a:gd name="T23" fmla="*/ 6 w 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3">
                    <a:moveTo>
                      <a:pt x="6" y="0"/>
                    </a:moveTo>
                    <a:lnTo>
                      <a:pt x="6" y="0"/>
                    </a:lnTo>
                    <a:lnTo>
                      <a:pt x="0" y="0"/>
                    </a:lnTo>
                    <a:lnTo>
                      <a:pt x="6" y="13"/>
                    </a:lnTo>
                    <a:lnTo>
                      <a:pt x="6"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4" name="Freeform 331"/>
              <p:cNvSpPr>
                <a:spLocks/>
              </p:cNvSpPr>
              <p:nvPr/>
            </p:nvSpPr>
            <p:spPr bwMode="auto">
              <a:xfrm>
                <a:off x="3648075" y="4005263"/>
                <a:ext cx="11113" cy="11112"/>
              </a:xfrm>
              <a:custGeom>
                <a:avLst/>
                <a:gdLst>
                  <a:gd name="T0" fmla="*/ 0 w 7"/>
                  <a:gd name="T1" fmla="*/ 0 h 7"/>
                  <a:gd name="T2" fmla="*/ 0 w 7"/>
                  <a:gd name="T3" fmla="*/ 0 h 7"/>
                  <a:gd name="T4" fmla="*/ 0 w 7"/>
                  <a:gd name="T5" fmla="*/ 11112 h 7"/>
                  <a:gd name="T6" fmla="*/ 0 w 7"/>
                  <a:gd name="T7" fmla="*/ 11112 h 7"/>
                  <a:gd name="T8" fmla="*/ 0 w 7"/>
                  <a:gd name="T9" fmla="*/ 0 h 7"/>
                  <a:gd name="T10" fmla="*/ 0 w 7"/>
                  <a:gd name="T11" fmla="*/ 0 h 7"/>
                  <a:gd name="T12" fmla="*/ 11113 w 7"/>
                  <a:gd name="T13" fmla="*/ 0 h 7"/>
                  <a:gd name="T14" fmla="*/ 11113 w 7"/>
                  <a:gd name="T15" fmla="*/ 0 h 7"/>
                  <a:gd name="T16" fmla="*/ 0 w 7"/>
                  <a:gd name="T17" fmla="*/ 0 h 7"/>
                  <a:gd name="T18" fmla="*/ 0 w 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0" y="0"/>
                    </a:moveTo>
                    <a:lnTo>
                      <a:pt x="0" y="0"/>
                    </a:lnTo>
                    <a:lnTo>
                      <a:pt x="0" y="7"/>
                    </a:lnTo>
                    <a:lnTo>
                      <a:pt x="0" y="0"/>
                    </a:lnTo>
                    <a:lnTo>
                      <a:pt x="7"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5" name="Rectangle 332"/>
              <p:cNvSpPr>
                <a:spLocks noChangeArrowheads="1"/>
              </p:cNvSpPr>
              <p:nvPr/>
            </p:nvSpPr>
            <p:spPr bwMode="auto">
              <a:xfrm>
                <a:off x="3648075" y="400526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6" name="Rectangle 333"/>
              <p:cNvSpPr>
                <a:spLocks noChangeArrowheads="1"/>
              </p:cNvSpPr>
              <p:nvPr/>
            </p:nvSpPr>
            <p:spPr bwMode="auto">
              <a:xfrm>
                <a:off x="3779838" y="4005263"/>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7" name="Freeform 334"/>
              <p:cNvSpPr>
                <a:spLocks/>
              </p:cNvSpPr>
              <p:nvPr/>
            </p:nvSpPr>
            <p:spPr bwMode="auto">
              <a:xfrm>
                <a:off x="3729038" y="4016375"/>
                <a:ext cx="1587"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8" name="Rectangle 335"/>
              <p:cNvSpPr>
                <a:spLocks noChangeArrowheads="1"/>
              </p:cNvSpPr>
              <p:nvPr/>
            </p:nvSpPr>
            <p:spPr bwMode="auto">
              <a:xfrm>
                <a:off x="3648075" y="401637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9" name="Freeform 336"/>
              <p:cNvSpPr>
                <a:spLocks/>
              </p:cNvSpPr>
              <p:nvPr/>
            </p:nvSpPr>
            <p:spPr bwMode="auto">
              <a:xfrm>
                <a:off x="3729038" y="401637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0" name="Freeform 337"/>
              <p:cNvSpPr>
                <a:spLocks/>
              </p:cNvSpPr>
              <p:nvPr/>
            </p:nvSpPr>
            <p:spPr bwMode="auto">
              <a:xfrm>
                <a:off x="3648075" y="40163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w 1588"/>
                  <a:gd name="T19" fmla="*/ 0 h 15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8"/>
                  <a:gd name="T31" fmla="*/ 0 h 1588"/>
                  <a:gd name="T32" fmla="*/ 1588 w 1588"/>
                  <a:gd name="T33" fmla="*/ 1588 h 15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1" name="Freeform 338"/>
              <p:cNvSpPr>
                <a:spLocks/>
              </p:cNvSpPr>
              <p:nvPr/>
            </p:nvSpPr>
            <p:spPr bwMode="auto">
              <a:xfrm>
                <a:off x="3648075" y="4016375"/>
                <a:ext cx="1588" cy="9525"/>
              </a:xfrm>
              <a:custGeom>
                <a:avLst/>
                <a:gdLst>
                  <a:gd name="T0" fmla="*/ 0 w 1588"/>
                  <a:gd name="T1" fmla="*/ 0 h 6"/>
                  <a:gd name="T2" fmla="*/ 0 w 1588"/>
                  <a:gd name="T3" fmla="*/ 0 h 6"/>
                  <a:gd name="T4" fmla="*/ 0 w 1588"/>
                  <a:gd name="T5" fmla="*/ 9525 h 6"/>
                  <a:gd name="T6" fmla="*/ 0 w 1588"/>
                  <a:gd name="T7" fmla="*/ 0 h 6"/>
                  <a:gd name="T8" fmla="*/ 0 w 1588"/>
                  <a:gd name="T9" fmla="*/ 0 h 6"/>
                  <a:gd name="T10" fmla="*/ 0 60000 65536"/>
                  <a:gd name="T11" fmla="*/ 0 60000 65536"/>
                  <a:gd name="T12" fmla="*/ 0 60000 65536"/>
                  <a:gd name="T13" fmla="*/ 0 60000 65536"/>
                  <a:gd name="T14" fmla="*/ 0 60000 65536"/>
                  <a:gd name="T15" fmla="*/ 0 w 1588"/>
                  <a:gd name="T16" fmla="*/ 0 h 6"/>
                  <a:gd name="T17" fmla="*/ 1588 w 1588"/>
                  <a:gd name="T18" fmla="*/ 6 h 6"/>
                </a:gdLst>
                <a:ahLst/>
                <a:cxnLst>
                  <a:cxn ang="T10">
                    <a:pos x="T0" y="T1"/>
                  </a:cxn>
                  <a:cxn ang="T11">
                    <a:pos x="T2" y="T3"/>
                  </a:cxn>
                  <a:cxn ang="T12">
                    <a:pos x="T4" y="T5"/>
                  </a:cxn>
                  <a:cxn ang="T13">
                    <a:pos x="T6" y="T7"/>
                  </a:cxn>
                  <a:cxn ang="T14">
                    <a:pos x="T8" y="T9"/>
                  </a:cxn>
                </a:cxnLst>
                <a:rect l="T15" t="T16" r="T17" b="T18"/>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2" name="Rectangle 339"/>
              <p:cNvSpPr>
                <a:spLocks noChangeArrowheads="1"/>
              </p:cNvSpPr>
              <p:nvPr/>
            </p:nvSpPr>
            <p:spPr bwMode="auto">
              <a:xfrm>
                <a:off x="3587750" y="40259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43" name="Freeform 340"/>
              <p:cNvSpPr>
                <a:spLocks/>
              </p:cNvSpPr>
              <p:nvPr/>
            </p:nvSpPr>
            <p:spPr bwMode="auto">
              <a:xfrm>
                <a:off x="3587750" y="4025900"/>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4" name="Freeform 341"/>
              <p:cNvSpPr>
                <a:spLocks/>
              </p:cNvSpPr>
              <p:nvPr/>
            </p:nvSpPr>
            <p:spPr bwMode="auto">
              <a:xfrm>
                <a:off x="3587750" y="4025900"/>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5" name="Rectangle 342"/>
              <p:cNvSpPr>
                <a:spLocks noChangeArrowheads="1"/>
              </p:cNvSpPr>
              <p:nvPr/>
            </p:nvSpPr>
            <p:spPr bwMode="auto">
              <a:xfrm>
                <a:off x="3578225" y="40259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46" name="Freeform 343"/>
              <p:cNvSpPr>
                <a:spLocks/>
              </p:cNvSpPr>
              <p:nvPr/>
            </p:nvSpPr>
            <p:spPr bwMode="auto">
              <a:xfrm>
                <a:off x="3578225" y="4025900"/>
                <a:ext cx="1588"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20638 h 13"/>
                  <a:gd name="T10" fmla="*/ 0 w 1588"/>
                  <a:gd name="T11" fmla="*/ 20638 h 13"/>
                  <a:gd name="T12" fmla="*/ 0 60000 65536"/>
                  <a:gd name="T13" fmla="*/ 0 60000 65536"/>
                  <a:gd name="T14" fmla="*/ 0 60000 65536"/>
                  <a:gd name="T15" fmla="*/ 0 60000 65536"/>
                  <a:gd name="T16" fmla="*/ 0 60000 65536"/>
                  <a:gd name="T17" fmla="*/ 0 60000 65536"/>
                  <a:gd name="T18" fmla="*/ 0 w 1588"/>
                  <a:gd name="T19" fmla="*/ 0 h 13"/>
                  <a:gd name="T20" fmla="*/ 1588 w 158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88" h="13">
                    <a:moveTo>
                      <a:pt x="0" y="13"/>
                    </a:moveTo>
                    <a:lnTo>
                      <a:pt x="0" y="13"/>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7" name="Freeform 344"/>
              <p:cNvSpPr>
                <a:spLocks/>
              </p:cNvSpPr>
              <p:nvPr/>
            </p:nvSpPr>
            <p:spPr bwMode="auto">
              <a:xfrm>
                <a:off x="3648075" y="40259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8" name="Freeform 345"/>
              <p:cNvSpPr>
                <a:spLocks/>
              </p:cNvSpPr>
              <p:nvPr/>
            </p:nvSpPr>
            <p:spPr bwMode="auto">
              <a:xfrm>
                <a:off x="3568700" y="4025900"/>
                <a:ext cx="9525" cy="20638"/>
              </a:xfrm>
              <a:custGeom>
                <a:avLst/>
                <a:gdLst>
                  <a:gd name="T0" fmla="*/ 0 w 6"/>
                  <a:gd name="T1" fmla="*/ 0 h 13"/>
                  <a:gd name="T2" fmla="*/ 0 w 6"/>
                  <a:gd name="T3" fmla="*/ 0 h 13"/>
                  <a:gd name="T4" fmla="*/ 0 w 6"/>
                  <a:gd name="T5" fmla="*/ 9525 h 13"/>
                  <a:gd name="T6" fmla="*/ 9525 w 6"/>
                  <a:gd name="T7" fmla="*/ 20638 h 13"/>
                  <a:gd name="T8" fmla="*/ 9525 w 6"/>
                  <a:gd name="T9" fmla="*/ 20638 h 13"/>
                  <a:gd name="T10" fmla="*/ 9525 w 6"/>
                  <a:gd name="T11" fmla="*/ 9525 h 13"/>
                  <a:gd name="T12" fmla="*/ 0 w 6"/>
                  <a:gd name="T13" fmla="*/ 0 h 13"/>
                  <a:gd name="T14" fmla="*/ 0 w 6"/>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3"/>
                  <a:gd name="T26" fmla="*/ 6 w 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3">
                    <a:moveTo>
                      <a:pt x="0" y="0"/>
                    </a:moveTo>
                    <a:lnTo>
                      <a:pt x="0" y="0"/>
                    </a:lnTo>
                    <a:lnTo>
                      <a:pt x="0" y="6"/>
                    </a:lnTo>
                    <a:lnTo>
                      <a:pt x="6" y="13"/>
                    </a:lnTo>
                    <a:lnTo>
                      <a:pt x="6"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9" name="Freeform 346"/>
              <p:cNvSpPr>
                <a:spLocks/>
              </p:cNvSpPr>
              <p:nvPr/>
            </p:nvSpPr>
            <p:spPr bwMode="auto">
              <a:xfrm>
                <a:off x="3587750" y="40259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0" name="Freeform 347"/>
              <p:cNvSpPr>
                <a:spLocks/>
              </p:cNvSpPr>
              <p:nvPr/>
            </p:nvSpPr>
            <p:spPr bwMode="auto">
              <a:xfrm>
                <a:off x="3527425" y="4035425"/>
                <a:ext cx="11113" cy="11113"/>
              </a:xfrm>
              <a:custGeom>
                <a:avLst/>
                <a:gdLst>
                  <a:gd name="T0" fmla="*/ 11113 w 7"/>
                  <a:gd name="T1" fmla="*/ 11113 h 7"/>
                  <a:gd name="T2" fmla="*/ 11113 w 7"/>
                  <a:gd name="T3" fmla="*/ 11113 h 7"/>
                  <a:gd name="T4" fmla="*/ 11113 w 7"/>
                  <a:gd name="T5" fmla="*/ 0 h 7"/>
                  <a:gd name="T6" fmla="*/ 11113 w 7"/>
                  <a:gd name="T7" fmla="*/ 0 h 7"/>
                  <a:gd name="T8" fmla="*/ 0 w 7"/>
                  <a:gd name="T9" fmla="*/ 0 h 7"/>
                  <a:gd name="T10" fmla="*/ 0 w 7"/>
                  <a:gd name="T11" fmla="*/ 0 h 7"/>
                  <a:gd name="T12" fmla="*/ 0 w 7"/>
                  <a:gd name="T13" fmla="*/ 11113 h 7"/>
                  <a:gd name="T14" fmla="*/ 0 w 7"/>
                  <a:gd name="T15" fmla="*/ 11113 h 7"/>
                  <a:gd name="T16" fmla="*/ 11113 w 7"/>
                  <a:gd name="T17" fmla="*/ 11113 h 7"/>
                  <a:gd name="T18" fmla="*/ 11113 w 7"/>
                  <a:gd name="T19" fmla="*/ 11113 h 7"/>
                  <a:gd name="T20" fmla="*/ 11113 w 7"/>
                  <a:gd name="T21" fmla="*/ 11113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7"/>
                  <a:gd name="T35" fmla="*/ 7 w 7"/>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7">
                    <a:moveTo>
                      <a:pt x="7" y="7"/>
                    </a:moveTo>
                    <a:lnTo>
                      <a:pt x="7" y="7"/>
                    </a:lnTo>
                    <a:lnTo>
                      <a:pt x="7" y="0"/>
                    </a:lnTo>
                    <a:lnTo>
                      <a:pt x="0" y="0"/>
                    </a:lnTo>
                    <a:lnTo>
                      <a:pt x="0" y="7"/>
                    </a:lnTo>
                    <a:lnTo>
                      <a:pt x="7"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1" name="Rectangle 348"/>
              <p:cNvSpPr>
                <a:spLocks noChangeArrowheads="1"/>
              </p:cNvSpPr>
              <p:nvPr/>
            </p:nvSpPr>
            <p:spPr bwMode="auto">
              <a:xfrm>
                <a:off x="3648075" y="403542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52" name="Freeform 349"/>
              <p:cNvSpPr>
                <a:spLocks/>
              </p:cNvSpPr>
              <p:nvPr/>
            </p:nvSpPr>
            <p:spPr bwMode="auto">
              <a:xfrm>
                <a:off x="3648075" y="40354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3" name="Freeform 350"/>
              <p:cNvSpPr>
                <a:spLocks/>
              </p:cNvSpPr>
              <p:nvPr/>
            </p:nvSpPr>
            <p:spPr bwMode="auto">
              <a:xfrm>
                <a:off x="3729038" y="4035425"/>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4" name="Freeform 351"/>
              <p:cNvSpPr>
                <a:spLocks/>
              </p:cNvSpPr>
              <p:nvPr/>
            </p:nvSpPr>
            <p:spPr bwMode="auto">
              <a:xfrm>
                <a:off x="3587750" y="4046538"/>
                <a:ext cx="11113" cy="19050"/>
              </a:xfrm>
              <a:custGeom>
                <a:avLst/>
                <a:gdLst>
                  <a:gd name="T0" fmla="*/ 0 w 7"/>
                  <a:gd name="T1" fmla="*/ 0 h 12"/>
                  <a:gd name="T2" fmla="*/ 0 w 7"/>
                  <a:gd name="T3" fmla="*/ 0 h 12"/>
                  <a:gd name="T4" fmla="*/ 0 w 7"/>
                  <a:gd name="T5" fmla="*/ 9525 h 12"/>
                  <a:gd name="T6" fmla="*/ 11113 w 7"/>
                  <a:gd name="T7" fmla="*/ 19050 h 12"/>
                  <a:gd name="T8" fmla="*/ 11113 w 7"/>
                  <a:gd name="T9" fmla="*/ 19050 h 12"/>
                  <a:gd name="T10" fmla="*/ 0 w 7"/>
                  <a:gd name="T11" fmla="*/ 0 h 12"/>
                  <a:gd name="T12" fmla="*/ 0 w 7"/>
                  <a:gd name="T13" fmla="*/ 0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0"/>
                    </a:moveTo>
                    <a:lnTo>
                      <a:pt x="0" y="0"/>
                    </a:lnTo>
                    <a:lnTo>
                      <a:pt x="0" y="6"/>
                    </a:lnTo>
                    <a:lnTo>
                      <a:pt x="7" y="12"/>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5" name="Freeform 352"/>
              <p:cNvSpPr>
                <a:spLocks/>
              </p:cNvSpPr>
              <p:nvPr/>
            </p:nvSpPr>
            <p:spPr bwMode="auto">
              <a:xfrm>
                <a:off x="3729038" y="4046538"/>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6" name="Freeform 353"/>
              <p:cNvSpPr>
                <a:spLocks/>
              </p:cNvSpPr>
              <p:nvPr/>
            </p:nvSpPr>
            <p:spPr bwMode="auto">
              <a:xfrm>
                <a:off x="3729038" y="4046538"/>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7" name="Freeform 354"/>
              <p:cNvSpPr>
                <a:spLocks/>
              </p:cNvSpPr>
              <p:nvPr/>
            </p:nvSpPr>
            <p:spPr bwMode="auto">
              <a:xfrm>
                <a:off x="3578225" y="4056063"/>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8" name="Freeform 355"/>
              <p:cNvSpPr>
                <a:spLocks/>
              </p:cNvSpPr>
              <p:nvPr/>
            </p:nvSpPr>
            <p:spPr bwMode="auto">
              <a:xfrm>
                <a:off x="3587750" y="4056063"/>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9" name="Freeform 356"/>
              <p:cNvSpPr>
                <a:spLocks/>
              </p:cNvSpPr>
              <p:nvPr/>
            </p:nvSpPr>
            <p:spPr bwMode="auto">
              <a:xfrm>
                <a:off x="3568700" y="4056063"/>
                <a:ext cx="9525" cy="9525"/>
              </a:xfrm>
              <a:custGeom>
                <a:avLst/>
                <a:gdLst>
                  <a:gd name="T0" fmla="*/ 0 w 6"/>
                  <a:gd name="T1" fmla="*/ 0 h 6"/>
                  <a:gd name="T2" fmla="*/ 0 w 6"/>
                  <a:gd name="T3" fmla="*/ 0 h 6"/>
                  <a:gd name="T4" fmla="*/ 0 w 6"/>
                  <a:gd name="T5" fmla="*/ 9525 h 6"/>
                  <a:gd name="T6" fmla="*/ 9525 w 6"/>
                  <a:gd name="T7" fmla="*/ 9525 h 6"/>
                  <a:gd name="T8" fmla="*/ 9525 w 6"/>
                  <a:gd name="T9" fmla="*/ 9525 h 6"/>
                  <a:gd name="T10" fmla="*/ 9525 w 6"/>
                  <a:gd name="T11" fmla="*/ 0 h 6"/>
                  <a:gd name="T12" fmla="*/ 0 w 6"/>
                  <a:gd name="T13" fmla="*/ 0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0"/>
                    </a:moveTo>
                    <a:lnTo>
                      <a:pt x="0" y="0"/>
                    </a:lnTo>
                    <a:lnTo>
                      <a:pt x="0" y="6"/>
                    </a:lnTo>
                    <a:lnTo>
                      <a:pt x="6" y="6"/>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0" name="Freeform 357"/>
              <p:cNvSpPr>
                <a:spLocks/>
              </p:cNvSpPr>
              <p:nvPr/>
            </p:nvSpPr>
            <p:spPr bwMode="auto">
              <a:xfrm>
                <a:off x="3568700" y="4056063"/>
                <a:ext cx="1588" cy="20637"/>
              </a:xfrm>
              <a:custGeom>
                <a:avLst/>
                <a:gdLst>
                  <a:gd name="T0" fmla="*/ 0 w 1588"/>
                  <a:gd name="T1" fmla="*/ 20637 h 13"/>
                  <a:gd name="T2" fmla="*/ 0 w 1588"/>
                  <a:gd name="T3" fmla="*/ 20637 h 13"/>
                  <a:gd name="T4" fmla="*/ 0 w 1588"/>
                  <a:gd name="T5" fmla="*/ 9525 h 13"/>
                  <a:gd name="T6" fmla="*/ 0 w 1588"/>
                  <a:gd name="T7" fmla="*/ 0 h 13"/>
                  <a:gd name="T8" fmla="*/ 0 w 1588"/>
                  <a:gd name="T9" fmla="*/ 0 h 13"/>
                  <a:gd name="T10" fmla="*/ 0 w 1588"/>
                  <a:gd name="T11" fmla="*/ 9525 h 13"/>
                  <a:gd name="T12" fmla="*/ 0 w 1588"/>
                  <a:gd name="T13" fmla="*/ 20637 h 13"/>
                  <a:gd name="T14" fmla="*/ 0 w 1588"/>
                  <a:gd name="T15" fmla="*/ 20637 h 13"/>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13"/>
                  <a:gd name="T26" fmla="*/ 1588 w 158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13">
                    <a:moveTo>
                      <a:pt x="0" y="13"/>
                    </a:moveTo>
                    <a:lnTo>
                      <a:pt x="0" y="13"/>
                    </a:lnTo>
                    <a:lnTo>
                      <a:pt x="0" y="6"/>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1" name="Freeform 358"/>
              <p:cNvSpPr>
                <a:spLocks/>
              </p:cNvSpPr>
              <p:nvPr/>
            </p:nvSpPr>
            <p:spPr bwMode="auto">
              <a:xfrm>
                <a:off x="3557588" y="4056063"/>
                <a:ext cx="1587" cy="20637"/>
              </a:xfrm>
              <a:custGeom>
                <a:avLst/>
                <a:gdLst>
                  <a:gd name="T0" fmla="*/ 0 w 1588"/>
                  <a:gd name="T1" fmla="*/ 20637 h 13"/>
                  <a:gd name="T2" fmla="*/ 0 w 1588"/>
                  <a:gd name="T3" fmla="*/ 20637 h 13"/>
                  <a:gd name="T4" fmla="*/ 0 w 1588"/>
                  <a:gd name="T5" fmla="*/ 9525 h 13"/>
                  <a:gd name="T6" fmla="*/ 0 w 1588"/>
                  <a:gd name="T7" fmla="*/ 0 h 13"/>
                  <a:gd name="T8" fmla="*/ 0 w 1588"/>
                  <a:gd name="T9" fmla="*/ 0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6"/>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2" name="Rectangle 359"/>
              <p:cNvSpPr>
                <a:spLocks noChangeArrowheads="1"/>
              </p:cNvSpPr>
              <p:nvPr/>
            </p:nvSpPr>
            <p:spPr bwMode="auto">
              <a:xfrm>
                <a:off x="3729038" y="4065588"/>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63" name="Freeform 360"/>
              <p:cNvSpPr>
                <a:spLocks/>
              </p:cNvSpPr>
              <p:nvPr/>
            </p:nvSpPr>
            <p:spPr bwMode="auto">
              <a:xfrm>
                <a:off x="3729038" y="4065588"/>
                <a:ext cx="1587" cy="11112"/>
              </a:xfrm>
              <a:custGeom>
                <a:avLst/>
                <a:gdLst>
                  <a:gd name="T0" fmla="*/ 0 w 1588"/>
                  <a:gd name="T1" fmla="*/ 0 h 7"/>
                  <a:gd name="T2" fmla="*/ 0 w 1588"/>
                  <a:gd name="T3" fmla="*/ 0 h 7"/>
                  <a:gd name="T4" fmla="*/ 0 w 1588"/>
                  <a:gd name="T5" fmla="*/ 11112 h 7"/>
                  <a:gd name="T6" fmla="*/ 0 w 1588"/>
                  <a:gd name="T7" fmla="*/ 11112 h 7"/>
                  <a:gd name="T8" fmla="*/ 0 w 1588"/>
                  <a:gd name="T9" fmla="*/ 0 h 7"/>
                  <a:gd name="T10" fmla="*/ 0 w 1588"/>
                  <a:gd name="T11" fmla="*/ 0 h 7"/>
                  <a:gd name="T12" fmla="*/ 0 60000 65536"/>
                  <a:gd name="T13" fmla="*/ 0 60000 65536"/>
                  <a:gd name="T14" fmla="*/ 0 60000 65536"/>
                  <a:gd name="T15" fmla="*/ 0 60000 65536"/>
                  <a:gd name="T16" fmla="*/ 0 60000 65536"/>
                  <a:gd name="T17" fmla="*/ 0 60000 65536"/>
                  <a:gd name="T18" fmla="*/ 0 w 1588"/>
                  <a:gd name="T19" fmla="*/ 0 h 7"/>
                  <a:gd name="T20" fmla="*/ 1588 w 1588"/>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88" h="7">
                    <a:moveTo>
                      <a:pt x="0" y="0"/>
                    </a:moveTo>
                    <a:lnTo>
                      <a:pt x="0" y="0"/>
                    </a:lnTo>
                    <a:lnTo>
                      <a:pt x="0" y="7"/>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4" name="Freeform 361"/>
              <p:cNvSpPr>
                <a:spLocks/>
              </p:cNvSpPr>
              <p:nvPr/>
            </p:nvSpPr>
            <p:spPr bwMode="auto">
              <a:xfrm>
                <a:off x="3729038" y="4076700"/>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5" name="Freeform 362"/>
              <p:cNvSpPr>
                <a:spLocks/>
              </p:cNvSpPr>
              <p:nvPr/>
            </p:nvSpPr>
            <p:spPr bwMode="auto">
              <a:xfrm>
                <a:off x="3578225" y="4076700"/>
                <a:ext cx="1588" cy="19050"/>
              </a:xfrm>
              <a:custGeom>
                <a:avLst/>
                <a:gdLst>
                  <a:gd name="T0" fmla="*/ 0 w 1588"/>
                  <a:gd name="T1" fmla="*/ 0 h 12"/>
                  <a:gd name="T2" fmla="*/ 0 w 1588"/>
                  <a:gd name="T3" fmla="*/ 0 h 12"/>
                  <a:gd name="T4" fmla="*/ 0 w 1588"/>
                  <a:gd name="T5" fmla="*/ 19050 h 12"/>
                  <a:gd name="T6" fmla="*/ 0 w 1588"/>
                  <a:gd name="T7" fmla="*/ 19050 h 12"/>
                  <a:gd name="T8" fmla="*/ 0 w 1588"/>
                  <a:gd name="T9" fmla="*/ 9525 h 12"/>
                  <a:gd name="T10" fmla="*/ 0 w 1588"/>
                  <a:gd name="T11" fmla="*/ 0 h 12"/>
                  <a:gd name="T12" fmla="*/ 0 w 1588"/>
                  <a:gd name="T13" fmla="*/ 0 h 12"/>
                  <a:gd name="T14" fmla="*/ 0 60000 65536"/>
                  <a:gd name="T15" fmla="*/ 0 60000 65536"/>
                  <a:gd name="T16" fmla="*/ 0 60000 65536"/>
                  <a:gd name="T17" fmla="*/ 0 60000 65536"/>
                  <a:gd name="T18" fmla="*/ 0 60000 65536"/>
                  <a:gd name="T19" fmla="*/ 0 60000 65536"/>
                  <a:gd name="T20" fmla="*/ 0 60000 65536"/>
                  <a:gd name="T21" fmla="*/ 0 w 1588"/>
                  <a:gd name="T22" fmla="*/ 0 h 12"/>
                  <a:gd name="T23" fmla="*/ 1588 w 158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2">
                    <a:moveTo>
                      <a:pt x="0" y="0"/>
                    </a:moveTo>
                    <a:lnTo>
                      <a:pt x="0" y="0"/>
                    </a:lnTo>
                    <a:lnTo>
                      <a:pt x="0" y="12"/>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6" name="Rectangle 363"/>
              <p:cNvSpPr>
                <a:spLocks noChangeArrowheads="1"/>
              </p:cNvSpPr>
              <p:nvPr/>
            </p:nvSpPr>
            <p:spPr bwMode="auto">
              <a:xfrm>
                <a:off x="3568700" y="40767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67" name="Freeform 364"/>
              <p:cNvSpPr>
                <a:spLocks/>
              </p:cNvSpPr>
              <p:nvPr/>
            </p:nvSpPr>
            <p:spPr bwMode="auto">
              <a:xfrm>
                <a:off x="3578225" y="4076700"/>
                <a:ext cx="1588" cy="19050"/>
              </a:xfrm>
              <a:custGeom>
                <a:avLst/>
                <a:gdLst>
                  <a:gd name="T0" fmla="*/ 0 w 1588"/>
                  <a:gd name="T1" fmla="*/ 0 h 12"/>
                  <a:gd name="T2" fmla="*/ 0 w 1588"/>
                  <a:gd name="T3" fmla="*/ 0 h 12"/>
                  <a:gd name="T4" fmla="*/ 0 w 1588"/>
                  <a:gd name="T5" fmla="*/ 19050 h 12"/>
                  <a:gd name="T6" fmla="*/ 0 w 1588"/>
                  <a:gd name="T7" fmla="*/ 19050 h 12"/>
                  <a:gd name="T8" fmla="*/ 0 w 1588"/>
                  <a:gd name="T9" fmla="*/ 19050 h 12"/>
                  <a:gd name="T10" fmla="*/ 0 w 1588"/>
                  <a:gd name="T11" fmla="*/ 0 h 12"/>
                  <a:gd name="T12" fmla="*/ 0 w 1588"/>
                  <a:gd name="T13" fmla="*/ 0 h 12"/>
                  <a:gd name="T14" fmla="*/ 0 60000 65536"/>
                  <a:gd name="T15" fmla="*/ 0 60000 65536"/>
                  <a:gd name="T16" fmla="*/ 0 60000 65536"/>
                  <a:gd name="T17" fmla="*/ 0 60000 65536"/>
                  <a:gd name="T18" fmla="*/ 0 60000 65536"/>
                  <a:gd name="T19" fmla="*/ 0 60000 65536"/>
                  <a:gd name="T20" fmla="*/ 0 60000 65536"/>
                  <a:gd name="T21" fmla="*/ 0 w 1588"/>
                  <a:gd name="T22" fmla="*/ 0 h 12"/>
                  <a:gd name="T23" fmla="*/ 1588 w 158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2">
                    <a:moveTo>
                      <a:pt x="0" y="0"/>
                    </a:moveTo>
                    <a:lnTo>
                      <a:pt x="0" y="0"/>
                    </a:lnTo>
                    <a:lnTo>
                      <a:pt x="0" y="12"/>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8" name="Freeform 365"/>
              <p:cNvSpPr>
                <a:spLocks/>
              </p:cNvSpPr>
              <p:nvPr/>
            </p:nvSpPr>
            <p:spPr bwMode="auto">
              <a:xfrm>
                <a:off x="3527425" y="4076700"/>
                <a:ext cx="11113" cy="9525"/>
              </a:xfrm>
              <a:custGeom>
                <a:avLst/>
                <a:gdLst>
                  <a:gd name="T0" fmla="*/ 11113 w 7"/>
                  <a:gd name="T1" fmla="*/ 9525 h 6"/>
                  <a:gd name="T2" fmla="*/ 11113 w 7"/>
                  <a:gd name="T3" fmla="*/ 9525 h 6"/>
                  <a:gd name="T4" fmla="*/ 0 w 7"/>
                  <a:gd name="T5" fmla="*/ 9525 h 6"/>
                  <a:gd name="T6" fmla="*/ 0 w 7"/>
                  <a:gd name="T7" fmla="*/ 9525 h 6"/>
                  <a:gd name="T8" fmla="*/ 0 w 7"/>
                  <a:gd name="T9" fmla="*/ 9525 h 6"/>
                  <a:gd name="T10" fmla="*/ 0 w 7"/>
                  <a:gd name="T11" fmla="*/ 9525 h 6"/>
                  <a:gd name="T12" fmla="*/ 0 w 7"/>
                  <a:gd name="T13" fmla="*/ 9525 h 6"/>
                  <a:gd name="T14" fmla="*/ 11113 w 7"/>
                  <a:gd name="T15" fmla="*/ 9525 h 6"/>
                  <a:gd name="T16" fmla="*/ 11113 w 7"/>
                  <a:gd name="T17" fmla="*/ 9525 h 6"/>
                  <a:gd name="T18" fmla="*/ 11113 w 7"/>
                  <a:gd name="T19" fmla="*/ 0 h 6"/>
                  <a:gd name="T20" fmla="*/ 11113 w 7"/>
                  <a:gd name="T21" fmla="*/ 0 h 6"/>
                  <a:gd name="T22" fmla="*/ 11113 w 7"/>
                  <a:gd name="T23" fmla="*/ 9525 h 6"/>
                  <a:gd name="T24" fmla="*/ 11113 w 7"/>
                  <a:gd name="T25" fmla="*/ 9525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6"/>
                  <a:gd name="T41" fmla="*/ 7 w 7"/>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6">
                    <a:moveTo>
                      <a:pt x="7" y="6"/>
                    </a:moveTo>
                    <a:lnTo>
                      <a:pt x="7" y="6"/>
                    </a:lnTo>
                    <a:lnTo>
                      <a:pt x="0" y="6"/>
                    </a:lnTo>
                    <a:lnTo>
                      <a:pt x="7" y="6"/>
                    </a:lnTo>
                    <a:lnTo>
                      <a:pt x="7" y="0"/>
                    </a:lnTo>
                    <a:lnTo>
                      <a:pt x="7"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9" name="Freeform 366"/>
              <p:cNvSpPr>
                <a:spLocks/>
              </p:cNvSpPr>
              <p:nvPr/>
            </p:nvSpPr>
            <p:spPr bwMode="auto">
              <a:xfrm>
                <a:off x="3587750" y="40767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0" name="Freeform 367"/>
              <p:cNvSpPr>
                <a:spLocks/>
              </p:cNvSpPr>
              <p:nvPr/>
            </p:nvSpPr>
            <p:spPr bwMode="auto">
              <a:xfrm>
                <a:off x="3587750" y="4076700"/>
                <a:ext cx="11113" cy="9525"/>
              </a:xfrm>
              <a:custGeom>
                <a:avLst/>
                <a:gdLst>
                  <a:gd name="T0" fmla="*/ 0 w 7"/>
                  <a:gd name="T1" fmla="*/ 0 h 6"/>
                  <a:gd name="T2" fmla="*/ 0 w 7"/>
                  <a:gd name="T3" fmla="*/ 0 h 6"/>
                  <a:gd name="T4" fmla="*/ 11113 w 7"/>
                  <a:gd name="T5" fmla="*/ 9525 h 6"/>
                  <a:gd name="T6" fmla="*/ 11113 w 7"/>
                  <a:gd name="T7" fmla="*/ 9525 h 6"/>
                  <a:gd name="T8" fmla="*/ 11113 w 7"/>
                  <a:gd name="T9" fmla="*/ 9525 h 6"/>
                  <a:gd name="T10" fmla="*/ 0 w 7"/>
                  <a:gd name="T11" fmla="*/ 0 h 6"/>
                  <a:gd name="T12" fmla="*/ 0 w 7"/>
                  <a:gd name="T13" fmla="*/ 0 h 6"/>
                  <a:gd name="T14" fmla="*/ 0 60000 65536"/>
                  <a:gd name="T15" fmla="*/ 0 60000 65536"/>
                  <a:gd name="T16" fmla="*/ 0 60000 65536"/>
                  <a:gd name="T17" fmla="*/ 0 60000 65536"/>
                  <a:gd name="T18" fmla="*/ 0 60000 65536"/>
                  <a:gd name="T19" fmla="*/ 0 60000 65536"/>
                  <a:gd name="T20" fmla="*/ 0 60000 65536"/>
                  <a:gd name="T21" fmla="*/ 0 w 7"/>
                  <a:gd name="T22" fmla="*/ 0 h 6"/>
                  <a:gd name="T23" fmla="*/ 7 w 7"/>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6">
                    <a:moveTo>
                      <a:pt x="0" y="0"/>
                    </a:moveTo>
                    <a:lnTo>
                      <a:pt x="0" y="0"/>
                    </a:lnTo>
                    <a:lnTo>
                      <a:pt x="7"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1" name="Freeform 368"/>
              <p:cNvSpPr>
                <a:spLocks/>
              </p:cNvSpPr>
              <p:nvPr/>
            </p:nvSpPr>
            <p:spPr bwMode="auto">
              <a:xfrm>
                <a:off x="3557588" y="408622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2" name="Freeform 369"/>
              <p:cNvSpPr>
                <a:spLocks/>
              </p:cNvSpPr>
              <p:nvPr/>
            </p:nvSpPr>
            <p:spPr bwMode="auto">
              <a:xfrm>
                <a:off x="3568700" y="408622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3" name="Freeform 370"/>
              <p:cNvSpPr>
                <a:spLocks/>
              </p:cNvSpPr>
              <p:nvPr/>
            </p:nvSpPr>
            <p:spPr bwMode="auto">
              <a:xfrm>
                <a:off x="3729038" y="408622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4" name="Oval 371"/>
              <p:cNvSpPr>
                <a:spLocks noChangeArrowheads="1"/>
              </p:cNvSpPr>
              <p:nvPr/>
            </p:nvSpPr>
            <p:spPr bwMode="auto">
              <a:xfrm>
                <a:off x="3538538" y="4086225"/>
                <a:ext cx="1587" cy="9525"/>
              </a:xfrm>
              <a:prstGeom prst="ellipse">
                <a:avLst/>
              </a:pr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5" name="Freeform 372"/>
              <p:cNvSpPr>
                <a:spLocks/>
              </p:cNvSpPr>
              <p:nvPr/>
            </p:nvSpPr>
            <p:spPr bwMode="auto">
              <a:xfrm>
                <a:off x="3729038" y="4095750"/>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6" name="Rectangle 373"/>
              <p:cNvSpPr>
                <a:spLocks noChangeArrowheads="1"/>
              </p:cNvSpPr>
              <p:nvPr/>
            </p:nvSpPr>
            <p:spPr bwMode="auto">
              <a:xfrm>
                <a:off x="3598863" y="4095750"/>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77" name="Freeform 380"/>
              <p:cNvSpPr>
                <a:spLocks/>
              </p:cNvSpPr>
              <p:nvPr/>
            </p:nvSpPr>
            <p:spPr bwMode="auto">
              <a:xfrm>
                <a:off x="4264025" y="3824288"/>
                <a:ext cx="261938" cy="331787"/>
              </a:xfrm>
              <a:custGeom>
                <a:avLst/>
                <a:gdLst>
                  <a:gd name="T0" fmla="*/ 141288 w 165"/>
                  <a:gd name="T1" fmla="*/ 9525 h 209"/>
                  <a:gd name="T2" fmla="*/ 141288 w 165"/>
                  <a:gd name="T3" fmla="*/ 9525 h 209"/>
                  <a:gd name="T4" fmla="*/ 100013 w 165"/>
                  <a:gd name="T5" fmla="*/ 0 h 209"/>
                  <a:gd name="T6" fmla="*/ 100013 w 165"/>
                  <a:gd name="T7" fmla="*/ 0 h 209"/>
                  <a:gd name="T8" fmla="*/ 90488 w 165"/>
                  <a:gd name="T9" fmla="*/ 9525 h 209"/>
                  <a:gd name="T10" fmla="*/ 80963 w 165"/>
                  <a:gd name="T11" fmla="*/ 20637 h 209"/>
                  <a:gd name="T12" fmla="*/ 80963 w 165"/>
                  <a:gd name="T13" fmla="*/ 20637 h 209"/>
                  <a:gd name="T14" fmla="*/ 50800 w 165"/>
                  <a:gd name="T15" fmla="*/ 60325 h 209"/>
                  <a:gd name="T16" fmla="*/ 39688 w 165"/>
                  <a:gd name="T17" fmla="*/ 111125 h 209"/>
                  <a:gd name="T18" fmla="*/ 39688 w 165"/>
                  <a:gd name="T19" fmla="*/ 111125 h 209"/>
                  <a:gd name="T20" fmla="*/ 39688 w 165"/>
                  <a:gd name="T21" fmla="*/ 160337 h 209"/>
                  <a:gd name="T22" fmla="*/ 30163 w 165"/>
                  <a:gd name="T23" fmla="*/ 211137 h 209"/>
                  <a:gd name="T24" fmla="*/ 30163 w 165"/>
                  <a:gd name="T25" fmla="*/ 211137 h 209"/>
                  <a:gd name="T26" fmla="*/ 9525 w 165"/>
                  <a:gd name="T27" fmla="*/ 252412 h 209"/>
                  <a:gd name="T28" fmla="*/ 0 w 165"/>
                  <a:gd name="T29" fmla="*/ 282575 h 209"/>
                  <a:gd name="T30" fmla="*/ 9525 w 165"/>
                  <a:gd name="T31" fmla="*/ 312737 h 209"/>
                  <a:gd name="T32" fmla="*/ 9525 w 165"/>
                  <a:gd name="T33" fmla="*/ 312737 h 209"/>
                  <a:gd name="T34" fmla="*/ 39688 w 165"/>
                  <a:gd name="T35" fmla="*/ 331787 h 209"/>
                  <a:gd name="T36" fmla="*/ 39688 w 165"/>
                  <a:gd name="T37" fmla="*/ 331787 h 209"/>
                  <a:gd name="T38" fmla="*/ 60325 w 165"/>
                  <a:gd name="T39" fmla="*/ 331787 h 209"/>
                  <a:gd name="T40" fmla="*/ 80963 w 165"/>
                  <a:gd name="T41" fmla="*/ 322262 h 209"/>
                  <a:gd name="T42" fmla="*/ 80963 w 165"/>
                  <a:gd name="T43" fmla="*/ 322262 h 209"/>
                  <a:gd name="T44" fmla="*/ 160338 w 165"/>
                  <a:gd name="T45" fmla="*/ 322262 h 209"/>
                  <a:gd name="T46" fmla="*/ 241300 w 165"/>
                  <a:gd name="T47" fmla="*/ 322262 h 209"/>
                  <a:gd name="T48" fmla="*/ 241300 w 165"/>
                  <a:gd name="T49" fmla="*/ 322262 h 209"/>
                  <a:gd name="T50" fmla="*/ 261938 w 165"/>
                  <a:gd name="T51" fmla="*/ 312737 h 209"/>
                  <a:gd name="T52" fmla="*/ 261938 w 165"/>
                  <a:gd name="T53" fmla="*/ 312737 h 209"/>
                  <a:gd name="T54" fmla="*/ 261938 w 165"/>
                  <a:gd name="T55" fmla="*/ 282575 h 209"/>
                  <a:gd name="T56" fmla="*/ 261938 w 165"/>
                  <a:gd name="T57" fmla="*/ 282575 h 209"/>
                  <a:gd name="T58" fmla="*/ 252413 w 165"/>
                  <a:gd name="T59" fmla="*/ 252412 h 209"/>
                  <a:gd name="T60" fmla="*/ 241300 w 165"/>
                  <a:gd name="T61" fmla="*/ 222250 h 209"/>
                  <a:gd name="T62" fmla="*/ 241300 w 165"/>
                  <a:gd name="T63" fmla="*/ 222250 h 209"/>
                  <a:gd name="T64" fmla="*/ 231775 w 165"/>
                  <a:gd name="T65" fmla="*/ 201612 h 209"/>
                  <a:gd name="T66" fmla="*/ 222250 w 165"/>
                  <a:gd name="T67" fmla="*/ 171450 h 209"/>
                  <a:gd name="T68" fmla="*/ 222250 w 165"/>
                  <a:gd name="T69" fmla="*/ 120650 h 209"/>
                  <a:gd name="T70" fmla="*/ 222250 w 165"/>
                  <a:gd name="T71" fmla="*/ 120650 h 209"/>
                  <a:gd name="T72" fmla="*/ 211138 w 165"/>
                  <a:gd name="T73" fmla="*/ 60325 h 209"/>
                  <a:gd name="T74" fmla="*/ 211138 w 165"/>
                  <a:gd name="T75" fmla="*/ 60325 h 209"/>
                  <a:gd name="T76" fmla="*/ 211138 w 165"/>
                  <a:gd name="T77" fmla="*/ 39687 h 209"/>
                  <a:gd name="T78" fmla="*/ 201613 w 165"/>
                  <a:gd name="T79" fmla="*/ 20637 h 209"/>
                  <a:gd name="T80" fmla="*/ 201613 w 165"/>
                  <a:gd name="T81" fmla="*/ 20637 h 209"/>
                  <a:gd name="T82" fmla="*/ 171450 w 165"/>
                  <a:gd name="T83" fmla="*/ 9525 h 209"/>
                  <a:gd name="T84" fmla="*/ 171450 w 165"/>
                  <a:gd name="T85" fmla="*/ 9525 h 209"/>
                  <a:gd name="T86" fmla="*/ 150813 w 165"/>
                  <a:gd name="T87" fmla="*/ 0 h 209"/>
                  <a:gd name="T88" fmla="*/ 141288 w 165"/>
                  <a:gd name="T89" fmla="*/ 0 h 209"/>
                  <a:gd name="T90" fmla="*/ 141288 w 165"/>
                  <a:gd name="T91" fmla="*/ 9525 h 20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5"/>
                  <a:gd name="T139" fmla="*/ 0 h 209"/>
                  <a:gd name="T140" fmla="*/ 165 w 165"/>
                  <a:gd name="T141" fmla="*/ 209 h 20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5" h="209">
                    <a:moveTo>
                      <a:pt x="89" y="6"/>
                    </a:moveTo>
                    <a:lnTo>
                      <a:pt x="89" y="6"/>
                    </a:lnTo>
                    <a:lnTo>
                      <a:pt x="63" y="0"/>
                    </a:lnTo>
                    <a:lnTo>
                      <a:pt x="57" y="6"/>
                    </a:lnTo>
                    <a:lnTo>
                      <a:pt x="51" y="13"/>
                    </a:lnTo>
                    <a:lnTo>
                      <a:pt x="32" y="38"/>
                    </a:lnTo>
                    <a:lnTo>
                      <a:pt x="25" y="70"/>
                    </a:lnTo>
                    <a:lnTo>
                      <a:pt x="25" y="101"/>
                    </a:lnTo>
                    <a:lnTo>
                      <a:pt x="19" y="133"/>
                    </a:lnTo>
                    <a:lnTo>
                      <a:pt x="6" y="159"/>
                    </a:lnTo>
                    <a:lnTo>
                      <a:pt x="0" y="178"/>
                    </a:lnTo>
                    <a:lnTo>
                      <a:pt x="6" y="197"/>
                    </a:lnTo>
                    <a:lnTo>
                      <a:pt x="25" y="209"/>
                    </a:lnTo>
                    <a:lnTo>
                      <a:pt x="38" y="209"/>
                    </a:lnTo>
                    <a:lnTo>
                      <a:pt x="51" y="203"/>
                    </a:lnTo>
                    <a:lnTo>
                      <a:pt x="101" y="203"/>
                    </a:lnTo>
                    <a:lnTo>
                      <a:pt x="152" y="203"/>
                    </a:lnTo>
                    <a:lnTo>
                      <a:pt x="165" y="197"/>
                    </a:lnTo>
                    <a:lnTo>
                      <a:pt x="165" y="178"/>
                    </a:lnTo>
                    <a:lnTo>
                      <a:pt x="159" y="159"/>
                    </a:lnTo>
                    <a:lnTo>
                      <a:pt x="152" y="140"/>
                    </a:lnTo>
                    <a:lnTo>
                      <a:pt x="146" y="127"/>
                    </a:lnTo>
                    <a:lnTo>
                      <a:pt x="140" y="108"/>
                    </a:lnTo>
                    <a:lnTo>
                      <a:pt x="140" y="76"/>
                    </a:lnTo>
                    <a:lnTo>
                      <a:pt x="133" y="38"/>
                    </a:lnTo>
                    <a:lnTo>
                      <a:pt x="133" y="25"/>
                    </a:lnTo>
                    <a:lnTo>
                      <a:pt x="127" y="13"/>
                    </a:lnTo>
                    <a:lnTo>
                      <a:pt x="108" y="6"/>
                    </a:lnTo>
                    <a:lnTo>
                      <a:pt x="95" y="0"/>
                    </a:lnTo>
                    <a:lnTo>
                      <a:pt x="89" y="0"/>
                    </a:lnTo>
                    <a:lnTo>
                      <a:pt x="89" y="6"/>
                    </a:lnTo>
                    <a:close/>
                  </a:path>
                </a:pathLst>
              </a:custGeom>
              <a:solidFill>
                <a:srgbClr val="17375E"/>
              </a:solid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8" name="Freeform 381"/>
              <p:cNvSpPr>
                <a:spLocks/>
              </p:cNvSpPr>
              <p:nvPr/>
            </p:nvSpPr>
            <p:spPr bwMode="auto">
              <a:xfrm>
                <a:off x="3295650" y="3733800"/>
                <a:ext cx="1392238" cy="2287588"/>
              </a:xfrm>
              <a:custGeom>
                <a:avLst/>
                <a:gdLst>
                  <a:gd name="T0" fmla="*/ 161925 w 877"/>
                  <a:gd name="T1" fmla="*/ 211138 h 1441"/>
                  <a:gd name="T2" fmla="*/ 242888 w 877"/>
                  <a:gd name="T3" fmla="*/ 90488 h 1441"/>
                  <a:gd name="T4" fmla="*/ 333375 w 877"/>
                  <a:gd name="T5" fmla="*/ 201613 h 1441"/>
                  <a:gd name="T6" fmla="*/ 342900 w 877"/>
                  <a:gd name="T7" fmla="*/ 271463 h 1441"/>
                  <a:gd name="T8" fmla="*/ 463550 w 877"/>
                  <a:gd name="T9" fmla="*/ 422275 h 1441"/>
                  <a:gd name="T10" fmla="*/ 685800 w 877"/>
                  <a:gd name="T11" fmla="*/ 292100 h 1441"/>
                  <a:gd name="T12" fmla="*/ 685800 w 877"/>
                  <a:gd name="T13" fmla="*/ 141288 h 1441"/>
                  <a:gd name="T14" fmla="*/ 736600 w 877"/>
                  <a:gd name="T15" fmla="*/ 19050 h 1441"/>
                  <a:gd name="T16" fmla="*/ 847725 w 877"/>
                  <a:gd name="T17" fmla="*/ 19050 h 1441"/>
                  <a:gd name="T18" fmla="*/ 887413 w 877"/>
                  <a:gd name="T19" fmla="*/ 171450 h 1441"/>
                  <a:gd name="T20" fmla="*/ 836613 w 877"/>
                  <a:gd name="T21" fmla="*/ 301625 h 1441"/>
                  <a:gd name="T22" fmla="*/ 1049338 w 877"/>
                  <a:gd name="T23" fmla="*/ 331788 h 1441"/>
                  <a:gd name="T24" fmla="*/ 1028700 w 877"/>
                  <a:gd name="T25" fmla="*/ 282575 h 1441"/>
                  <a:gd name="T26" fmla="*/ 1049338 w 877"/>
                  <a:gd name="T27" fmla="*/ 120650 h 1441"/>
                  <a:gd name="T28" fmla="*/ 1179513 w 877"/>
                  <a:gd name="T29" fmla="*/ 211138 h 1441"/>
                  <a:gd name="T30" fmla="*/ 1169988 w 877"/>
                  <a:gd name="T31" fmla="*/ 312738 h 1441"/>
                  <a:gd name="T32" fmla="*/ 1160463 w 877"/>
                  <a:gd name="T33" fmla="*/ 342900 h 1441"/>
                  <a:gd name="T34" fmla="*/ 1320800 w 877"/>
                  <a:gd name="T35" fmla="*/ 433388 h 1441"/>
                  <a:gd name="T36" fmla="*/ 1290638 w 877"/>
                  <a:gd name="T37" fmla="*/ 584200 h 1441"/>
                  <a:gd name="T38" fmla="*/ 1281113 w 877"/>
                  <a:gd name="T39" fmla="*/ 1411288 h 1441"/>
                  <a:gd name="T40" fmla="*/ 1270000 w 877"/>
                  <a:gd name="T41" fmla="*/ 1522413 h 1441"/>
                  <a:gd name="T42" fmla="*/ 1350963 w 877"/>
                  <a:gd name="T43" fmla="*/ 1944688 h 1441"/>
                  <a:gd name="T44" fmla="*/ 1239838 w 877"/>
                  <a:gd name="T45" fmla="*/ 1955801 h 1441"/>
                  <a:gd name="T46" fmla="*/ 1160463 w 877"/>
                  <a:gd name="T47" fmla="*/ 1874838 h 1441"/>
                  <a:gd name="T48" fmla="*/ 1160463 w 877"/>
                  <a:gd name="T49" fmla="*/ 1511300 h 1441"/>
                  <a:gd name="T50" fmla="*/ 1058863 w 877"/>
                  <a:gd name="T51" fmla="*/ 1077913 h 1441"/>
                  <a:gd name="T52" fmla="*/ 1068388 w 877"/>
                  <a:gd name="T53" fmla="*/ 1450975 h 1441"/>
                  <a:gd name="T54" fmla="*/ 1139825 w 877"/>
                  <a:gd name="T55" fmla="*/ 1814513 h 1441"/>
                  <a:gd name="T56" fmla="*/ 1089025 w 877"/>
                  <a:gd name="T57" fmla="*/ 1865313 h 1441"/>
                  <a:gd name="T58" fmla="*/ 989013 w 877"/>
                  <a:gd name="T59" fmla="*/ 1874838 h 1441"/>
                  <a:gd name="T60" fmla="*/ 977900 w 877"/>
                  <a:gd name="T61" fmla="*/ 1592263 h 1441"/>
                  <a:gd name="T62" fmla="*/ 908050 w 877"/>
                  <a:gd name="T63" fmla="*/ 1784351 h 1441"/>
                  <a:gd name="T64" fmla="*/ 817563 w 877"/>
                  <a:gd name="T65" fmla="*/ 2046288 h 1441"/>
                  <a:gd name="T66" fmla="*/ 787400 w 877"/>
                  <a:gd name="T67" fmla="*/ 1965326 h 1441"/>
                  <a:gd name="T68" fmla="*/ 787400 w 877"/>
                  <a:gd name="T69" fmla="*/ 1712913 h 1441"/>
                  <a:gd name="T70" fmla="*/ 766763 w 877"/>
                  <a:gd name="T71" fmla="*/ 1279525 h 1441"/>
                  <a:gd name="T72" fmla="*/ 715963 w 877"/>
                  <a:gd name="T73" fmla="*/ 1481138 h 1441"/>
                  <a:gd name="T74" fmla="*/ 695325 w 877"/>
                  <a:gd name="T75" fmla="*/ 2016126 h 1441"/>
                  <a:gd name="T76" fmla="*/ 685800 w 877"/>
                  <a:gd name="T77" fmla="*/ 2097088 h 1441"/>
                  <a:gd name="T78" fmla="*/ 646113 w 877"/>
                  <a:gd name="T79" fmla="*/ 2206626 h 1441"/>
                  <a:gd name="T80" fmla="*/ 514350 w 877"/>
                  <a:gd name="T81" fmla="*/ 2278063 h 1441"/>
                  <a:gd name="T82" fmla="*/ 554038 w 877"/>
                  <a:gd name="T83" fmla="*/ 1925638 h 1441"/>
                  <a:gd name="T84" fmla="*/ 554038 w 877"/>
                  <a:gd name="T85" fmla="*/ 1370013 h 1441"/>
                  <a:gd name="T86" fmla="*/ 544513 w 877"/>
                  <a:gd name="T87" fmla="*/ 1089025 h 1441"/>
                  <a:gd name="T88" fmla="*/ 463550 w 877"/>
                  <a:gd name="T89" fmla="*/ 1179513 h 1441"/>
                  <a:gd name="T90" fmla="*/ 523875 w 877"/>
                  <a:gd name="T91" fmla="*/ 1733551 h 1441"/>
                  <a:gd name="T92" fmla="*/ 514350 w 877"/>
                  <a:gd name="T93" fmla="*/ 2025651 h 1441"/>
                  <a:gd name="T94" fmla="*/ 423863 w 877"/>
                  <a:gd name="T95" fmla="*/ 2076451 h 1441"/>
                  <a:gd name="T96" fmla="*/ 403225 w 877"/>
                  <a:gd name="T97" fmla="*/ 1884363 h 1441"/>
                  <a:gd name="T98" fmla="*/ 292100 w 877"/>
                  <a:gd name="T99" fmla="*/ 1309688 h 1441"/>
                  <a:gd name="T100" fmla="*/ 292100 w 877"/>
                  <a:gd name="T101" fmla="*/ 1582738 h 1441"/>
                  <a:gd name="T102" fmla="*/ 303213 w 877"/>
                  <a:gd name="T103" fmla="*/ 1895476 h 1441"/>
                  <a:gd name="T104" fmla="*/ 212725 w 877"/>
                  <a:gd name="T105" fmla="*/ 1974851 h 1441"/>
                  <a:gd name="T106" fmla="*/ 171450 w 877"/>
                  <a:gd name="T107" fmla="*/ 1874838 h 1441"/>
                  <a:gd name="T108" fmla="*/ 141288 w 877"/>
                  <a:gd name="T109" fmla="*/ 1622425 h 1441"/>
                  <a:gd name="T110" fmla="*/ 11113 w 877"/>
                  <a:gd name="T111" fmla="*/ 1098550 h 1441"/>
                  <a:gd name="T112" fmla="*/ 50800 w 877"/>
                  <a:gd name="T113" fmla="*/ 533400 h 14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77"/>
                  <a:gd name="T172" fmla="*/ 0 h 1441"/>
                  <a:gd name="T173" fmla="*/ 877 w 877"/>
                  <a:gd name="T174" fmla="*/ 1441 h 144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77" h="1441">
                    <a:moveTo>
                      <a:pt x="57" y="279"/>
                    </a:moveTo>
                    <a:lnTo>
                      <a:pt x="127" y="247"/>
                    </a:lnTo>
                    <a:lnTo>
                      <a:pt x="134" y="222"/>
                    </a:lnTo>
                    <a:lnTo>
                      <a:pt x="121" y="216"/>
                    </a:lnTo>
                    <a:lnTo>
                      <a:pt x="108" y="184"/>
                    </a:lnTo>
                    <a:lnTo>
                      <a:pt x="102" y="133"/>
                    </a:lnTo>
                    <a:lnTo>
                      <a:pt x="102" y="101"/>
                    </a:lnTo>
                    <a:lnTo>
                      <a:pt x="108" y="89"/>
                    </a:lnTo>
                    <a:lnTo>
                      <a:pt x="121" y="70"/>
                    </a:lnTo>
                    <a:lnTo>
                      <a:pt x="134" y="63"/>
                    </a:lnTo>
                    <a:lnTo>
                      <a:pt x="153" y="57"/>
                    </a:lnTo>
                    <a:lnTo>
                      <a:pt x="172" y="70"/>
                    </a:lnTo>
                    <a:lnTo>
                      <a:pt x="197" y="89"/>
                    </a:lnTo>
                    <a:lnTo>
                      <a:pt x="203" y="101"/>
                    </a:lnTo>
                    <a:lnTo>
                      <a:pt x="210" y="127"/>
                    </a:lnTo>
                    <a:lnTo>
                      <a:pt x="216" y="127"/>
                    </a:lnTo>
                    <a:lnTo>
                      <a:pt x="216" y="133"/>
                    </a:lnTo>
                    <a:lnTo>
                      <a:pt x="216" y="146"/>
                    </a:lnTo>
                    <a:lnTo>
                      <a:pt x="216" y="165"/>
                    </a:lnTo>
                    <a:lnTo>
                      <a:pt x="216" y="171"/>
                    </a:lnTo>
                    <a:lnTo>
                      <a:pt x="210" y="165"/>
                    </a:lnTo>
                    <a:lnTo>
                      <a:pt x="210" y="197"/>
                    </a:lnTo>
                    <a:lnTo>
                      <a:pt x="216" y="216"/>
                    </a:lnTo>
                    <a:lnTo>
                      <a:pt x="222" y="228"/>
                    </a:lnTo>
                    <a:lnTo>
                      <a:pt x="248" y="247"/>
                    </a:lnTo>
                    <a:lnTo>
                      <a:pt x="292" y="266"/>
                    </a:lnTo>
                    <a:lnTo>
                      <a:pt x="343" y="235"/>
                    </a:lnTo>
                    <a:lnTo>
                      <a:pt x="381" y="216"/>
                    </a:lnTo>
                    <a:lnTo>
                      <a:pt x="419" y="209"/>
                    </a:lnTo>
                    <a:lnTo>
                      <a:pt x="426" y="190"/>
                    </a:lnTo>
                    <a:lnTo>
                      <a:pt x="432" y="184"/>
                    </a:lnTo>
                    <a:lnTo>
                      <a:pt x="432" y="133"/>
                    </a:lnTo>
                    <a:lnTo>
                      <a:pt x="426" y="114"/>
                    </a:lnTo>
                    <a:lnTo>
                      <a:pt x="419" y="95"/>
                    </a:lnTo>
                    <a:lnTo>
                      <a:pt x="426" y="89"/>
                    </a:lnTo>
                    <a:lnTo>
                      <a:pt x="432" y="89"/>
                    </a:lnTo>
                    <a:lnTo>
                      <a:pt x="438" y="57"/>
                    </a:lnTo>
                    <a:lnTo>
                      <a:pt x="445" y="31"/>
                    </a:lnTo>
                    <a:lnTo>
                      <a:pt x="451" y="19"/>
                    </a:lnTo>
                    <a:lnTo>
                      <a:pt x="464" y="12"/>
                    </a:lnTo>
                    <a:lnTo>
                      <a:pt x="470" y="12"/>
                    </a:lnTo>
                    <a:lnTo>
                      <a:pt x="489" y="6"/>
                    </a:lnTo>
                    <a:lnTo>
                      <a:pt x="508" y="0"/>
                    </a:lnTo>
                    <a:lnTo>
                      <a:pt x="521" y="6"/>
                    </a:lnTo>
                    <a:lnTo>
                      <a:pt x="534" y="12"/>
                    </a:lnTo>
                    <a:lnTo>
                      <a:pt x="546" y="25"/>
                    </a:lnTo>
                    <a:lnTo>
                      <a:pt x="559" y="44"/>
                    </a:lnTo>
                    <a:lnTo>
                      <a:pt x="559" y="57"/>
                    </a:lnTo>
                    <a:lnTo>
                      <a:pt x="559" y="70"/>
                    </a:lnTo>
                    <a:lnTo>
                      <a:pt x="559" y="108"/>
                    </a:lnTo>
                    <a:lnTo>
                      <a:pt x="559" y="127"/>
                    </a:lnTo>
                    <a:lnTo>
                      <a:pt x="553" y="146"/>
                    </a:lnTo>
                    <a:lnTo>
                      <a:pt x="546" y="152"/>
                    </a:lnTo>
                    <a:lnTo>
                      <a:pt x="527" y="190"/>
                    </a:lnTo>
                    <a:lnTo>
                      <a:pt x="521" y="222"/>
                    </a:lnTo>
                    <a:lnTo>
                      <a:pt x="527" y="241"/>
                    </a:lnTo>
                    <a:lnTo>
                      <a:pt x="584" y="260"/>
                    </a:lnTo>
                    <a:lnTo>
                      <a:pt x="635" y="254"/>
                    </a:lnTo>
                    <a:lnTo>
                      <a:pt x="661" y="222"/>
                    </a:lnTo>
                    <a:lnTo>
                      <a:pt x="661" y="209"/>
                    </a:lnTo>
                    <a:lnTo>
                      <a:pt x="654" y="203"/>
                    </a:lnTo>
                    <a:lnTo>
                      <a:pt x="642" y="209"/>
                    </a:lnTo>
                    <a:lnTo>
                      <a:pt x="648" y="190"/>
                    </a:lnTo>
                    <a:lnTo>
                      <a:pt x="648" y="178"/>
                    </a:lnTo>
                    <a:lnTo>
                      <a:pt x="642" y="165"/>
                    </a:lnTo>
                    <a:lnTo>
                      <a:pt x="642" y="152"/>
                    </a:lnTo>
                    <a:lnTo>
                      <a:pt x="642" y="133"/>
                    </a:lnTo>
                    <a:lnTo>
                      <a:pt x="642" y="108"/>
                    </a:lnTo>
                    <a:lnTo>
                      <a:pt x="661" y="76"/>
                    </a:lnTo>
                    <a:lnTo>
                      <a:pt x="667" y="63"/>
                    </a:lnTo>
                    <a:lnTo>
                      <a:pt x="686" y="63"/>
                    </a:lnTo>
                    <a:lnTo>
                      <a:pt x="699" y="63"/>
                    </a:lnTo>
                    <a:lnTo>
                      <a:pt x="724" y="70"/>
                    </a:lnTo>
                    <a:lnTo>
                      <a:pt x="743" y="101"/>
                    </a:lnTo>
                    <a:lnTo>
                      <a:pt x="743" y="133"/>
                    </a:lnTo>
                    <a:lnTo>
                      <a:pt x="743" y="146"/>
                    </a:lnTo>
                    <a:lnTo>
                      <a:pt x="743" y="158"/>
                    </a:lnTo>
                    <a:lnTo>
                      <a:pt x="737" y="171"/>
                    </a:lnTo>
                    <a:lnTo>
                      <a:pt x="737" y="197"/>
                    </a:lnTo>
                    <a:lnTo>
                      <a:pt x="731" y="197"/>
                    </a:lnTo>
                    <a:lnTo>
                      <a:pt x="724" y="197"/>
                    </a:lnTo>
                    <a:lnTo>
                      <a:pt x="724" y="209"/>
                    </a:lnTo>
                    <a:lnTo>
                      <a:pt x="731" y="216"/>
                    </a:lnTo>
                    <a:lnTo>
                      <a:pt x="756" y="235"/>
                    </a:lnTo>
                    <a:lnTo>
                      <a:pt x="800" y="235"/>
                    </a:lnTo>
                    <a:lnTo>
                      <a:pt x="819" y="247"/>
                    </a:lnTo>
                    <a:lnTo>
                      <a:pt x="832" y="260"/>
                    </a:lnTo>
                    <a:lnTo>
                      <a:pt x="832" y="273"/>
                    </a:lnTo>
                    <a:lnTo>
                      <a:pt x="832" y="279"/>
                    </a:lnTo>
                    <a:lnTo>
                      <a:pt x="832" y="292"/>
                    </a:lnTo>
                    <a:lnTo>
                      <a:pt x="819" y="324"/>
                    </a:lnTo>
                    <a:lnTo>
                      <a:pt x="813" y="368"/>
                    </a:lnTo>
                    <a:lnTo>
                      <a:pt x="800" y="406"/>
                    </a:lnTo>
                    <a:lnTo>
                      <a:pt x="788" y="444"/>
                    </a:lnTo>
                    <a:lnTo>
                      <a:pt x="826" y="597"/>
                    </a:lnTo>
                    <a:lnTo>
                      <a:pt x="794" y="609"/>
                    </a:lnTo>
                    <a:lnTo>
                      <a:pt x="807" y="889"/>
                    </a:lnTo>
                    <a:lnTo>
                      <a:pt x="807" y="895"/>
                    </a:lnTo>
                    <a:lnTo>
                      <a:pt x="807" y="901"/>
                    </a:lnTo>
                    <a:lnTo>
                      <a:pt x="807" y="914"/>
                    </a:lnTo>
                    <a:lnTo>
                      <a:pt x="800" y="940"/>
                    </a:lnTo>
                    <a:lnTo>
                      <a:pt x="800" y="959"/>
                    </a:lnTo>
                    <a:lnTo>
                      <a:pt x="800" y="1009"/>
                    </a:lnTo>
                    <a:lnTo>
                      <a:pt x="794" y="1048"/>
                    </a:lnTo>
                    <a:lnTo>
                      <a:pt x="800" y="1111"/>
                    </a:lnTo>
                    <a:lnTo>
                      <a:pt x="807" y="1187"/>
                    </a:lnTo>
                    <a:lnTo>
                      <a:pt x="826" y="1206"/>
                    </a:lnTo>
                    <a:lnTo>
                      <a:pt x="851" y="1225"/>
                    </a:lnTo>
                    <a:lnTo>
                      <a:pt x="870" y="1238"/>
                    </a:lnTo>
                    <a:lnTo>
                      <a:pt x="877" y="1251"/>
                    </a:lnTo>
                    <a:lnTo>
                      <a:pt x="794" y="1238"/>
                    </a:lnTo>
                    <a:lnTo>
                      <a:pt x="788" y="1238"/>
                    </a:lnTo>
                    <a:lnTo>
                      <a:pt x="781" y="1232"/>
                    </a:lnTo>
                    <a:lnTo>
                      <a:pt x="775" y="1219"/>
                    </a:lnTo>
                    <a:lnTo>
                      <a:pt x="762" y="1200"/>
                    </a:lnTo>
                    <a:lnTo>
                      <a:pt x="743" y="1187"/>
                    </a:lnTo>
                    <a:lnTo>
                      <a:pt x="737" y="1213"/>
                    </a:lnTo>
                    <a:lnTo>
                      <a:pt x="731" y="1213"/>
                    </a:lnTo>
                    <a:lnTo>
                      <a:pt x="731" y="1181"/>
                    </a:lnTo>
                    <a:lnTo>
                      <a:pt x="724" y="1175"/>
                    </a:lnTo>
                    <a:lnTo>
                      <a:pt x="724" y="1117"/>
                    </a:lnTo>
                    <a:lnTo>
                      <a:pt x="731" y="1073"/>
                    </a:lnTo>
                    <a:lnTo>
                      <a:pt x="731" y="990"/>
                    </a:lnTo>
                    <a:lnTo>
                      <a:pt x="731" y="971"/>
                    </a:lnTo>
                    <a:lnTo>
                      <a:pt x="731" y="952"/>
                    </a:lnTo>
                    <a:lnTo>
                      <a:pt x="718" y="921"/>
                    </a:lnTo>
                    <a:lnTo>
                      <a:pt x="718" y="876"/>
                    </a:lnTo>
                    <a:lnTo>
                      <a:pt x="711" y="800"/>
                    </a:lnTo>
                    <a:lnTo>
                      <a:pt x="692" y="724"/>
                    </a:lnTo>
                    <a:lnTo>
                      <a:pt x="673" y="673"/>
                    </a:lnTo>
                    <a:lnTo>
                      <a:pt x="667" y="679"/>
                    </a:lnTo>
                    <a:lnTo>
                      <a:pt x="667" y="705"/>
                    </a:lnTo>
                    <a:lnTo>
                      <a:pt x="667" y="774"/>
                    </a:lnTo>
                    <a:lnTo>
                      <a:pt x="667" y="844"/>
                    </a:lnTo>
                    <a:lnTo>
                      <a:pt x="667" y="870"/>
                    </a:lnTo>
                    <a:lnTo>
                      <a:pt x="673" y="889"/>
                    </a:lnTo>
                    <a:lnTo>
                      <a:pt x="673" y="914"/>
                    </a:lnTo>
                    <a:lnTo>
                      <a:pt x="680" y="952"/>
                    </a:lnTo>
                    <a:lnTo>
                      <a:pt x="686" y="990"/>
                    </a:lnTo>
                    <a:lnTo>
                      <a:pt x="699" y="1028"/>
                    </a:lnTo>
                    <a:lnTo>
                      <a:pt x="705" y="1060"/>
                    </a:lnTo>
                    <a:lnTo>
                      <a:pt x="718" y="1098"/>
                    </a:lnTo>
                    <a:lnTo>
                      <a:pt x="718" y="1143"/>
                    </a:lnTo>
                    <a:lnTo>
                      <a:pt x="711" y="1143"/>
                    </a:lnTo>
                    <a:lnTo>
                      <a:pt x="705" y="1168"/>
                    </a:lnTo>
                    <a:lnTo>
                      <a:pt x="699" y="1175"/>
                    </a:lnTo>
                    <a:lnTo>
                      <a:pt x="692" y="1149"/>
                    </a:lnTo>
                    <a:lnTo>
                      <a:pt x="686" y="1175"/>
                    </a:lnTo>
                    <a:lnTo>
                      <a:pt x="680" y="1181"/>
                    </a:lnTo>
                    <a:lnTo>
                      <a:pt x="673" y="1194"/>
                    </a:lnTo>
                    <a:lnTo>
                      <a:pt x="661" y="1200"/>
                    </a:lnTo>
                    <a:lnTo>
                      <a:pt x="610" y="1213"/>
                    </a:lnTo>
                    <a:lnTo>
                      <a:pt x="604" y="1200"/>
                    </a:lnTo>
                    <a:lnTo>
                      <a:pt x="623" y="1181"/>
                    </a:lnTo>
                    <a:lnTo>
                      <a:pt x="629" y="1162"/>
                    </a:lnTo>
                    <a:lnTo>
                      <a:pt x="642" y="1149"/>
                    </a:lnTo>
                    <a:lnTo>
                      <a:pt x="648" y="1124"/>
                    </a:lnTo>
                    <a:lnTo>
                      <a:pt x="635" y="1086"/>
                    </a:lnTo>
                    <a:lnTo>
                      <a:pt x="629" y="1048"/>
                    </a:lnTo>
                    <a:lnTo>
                      <a:pt x="616" y="1003"/>
                    </a:lnTo>
                    <a:lnTo>
                      <a:pt x="610" y="952"/>
                    </a:lnTo>
                    <a:lnTo>
                      <a:pt x="604" y="908"/>
                    </a:lnTo>
                    <a:lnTo>
                      <a:pt x="597" y="844"/>
                    </a:lnTo>
                    <a:lnTo>
                      <a:pt x="578" y="959"/>
                    </a:lnTo>
                    <a:lnTo>
                      <a:pt x="572" y="1022"/>
                    </a:lnTo>
                    <a:lnTo>
                      <a:pt x="572" y="1124"/>
                    </a:lnTo>
                    <a:lnTo>
                      <a:pt x="546" y="1200"/>
                    </a:lnTo>
                    <a:lnTo>
                      <a:pt x="559" y="1244"/>
                    </a:lnTo>
                    <a:lnTo>
                      <a:pt x="578" y="1263"/>
                    </a:lnTo>
                    <a:lnTo>
                      <a:pt x="578" y="1308"/>
                    </a:lnTo>
                    <a:lnTo>
                      <a:pt x="540" y="1314"/>
                    </a:lnTo>
                    <a:lnTo>
                      <a:pt x="515" y="1289"/>
                    </a:lnTo>
                    <a:lnTo>
                      <a:pt x="508" y="1282"/>
                    </a:lnTo>
                    <a:lnTo>
                      <a:pt x="502" y="1276"/>
                    </a:lnTo>
                    <a:lnTo>
                      <a:pt x="502" y="1257"/>
                    </a:lnTo>
                    <a:lnTo>
                      <a:pt x="496" y="1238"/>
                    </a:lnTo>
                    <a:lnTo>
                      <a:pt x="477" y="1225"/>
                    </a:lnTo>
                    <a:lnTo>
                      <a:pt x="477" y="1206"/>
                    </a:lnTo>
                    <a:lnTo>
                      <a:pt x="483" y="1181"/>
                    </a:lnTo>
                    <a:lnTo>
                      <a:pt x="483" y="1143"/>
                    </a:lnTo>
                    <a:lnTo>
                      <a:pt x="483" y="1117"/>
                    </a:lnTo>
                    <a:lnTo>
                      <a:pt x="496" y="1079"/>
                    </a:lnTo>
                    <a:lnTo>
                      <a:pt x="496" y="1022"/>
                    </a:lnTo>
                    <a:lnTo>
                      <a:pt x="496" y="952"/>
                    </a:lnTo>
                    <a:lnTo>
                      <a:pt x="489" y="895"/>
                    </a:lnTo>
                    <a:lnTo>
                      <a:pt x="489" y="844"/>
                    </a:lnTo>
                    <a:lnTo>
                      <a:pt x="483" y="819"/>
                    </a:lnTo>
                    <a:lnTo>
                      <a:pt x="483" y="806"/>
                    </a:lnTo>
                    <a:lnTo>
                      <a:pt x="477" y="819"/>
                    </a:lnTo>
                    <a:lnTo>
                      <a:pt x="457" y="889"/>
                    </a:lnTo>
                    <a:lnTo>
                      <a:pt x="451" y="927"/>
                    </a:lnTo>
                    <a:lnTo>
                      <a:pt x="451" y="933"/>
                    </a:lnTo>
                    <a:lnTo>
                      <a:pt x="451" y="1003"/>
                    </a:lnTo>
                    <a:lnTo>
                      <a:pt x="451" y="1086"/>
                    </a:lnTo>
                    <a:lnTo>
                      <a:pt x="451" y="1155"/>
                    </a:lnTo>
                    <a:lnTo>
                      <a:pt x="445" y="1238"/>
                    </a:lnTo>
                    <a:lnTo>
                      <a:pt x="438" y="1270"/>
                    </a:lnTo>
                    <a:lnTo>
                      <a:pt x="432" y="1282"/>
                    </a:lnTo>
                    <a:lnTo>
                      <a:pt x="426" y="1289"/>
                    </a:lnTo>
                    <a:lnTo>
                      <a:pt x="432" y="1295"/>
                    </a:lnTo>
                    <a:lnTo>
                      <a:pt x="432" y="1314"/>
                    </a:lnTo>
                    <a:lnTo>
                      <a:pt x="432" y="1321"/>
                    </a:lnTo>
                    <a:lnTo>
                      <a:pt x="432" y="1327"/>
                    </a:lnTo>
                    <a:lnTo>
                      <a:pt x="419" y="1352"/>
                    </a:lnTo>
                    <a:lnTo>
                      <a:pt x="407" y="1352"/>
                    </a:lnTo>
                    <a:lnTo>
                      <a:pt x="407" y="1378"/>
                    </a:lnTo>
                    <a:lnTo>
                      <a:pt x="407" y="1390"/>
                    </a:lnTo>
                    <a:lnTo>
                      <a:pt x="400" y="1403"/>
                    </a:lnTo>
                    <a:lnTo>
                      <a:pt x="394" y="1416"/>
                    </a:lnTo>
                    <a:lnTo>
                      <a:pt x="375" y="1435"/>
                    </a:lnTo>
                    <a:lnTo>
                      <a:pt x="369" y="1441"/>
                    </a:lnTo>
                    <a:lnTo>
                      <a:pt x="324" y="1435"/>
                    </a:lnTo>
                    <a:lnTo>
                      <a:pt x="324" y="1390"/>
                    </a:lnTo>
                    <a:lnTo>
                      <a:pt x="330" y="1378"/>
                    </a:lnTo>
                    <a:lnTo>
                      <a:pt x="349" y="1327"/>
                    </a:lnTo>
                    <a:lnTo>
                      <a:pt x="356" y="1308"/>
                    </a:lnTo>
                    <a:lnTo>
                      <a:pt x="349" y="1270"/>
                    </a:lnTo>
                    <a:lnTo>
                      <a:pt x="349" y="1213"/>
                    </a:lnTo>
                    <a:lnTo>
                      <a:pt x="343" y="1143"/>
                    </a:lnTo>
                    <a:lnTo>
                      <a:pt x="349" y="1079"/>
                    </a:lnTo>
                    <a:lnTo>
                      <a:pt x="349" y="1016"/>
                    </a:lnTo>
                    <a:lnTo>
                      <a:pt x="356" y="946"/>
                    </a:lnTo>
                    <a:lnTo>
                      <a:pt x="349" y="908"/>
                    </a:lnTo>
                    <a:lnTo>
                      <a:pt x="349" y="863"/>
                    </a:lnTo>
                    <a:lnTo>
                      <a:pt x="349" y="781"/>
                    </a:lnTo>
                    <a:lnTo>
                      <a:pt x="356" y="736"/>
                    </a:lnTo>
                    <a:lnTo>
                      <a:pt x="362" y="698"/>
                    </a:lnTo>
                    <a:lnTo>
                      <a:pt x="362" y="692"/>
                    </a:lnTo>
                    <a:lnTo>
                      <a:pt x="356" y="686"/>
                    </a:lnTo>
                    <a:lnTo>
                      <a:pt x="343" y="686"/>
                    </a:lnTo>
                    <a:lnTo>
                      <a:pt x="337" y="679"/>
                    </a:lnTo>
                    <a:lnTo>
                      <a:pt x="330" y="667"/>
                    </a:lnTo>
                    <a:lnTo>
                      <a:pt x="305" y="698"/>
                    </a:lnTo>
                    <a:lnTo>
                      <a:pt x="299" y="698"/>
                    </a:lnTo>
                    <a:lnTo>
                      <a:pt x="299" y="717"/>
                    </a:lnTo>
                    <a:lnTo>
                      <a:pt x="292" y="743"/>
                    </a:lnTo>
                    <a:lnTo>
                      <a:pt x="292" y="876"/>
                    </a:lnTo>
                    <a:lnTo>
                      <a:pt x="305" y="914"/>
                    </a:lnTo>
                    <a:lnTo>
                      <a:pt x="311" y="952"/>
                    </a:lnTo>
                    <a:lnTo>
                      <a:pt x="311" y="997"/>
                    </a:lnTo>
                    <a:lnTo>
                      <a:pt x="324" y="1048"/>
                    </a:lnTo>
                    <a:lnTo>
                      <a:pt x="330" y="1092"/>
                    </a:lnTo>
                    <a:lnTo>
                      <a:pt x="337" y="1149"/>
                    </a:lnTo>
                    <a:lnTo>
                      <a:pt x="330" y="1162"/>
                    </a:lnTo>
                    <a:lnTo>
                      <a:pt x="337" y="1181"/>
                    </a:lnTo>
                    <a:lnTo>
                      <a:pt x="324" y="1206"/>
                    </a:lnTo>
                    <a:lnTo>
                      <a:pt x="324" y="1276"/>
                    </a:lnTo>
                    <a:lnTo>
                      <a:pt x="324" y="1282"/>
                    </a:lnTo>
                    <a:lnTo>
                      <a:pt x="318" y="1295"/>
                    </a:lnTo>
                    <a:lnTo>
                      <a:pt x="305" y="1302"/>
                    </a:lnTo>
                    <a:lnTo>
                      <a:pt x="280" y="1308"/>
                    </a:lnTo>
                    <a:lnTo>
                      <a:pt x="267" y="1308"/>
                    </a:lnTo>
                    <a:lnTo>
                      <a:pt x="254" y="1302"/>
                    </a:lnTo>
                    <a:lnTo>
                      <a:pt x="248" y="1282"/>
                    </a:lnTo>
                    <a:lnTo>
                      <a:pt x="254" y="1257"/>
                    </a:lnTo>
                    <a:lnTo>
                      <a:pt x="261" y="1238"/>
                    </a:lnTo>
                    <a:lnTo>
                      <a:pt x="267" y="1213"/>
                    </a:lnTo>
                    <a:lnTo>
                      <a:pt x="254" y="1187"/>
                    </a:lnTo>
                    <a:lnTo>
                      <a:pt x="261" y="1168"/>
                    </a:lnTo>
                    <a:lnTo>
                      <a:pt x="242" y="1130"/>
                    </a:lnTo>
                    <a:lnTo>
                      <a:pt x="222" y="1041"/>
                    </a:lnTo>
                    <a:lnTo>
                      <a:pt x="203" y="940"/>
                    </a:lnTo>
                    <a:lnTo>
                      <a:pt x="191" y="876"/>
                    </a:lnTo>
                    <a:lnTo>
                      <a:pt x="184" y="825"/>
                    </a:lnTo>
                    <a:lnTo>
                      <a:pt x="172" y="838"/>
                    </a:lnTo>
                    <a:lnTo>
                      <a:pt x="172" y="882"/>
                    </a:lnTo>
                    <a:lnTo>
                      <a:pt x="172" y="908"/>
                    </a:lnTo>
                    <a:lnTo>
                      <a:pt x="178" y="933"/>
                    </a:lnTo>
                    <a:lnTo>
                      <a:pt x="178" y="959"/>
                    </a:lnTo>
                    <a:lnTo>
                      <a:pt x="184" y="997"/>
                    </a:lnTo>
                    <a:lnTo>
                      <a:pt x="184" y="1054"/>
                    </a:lnTo>
                    <a:lnTo>
                      <a:pt x="191" y="1098"/>
                    </a:lnTo>
                    <a:lnTo>
                      <a:pt x="197" y="1111"/>
                    </a:lnTo>
                    <a:lnTo>
                      <a:pt x="203" y="1136"/>
                    </a:lnTo>
                    <a:lnTo>
                      <a:pt x="191" y="1155"/>
                    </a:lnTo>
                    <a:lnTo>
                      <a:pt x="191" y="1194"/>
                    </a:lnTo>
                    <a:lnTo>
                      <a:pt x="172" y="1206"/>
                    </a:lnTo>
                    <a:lnTo>
                      <a:pt x="165" y="1200"/>
                    </a:lnTo>
                    <a:lnTo>
                      <a:pt x="146" y="1225"/>
                    </a:lnTo>
                    <a:lnTo>
                      <a:pt x="140" y="1238"/>
                    </a:lnTo>
                    <a:lnTo>
                      <a:pt x="134" y="1244"/>
                    </a:lnTo>
                    <a:lnTo>
                      <a:pt x="121" y="1251"/>
                    </a:lnTo>
                    <a:lnTo>
                      <a:pt x="102" y="1251"/>
                    </a:lnTo>
                    <a:lnTo>
                      <a:pt x="76" y="1238"/>
                    </a:lnTo>
                    <a:lnTo>
                      <a:pt x="70" y="1225"/>
                    </a:lnTo>
                    <a:lnTo>
                      <a:pt x="89" y="1206"/>
                    </a:lnTo>
                    <a:lnTo>
                      <a:pt x="108" y="1181"/>
                    </a:lnTo>
                    <a:lnTo>
                      <a:pt x="121" y="1162"/>
                    </a:lnTo>
                    <a:lnTo>
                      <a:pt x="121" y="1136"/>
                    </a:lnTo>
                    <a:lnTo>
                      <a:pt x="102" y="1124"/>
                    </a:lnTo>
                    <a:lnTo>
                      <a:pt x="102" y="1111"/>
                    </a:lnTo>
                    <a:lnTo>
                      <a:pt x="95" y="1060"/>
                    </a:lnTo>
                    <a:lnTo>
                      <a:pt x="89" y="1022"/>
                    </a:lnTo>
                    <a:lnTo>
                      <a:pt x="83" y="965"/>
                    </a:lnTo>
                    <a:lnTo>
                      <a:pt x="64" y="889"/>
                    </a:lnTo>
                    <a:lnTo>
                      <a:pt x="51" y="819"/>
                    </a:lnTo>
                    <a:lnTo>
                      <a:pt x="38" y="749"/>
                    </a:lnTo>
                    <a:lnTo>
                      <a:pt x="32" y="730"/>
                    </a:lnTo>
                    <a:lnTo>
                      <a:pt x="7" y="692"/>
                    </a:lnTo>
                    <a:lnTo>
                      <a:pt x="0" y="654"/>
                    </a:lnTo>
                    <a:lnTo>
                      <a:pt x="7" y="597"/>
                    </a:lnTo>
                    <a:lnTo>
                      <a:pt x="7" y="520"/>
                    </a:lnTo>
                    <a:lnTo>
                      <a:pt x="19" y="470"/>
                    </a:lnTo>
                    <a:lnTo>
                      <a:pt x="26" y="406"/>
                    </a:lnTo>
                    <a:lnTo>
                      <a:pt x="32" y="336"/>
                    </a:lnTo>
                    <a:lnTo>
                      <a:pt x="38" y="298"/>
                    </a:lnTo>
                    <a:lnTo>
                      <a:pt x="38" y="292"/>
                    </a:lnTo>
                    <a:lnTo>
                      <a:pt x="57" y="279"/>
                    </a:lnTo>
                    <a:close/>
                  </a:path>
                </a:pathLst>
              </a:custGeom>
              <a:solidFill>
                <a:srgbClr val="17375E"/>
              </a:solidFill>
              <a:ln w="9525">
                <a:noFill/>
                <a:round/>
                <a:headEnd/>
                <a:tailEnd/>
              </a:ln>
            </p:spPr>
            <p:txBody>
              <a:bodyPr/>
              <a:lstStyle/>
              <a:p>
                <a:pPr fontAlgn="auto">
                  <a:spcBef>
                    <a:spcPts val="0"/>
                  </a:spcBef>
                  <a:spcAft>
                    <a:spcPts val="0"/>
                  </a:spcAft>
                  <a:defRPr/>
                </a:pPr>
                <a:endParaRPr lang="da-DK" dirty="0">
                  <a:latin typeface="+mn-lt"/>
                  <a:ea typeface="+mn-ea"/>
                </a:endParaRPr>
              </a:p>
            </p:txBody>
          </p:sp>
        </p:grpSp>
        <p:sp>
          <p:nvSpPr>
            <p:cNvPr id="15421" name="Freeform 382"/>
            <p:cNvSpPr>
              <a:spLocks/>
            </p:cNvSpPr>
            <p:nvPr/>
          </p:nvSpPr>
          <p:spPr bwMode="auto">
            <a:xfrm>
              <a:off x="507474" y="1004876"/>
              <a:ext cx="758359" cy="2064115"/>
            </a:xfrm>
            <a:custGeom>
              <a:avLst/>
              <a:gdLst>
                <a:gd name="T0" fmla="*/ 2147483647 w 133"/>
                <a:gd name="T1" fmla="*/ 0 h 362"/>
                <a:gd name="T2" fmla="*/ 2147483647 w 133"/>
                <a:gd name="T3" fmla="*/ 2147483647 h 362"/>
                <a:gd name="T4" fmla="*/ 2147483647 w 133"/>
                <a:gd name="T5" fmla="*/ 2147483647 h 362"/>
                <a:gd name="T6" fmla="*/ 2147483647 w 133"/>
                <a:gd name="T7" fmla="*/ 2147483647 h 362"/>
                <a:gd name="T8" fmla="*/ 2147483647 w 133"/>
                <a:gd name="T9" fmla="*/ 2147483647 h 362"/>
                <a:gd name="T10" fmla="*/ 2147483647 w 133"/>
                <a:gd name="T11" fmla="*/ 2147483647 h 362"/>
                <a:gd name="T12" fmla="*/ 2147483647 w 133"/>
                <a:gd name="T13" fmla="*/ 2147483647 h 362"/>
                <a:gd name="T14" fmla="*/ 2147483647 w 133"/>
                <a:gd name="T15" fmla="*/ 2147483647 h 362"/>
                <a:gd name="T16" fmla="*/ 2147483647 w 133"/>
                <a:gd name="T17" fmla="*/ 2147483647 h 362"/>
                <a:gd name="T18" fmla="*/ 2147483647 w 133"/>
                <a:gd name="T19" fmla="*/ 2147483647 h 362"/>
                <a:gd name="T20" fmla="*/ 0 w 133"/>
                <a:gd name="T21" fmla="*/ 2147483647 h 362"/>
                <a:gd name="T22" fmla="*/ 2147483647 w 133"/>
                <a:gd name="T23" fmla="*/ 2147483647 h 362"/>
                <a:gd name="T24" fmla="*/ 2147483647 w 133"/>
                <a:gd name="T25" fmla="*/ 2147483647 h 362"/>
                <a:gd name="T26" fmla="*/ 2147483647 w 133"/>
                <a:gd name="T27" fmla="*/ 2147483647 h 362"/>
                <a:gd name="T28" fmla="*/ 2147483647 w 133"/>
                <a:gd name="T29" fmla="*/ 2147483647 h 362"/>
                <a:gd name="T30" fmla="*/ 2147483647 w 133"/>
                <a:gd name="T31" fmla="*/ 2147483647 h 362"/>
                <a:gd name="T32" fmla="*/ 2147483647 w 133"/>
                <a:gd name="T33" fmla="*/ 2147483647 h 362"/>
                <a:gd name="T34" fmla="*/ 2147483647 w 133"/>
                <a:gd name="T35" fmla="*/ 2147483647 h 362"/>
                <a:gd name="T36" fmla="*/ 2147483647 w 133"/>
                <a:gd name="T37" fmla="*/ 2147483647 h 362"/>
                <a:gd name="T38" fmla="*/ 2147483647 w 133"/>
                <a:gd name="T39" fmla="*/ 2147483647 h 362"/>
                <a:gd name="T40" fmla="*/ 2147483647 w 133"/>
                <a:gd name="T41" fmla="*/ 2147483647 h 362"/>
                <a:gd name="T42" fmla="*/ 2147483647 w 133"/>
                <a:gd name="T43" fmla="*/ 2147483647 h 362"/>
                <a:gd name="T44" fmla="*/ 2147483647 w 133"/>
                <a:gd name="T45" fmla="*/ 2147483647 h 362"/>
                <a:gd name="T46" fmla="*/ 2147483647 w 133"/>
                <a:gd name="T47" fmla="*/ 2147483647 h 362"/>
                <a:gd name="T48" fmla="*/ 2147483647 w 133"/>
                <a:gd name="T49" fmla="*/ 2147483647 h 362"/>
                <a:gd name="T50" fmla="*/ 2147483647 w 133"/>
                <a:gd name="T51" fmla="*/ 2147483647 h 362"/>
                <a:gd name="T52" fmla="*/ 2147483647 w 133"/>
                <a:gd name="T53" fmla="*/ 2147483647 h 362"/>
                <a:gd name="T54" fmla="*/ 2147483647 w 133"/>
                <a:gd name="T55" fmla="*/ 2147483647 h 362"/>
                <a:gd name="T56" fmla="*/ 2147483647 w 133"/>
                <a:gd name="T57" fmla="*/ 2147483647 h 362"/>
                <a:gd name="T58" fmla="*/ 2147483647 w 133"/>
                <a:gd name="T59" fmla="*/ 2147483647 h 362"/>
                <a:gd name="T60" fmla="*/ 2147483647 w 133"/>
                <a:gd name="T61" fmla="*/ 2147483647 h 362"/>
                <a:gd name="T62" fmla="*/ 2147483647 w 133"/>
                <a:gd name="T63" fmla="*/ 2147483647 h 362"/>
                <a:gd name="T64" fmla="*/ 2147483647 w 133"/>
                <a:gd name="T65" fmla="*/ 2147483647 h 362"/>
                <a:gd name="T66" fmla="*/ 2147483647 w 133"/>
                <a:gd name="T67" fmla="*/ 2147483647 h 362"/>
                <a:gd name="T68" fmla="*/ 2147483647 w 133"/>
                <a:gd name="T69" fmla="*/ 2147483647 h 362"/>
                <a:gd name="T70" fmla="*/ 2147483647 w 133"/>
                <a:gd name="T71" fmla="*/ 2147483647 h 362"/>
                <a:gd name="T72" fmla="*/ 2147483647 w 133"/>
                <a:gd name="T73" fmla="*/ 0 h 362"/>
                <a:gd name="T74" fmla="*/ 2147483647 w 133"/>
                <a:gd name="T75" fmla="*/ 0 h 3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3"/>
                <a:gd name="T115" fmla="*/ 0 h 362"/>
                <a:gd name="T116" fmla="*/ 133 w 133"/>
                <a:gd name="T117" fmla="*/ 362 h 3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3" h="362">
                  <a:moveTo>
                    <a:pt x="127" y="0"/>
                  </a:moveTo>
                  <a:lnTo>
                    <a:pt x="133" y="12"/>
                  </a:lnTo>
                  <a:lnTo>
                    <a:pt x="102" y="165"/>
                  </a:lnTo>
                  <a:lnTo>
                    <a:pt x="83" y="279"/>
                  </a:lnTo>
                  <a:lnTo>
                    <a:pt x="83" y="330"/>
                  </a:lnTo>
                  <a:lnTo>
                    <a:pt x="89" y="355"/>
                  </a:lnTo>
                  <a:lnTo>
                    <a:pt x="57" y="362"/>
                  </a:lnTo>
                  <a:lnTo>
                    <a:pt x="25" y="362"/>
                  </a:lnTo>
                  <a:lnTo>
                    <a:pt x="0" y="355"/>
                  </a:lnTo>
                  <a:lnTo>
                    <a:pt x="6" y="304"/>
                  </a:lnTo>
                  <a:lnTo>
                    <a:pt x="13" y="298"/>
                  </a:lnTo>
                  <a:lnTo>
                    <a:pt x="38" y="317"/>
                  </a:lnTo>
                  <a:lnTo>
                    <a:pt x="76" y="292"/>
                  </a:lnTo>
                  <a:lnTo>
                    <a:pt x="76" y="228"/>
                  </a:lnTo>
                  <a:lnTo>
                    <a:pt x="83" y="165"/>
                  </a:lnTo>
                  <a:lnTo>
                    <a:pt x="76" y="108"/>
                  </a:lnTo>
                  <a:lnTo>
                    <a:pt x="76" y="63"/>
                  </a:lnTo>
                  <a:lnTo>
                    <a:pt x="83" y="44"/>
                  </a:lnTo>
                  <a:lnTo>
                    <a:pt x="57" y="44"/>
                  </a:lnTo>
                  <a:lnTo>
                    <a:pt x="45" y="57"/>
                  </a:lnTo>
                  <a:lnTo>
                    <a:pt x="57" y="69"/>
                  </a:lnTo>
                  <a:lnTo>
                    <a:pt x="45" y="146"/>
                  </a:lnTo>
                  <a:lnTo>
                    <a:pt x="25" y="216"/>
                  </a:lnTo>
                  <a:lnTo>
                    <a:pt x="32" y="165"/>
                  </a:lnTo>
                  <a:lnTo>
                    <a:pt x="32" y="101"/>
                  </a:lnTo>
                  <a:lnTo>
                    <a:pt x="38" y="63"/>
                  </a:lnTo>
                  <a:lnTo>
                    <a:pt x="38" y="31"/>
                  </a:lnTo>
                  <a:lnTo>
                    <a:pt x="45" y="25"/>
                  </a:lnTo>
                  <a:lnTo>
                    <a:pt x="64" y="38"/>
                  </a:lnTo>
                  <a:lnTo>
                    <a:pt x="76" y="38"/>
                  </a:lnTo>
                  <a:lnTo>
                    <a:pt x="102" y="19"/>
                  </a:lnTo>
                  <a:lnTo>
                    <a:pt x="121" y="6"/>
                  </a:lnTo>
                  <a:lnTo>
                    <a:pt x="1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22" name="Freeform 383"/>
            <p:cNvSpPr>
              <a:spLocks/>
            </p:cNvSpPr>
            <p:nvPr/>
          </p:nvSpPr>
          <p:spPr bwMode="auto">
            <a:xfrm>
              <a:off x="2605801" y="1147430"/>
              <a:ext cx="473259" cy="1699187"/>
            </a:xfrm>
            <a:custGeom>
              <a:avLst/>
              <a:gdLst>
                <a:gd name="T0" fmla="*/ 2147483647 w 83"/>
                <a:gd name="T1" fmla="*/ 0 h 298"/>
                <a:gd name="T2" fmla="*/ 2147483647 w 83"/>
                <a:gd name="T3" fmla="*/ 2147483647 h 298"/>
                <a:gd name="T4" fmla="*/ 2147483647 w 83"/>
                <a:gd name="T5" fmla="*/ 2147483647 h 298"/>
                <a:gd name="T6" fmla="*/ 2147483647 w 83"/>
                <a:gd name="T7" fmla="*/ 2147483647 h 298"/>
                <a:gd name="T8" fmla="*/ 2147483647 w 83"/>
                <a:gd name="T9" fmla="*/ 2147483647 h 298"/>
                <a:gd name="T10" fmla="*/ 2147483647 w 83"/>
                <a:gd name="T11" fmla="*/ 2147483647 h 298"/>
                <a:gd name="T12" fmla="*/ 2147483647 w 83"/>
                <a:gd name="T13" fmla="*/ 2147483647 h 298"/>
                <a:gd name="T14" fmla="*/ 2147483647 w 83"/>
                <a:gd name="T15" fmla="*/ 2147483647 h 298"/>
                <a:gd name="T16" fmla="*/ 2147483647 w 83"/>
                <a:gd name="T17" fmla="*/ 2147483647 h 298"/>
                <a:gd name="T18" fmla="*/ 2147483647 w 83"/>
                <a:gd name="T19" fmla="*/ 2147483647 h 298"/>
                <a:gd name="T20" fmla="*/ 2147483647 w 83"/>
                <a:gd name="T21" fmla="*/ 2147483647 h 298"/>
                <a:gd name="T22" fmla="*/ 2147483647 w 83"/>
                <a:gd name="T23" fmla="*/ 2147483647 h 298"/>
                <a:gd name="T24" fmla="*/ 2147483647 w 83"/>
                <a:gd name="T25" fmla="*/ 2147483647 h 298"/>
                <a:gd name="T26" fmla="*/ 2147483647 w 83"/>
                <a:gd name="T27" fmla="*/ 2147483647 h 298"/>
                <a:gd name="T28" fmla="*/ 2147483647 w 83"/>
                <a:gd name="T29" fmla="*/ 2147483647 h 298"/>
                <a:gd name="T30" fmla="*/ 2147483647 w 83"/>
                <a:gd name="T31" fmla="*/ 2147483647 h 298"/>
                <a:gd name="T32" fmla="*/ 0 w 83"/>
                <a:gd name="T33" fmla="*/ 2147483647 h 298"/>
                <a:gd name="T34" fmla="*/ 2147483647 w 83"/>
                <a:gd name="T35" fmla="*/ 0 h 2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3"/>
                <a:gd name="T55" fmla="*/ 0 h 298"/>
                <a:gd name="T56" fmla="*/ 83 w 83"/>
                <a:gd name="T57" fmla="*/ 298 h 2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3" h="298">
                  <a:moveTo>
                    <a:pt x="13" y="0"/>
                  </a:moveTo>
                  <a:lnTo>
                    <a:pt x="32" y="6"/>
                  </a:lnTo>
                  <a:lnTo>
                    <a:pt x="45" y="25"/>
                  </a:lnTo>
                  <a:lnTo>
                    <a:pt x="39" y="44"/>
                  </a:lnTo>
                  <a:lnTo>
                    <a:pt x="64" y="95"/>
                  </a:lnTo>
                  <a:lnTo>
                    <a:pt x="64" y="114"/>
                  </a:lnTo>
                  <a:lnTo>
                    <a:pt x="70" y="146"/>
                  </a:lnTo>
                  <a:lnTo>
                    <a:pt x="83" y="241"/>
                  </a:lnTo>
                  <a:lnTo>
                    <a:pt x="83" y="267"/>
                  </a:lnTo>
                  <a:lnTo>
                    <a:pt x="58" y="298"/>
                  </a:lnTo>
                  <a:lnTo>
                    <a:pt x="20" y="273"/>
                  </a:lnTo>
                  <a:lnTo>
                    <a:pt x="7" y="133"/>
                  </a:lnTo>
                  <a:lnTo>
                    <a:pt x="7" y="70"/>
                  </a:lnTo>
                  <a:lnTo>
                    <a:pt x="20" y="38"/>
                  </a:lnTo>
                  <a:lnTo>
                    <a:pt x="0" y="19"/>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23" name="Freeform 384"/>
            <p:cNvSpPr>
              <a:spLocks/>
            </p:cNvSpPr>
            <p:nvPr/>
          </p:nvSpPr>
          <p:spPr bwMode="auto">
            <a:xfrm>
              <a:off x="3694877" y="1039092"/>
              <a:ext cx="473267" cy="650026"/>
            </a:xfrm>
            <a:custGeom>
              <a:avLst/>
              <a:gdLst>
                <a:gd name="T0" fmla="*/ 2147483647 w 83"/>
                <a:gd name="T1" fmla="*/ 2147483647 h 114"/>
                <a:gd name="T2" fmla="*/ 2147483647 w 83"/>
                <a:gd name="T3" fmla="*/ 2147483647 h 114"/>
                <a:gd name="T4" fmla="*/ 2147483647 w 83"/>
                <a:gd name="T5" fmla="*/ 2147483647 h 114"/>
                <a:gd name="T6" fmla="*/ 0 w 83"/>
                <a:gd name="T7" fmla="*/ 2147483647 h 114"/>
                <a:gd name="T8" fmla="*/ 2147483647 w 83"/>
                <a:gd name="T9" fmla="*/ 2147483647 h 114"/>
                <a:gd name="T10" fmla="*/ 2147483647 w 83"/>
                <a:gd name="T11" fmla="*/ 2147483647 h 114"/>
                <a:gd name="T12" fmla="*/ 2147483647 w 83"/>
                <a:gd name="T13" fmla="*/ 2147483647 h 114"/>
                <a:gd name="T14" fmla="*/ 2147483647 w 83"/>
                <a:gd name="T15" fmla="*/ 2147483647 h 114"/>
                <a:gd name="T16" fmla="*/ 2147483647 w 83"/>
                <a:gd name="T17" fmla="*/ 2147483647 h 114"/>
                <a:gd name="T18" fmla="*/ 2147483647 w 83"/>
                <a:gd name="T19" fmla="*/ 0 h 114"/>
                <a:gd name="T20" fmla="*/ 2147483647 w 83"/>
                <a:gd name="T21" fmla="*/ 2147483647 h 114"/>
                <a:gd name="T22" fmla="*/ 2147483647 w 83"/>
                <a:gd name="T23" fmla="*/ 2147483647 h 114"/>
                <a:gd name="T24" fmla="*/ 2147483647 w 83"/>
                <a:gd name="T25" fmla="*/ 2147483647 h 114"/>
                <a:gd name="T26" fmla="*/ 2147483647 w 83"/>
                <a:gd name="T27" fmla="*/ 2147483647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3"/>
                <a:gd name="T43" fmla="*/ 0 h 114"/>
                <a:gd name="T44" fmla="*/ 83 w 83"/>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3" h="114">
                  <a:moveTo>
                    <a:pt x="25" y="114"/>
                  </a:moveTo>
                  <a:lnTo>
                    <a:pt x="19" y="114"/>
                  </a:lnTo>
                  <a:lnTo>
                    <a:pt x="13" y="76"/>
                  </a:lnTo>
                  <a:lnTo>
                    <a:pt x="0" y="57"/>
                  </a:lnTo>
                  <a:lnTo>
                    <a:pt x="6" y="32"/>
                  </a:lnTo>
                  <a:lnTo>
                    <a:pt x="13" y="13"/>
                  </a:lnTo>
                  <a:lnTo>
                    <a:pt x="25" y="32"/>
                  </a:lnTo>
                  <a:lnTo>
                    <a:pt x="44" y="32"/>
                  </a:lnTo>
                  <a:lnTo>
                    <a:pt x="70" y="19"/>
                  </a:lnTo>
                  <a:lnTo>
                    <a:pt x="83" y="0"/>
                  </a:lnTo>
                  <a:lnTo>
                    <a:pt x="83" y="32"/>
                  </a:lnTo>
                  <a:lnTo>
                    <a:pt x="57" y="57"/>
                  </a:lnTo>
                  <a:lnTo>
                    <a:pt x="44" y="76"/>
                  </a:lnTo>
                  <a:lnTo>
                    <a:pt x="25"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279" name="Group 278"/>
          <p:cNvGrpSpPr/>
          <p:nvPr/>
        </p:nvGrpSpPr>
        <p:grpSpPr>
          <a:xfrm>
            <a:off x="2670209" y="2914105"/>
            <a:ext cx="660451" cy="729794"/>
            <a:chOff x="4699861" y="3091545"/>
            <a:chExt cx="409730" cy="452750"/>
          </a:xfrm>
          <a:solidFill>
            <a:schemeClr val="bg1">
              <a:lumMod val="95000"/>
            </a:schemeClr>
          </a:solidFill>
          <a:effectLst/>
        </p:grpSpPr>
        <p:sp>
          <p:nvSpPr>
            <p:cNvPr id="280" name="Freeform 88"/>
            <p:cNvSpPr>
              <a:spLocks/>
            </p:cNvSpPr>
            <p:nvPr/>
          </p:nvSpPr>
          <p:spPr bwMode="auto">
            <a:xfrm>
              <a:off x="4699861" y="3152727"/>
              <a:ext cx="409730" cy="391568"/>
            </a:xfrm>
            <a:custGeom>
              <a:avLst/>
              <a:gdLst>
                <a:gd name="T0" fmla="*/ 2147483647 w 268"/>
                <a:gd name="T1" fmla="*/ 0 h 256"/>
                <a:gd name="T2" fmla="*/ 2147483647 w 268"/>
                <a:gd name="T3" fmla="*/ 2147483647 h 256"/>
                <a:gd name="T4" fmla="*/ 2147483647 w 268"/>
                <a:gd name="T5" fmla="*/ 2147483647 h 256"/>
                <a:gd name="T6" fmla="*/ 0 w 268"/>
                <a:gd name="T7" fmla="*/ 2147483647 h 256"/>
                <a:gd name="T8" fmla="*/ 2147483647 w 268"/>
                <a:gd name="T9" fmla="*/ 0 h 256"/>
                <a:gd name="T10" fmla="*/ 0 60000 65536"/>
                <a:gd name="T11" fmla="*/ 0 60000 65536"/>
                <a:gd name="T12" fmla="*/ 0 60000 65536"/>
                <a:gd name="T13" fmla="*/ 0 60000 65536"/>
                <a:gd name="T14" fmla="*/ 0 60000 65536"/>
                <a:gd name="T15" fmla="*/ 0 w 268"/>
                <a:gd name="T16" fmla="*/ 0 h 256"/>
                <a:gd name="T17" fmla="*/ 268 w 268"/>
                <a:gd name="T18" fmla="*/ 256 h 256"/>
              </a:gdLst>
              <a:ahLst/>
              <a:cxnLst>
                <a:cxn ang="T10">
                  <a:pos x="T0" y="T1"/>
                </a:cxn>
                <a:cxn ang="T11">
                  <a:pos x="T2" y="T3"/>
                </a:cxn>
                <a:cxn ang="T12">
                  <a:pos x="T4" y="T5"/>
                </a:cxn>
                <a:cxn ang="T13">
                  <a:pos x="T6" y="T7"/>
                </a:cxn>
                <a:cxn ang="T14">
                  <a:pos x="T8" y="T9"/>
                </a:cxn>
              </a:cxnLst>
              <a:rect l="T15" t="T16" r="T17" b="T18"/>
              <a:pathLst>
                <a:path w="268" h="256">
                  <a:moveTo>
                    <a:pt x="68" y="0"/>
                  </a:moveTo>
                  <a:lnTo>
                    <a:pt x="268" y="6"/>
                  </a:lnTo>
                  <a:lnTo>
                    <a:pt x="232" y="256"/>
                  </a:lnTo>
                  <a:lnTo>
                    <a:pt x="0" y="246"/>
                  </a:lnTo>
                  <a:lnTo>
                    <a:pt x="68" y="0"/>
                  </a:lnTo>
                  <a:close/>
                </a:path>
              </a:pathLst>
            </a:custGeom>
            <a:solidFill>
              <a:srgbClr val="17375E"/>
            </a:solid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281" name="Freeform 89"/>
            <p:cNvSpPr>
              <a:spLocks noEditPoints="1"/>
            </p:cNvSpPr>
            <p:nvPr/>
          </p:nvSpPr>
          <p:spPr bwMode="auto">
            <a:xfrm>
              <a:off x="4745726" y="3186377"/>
              <a:ext cx="327172" cy="324268"/>
            </a:xfrm>
            <a:custGeom>
              <a:avLst/>
              <a:gdLst>
                <a:gd name="T0" fmla="*/ 2147483647 w 214"/>
                <a:gd name="T1" fmla="*/ 2147483647 h 212"/>
                <a:gd name="T2" fmla="*/ 2147483647 w 214"/>
                <a:gd name="T3" fmla="*/ 2147483647 h 212"/>
                <a:gd name="T4" fmla="*/ 2147483647 w 214"/>
                <a:gd name="T5" fmla="*/ 2147483647 h 212"/>
                <a:gd name="T6" fmla="*/ 2147483647 w 214"/>
                <a:gd name="T7" fmla="*/ 2147483647 h 212"/>
                <a:gd name="T8" fmla="*/ 2147483647 w 214"/>
                <a:gd name="T9" fmla="*/ 2147483647 h 212"/>
                <a:gd name="T10" fmla="*/ 2147483647 w 214"/>
                <a:gd name="T11" fmla="*/ 2147483647 h 212"/>
                <a:gd name="T12" fmla="*/ 2147483647 w 214"/>
                <a:gd name="T13" fmla="*/ 2147483647 h 212"/>
                <a:gd name="T14" fmla="*/ 2147483647 w 214"/>
                <a:gd name="T15" fmla="*/ 2147483647 h 212"/>
                <a:gd name="T16" fmla="*/ 2147483647 w 214"/>
                <a:gd name="T17" fmla="*/ 2147483647 h 212"/>
                <a:gd name="T18" fmla="*/ 2147483647 w 214"/>
                <a:gd name="T19" fmla="*/ 2147483647 h 212"/>
                <a:gd name="T20" fmla="*/ 2147483647 w 214"/>
                <a:gd name="T21" fmla="*/ 2147483647 h 212"/>
                <a:gd name="T22" fmla="*/ 2147483647 w 214"/>
                <a:gd name="T23" fmla="*/ 2147483647 h 212"/>
                <a:gd name="T24" fmla="*/ 2147483647 w 214"/>
                <a:gd name="T25" fmla="*/ 2147483647 h 212"/>
                <a:gd name="T26" fmla="*/ 2147483647 w 214"/>
                <a:gd name="T27" fmla="*/ 2147483647 h 212"/>
                <a:gd name="T28" fmla="*/ 2147483647 w 214"/>
                <a:gd name="T29" fmla="*/ 2147483647 h 212"/>
                <a:gd name="T30" fmla="*/ 2147483647 w 214"/>
                <a:gd name="T31" fmla="*/ 2147483647 h 212"/>
                <a:gd name="T32" fmla="*/ 2147483647 w 214"/>
                <a:gd name="T33" fmla="*/ 2147483647 h 212"/>
                <a:gd name="T34" fmla="*/ 2147483647 w 214"/>
                <a:gd name="T35" fmla="*/ 2147483647 h 212"/>
                <a:gd name="T36" fmla="*/ 2147483647 w 214"/>
                <a:gd name="T37" fmla="*/ 2147483647 h 212"/>
                <a:gd name="T38" fmla="*/ 2147483647 w 214"/>
                <a:gd name="T39" fmla="*/ 2147483647 h 212"/>
                <a:gd name="T40" fmla="*/ 2147483647 w 214"/>
                <a:gd name="T41" fmla="*/ 2147483647 h 212"/>
                <a:gd name="T42" fmla="*/ 2147483647 w 214"/>
                <a:gd name="T43" fmla="*/ 2147483647 h 212"/>
                <a:gd name="T44" fmla="*/ 2147483647 w 214"/>
                <a:gd name="T45" fmla="*/ 2147483647 h 212"/>
                <a:gd name="T46" fmla="*/ 2147483647 w 214"/>
                <a:gd name="T47" fmla="*/ 2147483647 h 212"/>
                <a:gd name="T48" fmla="*/ 2147483647 w 214"/>
                <a:gd name="T49" fmla="*/ 2147483647 h 212"/>
                <a:gd name="T50" fmla="*/ 2147483647 w 214"/>
                <a:gd name="T51" fmla="*/ 2147483647 h 212"/>
                <a:gd name="T52" fmla="*/ 2147483647 w 214"/>
                <a:gd name="T53" fmla="*/ 2147483647 h 212"/>
                <a:gd name="T54" fmla="*/ 2147483647 w 214"/>
                <a:gd name="T55" fmla="*/ 2147483647 h 212"/>
                <a:gd name="T56" fmla="*/ 2147483647 w 214"/>
                <a:gd name="T57" fmla="*/ 2147483647 h 212"/>
                <a:gd name="T58" fmla="*/ 2147483647 w 214"/>
                <a:gd name="T59" fmla="*/ 2147483647 h 212"/>
                <a:gd name="T60" fmla="*/ 2147483647 w 214"/>
                <a:gd name="T61" fmla="*/ 2147483647 h 212"/>
                <a:gd name="T62" fmla="*/ 2147483647 w 214"/>
                <a:gd name="T63" fmla="*/ 2147483647 h 212"/>
                <a:gd name="T64" fmla="*/ 2147483647 w 214"/>
                <a:gd name="T65" fmla="*/ 2147483647 h 212"/>
                <a:gd name="T66" fmla="*/ 0 w 214"/>
                <a:gd name="T67" fmla="*/ 2147483647 h 212"/>
                <a:gd name="T68" fmla="*/ 2147483647 w 214"/>
                <a:gd name="T69" fmla="*/ 2147483647 h 212"/>
                <a:gd name="T70" fmla="*/ 2147483647 w 214"/>
                <a:gd name="T71" fmla="*/ 2147483647 h 212"/>
                <a:gd name="T72" fmla="*/ 2147483647 w 214"/>
                <a:gd name="T73" fmla="*/ 0 h 212"/>
                <a:gd name="T74" fmla="*/ 2147483647 w 214"/>
                <a:gd name="T75" fmla="*/ 2147483647 h 212"/>
                <a:gd name="T76" fmla="*/ 2147483647 w 214"/>
                <a:gd name="T77" fmla="*/ 2147483647 h 212"/>
                <a:gd name="T78" fmla="*/ 2147483647 w 214"/>
                <a:gd name="T79" fmla="*/ 2147483647 h 212"/>
                <a:gd name="T80" fmla="*/ 2147483647 w 214"/>
                <a:gd name="T81" fmla="*/ 0 h 2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4"/>
                <a:gd name="T124" fmla="*/ 0 h 212"/>
                <a:gd name="T125" fmla="*/ 214 w 214"/>
                <a:gd name="T126" fmla="*/ 212 h 2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4" h="212">
                  <a:moveTo>
                    <a:pt x="44" y="32"/>
                  </a:moveTo>
                  <a:lnTo>
                    <a:pt x="208" y="38"/>
                  </a:lnTo>
                  <a:lnTo>
                    <a:pt x="206" y="50"/>
                  </a:lnTo>
                  <a:lnTo>
                    <a:pt x="40" y="44"/>
                  </a:lnTo>
                  <a:lnTo>
                    <a:pt x="44" y="32"/>
                  </a:lnTo>
                  <a:close/>
                  <a:moveTo>
                    <a:pt x="36" y="64"/>
                  </a:moveTo>
                  <a:lnTo>
                    <a:pt x="204" y="70"/>
                  </a:lnTo>
                  <a:lnTo>
                    <a:pt x="202" y="84"/>
                  </a:lnTo>
                  <a:lnTo>
                    <a:pt x="32" y="78"/>
                  </a:lnTo>
                  <a:lnTo>
                    <a:pt x="36" y="64"/>
                  </a:lnTo>
                  <a:close/>
                  <a:moveTo>
                    <a:pt x="28" y="96"/>
                  </a:moveTo>
                  <a:lnTo>
                    <a:pt x="198" y="102"/>
                  </a:lnTo>
                  <a:lnTo>
                    <a:pt x="196" y="116"/>
                  </a:lnTo>
                  <a:lnTo>
                    <a:pt x="24" y="108"/>
                  </a:lnTo>
                  <a:lnTo>
                    <a:pt x="28" y="96"/>
                  </a:lnTo>
                  <a:close/>
                  <a:moveTo>
                    <a:pt x="20" y="128"/>
                  </a:moveTo>
                  <a:lnTo>
                    <a:pt x="194" y="134"/>
                  </a:lnTo>
                  <a:lnTo>
                    <a:pt x="192" y="148"/>
                  </a:lnTo>
                  <a:lnTo>
                    <a:pt x="16" y="140"/>
                  </a:lnTo>
                  <a:lnTo>
                    <a:pt x="20" y="128"/>
                  </a:lnTo>
                  <a:close/>
                  <a:moveTo>
                    <a:pt x="10" y="160"/>
                  </a:moveTo>
                  <a:lnTo>
                    <a:pt x="188" y="166"/>
                  </a:lnTo>
                  <a:lnTo>
                    <a:pt x="186" y="180"/>
                  </a:lnTo>
                  <a:lnTo>
                    <a:pt x="6" y="172"/>
                  </a:lnTo>
                  <a:lnTo>
                    <a:pt x="10" y="160"/>
                  </a:lnTo>
                  <a:close/>
                  <a:moveTo>
                    <a:pt x="2" y="192"/>
                  </a:moveTo>
                  <a:lnTo>
                    <a:pt x="184" y="200"/>
                  </a:lnTo>
                  <a:lnTo>
                    <a:pt x="182" y="212"/>
                  </a:lnTo>
                  <a:lnTo>
                    <a:pt x="0" y="204"/>
                  </a:lnTo>
                  <a:lnTo>
                    <a:pt x="2" y="192"/>
                  </a:lnTo>
                  <a:close/>
                  <a:moveTo>
                    <a:pt x="52" y="0"/>
                  </a:moveTo>
                  <a:lnTo>
                    <a:pt x="214" y="6"/>
                  </a:lnTo>
                  <a:lnTo>
                    <a:pt x="212" y="18"/>
                  </a:lnTo>
                  <a:lnTo>
                    <a:pt x="50" y="12"/>
                  </a:lnTo>
                  <a:lnTo>
                    <a:pt x="52" y="0"/>
                  </a:lnTo>
                  <a:close/>
                </a:path>
              </a:pathLst>
            </a:custGeom>
            <a:grpFill/>
            <a:ln>
              <a:noFill/>
            </a:ln>
            <a:extLst/>
          </p:spPr>
          <p:txBody>
            <a:bodyPr/>
            <a:lstStyle/>
            <a:p>
              <a:pPr fontAlgn="auto">
                <a:spcBef>
                  <a:spcPts val="0"/>
                </a:spcBef>
                <a:spcAft>
                  <a:spcPts val="0"/>
                </a:spcAft>
                <a:defRPr/>
              </a:pPr>
              <a:endParaRPr lang="en-US">
                <a:latin typeface="+mn-lt"/>
                <a:ea typeface="+mn-ea"/>
              </a:endParaRPr>
            </a:p>
          </p:txBody>
        </p:sp>
        <p:sp>
          <p:nvSpPr>
            <p:cNvPr id="282" name="Freeform 90"/>
            <p:cNvSpPr>
              <a:spLocks/>
            </p:cNvSpPr>
            <p:nvPr/>
          </p:nvSpPr>
          <p:spPr bwMode="auto">
            <a:xfrm>
              <a:off x="4699865" y="3091545"/>
              <a:ext cx="379153" cy="437455"/>
            </a:xfrm>
            <a:custGeom>
              <a:avLst/>
              <a:gdLst>
                <a:gd name="T0" fmla="*/ 2147483647 w 248"/>
                <a:gd name="T1" fmla="*/ 2147483647 h 286"/>
                <a:gd name="T2" fmla="*/ 2147483647 w 248"/>
                <a:gd name="T3" fmla="*/ 2147483647 h 286"/>
                <a:gd name="T4" fmla="*/ 2147483647 w 248"/>
                <a:gd name="T5" fmla="*/ 2147483647 h 286"/>
                <a:gd name="T6" fmla="*/ 2147483647 w 248"/>
                <a:gd name="T7" fmla="*/ 2147483647 h 286"/>
                <a:gd name="T8" fmla="*/ 2147483647 w 248"/>
                <a:gd name="T9" fmla="*/ 2147483647 h 286"/>
                <a:gd name="T10" fmla="*/ 2147483647 w 248"/>
                <a:gd name="T11" fmla="*/ 0 h 286"/>
                <a:gd name="T12" fmla="*/ 2147483647 w 248"/>
                <a:gd name="T13" fmla="*/ 2147483647 h 286"/>
                <a:gd name="T14" fmla="*/ 2147483647 w 248"/>
                <a:gd name="T15" fmla="*/ 2147483647 h 286"/>
                <a:gd name="T16" fmla="*/ 2147483647 w 248"/>
                <a:gd name="T17" fmla="*/ 2147483647 h 286"/>
                <a:gd name="T18" fmla="*/ 2147483647 w 248"/>
                <a:gd name="T19" fmla="*/ 2147483647 h 286"/>
                <a:gd name="T20" fmla="*/ 2147483647 w 248"/>
                <a:gd name="T21" fmla="*/ 2147483647 h 286"/>
                <a:gd name="T22" fmla="*/ 0 w 248"/>
                <a:gd name="T23" fmla="*/ 2147483647 h 286"/>
                <a:gd name="T24" fmla="*/ 2147483647 w 248"/>
                <a:gd name="T25" fmla="*/ 2147483647 h 2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8"/>
                <a:gd name="T40" fmla="*/ 0 h 286"/>
                <a:gd name="T41" fmla="*/ 248 w 248"/>
                <a:gd name="T42" fmla="*/ 286 h 2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8" h="286">
                  <a:moveTo>
                    <a:pt x="68" y="40"/>
                  </a:moveTo>
                  <a:lnTo>
                    <a:pt x="68" y="40"/>
                  </a:lnTo>
                  <a:lnTo>
                    <a:pt x="114" y="36"/>
                  </a:lnTo>
                  <a:lnTo>
                    <a:pt x="160" y="28"/>
                  </a:lnTo>
                  <a:lnTo>
                    <a:pt x="204" y="16"/>
                  </a:lnTo>
                  <a:lnTo>
                    <a:pt x="248" y="0"/>
                  </a:lnTo>
                  <a:lnTo>
                    <a:pt x="196" y="244"/>
                  </a:lnTo>
                  <a:lnTo>
                    <a:pt x="148" y="260"/>
                  </a:lnTo>
                  <a:lnTo>
                    <a:pt x="100" y="274"/>
                  </a:lnTo>
                  <a:lnTo>
                    <a:pt x="50" y="282"/>
                  </a:lnTo>
                  <a:lnTo>
                    <a:pt x="0" y="286"/>
                  </a:lnTo>
                  <a:lnTo>
                    <a:pt x="68" y="40"/>
                  </a:lnTo>
                  <a:close/>
                </a:path>
              </a:pathLst>
            </a:custGeom>
            <a:solidFill>
              <a:srgbClr val="17375E"/>
            </a:solid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284" name="Freeform 92"/>
            <p:cNvSpPr>
              <a:spLocks/>
            </p:cNvSpPr>
            <p:nvPr/>
          </p:nvSpPr>
          <p:spPr bwMode="auto">
            <a:xfrm>
              <a:off x="4776308" y="3220026"/>
              <a:ext cx="128423" cy="131543"/>
            </a:xfrm>
            <a:custGeom>
              <a:avLst/>
              <a:gdLst>
                <a:gd name="T0" fmla="*/ 2147483647 w 84"/>
                <a:gd name="T1" fmla="*/ 2147483647 h 86"/>
                <a:gd name="T2" fmla="*/ 2147483647 w 84"/>
                <a:gd name="T3" fmla="*/ 2147483647 h 86"/>
                <a:gd name="T4" fmla="*/ 2147483647 w 84"/>
                <a:gd name="T5" fmla="*/ 2147483647 h 86"/>
                <a:gd name="T6" fmla="*/ 2147483647 w 84"/>
                <a:gd name="T7" fmla="*/ 0 h 86"/>
                <a:gd name="T8" fmla="*/ 2147483647 w 84"/>
                <a:gd name="T9" fmla="*/ 2147483647 h 86"/>
                <a:gd name="T10" fmla="*/ 2147483647 w 84"/>
                <a:gd name="T11" fmla="*/ 2147483647 h 86"/>
                <a:gd name="T12" fmla="*/ 2147483647 w 84"/>
                <a:gd name="T13" fmla="*/ 2147483647 h 86"/>
                <a:gd name="T14" fmla="*/ 0 w 84"/>
                <a:gd name="T15" fmla="*/ 2147483647 h 86"/>
                <a:gd name="T16" fmla="*/ 2147483647 w 84"/>
                <a:gd name="T17" fmla="*/ 2147483647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
                <a:gd name="T28" fmla="*/ 0 h 86"/>
                <a:gd name="T29" fmla="*/ 84 w 84"/>
                <a:gd name="T30" fmla="*/ 86 h 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 h="86">
                  <a:moveTo>
                    <a:pt x="22" y="10"/>
                  </a:moveTo>
                  <a:lnTo>
                    <a:pt x="22" y="10"/>
                  </a:lnTo>
                  <a:lnTo>
                    <a:pt x="52" y="6"/>
                  </a:lnTo>
                  <a:lnTo>
                    <a:pt x="84" y="0"/>
                  </a:lnTo>
                  <a:lnTo>
                    <a:pt x="64" y="78"/>
                  </a:lnTo>
                  <a:lnTo>
                    <a:pt x="32" y="82"/>
                  </a:lnTo>
                  <a:lnTo>
                    <a:pt x="0" y="86"/>
                  </a:lnTo>
                  <a:lnTo>
                    <a:pt x="22" y="10"/>
                  </a:lnTo>
                  <a:close/>
                </a:path>
              </a:pathLst>
            </a:custGeom>
            <a:grpFill/>
            <a:ln>
              <a:noFill/>
            </a:ln>
            <a:extLst/>
          </p:spPr>
          <p:txBody>
            <a:bodyPr/>
            <a:lstStyle/>
            <a:p>
              <a:pPr fontAlgn="auto">
                <a:spcBef>
                  <a:spcPts val="0"/>
                </a:spcBef>
                <a:spcAft>
                  <a:spcPts val="0"/>
                </a:spcAft>
                <a:defRPr/>
              </a:pPr>
              <a:endParaRPr lang="en-US">
                <a:latin typeface="+mn-lt"/>
                <a:ea typeface="+mn-ea"/>
              </a:endParaRPr>
            </a:p>
          </p:txBody>
        </p:sp>
      </p:grpSp>
      <p:grpSp>
        <p:nvGrpSpPr>
          <p:cNvPr id="15385" name="Group 287"/>
          <p:cNvGrpSpPr>
            <a:grpSpLocks/>
          </p:cNvGrpSpPr>
          <p:nvPr/>
        </p:nvGrpSpPr>
        <p:grpSpPr bwMode="auto">
          <a:xfrm>
            <a:off x="5676900" y="1547813"/>
            <a:ext cx="828675" cy="450850"/>
            <a:chOff x="5038125" y="4776246"/>
            <a:chExt cx="829402" cy="451390"/>
          </a:xfrm>
        </p:grpSpPr>
        <p:sp>
          <p:nvSpPr>
            <p:cNvPr id="285" name="Freeform 284"/>
            <p:cNvSpPr>
              <a:spLocks/>
            </p:cNvSpPr>
            <p:nvPr/>
          </p:nvSpPr>
          <p:spPr bwMode="auto">
            <a:xfrm>
              <a:off x="5217670" y="4776246"/>
              <a:ext cx="475078" cy="451390"/>
            </a:xfrm>
            <a:custGeom>
              <a:avLst/>
              <a:gdLst>
                <a:gd name="T0" fmla="*/ 836 w 1482"/>
                <a:gd name="T1" fmla="*/ 11 h 1412"/>
                <a:gd name="T2" fmla="*/ 888 w 1482"/>
                <a:gd name="T3" fmla="*/ 35 h 1412"/>
                <a:gd name="T4" fmla="*/ 943 w 1482"/>
                <a:gd name="T5" fmla="*/ 89 h 1412"/>
                <a:gd name="T6" fmla="*/ 999 w 1482"/>
                <a:gd name="T7" fmla="*/ 170 h 1412"/>
                <a:gd name="T8" fmla="*/ 1027 w 1482"/>
                <a:gd name="T9" fmla="*/ 254 h 1412"/>
                <a:gd name="T10" fmla="*/ 1017 w 1482"/>
                <a:gd name="T11" fmla="*/ 402 h 1412"/>
                <a:gd name="T12" fmla="*/ 1024 w 1482"/>
                <a:gd name="T13" fmla="*/ 459 h 1412"/>
                <a:gd name="T14" fmla="*/ 1041 w 1482"/>
                <a:gd name="T15" fmla="*/ 464 h 1412"/>
                <a:gd name="T16" fmla="*/ 1038 w 1482"/>
                <a:gd name="T17" fmla="*/ 532 h 1412"/>
                <a:gd name="T18" fmla="*/ 1009 w 1482"/>
                <a:gd name="T19" fmla="*/ 669 h 1412"/>
                <a:gd name="T20" fmla="*/ 996 w 1482"/>
                <a:gd name="T21" fmla="*/ 681 h 1412"/>
                <a:gd name="T22" fmla="*/ 966 w 1482"/>
                <a:gd name="T23" fmla="*/ 748 h 1412"/>
                <a:gd name="T24" fmla="*/ 947 w 1482"/>
                <a:gd name="T25" fmla="*/ 796 h 1412"/>
                <a:gd name="T26" fmla="*/ 907 w 1482"/>
                <a:gd name="T27" fmla="*/ 867 h 1412"/>
                <a:gd name="T28" fmla="*/ 949 w 1482"/>
                <a:gd name="T29" fmla="*/ 896 h 1412"/>
                <a:gd name="T30" fmla="*/ 976 w 1482"/>
                <a:gd name="T31" fmla="*/ 933 h 1412"/>
                <a:gd name="T32" fmla="*/ 1092 w 1482"/>
                <a:gd name="T33" fmla="*/ 991 h 1412"/>
                <a:gd name="T34" fmla="*/ 1358 w 1482"/>
                <a:gd name="T35" fmla="*/ 1104 h 1412"/>
                <a:gd name="T36" fmla="*/ 1439 w 1482"/>
                <a:gd name="T37" fmla="*/ 1152 h 1412"/>
                <a:gd name="T38" fmla="*/ 1473 w 1482"/>
                <a:gd name="T39" fmla="*/ 1189 h 1412"/>
                <a:gd name="T40" fmla="*/ 1482 w 1482"/>
                <a:gd name="T41" fmla="*/ 1232 h 1412"/>
                <a:gd name="T42" fmla="*/ 1475 w 1482"/>
                <a:gd name="T43" fmla="*/ 1397 h 1412"/>
                <a:gd name="T44" fmla="*/ 828 w 1482"/>
                <a:gd name="T45" fmla="*/ 1224 h 1412"/>
                <a:gd name="T46" fmla="*/ 816 w 1482"/>
                <a:gd name="T47" fmla="*/ 1179 h 1412"/>
                <a:gd name="T48" fmla="*/ 874 w 1482"/>
                <a:gd name="T49" fmla="*/ 1106 h 1412"/>
                <a:gd name="T50" fmla="*/ 943 w 1482"/>
                <a:gd name="T51" fmla="*/ 989 h 1412"/>
                <a:gd name="T52" fmla="*/ 831 w 1482"/>
                <a:gd name="T53" fmla="*/ 1093 h 1412"/>
                <a:gd name="T54" fmla="*/ 742 w 1482"/>
                <a:gd name="T55" fmla="*/ 1125 h 1412"/>
                <a:gd name="T56" fmla="*/ 693 w 1482"/>
                <a:gd name="T57" fmla="*/ 1119 h 1412"/>
                <a:gd name="T58" fmla="*/ 601 w 1482"/>
                <a:gd name="T59" fmla="*/ 1052 h 1412"/>
                <a:gd name="T60" fmla="*/ 566 w 1482"/>
                <a:gd name="T61" fmla="*/ 1037 h 1412"/>
                <a:gd name="T62" fmla="*/ 653 w 1482"/>
                <a:gd name="T63" fmla="*/ 1145 h 1412"/>
                <a:gd name="T64" fmla="*/ 677 w 1482"/>
                <a:gd name="T65" fmla="*/ 1191 h 1412"/>
                <a:gd name="T66" fmla="*/ 676 w 1482"/>
                <a:gd name="T67" fmla="*/ 1232 h 1412"/>
                <a:gd name="T68" fmla="*/ 691 w 1482"/>
                <a:gd name="T69" fmla="*/ 1262 h 1412"/>
                <a:gd name="T70" fmla="*/ 689 w 1482"/>
                <a:gd name="T71" fmla="*/ 1377 h 1412"/>
                <a:gd name="T72" fmla="*/ 4 w 1482"/>
                <a:gd name="T73" fmla="*/ 1333 h 1412"/>
                <a:gd name="T74" fmla="*/ 1 w 1482"/>
                <a:gd name="T75" fmla="*/ 1213 h 1412"/>
                <a:gd name="T76" fmla="*/ 20 w 1482"/>
                <a:gd name="T77" fmla="*/ 1175 h 1412"/>
                <a:gd name="T78" fmla="*/ 67 w 1482"/>
                <a:gd name="T79" fmla="*/ 1135 h 1412"/>
                <a:gd name="T80" fmla="*/ 208 w 1482"/>
                <a:gd name="T81" fmla="*/ 1066 h 1412"/>
                <a:gd name="T82" fmla="*/ 473 w 1482"/>
                <a:gd name="T83" fmla="*/ 954 h 1412"/>
                <a:gd name="T84" fmla="*/ 521 w 1482"/>
                <a:gd name="T85" fmla="*/ 917 h 1412"/>
                <a:gd name="T86" fmla="*/ 539 w 1482"/>
                <a:gd name="T87" fmla="*/ 874 h 1412"/>
                <a:gd name="T88" fmla="*/ 569 w 1482"/>
                <a:gd name="T89" fmla="*/ 832 h 1412"/>
                <a:gd name="T90" fmla="*/ 528 w 1482"/>
                <a:gd name="T91" fmla="*/ 784 h 1412"/>
                <a:gd name="T92" fmla="*/ 507 w 1482"/>
                <a:gd name="T93" fmla="*/ 690 h 1412"/>
                <a:gd name="T94" fmla="*/ 481 w 1482"/>
                <a:gd name="T95" fmla="*/ 680 h 1412"/>
                <a:gd name="T96" fmla="*/ 462 w 1482"/>
                <a:gd name="T97" fmla="*/ 631 h 1412"/>
                <a:gd name="T98" fmla="*/ 438 w 1482"/>
                <a:gd name="T99" fmla="*/ 481 h 1412"/>
                <a:gd name="T100" fmla="*/ 442 w 1482"/>
                <a:gd name="T101" fmla="*/ 462 h 1412"/>
                <a:gd name="T102" fmla="*/ 461 w 1482"/>
                <a:gd name="T103" fmla="*/ 460 h 1412"/>
                <a:gd name="T104" fmla="*/ 455 w 1482"/>
                <a:gd name="T105" fmla="*/ 432 h 1412"/>
                <a:gd name="T106" fmla="*/ 438 w 1482"/>
                <a:gd name="T107" fmla="*/ 359 h 1412"/>
                <a:gd name="T108" fmla="*/ 440 w 1482"/>
                <a:gd name="T109" fmla="*/ 246 h 1412"/>
                <a:gd name="T110" fmla="*/ 459 w 1482"/>
                <a:gd name="T111" fmla="*/ 140 h 1412"/>
                <a:gd name="T112" fmla="*/ 485 w 1482"/>
                <a:gd name="T113" fmla="*/ 90 h 1412"/>
                <a:gd name="T114" fmla="*/ 510 w 1482"/>
                <a:gd name="T115" fmla="*/ 77 h 1412"/>
                <a:gd name="T116" fmla="*/ 557 w 1482"/>
                <a:gd name="T117" fmla="*/ 69 h 1412"/>
                <a:gd name="T118" fmla="*/ 604 w 1482"/>
                <a:gd name="T119" fmla="*/ 28 h 1412"/>
                <a:gd name="T120" fmla="*/ 670 w 1482"/>
                <a:gd name="T121" fmla="*/ 6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2" h="1412">
                  <a:moveTo>
                    <a:pt x="741" y="0"/>
                  </a:moveTo>
                  <a:lnTo>
                    <a:pt x="765" y="1"/>
                  </a:lnTo>
                  <a:lnTo>
                    <a:pt x="788" y="2"/>
                  </a:lnTo>
                  <a:lnTo>
                    <a:pt x="812" y="6"/>
                  </a:lnTo>
                  <a:lnTo>
                    <a:pt x="836" y="11"/>
                  </a:lnTo>
                  <a:lnTo>
                    <a:pt x="846" y="15"/>
                  </a:lnTo>
                  <a:lnTo>
                    <a:pt x="857" y="19"/>
                  </a:lnTo>
                  <a:lnTo>
                    <a:pt x="868" y="24"/>
                  </a:lnTo>
                  <a:lnTo>
                    <a:pt x="878" y="28"/>
                  </a:lnTo>
                  <a:lnTo>
                    <a:pt x="888" y="35"/>
                  </a:lnTo>
                  <a:lnTo>
                    <a:pt x="897" y="41"/>
                  </a:lnTo>
                  <a:lnTo>
                    <a:pt x="905" y="49"/>
                  </a:lnTo>
                  <a:lnTo>
                    <a:pt x="914" y="57"/>
                  </a:lnTo>
                  <a:lnTo>
                    <a:pt x="929" y="74"/>
                  </a:lnTo>
                  <a:lnTo>
                    <a:pt x="943" y="89"/>
                  </a:lnTo>
                  <a:lnTo>
                    <a:pt x="956" y="105"/>
                  </a:lnTo>
                  <a:lnTo>
                    <a:pt x="968" y="121"/>
                  </a:lnTo>
                  <a:lnTo>
                    <a:pt x="979" y="138"/>
                  </a:lnTo>
                  <a:lnTo>
                    <a:pt x="989" y="154"/>
                  </a:lnTo>
                  <a:lnTo>
                    <a:pt x="999" y="170"/>
                  </a:lnTo>
                  <a:lnTo>
                    <a:pt x="1006" y="185"/>
                  </a:lnTo>
                  <a:lnTo>
                    <a:pt x="1013" y="202"/>
                  </a:lnTo>
                  <a:lnTo>
                    <a:pt x="1019" y="219"/>
                  </a:lnTo>
                  <a:lnTo>
                    <a:pt x="1023" y="237"/>
                  </a:lnTo>
                  <a:lnTo>
                    <a:pt x="1027" y="254"/>
                  </a:lnTo>
                  <a:lnTo>
                    <a:pt x="1029" y="273"/>
                  </a:lnTo>
                  <a:lnTo>
                    <a:pt x="1029" y="293"/>
                  </a:lnTo>
                  <a:lnTo>
                    <a:pt x="1028" y="312"/>
                  </a:lnTo>
                  <a:lnTo>
                    <a:pt x="1027" y="333"/>
                  </a:lnTo>
                  <a:lnTo>
                    <a:pt x="1017" y="402"/>
                  </a:lnTo>
                  <a:lnTo>
                    <a:pt x="1009" y="444"/>
                  </a:lnTo>
                  <a:lnTo>
                    <a:pt x="1004" y="464"/>
                  </a:lnTo>
                  <a:lnTo>
                    <a:pt x="1003" y="470"/>
                  </a:lnTo>
                  <a:lnTo>
                    <a:pt x="1010" y="465"/>
                  </a:lnTo>
                  <a:lnTo>
                    <a:pt x="1024" y="459"/>
                  </a:lnTo>
                  <a:lnTo>
                    <a:pt x="1028" y="459"/>
                  </a:lnTo>
                  <a:lnTo>
                    <a:pt x="1032" y="459"/>
                  </a:lnTo>
                  <a:lnTo>
                    <a:pt x="1036" y="459"/>
                  </a:lnTo>
                  <a:lnTo>
                    <a:pt x="1039" y="461"/>
                  </a:lnTo>
                  <a:lnTo>
                    <a:pt x="1041" y="464"/>
                  </a:lnTo>
                  <a:lnTo>
                    <a:pt x="1044" y="468"/>
                  </a:lnTo>
                  <a:lnTo>
                    <a:pt x="1044" y="474"/>
                  </a:lnTo>
                  <a:lnTo>
                    <a:pt x="1044" y="481"/>
                  </a:lnTo>
                  <a:lnTo>
                    <a:pt x="1043" y="503"/>
                  </a:lnTo>
                  <a:lnTo>
                    <a:pt x="1038" y="532"/>
                  </a:lnTo>
                  <a:lnTo>
                    <a:pt x="1034" y="566"/>
                  </a:lnTo>
                  <a:lnTo>
                    <a:pt x="1027" y="600"/>
                  </a:lnTo>
                  <a:lnTo>
                    <a:pt x="1020" y="631"/>
                  </a:lnTo>
                  <a:lnTo>
                    <a:pt x="1012" y="659"/>
                  </a:lnTo>
                  <a:lnTo>
                    <a:pt x="1009" y="669"/>
                  </a:lnTo>
                  <a:lnTo>
                    <a:pt x="1004" y="676"/>
                  </a:lnTo>
                  <a:lnTo>
                    <a:pt x="1003" y="678"/>
                  </a:lnTo>
                  <a:lnTo>
                    <a:pt x="1001" y="680"/>
                  </a:lnTo>
                  <a:lnTo>
                    <a:pt x="999" y="681"/>
                  </a:lnTo>
                  <a:lnTo>
                    <a:pt x="996" y="681"/>
                  </a:lnTo>
                  <a:lnTo>
                    <a:pt x="978" y="676"/>
                  </a:lnTo>
                  <a:lnTo>
                    <a:pt x="976" y="674"/>
                  </a:lnTo>
                  <a:lnTo>
                    <a:pt x="975" y="690"/>
                  </a:lnTo>
                  <a:lnTo>
                    <a:pt x="970" y="726"/>
                  </a:lnTo>
                  <a:lnTo>
                    <a:pt x="966" y="748"/>
                  </a:lnTo>
                  <a:lnTo>
                    <a:pt x="961" y="767"/>
                  </a:lnTo>
                  <a:lnTo>
                    <a:pt x="958" y="776"/>
                  </a:lnTo>
                  <a:lnTo>
                    <a:pt x="954" y="784"/>
                  </a:lnTo>
                  <a:lnTo>
                    <a:pt x="950" y="791"/>
                  </a:lnTo>
                  <a:lnTo>
                    <a:pt x="947" y="796"/>
                  </a:lnTo>
                  <a:lnTo>
                    <a:pt x="931" y="812"/>
                  </a:lnTo>
                  <a:lnTo>
                    <a:pt x="919" y="825"/>
                  </a:lnTo>
                  <a:lnTo>
                    <a:pt x="913" y="832"/>
                  </a:lnTo>
                  <a:lnTo>
                    <a:pt x="910" y="835"/>
                  </a:lnTo>
                  <a:lnTo>
                    <a:pt x="907" y="867"/>
                  </a:lnTo>
                  <a:lnTo>
                    <a:pt x="943" y="865"/>
                  </a:lnTo>
                  <a:lnTo>
                    <a:pt x="943" y="867"/>
                  </a:lnTo>
                  <a:lnTo>
                    <a:pt x="943" y="874"/>
                  </a:lnTo>
                  <a:lnTo>
                    <a:pt x="945" y="883"/>
                  </a:lnTo>
                  <a:lnTo>
                    <a:pt x="949" y="896"/>
                  </a:lnTo>
                  <a:lnTo>
                    <a:pt x="952" y="903"/>
                  </a:lnTo>
                  <a:lnTo>
                    <a:pt x="957" y="910"/>
                  </a:lnTo>
                  <a:lnTo>
                    <a:pt x="961" y="917"/>
                  </a:lnTo>
                  <a:lnTo>
                    <a:pt x="968" y="925"/>
                  </a:lnTo>
                  <a:lnTo>
                    <a:pt x="976" y="933"/>
                  </a:lnTo>
                  <a:lnTo>
                    <a:pt x="985" y="940"/>
                  </a:lnTo>
                  <a:lnTo>
                    <a:pt x="996" y="947"/>
                  </a:lnTo>
                  <a:lnTo>
                    <a:pt x="1009" y="954"/>
                  </a:lnTo>
                  <a:lnTo>
                    <a:pt x="1044" y="970"/>
                  </a:lnTo>
                  <a:lnTo>
                    <a:pt x="1092" y="991"/>
                  </a:lnTo>
                  <a:lnTo>
                    <a:pt x="1150" y="1014"/>
                  </a:lnTo>
                  <a:lnTo>
                    <a:pt x="1212" y="1040"/>
                  </a:lnTo>
                  <a:lnTo>
                    <a:pt x="1274" y="1066"/>
                  </a:lnTo>
                  <a:lnTo>
                    <a:pt x="1332" y="1092"/>
                  </a:lnTo>
                  <a:lnTo>
                    <a:pt x="1358" y="1104"/>
                  </a:lnTo>
                  <a:lnTo>
                    <a:pt x="1380" y="1115"/>
                  </a:lnTo>
                  <a:lnTo>
                    <a:pt x="1401" y="1126"/>
                  </a:lnTo>
                  <a:lnTo>
                    <a:pt x="1415" y="1135"/>
                  </a:lnTo>
                  <a:lnTo>
                    <a:pt x="1428" y="1144"/>
                  </a:lnTo>
                  <a:lnTo>
                    <a:pt x="1439" y="1152"/>
                  </a:lnTo>
                  <a:lnTo>
                    <a:pt x="1448" y="1160"/>
                  </a:lnTo>
                  <a:lnTo>
                    <a:pt x="1456" y="1167"/>
                  </a:lnTo>
                  <a:lnTo>
                    <a:pt x="1463" y="1175"/>
                  </a:lnTo>
                  <a:lnTo>
                    <a:pt x="1468" y="1181"/>
                  </a:lnTo>
                  <a:lnTo>
                    <a:pt x="1473" y="1189"/>
                  </a:lnTo>
                  <a:lnTo>
                    <a:pt x="1476" y="1197"/>
                  </a:lnTo>
                  <a:lnTo>
                    <a:pt x="1478" y="1205"/>
                  </a:lnTo>
                  <a:lnTo>
                    <a:pt x="1481" y="1213"/>
                  </a:lnTo>
                  <a:lnTo>
                    <a:pt x="1482" y="1222"/>
                  </a:lnTo>
                  <a:lnTo>
                    <a:pt x="1482" y="1232"/>
                  </a:lnTo>
                  <a:lnTo>
                    <a:pt x="1482" y="1255"/>
                  </a:lnTo>
                  <a:lnTo>
                    <a:pt x="1481" y="1281"/>
                  </a:lnTo>
                  <a:lnTo>
                    <a:pt x="1478" y="1333"/>
                  </a:lnTo>
                  <a:lnTo>
                    <a:pt x="1477" y="1372"/>
                  </a:lnTo>
                  <a:lnTo>
                    <a:pt x="1475" y="1397"/>
                  </a:lnTo>
                  <a:lnTo>
                    <a:pt x="1475" y="1406"/>
                  </a:lnTo>
                  <a:lnTo>
                    <a:pt x="859" y="1412"/>
                  </a:lnTo>
                  <a:lnTo>
                    <a:pt x="822" y="1265"/>
                  </a:lnTo>
                  <a:lnTo>
                    <a:pt x="826" y="1242"/>
                  </a:lnTo>
                  <a:lnTo>
                    <a:pt x="828" y="1224"/>
                  </a:lnTo>
                  <a:lnTo>
                    <a:pt x="828" y="1210"/>
                  </a:lnTo>
                  <a:lnTo>
                    <a:pt x="827" y="1200"/>
                  </a:lnTo>
                  <a:lnTo>
                    <a:pt x="823" y="1191"/>
                  </a:lnTo>
                  <a:lnTo>
                    <a:pt x="820" y="1184"/>
                  </a:lnTo>
                  <a:lnTo>
                    <a:pt x="816" y="1179"/>
                  </a:lnTo>
                  <a:lnTo>
                    <a:pt x="810" y="1175"/>
                  </a:lnTo>
                  <a:lnTo>
                    <a:pt x="826" y="1158"/>
                  </a:lnTo>
                  <a:lnTo>
                    <a:pt x="842" y="1142"/>
                  </a:lnTo>
                  <a:lnTo>
                    <a:pt x="857" y="1125"/>
                  </a:lnTo>
                  <a:lnTo>
                    <a:pt x="874" y="1106"/>
                  </a:lnTo>
                  <a:lnTo>
                    <a:pt x="892" y="1083"/>
                  </a:lnTo>
                  <a:lnTo>
                    <a:pt x="914" y="1053"/>
                  </a:lnTo>
                  <a:lnTo>
                    <a:pt x="938" y="1015"/>
                  </a:lnTo>
                  <a:lnTo>
                    <a:pt x="966" y="968"/>
                  </a:lnTo>
                  <a:lnTo>
                    <a:pt x="943" y="989"/>
                  </a:lnTo>
                  <a:lnTo>
                    <a:pt x="921" y="1010"/>
                  </a:lnTo>
                  <a:lnTo>
                    <a:pt x="899" y="1030"/>
                  </a:lnTo>
                  <a:lnTo>
                    <a:pt x="877" y="1052"/>
                  </a:lnTo>
                  <a:lnTo>
                    <a:pt x="854" y="1072"/>
                  </a:lnTo>
                  <a:lnTo>
                    <a:pt x="831" y="1093"/>
                  </a:lnTo>
                  <a:lnTo>
                    <a:pt x="810" y="1114"/>
                  </a:lnTo>
                  <a:lnTo>
                    <a:pt x="787" y="1135"/>
                  </a:lnTo>
                  <a:lnTo>
                    <a:pt x="769" y="1130"/>
                  </a:lnTo>
                  <a:lnTo>
                    <a:pt x="751" y="1126"/>
                  </a:lnTo>
                  <a:lnTo>
                    <a:pt x="742" y="1125"/>
                  </a:lnTo>
                  <a:lnTo>
                    <a:pt x="733" y="1125"/>
                  </a:lnTo>
                  <a:lnTo>
                    <a:pt x="725" y="1126"/>
                  </a:lnTo>
                  <a:lnTo>
                    <a:pt x="716" y="1128"/>
                  </a:lnTo>
                  <a:lnTo>
                    <a:pt x="704" y="1125"/>
                  </a:lnTo>
                  <a:lnTo>
                    <a:pt x="693" y="1119"/>
                  </a:lnTo>
                  <a:lnTo>
                    <a:pt x="681" y="1114"/>
                  </a:lnTo>
                  <a:lnTo>
                    <a:pt x="670" y="1107"/>
                  </a:lnTo>
                  <a:lnTo>
                    <a:pt x="646" y="1091"/>
                  </a:lnTo>
                  <a:lnTo>
                    <a:pt x="624" y="1072"/>
                  </a:lnTo>
                  <a:lnTo>
                    <a:pt x="601" y="1052"/>
                  </a:lnTo>
                  <a:lnTo>
                    <a:pt x="577" y="1029"/>
                  </a:lnTo>
                  <a:lnTo>
                    <a:pt x="555" y="1005"/>
                  </a:lnTo>
                  <a:lnTo>
                    <a:pt x="531" y="980"/>
                  </a:lnTo>
                  <a:lnTo>
                    <a:pt x="549" y="1009"/>
                  </a:lnTo>
                  <a:lnTo>
                    <a:pt x="566" y="1037"/>
                  </a:lnTo>
                  <a:lnTo>
                    <a:pt x="584" y="1064"/>
                  </a:lnTo>
                  <a:lnTo>
                    <a:pt x="603" y="1090"/>
                  </a:lnTo>
                  <a:lnTo>
                    <a:pt x="623" y="1114"/>
                  </a:lnTo>
                  <a:lnTo>
                    <a:pt x="642" y="1136"/>
                  </a:lnTo>
                  <a:lnTo>
                    <a:pt x="653" y="1145"/>
                  </a:lnTo>
                  <a:lnTo>
                    <a:pt x="663" y="1154"/>
                  </a:lnTo>
                  <a:lnTo>
                    <a:pt x="674" y="1163"/>
                  </a:lnTo>
                  <a:lnTo>
                    <a:pt x="686" y="1170"/>
                  </a:lnTo>
                  <a:lnTo>
                    <a:pt x="681" y="1180"/>
                  </a:lnTo>
                  <a:lnTo>
                    <a:pt x="677" y="1191"/>
                  </a:lnTo>
                  <a:lnTo>
                    <a:pt x="674" y="1200"/>
                  </a:lnTo>
                  <a:lnTo>
                    <a:pt x="673" y="1209"/>
                  </a:lnTo>
                  <a:lnTo>
                    <a:pt x="673" y="1218"/>
                  </a:lnTo>
                  <a:lnTo>
                    <a:pt x="673" y="1226"/>
                  </a:lnTo>
                  <a:lnTo>
                    <a:pt x="676" y="1232"/>
                  </a:lnTo>
                  <a:lnTo>
                    <a:pt x="678" y="1239"/>
                  </a:lnTo>
                  <a:lnTo>
                    <a:pt x="680" y="1246"/>
                  </a:lnTo>
                  <a:lnTo>
                    <a:pt x="683" y="1251"/>
                  </a:lnTo>
                  <a:lnTo>
                    <a:pt x="688" y="1257"/>
                  </a:lnTo>
                  <a:lnTo>
                    <a:pt x="691" y="1262"/>
                  </a:lnTo>
                  <a:lnTo>
                    <a:pt x="700" y="1270"/>
                  </a:lnTo>
                  <a:lnTo>
                    <a:pt x="709" y="1275"/>
                  </a:lnTo>
                  <a:lnTo>
                    <a:pt x="702" y="1308"/>
                  </a:lnTo>
                  <a:lnTo>
                    <a:pt x="695" y="1342"/>
                  </a:lnTo>
                  <a:lnTo>
                    <a:pt x="689" y="1377"/>
                  </a:lnTo>
                  <a:lnTo>
                    <a:pt x="682" y="1412"/>
                  </a:lnTo>
                  <a:lnTo>
                    <a:pt x="7" y="1406"/>
                  </a:lnTo>
                  <a:lnTo>
                    <a:pt x="7" y="1397"/>
                  </a:lnTo>
                  <a:lnTo>
                    <a:pt x="6" y="1372"/>
                  </a:lnTo>
                  <a:lnTo>
                    <a:pt x="4" y="1333"/>
                  </a:lnTo>
                  <a:lnTo>
                    <a:pt x="1" y="1281"/>
                  </a:lnTo>
                  <a:lnTo>
                    <a:pt x="0" y="1255"/>
                  </a:lnTo>
                  <a:lnTo>
                    <a:pt x="0" y="1232"/>
                  </a:lnTo>
                  <a:lnTo>
                    <a:pt x="0" y="1222"/>
                  </a:lnTo>
                  <a:lnTo>
                    <a:pt x="1" y="1213"/>
                  </a:lnTo>
                  <a:lnTo>
                    <a:pt x="4" y="1205"/>
                  </a:lnTo>
                  <a:lnTo>
                    <a:pt x="6" y="1197"/>
                  </a:lnTo>
                  <a:lnTo>
                    <a:pt x="9" y="1189"/>
                  </a:lnTo>
                  <a:lnTo>
                    <a:pt x="14" y="1181"/>
                  </a:lnTo>
                  <a:lnTo>
                    <a:pt x="20" y="1175"/>
                  </a:lnTo>
                  <a:lnTo>
                    <a:pt x="26" y="1167"/>
                  </a:lnTo>
                  <a:lnTo>
                    <a:pt x="34" y="1160"/>
                  </a:lnTo>
                  <a:lnTo>
                    <a:pt x="43" y="1152"/>
                  </a:lnTo>
                  <a:lnTo>
                    <a:pt x="55" y="1144"/>
                  </a:lnTo>
                  <a:lnTo>
                    <a:pt x="67" y="1135"/>
                  </a:lnTo>
                  <a:lnTo>
                    <a:pt x="82" y="1126"/>
                  </a:lnTo>
                  <a:lnTo>
                    <a:pt x="102" y="1115"/>
                  </a:lnTo>
                  <a:lnTo>
                    <a:pt x="125" y="1104"/>
                  </a:lnTo>
                  <a:lnTo>
                    <a:pt x="150" y="1092"/>
                  </a:lnTo>
                  <a:lnTo>
                    <a:pt x="208" y="1066"/>
                  </a:lnTo>
                  <a:lnTo>
                    <a:pt x="270" y="1040"/>
                  </a:lnTo>
                  <a:lnTo>
                    <a:pt x="332" y="1014"/>
                  </a:lnTo>
                  <a:lnTo>
                    <a:pt x="390" y="991"/>
                  </a:lnTo>
                  <a:lnTo>
                    <a:pt x="438" y="970"/>
                  </a:lnTo>
                  <a:lnTo>
                    <a:pt x="473" y="954"/>
                  </a:lnTo>
                  <a:lnTo>
                    <a:pt x="486" y="947"/>
                  </a:lnTo>
                  <a:lnTo>
                    <a:pt x="497" y="940"/>
                  </a:lnTo>
                  <a:lnTo>
                    <a:pt x="506" y="933"/>
                  </a:lnTo>
                  <a:lnTo>
                    <a:pt x="514" y="925"/>
                  </a:lnTo>
                  <a:lnTo>
                    <a:pt x="521" y="917"/>
                  </a:lnTo>
                  <a:lnTo>
                    <a:pt x="525" y="910"/>
                  </a:lnTo>
                  <a:lnTo>
                    <a:pt x="530" y="903"/>
                  </a:lnTo>
                  <a:lnTo>
                    <a:pt x="533" y="896"/>
                  </a:lnTo>
                  <a:lnTo>
                    <a:pt x="537" y="883"/>
                  </a:lnTo>
                  <a:lnTo>
                    <a:pt x="539" y="874"/>
                  </a:lnTo>
                  <a:lnTo>
                    <a:pt x="539" y="867"/>
                  </a:lnTo>
                  <a:lnTo>
                    <a:pt x="539" y="865"/>
                  </a:lnTo>
                  <a:lnTo>
                    <a:pt x="575" y="867"/>
                  </a:lnTo>
                  <a:lnTo>
                    <a:pt x="572" y="835"/>
                  </a:lnTo>
                  <a:lnTo>
                    <a:pt x="569" y="832"/>
                  </a:lnTo>
                  <a:lnTo>
                    <a:pt x="563" y="825"/>
                  </a:lnTo>
                  <a:lnTo>
                    <a:pt x="551" y="812"/>
                  </a:lnTo>
                  <a:lnTo>
                    <a:pt x="537" y="796"/>
                  </a:lnTo>
                  <a:lnTo>
                    <a:pt x="532" y="791"/>
                  </a:lnTo>
                  <a:lnTo>
                    <a:pt x="528" y="784"/>
                  </a:lnTo>
                  <a:lnTo>
                    <a:pt x="524" y="776"/>
                  </a:lnTo>
                  <a:lnTo>
                    <a:pt x="521" y="767"/>
                  </a:lnTo>
                  <a:lnTo>
                    <a:pt x="516" y="748"/>
                  </a:lnTo>
                  <a:lnTo>
                    <a:pt x="512" y="726"/>
                  </a:lnTo>
                  <a:lnTo>
                    <a:pt x="507" y="690"/>
                  </a:lnTo>
                  <a:lnTo>
                    <a:pt x="506" y="674"/>
                  </a:lnTo>
                  <a:lnTo>
                    <a:pt x="504" y="676"/>
                  </a:lnTo>
                  <a:lnTo>
                    <a:pt x="486" y="681"/>
                  </a:lnTo>
                  <a:lnTo>
                    <a:pt x="484" y="681"/>
                  </a:lnTo>
                  <a:lnTo>
                    <a:pt x="481" y="680"/>
                  </a:lnTo>
                  <a:lnTo>
                    <a:pt x="479" y="678"/>
                  </a:lnTo>
                  <a:lnTo>
                    <a:pt x="478" y="676"/>
                  </a:lnTo>
                  <a:lnTo>
                    <a:pt x="473" y="669"/>
                  </a:lnTo>
                  <a:lnTo>
                    <a:pt x="470" y="659"/>
                  </a:lnTo>
                  <a:lnTo>
                    <a:pt x="462" y="631"/>
                  </a:lnTo>
                  <a:lnTo>
                    <a:pt x="455" y="600"/>
                  </a:lnTo>
                  <a:lnTo>
                    <a:pt x="449" y="566"/>
                  </a:lnTo>
                  <a:lnTo>
                    <a:pt x="444" y="532"/>
                  </a:lnTo>
                  <a:lnTo>
                    <a:pt x="440" y="503"/>
                  </a:lnTo>
                  <a:lnTo>
                    <a:pt x="438" y="481"/>
                  </a:lnTo>
                  <a:lnTo>
                    <a:pt x="438" y="476"/>
                  </a:lnTo>
                  <a:lnTo>
                    <a:pt x="438" y="471"/>
                  </a:lnTo>
                  <a:lnTo>
                    <a:pt x="440" y="468"/>
                  </a:lnTo>
                  <a:lnTo>
                    <a:pt x="441" y="464"/>
                  </a:lnTo>
                  <a:lnTo>
                    <a:pt x="442" y="462"/>
                  </a:lnTo>
                  <a:lnTo>
                    <a:pt x="444" y="460"/>
                  </a:lnTo>
                  <a:lnTo>
                    <a:pt x="446" y="459"/>
                  </a:lnTo>
                  <a:lnTo>
                    <a:pt x="450" y="459"/>
                  </a:lnTo>
                  <a:lnTo>
                    <a:pt x="455" y="459"/>
                  </a:lnTo>
                  <a:lnTo>
                    <a:pt x="461" y="460"/>
                  </a:lnTo>
                  <a:lnTo>
                    <a:pt x="467" y="462"/>
                  </a:lnTo>
                  <a:lnTo>
                    <a:pt x="471" y="464"/>
                  </a:lnTo>
                  <a:lnTo>
                    <a:pt x="467" y="454"/>
                  </a:lnTo>
                  <a:lnTo>
                    <a:pt x="461" y="444"/>
                  </a:lnTo>
                  <a:lnTo>
                    <a:pt x="455" y="432"/>
                  </a:lnTo>
                  <a:lnTo>
                    <a:pt x="450" y="419"/>
                  </a:lnTo>
                  <a:lnTo>
                    <a:pt x="446" y="408"/>
                  </a:lnTo>
                  <a:lnTo>
                    <a:pt x="443" y="394"/>
                  </a:lnTo>
                  <a:lnTo>
                    <a:pt x="440" y="377"/>
                  </a:lnTo>
                  <a:lnTo>
                    <a:pt x="438" y="359"/>
                  </a:lnTo>
                  <a:lnTo>
                    <a:pt x="437" y="338"/>
                  </a:lnTo>
                  <a:lnTo>
                    <a:pt x="436" y="316"/>
                  </a:lnTo>
                  <a:lnTo>
                    <a:pt x="437" y="294"/>
                  </a:lnTo>
                  <a:lnTo>
                    <a:pt x="438" y="270"/>
                  </a:lnTo>
                  <a:lnTo>
                    <a:pt x="440" y="246"/>
                  </a:lnTo>
                  <a:lnTo>
                    <a:pt x="442" y="224"/>
                  </a:lnTo>
                  <a:lnTo>
                    <a:pt x="445" y="200"/>
                  </a:lnTo>
                  <a:lnTo>
                    <a:pt x="449" y="179"/>
                  </a:lnTo>
                  <a:lnTo>
                    <a:pt x="453" y="158"/>
                  </a:lnTo>
                  <a:lnTo>
                    <a:pt x="459" y="140"/>
                  </a:lnTo>
                  <a:lnTo>
                    <a:pt x="464" y="123"/>
                  </a:lnTo>
                  <a:lnTo>
                    <a:pt x="471" y="110"/>
                  </a:lnTo>
                  <a:lnTo>
                    <a:pt x="476" y="103"/>
                  </a:lnTo>
                  <a:lnTo>
                    <a:pt x="480" y="96"/>
                  </a:lnTo>
                  <a:lnTo>
                    <a:pt x="485" y="90"/>
                  </a:lnTo>
                  <a:lnTo>
                    <a:pt x="489" y="86"/>
                  </a:lnTo>
                  <a:lnTo>
                    <a:pt x="495" y="83"/>
                  </a:lnTo>
                  <a:lnTo>
                    <a:pt x="499" y="80"/>
                  </a:lnTo>
                  <a:lnTo>
                    <a:pt x="505" y="78"/>
                  </a:lnTo>
                  <a:lnTo>
                    <a:pt x="510" y="77"/>
                  </a:lnTo>
                  <a:lnTo>
                    <a:pt x="520" y="76"/>
                  </a:lnTo>
                  <a:lnTo>
                    <a:pt x="529" y="77"/>
                  </a:lnTo>
                  <a:lnTo>
                    <a:pt x="538" y="79"/>
                  </a:lnTo>
                  <a:lnTo>
                    <a:pt x="546" y="81"/>
                  </a:lnTo>
                  <a:lnTo>
                    <a:pt x="557" y="69"/>
                  </a:lnTo>
                  <a:lnTo>
                    <a:pt x="568" y="57"/>
                  </a:lnTo>
                  <a:lnTo>
                    <a:pt x="577" y="49"/>
                  </a:lnTo>
                  <a:lnTo>
                    <a:pt x="585" y="41"/>
                  </a:lnTo>
                  <a:lnTo>
                    <a:pt x="594" y="35"/>
                  </a:lnTo>
                  <a:lnTo>
                    <a:pt x="604" y="28"/>
                  </a:lnTo>
                  <a:lnTo>
                    <a:pt x="615" y="24"/>
                  </a:lnTo>
                  <a:lnTo>
                    <a:pt x="625" y="19"/>
                  </a:lnTo>
                  <a:lnTo>
                    <a:pt x="636" y="15"/>
                  </a:lnTo>
                  <a:lnTo>
                    <a:pt x="647" y="11"/>
                  </a:lnTo>
                  <a:lnTo>
                    <a:pt x="670" y="6"/>
                  </a:lnTo>
                  <a:lnTo>
                    <a:pt x="694" y="2"/>
                  </a:lnTo>
                  <a:lnTo>
                    <a:pt x="717" y="1"/>
                  </a:lnTo>
                  <a:lnTo>
                    <a:pt x="741" y="0"/>
                  </a:lnTo>
                  <a:close/>
                </a:path>
              </a:pathLst>
            </a:cu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86" name="Freeform 285"/>
            <p:cNvSpPr>
              <a:spLocks/>
            </p:cNvSpPr>
            <p:nvPr/>
          </p:nvSpPr>
          <p:spPr bwMode="auto">
            <a:xfrm>
              <a:off x="5576760" y="4839822"/>
              <a:ext cx="290767" cy="324238"/>
            </a:xfrm>
            <a:custGeom>
              <a:avLst/>
              <a:gdLst>
                <a:gd name="T0" fmla="*/ 427 w 909"/>
                <a:gd name="T1" fmla="*/ 4 h 1016"/>
                <a:gd name="T2" fmla="*/ 481 w 909"/>
                <a:gd name="T3" fmla="*/ 25 h 1016"/>
                <a:gd name="T4" fmla="*/ 521 w 909"/>
                <a:gd name="T5" fmla="*/ 64 h 1016"/>
                <a:gd name="T6" fmla="*/ 561 w 909"/>
                <a:gd name="T7" fmla="*/ 122 h 1016"/>
                <a:gd name="T8" fmla="*/ 579 w 909"/>
                <a:gd name="T9" fmla="*/ 170 h 1016"/>
                <a:gd name="T10" fmla="*/ 583 w 909"/>
                <a:gd name="T11" fmla="*/ 225 h 1016"/>
                <a:gd name="T12" fmla="*/ 565 w 909"/>
                <a:gd name="T13" fmla="*/ 334 h 1016"/>
                <a:gd name="T14" fmla="*/ 583 w 909"/>
                <a:gd name="T15" fmla="*/ 330 h 1016"/>
                <a:gd name="T16" fmla="*/ 592 w 909"/>
                <a:gd name="T17" fmla="*/ 334 h 1016"/>
                <a:gd name="T18" fmla="*/ 590 w 909"/>
                <a:gd name="T19" fmla="*/ 383 h 1016"/>
                <a:gd name="T20" fmla="*/ 568 w 909"/>
                <a:gd name="T21" fmla="*/ 481 h 1016"/>
                <a:gd name="T22" fmla="*/ 547 w 909"/>
                <a:gd name="T23" fmla="*/ 487 h 1016"/>
                <a:gd name="T24" fmla="*/ 538 w 909"/>
                <a:gd name="T25" fmla="*/ 538 h 1016"/>
                <a:gd name="T26" fmla="*/ 526 w 909"/>
                <a:gd name="T27" fmla="*/ 570 h 1016"/>
                <a:gd name="T28" fmla="*/ 496 w 909"/>
                <a:gd name="T29" fmla="*/ 624 h 1016"/>
                <a:gd name="T30" fmla="*/ 527 w 909"/>
                <a:gd name="T31" fmla="*/ 650 h 1016"/>
                <a:gd name="T32" fmla="*/ 544 w 909"/>
                <a:gd name="T33" fmla="*/ 672 h 1016"/>
                <a:gd name="T34" fmla="*/ 594 w 909"/>
                <a:gd name="T35" fmla="*/ 699 h 1016"/>
                <a:gd name="T36" fmla="*/ 760 w 909"/>
                <a:gd name="T37" fmla="*/ 768 h 1016"/>
                <a:gd name="T38" fmla="*/ 850 w 909"/>
                <a:gd name="T39" fmla="*/ 811 h 1016"/>
                <a:gd name="T40" fmla="*/ 896 w 909"/>
                <a:gd name="T41" fmla="*/ 846 h 1016"/>
                <a:gd name="T42" fmla="*/ 908 w 909"/>
                <a:gd name="T43" fmla="*/ 874 h 1016"/>
                <a:gd name="T44" fmla="*/ 907 w 909"/>
                <a:gd name="T45" fmla="*/ 960 h 1016"/>
                <a:gd name="T46" fmla="*/ 455 w 909"/>
                <a:gd name="T47" fmla="*/ 1016 h 1016"/>
                <a:gd name="T48" fmla="*/ 447 w 909"/>
                <a:gd name="T49" fmla="*/ 954 h 1016"/>
                <a:gd name="T50" fmla="*/ 444 w 909"/>
                <a:gd name="T51" fmla="*/ 881 h 1016"/>
                <a:gd name="T52" fmla="*/ 438 w 909"/>
                <a:gd name="T53" fmla="*/ 852 h 1016"/>
                <a:gd name="T54" fmla="*/ 476 w 909"/>
                <a:gd name="T55" fmla="*/ 799 h 1016"/>
                <a:gd name="T56" fmla="*/ 538 w 909"/>
                <a:gd name="T57" fmla="*/ 706 h 1016"/>
                <a:gd name="T58" fmla="*/ 416 w 909"/>
                <a:gd name="T59" fmla="*/ 819 h 1016"/>
                <a:gd name="T60" fmla="*/ 380 w 909"/>
                <a:gd name="T61" fmla="*/ 813 h 1016"/>
                <a:gd name="T62" fmla="*/ 351 w 909"/>
                <a:gd name="T63" fmla="*/ 808 h 1016"/>
                <a:gd name="T64" fmla="*/ 304 w 909"/>
                <a:gd name="T65" fmla="*/ 777 h 1016"/>
                <a:gd name="T66" fmla="*/ 241 w 909"/>
                <a:gd name="T67" fmla="*/ 714 h 1016"/>
                <a:gd name="T68" fmla="*/ 290 w 909"/>
                <a:gd name="T69" fmla="*/ 788 h 1016"/>
                <a:gd name="T70" fmla="*/ 347 w 909"/>
                <a:gd name="T71" fmla="*/ 843 h 1016"/>
                <a:gd name="T72" fmla="*/ 338 w 909"/>
                <a:gd name="T73" fmla="*/ 869 h 1016"/>
                <a:gd name="T74" fmla="*/ 341 w 909"/>
                <a:gd name="T75" fmla="*/ 891 h 1016"/>
                <a:gd name="T76" fmla="*/ 363 w 909"/>
                <a:gd name="T77" fmla="*/ 915 h 1016"/>
                <a:gd name="T78" fmla="*/ 278 w 909"/>
                <a:gd name="T79" fmla="*/ 881 h 1016"/>
                <a:gd name="T80" fmla="*/ 78 w 909"/>
                <a:gd name="T81" fmla="*/ 797 h 1016"/>
                <a:gd name="T82" fmla="*/ 54 w 909"/>
                <a:gd name="T83" fmla="*/ 742 h 1016"/>
                <a:gd name="T84" fmla="*/ 151 w 909"/>
                <a:gd name="T85" fmla="*/ 701 h 1016"/>
                <a:gd name="T86" fmla="*/ 200 w 909"/>
                <a:gd name="T87" fmla="*/ 676 h 1016"/>
                <a:gd name="T88" fmla="*/ 220 w 909"/>
                <a:gd name="T89" fmla="*/ 655 h 1016"/>
                <a:gd name="T90" fmla="*/ 230 w 909"/>
                <a:gd name="T91" fmla="*/ 622 h 1016"/>
                <a:gd name="T92" fmla="*/ 228 w 909"/>
                <a:gd name="T93" fmla="*/ 574 h 1016"/>
                <a:gd name="T94" fmla="*/ 217 w 909"/>
                <a:gd name="T95" fmla="*/ 552 h 1016"/>
                <a:gd name="T96" fmla="*/ 207 w 909"/>
                <a:gd name="T97" fmla="*/ 485 h 1016"/>
                <a:gd name="T98" fmla="*/ 185 w 909"/>
                <a:gd name="T99" fmla="*/ 487 h 1016"/>
                <a:gd name="T100" fmla="*/ 170 w 909"/>
                <a:gd name="T101" fmla="*/ 432 h 1016"/>
                <a:gd name="T102" fmla="*/ 159 w 909"/>
                <a:gd name="T103" fmla="*/ 334 h 1016"/>
                <a:gd name="T104" fmla="*/ 174 w 909"/>
                <a:gd name="T105" fmla="*/ 331 h 1016"/>
                <a:gd name="T106" fmla="*/ 166 w 909"/>
                <a:gd name="T107" fmla="*/ 301 h 1016"/>
                <a:gd name="T108" fmla="*/ 157 w 909"/>
                <a:gd name="T109" fmla="*/ 258 h 1016"/>
                <a:gd name="T110" fmla="*/ 165 w 909"/>
                <a:gd name="T111" fmla="*/ 129 h 1016"/>
                <a:gd name="T112" fmla="*/ 181 w 909"/>
                <a:gd name="T113" fmla="*/ 79 h 1016"/>
                <a:gd name="T114" fmla="*/ 209 w 909"/>
                <a:gd name="T115" fmla="*/ 55 h 1016"/>
                <a:gd name="T116" fmla="*/ 235 w 909"/>
                <a:gd name="T117" fmla="*/ 59 h 1016"/>
                <a:gd name="T118" fmla="*/ 263 w 909"/>
                <a:gd name="T119" fmla="*/ 29 h 1016"/>
                <a:gd name="T120" fmla="*/ 307 w 909"/>
                <a:gd name="T121" fmla="*/ 8 h 1016"/>
                <a:gd name="T122" fmla="*/ 376 w 909"/>
                <a:gd name="T123"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9" h="1016">
                  <a:moveTo>
                    <a:pt x="376" y="0"/>
                  </a:moveTo>
                  <a:lnTo>
                    <a:pt x="393" y="0"/>
                  </a:lnTo>
                  <a:lnTo>
                    <a:pt x="410" y="1"/>
                  </a:lnTo>
                  <a:lnTo>
                    <a:pt x="427" y="4"/>
                  </a:lnTo>
                  <a:lnTo>
                    <a:pt x="444" y="8"/>
                  </a:lnTo>
                  <a:lnTo>
                    <a:pt x="460" y="13"/>
                  </a:lnTo>
                  <a:lnTo>
                    <a:pt x="474" y="20"/>
                  </a:lnTo>
                  <a:lnTo>
                    <a:pt x="481" y="25"/>
                  </a:lnTo>
                  <a:lnTo>
                    <a:pt x="488" y="29"/>
                  </a:lnTo>
                  <a:lnTo>
                    <a:pt x="494" y="35"/>
                  </a:lnTo>
                  <a:lnTo>
                    <a:pt x="500" y="40"/>
                  </a:lnTo>
                  <a:lnTo>
                    <a:pt x="521" y="64"/>
                  </a:lnTo>
                  <a:lnTo>
                    <a:pt x="540" y="87"/>
                  </a:lnTo>
                  <a:lnTo>
                    <a:pt x="548" y="98"/>
                  </a:lnTo>
                  <a:lnTo>
                    <a:pt x="555" y="110"/>
                  </a:lnTo>
                  <a:lnTo>
                    <a:pt x="561" y="122"/>
                  </a:lnTo>
                  <a:lnTo>
                    <a:pt x="567" y="133"/>
                  </a:lnTo>
                  <a:lnTo>
                    <a:pt x="572" y="145"/>
                  </a:lnTo>
                  <a:lnTo>
                    <a:pt x="576" y="158"/>
                  </a:lnTo>
                  <a:lnTo>
                    <a:pt x="579" y="170"/>
                  </a:lnTo>
                  <a:lnTo>
                    <a:pt x="582" y="183"/>
                  </a:lnTo>
                  <a:lnTo>
                    <a:pt x="583" y="196"/>
                  </a:lnTo>
                  <a:lnTo>
                    <a:pt x="583" y="210"/>
                  </a:lnTo>
                  <a:lnTo>
                    <a:pt x="583" y="225"/>
                  </a:lnTo>
                  <a:lnTo>
                    <a:pt x="582" y="239"/>
                  </a:lnTo>
                  <a:lnTo>
                    <a:pt x="574" y="289"/>
                  </a:lnTo>
                  <a:lnTo>
                    <a:pt x="568" y="319"/>
                  </a:lnTo>
                  <a:lnTo>
                    <a:pt x="565" y="334"/>
                  </a:lnTo>
                  <a:lnTo>
                    <a:pt x="564" y="337"/>
                  </a:lnTo>
                  <a:lnTo>
                    <a:pt x="569" y="335"/>
                  </a:lnTo>
                  <a:lnTo>
                    <a:pt x="579" y="330"/>
                  </a:lnTo>
                  <a:lnTo>
                    <a:pt x="583" y="330"/>
                  </a:lnTo>
                  <a:lnTo>
                    <a:pt x="585" y="330"/>
                  </a:lnTo>
                  <a:lnTo>
                    <a:pt x="588" y="331"/>
                  </a:lnTo>
                  <a:lnTo>
                    <a:pt x="591" y="332"/>
                  </a:lnTo>
                  <a:lnTo>
                    <a:pt x="592" y="334"/>
                  </a:lnTo>
                  <a:lnTo>
                    <a:pt x="593" y="336"/>
                  </a:lnTo>
                  <a:lnTo>
                    <a:pt x="594" y="341"/>
                  </a:lnTo>
                  <a:lnTo>
                    <a:pt x="594" y="346"/>
                  </a:lnTo>
                  <a:lnTo>
                    <a:pt x="590" y="383"/>
                  </a:lnTo>
                  <a:lnTo>
                    <a:pt x="582" y="432"/>
                  </a:lnTo>
                  <a:lnTo>
                    <a:pt x="577" y="455"/>
                  </a:lnTo>
                  <a:lnTo>
                    <a:pt x="572" y="474"/>
                  </a:lnTo>
                  <a:lnTo>
                    <a:pt x="568" y="481"/>
                  </a:lnTo>
                  <a:lnTo>
                    <a:pt x="566" y="487"/>
                  </a:lnTo>
                  <a:lnTo>
                    <a:pt x="562" y="489"/>
                  </a:lnTo>
                  <a:lnTo>
                    <a:pt x="560" y="490"/>
                  </a:lnTo>
                  <a:lnTo>
                    <a:pt x="547" y="487"/>
                  </a:lnTo>
                  <a:lnTo>
                    <a:pt x="544" y="485"/>
                  </a:lnTo>
                  <a:lnTo>
                    <a:pt x="543" y="497"/>
                  </a:lnTo>
                  <a:lnTo>
                    <a:pt x="541" y="523"/>
                  </a:lnTo>
                  <a:lnTo>
                    <a:pt x="538" y="538"/>
                  </a:lnTo>
                  <a:lnTo>
                    <a:pt x="534" y="552"/>
                  </a:lnTo>
                  <a:lnTo>
                    <a:pt x="532" y="559"/>
                  </a:lnTo>
                  <a:lnTo>
                    <a:pt x="530" y="564"/>
                  </a:lnTo>
                  <a:lnTo>
                    <a:pt x="526" y="570"/>
                  </a:lnTo>
                  <a:lnTo>
                    <a:pt x="523" y="574"/>
                  </a:lnTo>
                  <a:lnTo>
                    <a:pt x="504" y="594"/>
                  </a:lnTo>
                  <a:lnTo>
                    <a:pt x="498" y="602"/>
                  </a:lnTo>
                  <a:lnTo>
                    <a:pt x="496" y="624"/>
                  </a:lnTo>
                  <a:lnTo>
                    <a:pt x="521" y="622"/>
                  </a:lnTo>
                  <a:lnTo>
                    <a:pt x="522" y="629"/>
                  </a:lnTo>
                  <a:lnTo>
                    <a:pt x="525" y="645"/>
                  </a:lnTo>
                  <a:lnTo>
                    <a:pt x="527" y="650"/>
                  </a:lnTo>
                  <a:lnTo>
                    <a:pt x="531" y="655"/>
                  </a:lnTo>
                  <a:lnTo>
                    <a:pt x="534" y="660"/>
                  </a:lnTo>
                  <a:lnTo>
                    <a:pt x="539" y="666"/>
                  </a:lnTo>
                  <a:lnTo>
                    <a:pt x="544" y="672"/>
                  </a:lnTo>
                  <a:lnTo>
                    <a:pt x="551" y="676"/>
                  </a:lnTo>
                  <a:lnTo>
                    <a:pt x="559" y="682"/>
                  </a:lnTo>
                  <a:lnTo>
                    <a:pt x="568" y="686"/>
                  </a:lnTo>
                  <a:lnTo>
                    <a:pt x="594" y="699"/>
                  </a:lnTo>
                  <a:lnTo>
                    <a:pt x="629" y="714"/>
                  </a:lnTo>
                  <a:lnTo>
                    <a:pt x="670" y="730"/>
                  </a:lnTo>
                  <a:lnTo>
                    <a:pt x="715" y="749"/>
                  </a:lnTo>
                  <a:lnTo>
                    <a:pt x="760" y="768"/>
                  </a:lnTo>
                  <a:lnTo>
                    <a:pt x="802" y="786"/>
                  </a:lnTo>
                  <a:lnTo>
                    <a:pt x="820" y="795"/>
                  </a:lnTo>
                  <a:lnTo>
                    <a:pt x="837" y="803"/>
                  </a:lnTo>
                  <a:lnTo>
                    <a:pt x="850" y="811"/>
                  </a:lnTo>
                  <a:lnTo>
                    <a:pt x="862" y="817"/>
                  </a:lnTo>
                  <a:lnTo>
                    <a:pt x="879" y="830"/>
                  </a:lnTo>
                  <a:lnTo>
                    <a:pt x="891" y="840"/>
                  </a:lnTo>
                  <a:lnTo>
                    <a:pt x="896" y="846"/>
                  </a:lnTo>
                  <a:lnTo>
                    <a:pt x="900" y="851"/>
                  </a:lnTo>
                  <a:lnTo>
                    <a:pt x="902" y="856"/>
                  </a:lnTo>
                  <a:lnTo>
                    <a:pt x="906" y="861"/>
                  </a:lnTo>
                  <a:lnTo>
                    <a:pt x="908" y="874"/>
                  </a:lnTo>
                  <a:lnTo>
                    <a:pt x="909" y="887"/>
                  </a:lnTo>
                  <a:lnTo>
                    <a:pt x="909" y="903"/>
                  </a:lnTo>
                  <a:lnTo>
                    <a:pt x="909" y="922"/>
                  </a:lnTo>
                  <a:lnTo>
                    <a:pt x="907" y="960"/>
                  </a:lnTo>
                  <a:lnTo>
                    <a:pt x="906" y="988"/>
                  </a:lnTo>
                  <a:lnTo>
                    <a:pt x="905" y="1006"/>
                  </a:lnTo>
                  <a:lnTo>
                    <a:pt x="905" y="1013"/>
                  </a:lnTo>
                  <a:lnTo>
                    <a:pt x="455" y="1016"/>
                  </a:lnTo>
                  <a:lnTo>
                    <a:pt x="453" y="1005"/>
                  </a:lnTo>
                  <a:lnTo>
                    <a:pt x="450" y="995"/>
                  </a:lnTo>
                  <a:lnTo>
                    <a:pt x="448" y="974"/>
                  </a:lnTo>
                  <a:lnTo>
                    <a:pt x="447" y="954"/>
                  </a:lnTo>
                  <a:lnTo>
                    <a:pt x="445" y="933"/>
                  </a:lnTo>
                  <a:lnTo>
                    <a:pt x="441" y="908"/>
                  </a:lnTo>
                  <a:lnTo>
                    <a:pt x="443" y="893"/>
                  </a:lnTo>
                  <a:lnTo>
                    <a:pt x="444" y="881"/>
                  </a:lnTo>
                  <a:lnTo>
                    <a:pt x="444" y="871"/>
                  </a:lnTo>
                  <a:lnTo>
                    <a:pt x="443" y="863"/>
                  </a:lnTo>
                  <a:lnTo>
                    <a:pt x="441" y="857"/>
                  </a:lnTo>
                  <a:lnTo>
                    <a:pt x="438" y="852"/>
                  </a:lnTo>
                  <a:lnTo>
                    <a:pt x="435" y="849"/>
                  </a:lnTo>
                  <a:lnTo>
                    <a:pt x="431" y="846"/>
                  </a:lnTo>
                  <a:lnTo>
                    <a:pt x="453" y="824"/>
                  </a:lnTo>
                  <a:lnTo>
                    <a:pt x="476" y="799"/>
                  </a:lnTo>
                  <a:lnTo>
                    <a:pt x="488" y="784"/>
                  </a:lnTo>
                  <a:lnTo>
                    <a:pt x="503" y="763"/>
                  </a:lnTo>
                  <a:lnTo>
                    <a:pt x="518" y="737"/>
                  </a:lnTo>
                  <a:lnTo>
                    <a:pt x="538" y="706"/>
                  </a:lnTo>
                  <a:lnTo>
                    <a:pt x="507" y="734"/>
                  </a:lnTo>
                  <a:lnTo>
                    <a:pt x="477" y="762"/>
                  </a:lnTo>
                  <a:lnTo>
                    <a:pt x="446" y="790"/>
                  </a:lnTo>
                  <a:lnTo>
                    <a:pt x="416" y="819"/>
                  </a:lnTo>
                  <a:lnTo>
                    <a:pt x="403" y="815"/>
                  </a:lnTo>
                  <a:lnTo>
                    <a:pt x="391" y="813"/>
                  </a:lnTo>
                  <a:lnTo>
                    <a:pt x="385" y="813"/>
                  </a:lnTo>
                  <a:lnTo>
                    <a:pt x="380" y="813"/>
                  </a:lnTo>
                  <a:lnTo>
                    <a:pt x="373" y="813"/>
                  </a:lnTo>
                  <a:lnTo>
                    <a:pt x="367" y="815"/>
                  </a:lnTo>
                  <a:lnTo>
                    <a:pt x="359" y="812"/>
                  </a:lnTo>
                  <a:lnTo>
                    <a:pt x="351" y="808"/>
                  </a:lnTo>
                  <a:lnTo>
                    <a:pt x="343" y="805"/>
                  </a:lnTo>
                  <a:lnTo>
                    <a:pt x="336" y="801"/>
                  </a:lnTo>
                  <a:lnTo>
                    <a:pt x="320" y="789"/>
                  </a:lnTo>
                  <a:lnTo>
                    <a:pt x="304" y="777"/>
                  </a:lnTo>
                  <a:lnTo>
                    <a:pt x="288" y="762"/>
                  </a:lnTo>
                  <a:lnTo>
                    <a:pt x="272" y="746"/>
                  </a:lnTo>
                  <a:lnTo>
                    <a:pt x="256" y="730"/>
                  </a:lnTo>
                  <a:lnTo>
                    <a:pt x="241" y="714"/>
                  </a:lnTo>
                  <a:lnTo>
                    <a:pt x="253" y="733"/>
                  </a:lnTo>
                  <a:lnTo>
                    <a:pt x="265" y="752"/>
                  </a:lnTo>
                  <a:lnTo>
                    <a:pt x="277" y="771"/>
                  </a:lnTo>
                  <a:lnTo>
                    <a:pt x="290" y="788"/>
                  </a:lnTo>
                  <a:lnTo>
                    <a:pt x="303" y="805"/>
                  </a:lnTo>
                  <a:lnTo>
                    <a:pt x="316" y="820"/>
                  </a:lnTo>
                  <a:lnTo>
                    <a:pt x="331" y="832"/>
                  </a:lnTo>
                  <a:lnTo>
                    <a:pt x="347" y="843"/>
                  </a:lnTo>
                  <a:lnTo>
                    <a:pt x="343" y="850"/>
                  </a:lnTo>
                  <a:lnTo>
                    <a:pt x="340" y="857"/>
                  </a:lnTo>
                  <a:lnTo>
                    <a:pt x="339" y="864"/>
                  </a:lnTo>
                  <a:lnTo>
                    <a:pt x="338" y="869"/>
                  </a:lnTo>
                  <a:lnTo>
                    <a:pt x="338" y="875"/>
                  </a:lnTo>
                  <a:lnTo>
                    <a:pt x="338" y="881"/>
                  </a:lnTo>
                  <a:lnTo>
                    <a:pt x="339" y="885"/>
                  </a:lnTo>
                  <a:lnTo>
                    <a:pt x="341" y="891"/>
                  </a:lnTo>
                  <a:lnTo>
                    <a:pt x="346" y="899"/>
                  </a:lnTo>
                  <a:lnTo>
                    <a:pt x="350" y="906"/>
                  </a:lnTo>
                  <a:lnTo>
                    <a:pt x="357" y="911"/>
                  </a:lnTo>
                  <a:lnTo>
                    <a:pt x="363" y="915"/>
                  </a:lnTo>
                  <a:lnTo>
                    <a:pt x="361" y="918"/>
                  </a:lnTo>
                  <a:lnTo>
                    <a:pt x="361" y="920"/>
                  </a:lnTo>
                  <a:lnTo>
                    <a:pt x="323" y="901"/>
                  </a:lnTo>
                  <a:lnTo>
                    <a:pt x="278" y="881"/>
                  </a:lnTo>
                  <a:lnTo>
                    <a:pt x="228" y="859"/>
                  </a:lnTo>
                  <a:lnTo>
                    <a:pt x="177" y="838"/>
                  </a:lnTo>
                  <a:lnTo>
                    <a:pt x="125" y="816"/>
                  </a:lnTo>
                  <a:lnTo>
                    <a:pt x="78" y="797"/>
                  </a:lnTo>
                  <a:lnTo>
                    <a:pt x="35" y="779"/>
                  </a:lnTo>
                  <a:lnTo>
                    <a:pt x="0" y="764"/>
                  </a:lnTo>
                  <a:lnTo>
                    <a:pt x="27" y="753"/>
                  </a:lnTo>
                  <a:lnTo>
                    <a:pt x="54" y="742"/>
                  </a:lnTo>
                  <a:lnTo>
                    <a:pt x="81" y="730"/>
                  </a:lnTo>
                  <a:lnTo>
                    <a:pt x="106" y="720"/>
                  </a:lnTo>
                  <a:lnTo>
                    <a:pt x="130" y="710"/>
                  </a:lnTo>
                  <a:lnTo>
                    <a:pt x="151" y="701"/>
                  </a:lnTo>
                  <a:lnTo>
                    <a:pt x="170" y="693"/>
                  </a:lnTo>
                  <a:lnTo>
                    <a:pt x="183" y="686"/>
                  </a:lnTo>
                  <a:lnTo>
                    <a:pt x="192" y="682"/>
                  </a:lnTo>
                  <a:lnTo>
                    <a:pt x="200" y="676"/>
                  </a:lnTo>
                  <a:lnTo>
                    <a:pt x="207" y="672"/>
                  </a:lnTo>
                  <a:lnTo>
                    <a:pt x="212" y="666"/>
                  </a:lnTo>
                  <a:lnTo>
                    <a:pt x="217" y="660"/>
                  </a:lnTo>
                  <a:lnTo>
                    <a:pt x="220" y="655"/>
                  </a:lnTo>
                  <a:lnTo>
                    <a:pt x="224" y="650"/>
                  </a:lnTo>
                  <a:lnTo>
                    <a:pt x="226" y="645"/>
                  </a:lnTo>
                  <a:lnTo>
                    <a:pt x="230" y="629"/>
                  </a:lnTo>
                  <a:lnTo>
                    <a:pt x="230" y="622"/>
                  </a:lnTo>
                  <a:lnTo>
                    <a:pt x="255" y="624"/>
                  </a:lnTo>
                  <a:lnTo>
                    <a:pt x="254" y="602"/>
                  </a:lnTo>
                  <a:lnTo>
                    <a:pt x="247" y="594"/>
                  </a:lnTo>
                  <a:lnTo>
                    <a:pt x="228" y="574"/>
                  </a:lnTo>
                  <a:lnTo>
                    <a:pt x="225" y="570"/>
                  </a:lnTo>
                  <a:lnTo>
                    <a:pt x="223" y="564"/>
                  </a:lnTo>
                  <a:lnTo>
                    <a:pt x="219" y="559"/>
                  </a:lnTo>
                  <a:lnTo>
                    <a:pt x="217" y="552"/>
                  </a:lnTo>
                  <a:lnTo>
                    <a:pt x="214" y="538"/>
                  </a:lnTo>
                  <a:lnTo>
                    <a:pt x="211" y="523"/>
                  </a:lnTo>
                  <a:lnTo>
                    <a:pt x="208" y="497"/>
                  </a:lnTo>
                  <a:lnTo>
                    <a:pt x="207" y="485"/>
                  </a:lnTo>
                  <a:lnTo>
                    <a:pt x="205" y="487"/>
                  </a:lnTo>
                  <a:lnTo>
                    <a:pt x="192" y="490"/>
                  </a:lnTo>
                  <a:lnTo>
                    <a:pt x="189" y="489"/>
                  </a:lnTo>
                  <a:lnTo>
                    <a:pt x="185" y="487"/>
                  </a:lnTo>
                  <a:lnTo>
                    <a:pt x="183" y="481"/>
                  </a:lnTo>
                  <a:lnTo>
                    <a:pt x="180" y="474"/>
                  </a:lnTo>
                  <a:lnTo>
                    <a:pt x="175" y="455"/>
                  </a:lnTo>
                  <a:lnTo>
                    <a:pt x="170" y="432"/>
                  </a:lnTo>
                  <a:lnTo>
                    <a:pt x="162" y="383"/>
                  </a:lnTo>
                  <a:lnTo>
                    <a:pt x="157" y="346"/>
                  </a:lnTo>
                  <a:lnTo>
                    <a:pt x="157" y="339"/>
                  </a:lnTo>
                  <a:lnTo>
                    <a:pt x="159" y="334"/>
                  </a:lnTo>
                  <a:lnTo>
                    <a:pt x="162" y="331"/>
                  </a:lnTo>
                  <a:lnTo>
                    <a:pt x="165" y="330"/>
                  </a:lnTo>
                  <a:lnTo>
                    <a:pt x="170" y="330"/>
                  </a:lnTo>
                  <a:lnTo>
                    <a:pt x="174" y="331"/>
                  </a:lnTo>
                  <a:lnTo>
                    <a:pt x="177" y="332"/>
                  </a:lnTo>
                  <a:lnTo>
                    <a:pt x="182" y="334"/>
                  </a:lnTo>
                  <a:lnTo>
                    <a:pt x="174" y="319"/>
                  </a:lnTo>
                  <a:lnTo>
                    <a:pt x="166" y="301"/>
                  </a:lnTo>
                  <a:lnTo>
                    <a:pt x="163" y="293"/>
                  </a:lnTo>
                  <a:lnTo>
                    <a:pt x="160" y="283"/>
                  </a:lnTo>
                  <a:lnTo>
                    <a:pt x="158" y="272"/>
                  </a:lnTo>
                  <a:lnTo>
                    <a:pt x="157" y="258"/>
                  </a:lnTo>
                  <a:lnTo>
                    <a:pt x="156" y="228"/>
                  </a:lnTo>
                  <a:lnTo>
                    <a:pt x="157" y="194"/>
                  </a:lnTo>
                  <a:lnTo>
                    <a:pt x="160" y="160"/>
                  </a:lnTo>
                  <a:lnTo>
                    <a:pt x="165" y="129"/>
                  </a:lnTo>
                  <a:lnTo>
                    <a:pt x="168" y="114"/>
                  </a:lnTo>
                  <a:lnTo>
                    <a:pt x="172" y="100"/>
                  </a:lnTo>
                  <a:lnTo>
                    <a:pt x="176" y="89"/>
                  </a:lnTo>
                  <a:lnTo>
                    <a:pt x="181" y="79"/>
                  </a:lnTo>
                  <a:lnTo>
                    <a:pt x="188" y="69"/>
                  </a:lnTo>
                  <a:lnTo>
                    <a:pt x="194" y="62"/>
                  </a:lnTo>
                  <a:lnTo>
                    <a:pt x="202" y="57"/>
                  </a:lnTo>
                  <a:lnTo>
                    <a:pt x="209" y="55"/>
                  </a:lnTo>
                  <a:lnTo>
                    <a:pt x="216" y="54"/>
                  </a:lnTo>
                  <a:lnTo>
                    <a:pt x="223" y="55"/>
                  </a:lnTo>
                  <a:lnTo>
                    <a:pt x="229" y="56"/>
                  </a:lnTo>
                  <a:lnTo>
                    <a:pt x="235" y="59"/>
                  </a:lnTo>
                  <a:lnTo>
                    <a:pt x="243" y="49"/>
                  </a:lnTo>
                  <a:lnTo>
                    <a:pt x="252" y="40"/>
                  </a:lnTo>
                  <a:lnTo>
                    <a:pt x="258" y="35"/>
                  </a:lnTo>
                  <a:lnTo>
                    <a:pt x="263" y="29"/>
                  </a:lnTo>
                  <a:lnTo>
                    <a:pt x="270" y="25"/>
                  </a:lnTo>
                  <a:lnTo>
                    <a:pt x="277" y="20"/>
                  </a:lnTo>
                  <a:lnTo>
                    <a:pt x="291" y="13"/>
                  </a:lnTo>
                  <a:lnTo>
                    <a:pt x="307" y="8"/>
                  </a:lnTo>
                  <a:lnTo>
                    <a:pt x="324" y="4"/>
                  </a:lnTo>
                  <a:lnTo>
                    <a:pt x="341" y="1"/>
                  </a:lnTo>
                  <a:lnTo>
                    <a:pt x="358" y="0"/>
                  </a:lnTo>
                  <a:lnTo>
                    <a:pt x="376" y="0"/>
                  </a:lnTo>
                  <a:close/>
                </a:path>
              </a:pathLst>
            </a:cu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87" name="Freeform 286"/>
            <p:cNvSpPr>
              <a:spLocks/>
            </p:cNvSpPr>
            <p:nvPr/>
          </p:nvSpPr>
          <p:spPr bwMode="auto">
            <a:xfrm>
              <a:off x="5038125" y="4839822"/>
              <a:ext cx="290768" cy="324238"/>
            </a:xfrm>
            <a:custGeom>
              <a:avLst/>
              <a:gdLst>
                <a:gd name="T0" fmla="*/ 483 w 909"/>
                <a:gd name="T1" fmla="*/ 4 h 1016"/>
                <a:gd name="T2" fmla="*/ 428 w 909"/>
                <a:gd name="T3" fmla="*/ 25 h 1016"/>
                <a:gd name="T4" fmla="*/ 389 w 909"/>
                <a:gd name="T5" fmla="*/ 64 h 1016"/>
                <a:gd name="T6" fmla="*/ 348 w 909"/>
                <a:gd name="T7" fmla="*/ 122 h 1016"/>
                <a:gd name="T8" fmla="*/ 330 w 909"/>
                <a:gd name="T9" fmla="*/ 170 h 1016"/>
                <a:gd name="T10" fmla="*/ 327 w 909"/>
                <a:gd name="T11" fmla="*/ 225 h 1016"/>
                <a:gd name="T12" fmla="*/ 345 w 909"/>
                <a:gd name="T13" fmla="*/ 334 h 1016"/>
                <a:gd name="T14" fmla="*/ 327 w 909"/>
                <a:gd name="T15" fmla="*/ 330 h 1016"/>
                <a:gd name="T16" fmla="*/ 318 w 909"/>
                <a:gd name="T17" fmla="*/ 334 h 1016"/>
                <a:gd name="T18" fmla="*/ 320 w 909"/>
                <a:gd name="T19" fmla="*/ 383 h 1016"/>
                <a:gd name="T20" fmla="*/ 341 w 909"/>
                <a:gd name="T21" fmla="*/ 481 h 1016"/>
                <a:gd name="T22" fmla="*/ 363 w 909"/>
                <a:gd name="T23" fmla="*/ 487 h 1016"/>
                <a:gd name="T24" fmla="*/ 372 w 909"/>
                <a:gd name="T25" fmla="*/ 538 h 1016"/>
                <a:gd name="T26" fmla="*/ 383 w 909"/>
                <a:gd name="T27" fmla="*/ 570 h 1016"/>
                <a:gd name="T28" fmla="*/ 414 w 909"/>
                <a:gd name="T29" fmla="*/ 624 h 1016"/>
                <a:gd name="T30" fmla="*/ 382 w 909"/>
                <a:gd name="T31" fmla="*/ 650 h 1016"/>
                <a:gd name="T32" fmla="*/ 365 w 909"/>
                <a:gd name="T33" fmla="*/ 672 h 1016"/>
                <a:gd name="T34" fmla="*/ 315 w 909"/>
                <a:gd name="T35" fmla="*/ 699 h 1016"/>
                <a:gd name="T36" fmla="*/ 149 w 909"/>
                <a:gd name="T37" fmla="*/ 768 h 1016"/>
                <a:gd name="T38" fmla="*/ 59 w 909"/>
                <a:gd name="T39" fmla="*/ 811 h 1016"/>
                <a:gd name="T40" fmla="*/ 14 w 909"/>
                <a:gd name="T41" fmla="*/ 846 h 1016"/>
                <a:gd name="T42" fmla="*/ 2 w 909"/>
                <a:gd name="T43" fmla="*/ 874 h 1016"/>
                <a:gd name="T44" fmla="*/ 3 w 909"/>
                <a:gd name="T45" fmla="*/ 960 h 1016"/>
                <a:gd name="T46" fmla="*/ 454 w 909"/>
                <a:gd name="T47" fmla="*/ 1016 h 1016"/>
                <a:gd name="T48" fmla="*/ 465 w 909"/>
                <a:gd name="T49" fmla="*/ 986 h 1016"/>
                <a:gd name="T50" fmla="*/ 492 w 909"/>
                <a:gd name="T51" fmla="*/ 956 h 1016"/>
                <a:gd name="T52" fmla="*/ 501 w 909"/>
                <a:gd name="T53" fmla="*/ 915 h 1016"/>
                <a:gd name="T54" fmla="*/ 479 w 909"/>
                <a:gd name="T55" fmla="*/ 891 h 1016"/>
                <a:gd name="T56" fmla="*/ 477 w 909"/>
                <a:gd name="T57" fmla="*/ 869 h 1016"/>
                <a:gd name="T58" fmla="*/ 485 w 909"/>
                <a:gd name="T59" fmla="*/ 843 h 1016"/>
                <a:gd name="T60" fmla="*/ 428 w 909"/>
                <a:gd name="T61" fmla="*/ 788 h 1016"/>
                <a:gd name="T62" fmla="*/ 380 w 909"/>
                <a:gd name="T63" fmla="*/ 714 h 1016"/>
                <a:gd name="T64" fmla="*/ 443 w 909"/>
                <a:gd name="T65" fmla="*/ 777 h 1016"/>
                <a:gd name="T66" fmla="*/ 489 w 909"/>
                <a:gd name="T67" fmla="*/ 808 h 1016"/>
                <a:gd name="T68" fmla="*/ 518 w 909"/>
                <a:gd name="T69" fmla="*/ 813 h 1016"/>
                <a:gd name="T70" fmla="*/ 554 w 909"/>
                <a:gd name="T71" fmla="*/ 819 h 1016"/>
                <a:gd name="T72" fmla="*/ 676 w 909"/>
                <a:gd name="T73" fmla="*/ 706 h 1016"/>
                <a:gd name="T74" fmla="*/ 614 w 909"/>
                <a:gd name="T75" fmla="*/ 799 h 1016"/>
                <a:gd name="T76" fmla="*/ 576 w 909"/>
                <a:gd name="T77" fmla="*/ 852 h 1016"/>
                <a:gd name="T78" fmla="*/ 582 w 909"/>
                <a:gd name="T79" fmla="*/ 878 h 1016"/>
                <a:gd name="T80" fmla="*/ 662 w 909"/>
                <a:gd name="T81" fmla="*/ 868 h 1016"/>
                <a:gd name="T82" fmla="*/ 842 w 909"/>
                <a:gd name="T83" fmla="*/ 793 h 1016"/>
                <a:gd name="T84" fmla="*/ 855 w 909"/>
                <a:gd name="T85" fmla="*/ 742 h 1016"/>
                <a:gd name="T86" fmla="*/ 758 w 909"/>
                <a:gd name="T87" fmla="*/ 701 h 1016"/>
                <a:gd name="T88" fmla="*/ 710 w 909"/>
                <a:gd name="T89" fmla="*/ 676 h 1016"/>
                <a:gd name="T90" fmla="*/ 689 w 909"/>
                <a:gd name="T91" fmla="*/ 655 h 1016"/>
                <a:gd name="T92" fmla="*/ 679 w 909"/>
                <a:gd name="T93" fmla="*/ 622 h 1016"/>
                <a:gd name="T94" fmla="*/ 681 w 909"/>
                <a:gd name="T95" fmla="*/ 574 h 1016"/>
                <a:gd name="T96" fmla="*/ 693 w 909"/>
                <a:gd name="T97" fmla="*/ 552 h 1016"/>
                <a:gd name="T98" fmla="*/ 703 w 909"/>
                <a:gd name="T99" fmla="*/ 485 h 1016"/>
                <a:gd name="T100" fmla="*/ 724 w 909"/>
                <a:gd name="T101" fmla="*/ 487 h 1016"/>
                <a:gd name="T102" fmla="*/ 740 w 909"/>
                <a:gd name="T103" fmla="*/ 432 h 1016"/>
                <a:gd name="T104" fmla="*/ 750 w 909"/>
                <a:gd name="T105" fmla="*/ 334 h 1016"/>
                <a:gd name="T106" fmla="*/ 736 w 909"/>
                <a:gd name="T107" fmla="*/ 331 h 1016"/>
                <a:gd name="T108" fmla="*/ 743 w 909"/>
                <a:gd name="T109" fmla="*/ 301 h 1016"/>
                <a:gd name="T110" fmla="*/ 752 w 909"/>
                <a:gd name="T111" fmla="*/ 258 h 1016"/>
                <a:gd name="T112" fmla="*/ 745 w 909"/>
                <a:gd name="T113" fmla="*/ 129 h 1016"/>
                <a:gd name="T114" fmla="*/ 729 w 909"/>
                <a:gd name="T115" fmla="*/ 79 h 1016"/>
                <a:gd name="T116" fmla="*/ 701 w 909"/>
                <a:gd name="T117" fmla="*/ 55 h 1016"/>
                <a:gd name="T118" fmla="*/ 675 w 909"/>
                <a:gd name="T119" fmla="*/ 59 h 1016"/>
                <a:gd name="T120" fmla="*/ 646 w 909"/>
                <a:gd name="T121" fmla="*/ 29 h 1016"/>
                <a:gd name="T122" fmla="*/ 602 w 909"/>
                <a:gd name="T123" fmla="*/ 8 h 1016"/>
                <a:gd name="T124" fmla="*/ 533 w 909"/>
                <a:gd name="T125"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9" h="1016">
                  <a:moveTo>
                    <a:pt x="533" y="0"/>
                  </a:moveTo>
                  <a:lnTo>
                    <a:pt x="516" y="0"/>
                  </a:lnTo>
                  <a:lnTo>
                    <a:pt x="500" y="1"/>
                  </a:lnTo>
                  <a:lnTo>
                    <a:pt x="483" y="4"/>
                  </a:lnTo>
                  <a:lnTo>
                    <a:pt x="466" y="8"/>
                  </a:lnTo>
                  <a:lnTo>
                    <a:pt x="450" y="13"/>
                  </a:lnTo>
                  <a:lnTo>
                    <a:pt x="435" y="20"/>
                  </a:lnTo>
                  <a:lnTo>
                    <a:pt x="428" y="25"/>
                  </a:lnTo>
                  <a:lnTo>
                    <a:pt x="422" y="29"/>
                  </a:lnTo>
                  <a:lnTo>
                    <a:pt x="416" y="35"/>
                  </a:lnTo>
                  <a:lnTo>
                    <a:pt x="409" y="40"/>
                  </a:lnTo>
                  <a:lnTo>
                    <a:pt x="389" y="64"/>
                  </a:lnTo>
                  <a:lnTo>
                    <a:pt x="370" y="87"/>
                  </a:lnTo>
                  <a:lnTo>
                    <a:pt x="362" y="98"/>
                  </a:lnTo>
                  <a:lnTo>
                    <a:pt x="355" y="110"/>
                  </a:lnTo>
                  <a:lnTo>
                    <a:pt x="348" y="122"/>
                  </a:lnTo>
                  <a:lnTo>
                    <a:pt x="343" y="133"/>
                  </a:lnTo>
                  <a:lnTo>
                    <a:pt x="338" y="145"/>
                  </a:lnTo>
                  <a:lnTo>
                    <a:pt x="334" y="158"/>
                  </a:lnTo>
                  <a:lnTo>
                    <a:pt x="330" y="170"/>
                  </a:lnTo>
                  <a:lnTo>
                    <a:pt x="328" y="183"/>
                  </a:lnTo>
                  <a:lnTo>
                    <a:pt x="327" y="196"/>
                  </a:lnTo>
                  <a:lnTo>
                    <a:pt x="327" y="210"/>
                  </a:lnTo>
                  <a:lnTo>
                    <a:pt x="327" y="225"/>
                  </a:lnTo>
                  <a:lnTo>
                    <a:pt x="328" y="239"/>
                  </a:lnTo>
                  <a:lnTo>
                    <a:pt x="336" y="289"/>
                  </a:lnTo>
                  <a:lnTo>
                    <a:pt x="341" y="319"/>
                  </a:lnTo>
                  <a:lnTo>
                    <a:pt x="345" y="334"/>
                  </a:lnTo>
                  <a:lnTo>
                    <a:pt x="346" y="337"/>
                  </a:lnTo>
                  <a:lnTo>
                    <a:pt x="340" y="335"/>
                  </a:lnTo>
                  <a:lnTo>
                    <a:pt x="330" y="330"/>
                  </a:lnTo>
                  <a:lnTo>
                    <a:pt x="327" y="330"/>
                  </a:lnTo>
                  <a:lnTo>
                    <a:pt x="325" y="330"/>
                  </a:lnTo>
                  <a:lnTo>
                    <a:pt x="321" y="331"/>
                  </a:lnTo>
                  <a:lnTo>
                    <a:pt x="319" y="332"/>
                  </a:lnTo>
                  <a:lnTo>
                    <a:pt x="318" y="334"/>
                  </a:lnTo>
                  <a:lnTo>
                    <a:pt x="317" y="336"/>
                  </a:lnTo>
                  <a:lnTo>
                    <a:pt x="315" y="341"/>
                  </a:lnTo>
                  <a:lnTo>
                    <a:pt x="315" y="346"/>
                  </a:lnTo>
                  <a:lnTo>
                    <a:pt x="320" y="383"/>
                  </a:lnTo>
                  <a:lnTo>
                    <a:pt x="328" y="432"/>
                  </a:lnTo>
                  <a:lnTo>
                    <a:pt x="332" y="455"/>
                  </a:lnTo>
                  <a:lnTo>
                    <a:pt x="338" y="474"/>
                  </a:lnTo>
                  <a:lnTo>
                    <a:pt x="341" y="481"/>
                  </a:lnTo>
                  <a:lnTo>
                    <a:pt x="344" y="487"/>
                  </a:lnTo>
                  <a:lnTo>
                    <a:pt x="347" y="489"/>
                  </a:lnTo>
                  <a:lnTo>
                    <a:pt x="349" y="490"/>
                  </a:lnTo>
                  <a:lnTo>
                    <a:pt x="363" y="487"/>
                  </a:lnTo>
                  <a:lnTo>
                    <a:pt x="365" y="485"/>
                  </a:lnTo>
                  <a:lnTo>
                    <a:pt x="366" y="497"/>
                  </a:lnTo>
                  <a:lnTo>
                    <a:pt x="369" y="523"/>
                  </a:lnTo>
                  <a:lnTo>
                    <a:pt x="372" y="538"/>
                  </a:lnTo>
                  <a:lnTo>
                    <a:pt x="375" y="552"/>
                  </a:lnTo>
                  <a:lnTo>
                    <a:pt x="378" y="559"/>
                  </a:lnTo>
                  <a:lnTo>
                    <a:pt x="380" y="564"/>
                  </a:lnTo>
                  <a:lnTo>
                    <a:pt x="383" y="570"/>
                  </a:lnTo>
                  <a:lnTo>
                    <a:pt x="387" y="574"/>
                  </a:lnTo>
                  <a:lnTo>
                    <a:pt x="406" y="594"/>
                  </a:lnTo>
                  <a:lnTo>
                    <a:pt x="411" y="602"/>
                  </a:lnTo>
                  <a:lnTo>
                    <a:pt x="414" y="624"/>
                  </a:lnTo>
                  <a:lnTo>
                    <a:pt x="389" y="622"/>
                  </a:lnTo>
                  <a:lnTo>
                    <a:pt x="388" y="629"/>
                  </a:lnTo>
                  <a:lnTo>
                    <a:pt x="384" y="645"/>
                  </a:lnTo>
                  <a:lnTo>
                    <a:pt x="382" y="650"/>
                  </a:lnTo>
                  <a:lnTo>
                    <a:pt x="379" y="655"/>
                  </a:lnTo>
                  <a:lnTo>
                    <a:pt x="375" y="660"/>
                  </a:lnTo>
                  <a:lnTo>
                    <a:pt x="371" y="666"/>
                  </a:lnTo>
                  <a:lnTo>
                    <a:pt x="365" y="672"/>
                  </a:lnTo>
                  <a:lnTo>
                    <a:pt x="358" y="676"/>
                  </a:lnTo>
                  <a:lnTo>
                    <a:pt x="350" y="682"/>
                  </a:lnTo>
                  <a:lnTo>
                    <a:pt x="341" y="686"/>
                  </a:lnTo>
                  <a:lnTo>
                    <a:pt x="315" y="699"/>
                  </a:lnTo>
                  <a:lnTo>
                    <a:pt x="280" y="714"/>
                  </a:lnTo>
                  <a:lnTo>
                    <a:pt x="240" y="730"/>
                  </a:lnTo>
                  <a:lnTo>
                    <a:pt x="195" y="749"/>
                  </a:lnTo>
                  <a:lnTo>
                    <a:pt x="149" y="768"/>
                  </a:lnTo>
                  <a:lnTo>
                    <a:pt x="108" y="786"/>
                  </a:lnTo>
                  <a:lnTo>
                    <a:pt x="90" y="795"/>
                  </a:lnTo>
                  <a:lnTo>
                    <a:pt x="73" y="803"/>
                  </a:lnTo>
                  <a:lnTo>
                    <a:pt x="59" y="811"/>
                  </a:lnTo>
                  <a:lnTo>
                    <a:pt x="48" y="817"/>
                  </a:lnTo>
                  <a:lnTo>
                    <a:pt x="31" y="830"/>
                  </a:lnTo>
                  <a:lnTo>
                    <a:pt x="19" y="840"/>
                  </a:lnTo>
                  <a:lnTo>
                    <a:pt x="14" y="846"/>
                  </a:lnTo>
                  <a:lnTo>
                    <a:pt x="9" y="851"/>
                  </a:lnTo>
                  <a:lnTo>
                    <a:pt x="7" y="856"/>
                  </a:lnTo>
                  <a:lnTo>
                    <a:pt x="4" y="861"/>
                  </a:lnTo>
                  <a:lnTo>
                    <a:pt x="2" y="874"/>
                  </a:lnTo>
                  <a:lnTo>
                    <a:pt x="0" y="887"/>
                  </a:lnTo>
                  <a:lnTo>
                    <a:pt x="0" y="903"/>
                  </a:lnTo>
                  <a:lnTo>
                    <a:pt x="0" y="922"/>
                  </a:lnTo>
                  <a:lnTo>
                    <a:pt x="3" y="960"/>
                  </a:lnTo>
                  <a:lnTo>
                    <a:pt x="4" y="988"/>
                  </a:lnTo>
                  <a:lnTo>
                    <a:pt x="5" y="1006"/>
                  </a:lnTo>
                  <a:lnTo>
                    <a:pt x="5" y="1013"/>
                  </a:lnTo>
                  <a:lnTo>
                    <a:pt x="454" y="1016"/>
                  </a:lnTo>
                  <a:lnTo>
                    <a:pt x="456" y="1008"/>
                  </a:lnTo>
                  <a:lnTo>
                    <a:pt x="458" y="1000"/>
                  </a:lnTo>
                  <a:lnTo>
                    <a:pt x="461" y="993"/>
                  </a:lnTo>
                  <a:lnTo>
                    <a:pt x="465" y="986"/>
                  </a:lnTo>
                  <a:lnTo>
                    <a:pt x="470" y="979"/>
                  </a:lnTo>
                  <a:lnTo>
                    <a:pt x="476" y="971"/>
                  </a:lnTo>
                  <a:lnTo>
                    <a:pt x="484" y="964"/>
                  </a:lnTo>
                  <a:lnTo>
                    <a:pt x="492" y="956"/>
                  </a:lnTo>
                  <a:lnTo>
                    <a:pt x="494" y="946"/>
                  </a:lnTo>
                  <a:lnTo>
                    <a:pt x="496" y="936"/>
                  </a:lnTo>
                  <a:lnTo>
                    <a:pt x="498" y="925"/>
                  </a:lnTo>
                  <a:lnTo>
                    <a:pt x="501" y="915"/>
                  </a:lnTo>
                  <a:lnTo>
                    <a:pt x="495" y="911"/>
                  </a:lnTo>
                  <a:lnTo>
                    <a:pt x="489" y="906"/>
                  </a:lnTo>
                  <a:lnTo>
                    <a:pt x="484" y="899"/>
                  </a:lnTo>
                  <a:lnTo>
                    <a:pt x="479" y="891"/>
                  </a:lnTo>
                  <a:lnTo>
                    <a:pt x="478" y="885"/>
                  </a:lnTo>
                  <a:lnTo>
                    <a:pt x="477" y="881"/>
                  </a:lnTo>
                  <a:lnTo>
                    <a:pt x="476" y="875"/>
                  </a:lnTo>
                  <a:lnTo>
                    <a:pt x="477" y="869"/>
                  </a:lnTo>
                  <a:lnTo>
                    <a:pt x="477" y="864"/>
                  </a:lnTo>
                  <a:lnTo>
                    <a:pt x="479" y="857"/>
                  </a:lnTo>
                  <a:lnTo>
                    <a:pt x="481" y="850"/>
                  </a:lnTo>
                  <a:lnTo>
                    <a:pt x="485" y="843"/>
                  </a:lnTo>
                  <a:lnTo>
                    <a:pt x="470" y="832"/>
                  </a:lnTo>
                  <a:lnTo>
                    <a:pt x="456" y="820"/>
                  </a:lnTo>
                  <a:lnTo>
                    <a:pt x="442" y="805"/>
                  </a:lnTo>
                  <a:lnTo>
                    <a:pt x="428" y="788"/>
                  </a:lnTo>
                  <a:lnTo>
                    <a:pt x="416" y="771"/>
                  </a:lnTo>
                  <a:lnTo>
                    <a:pt x="404" y="752"/>
                  </a:lnTo>
                  <a:lnTo>
                    <a:pt x="391" y="733"/>
                  </a:lnTo>
                  <a:lnTo>
                    <a:pt x="380" y="714"/>
                  </a:lnTo>
                  <a:lnTo>
                    <a:pt x="396" y="730"/>
                  </a:lnTo>
                  <a:lnTo>
                    <a:pt x="411" y="746"/>
                  </a:lnTo>
                  <a:lnTo>
                    <a:pt x="427" y="762"/>
                  </a:lnTo>
                  <a:lnTo>
                    <a:pt x="443" y="777"/>
                  </a:lnTo>
                  <a:lnTo>
                    <a:pt x="459" y="789"/>
                  </a:lnTo>
                  <a:lnTo>
                    <a:pt x="474" y="801"/>
                  </a:lnTo>
                  <a:lnTo>
                    <a:pt x="481" y="805"/>
                  </a:lnTo>
                  <a:lnTo>
                    <a:pt x="489" y="808"/>
                  </a:lnTo>
                  <a:lnTo>
                    <a:pt x="497" y="812"/>
                  </a:lnTo>
                  <a:lnTo>
                    <a:pt x="505" y="815"/>
                  </a:lnTo>
                  <a:lnTo>
                    <a:pt x="512" y="813"/>
                  </a:lnTo>
                  <a:lnTo>
                    <a:pt x="518" y="813"/>
                  </a:lnTo>
                  <a:lnTo>
                    <a:pt x="523" y="813"/>
                  </a:lnTo>
                  <a:lnTo>
                    <a:pt x="530" y="813"/>
                  </a:lnTo>
                  <a:lnTo>
                    <a:pt x="542" y="815"/>
                  </a:lnTo>
                  <a:lnTo>
                    <a:pt x="554" y="819"/>
                  </a:lnTo>
                  <a:lnTo>
                    <a:pt x="584" y="790"/>
                  </a:lnTo>
                  <a:lnTo>
                    <a:pt x="615" y="762"/>
                  </a:lnTo>
                  <a:lnTo>
                    <a:pt x="645" y="734"/>
                  </a:lnTo>
                  <a:lnTo>
                    <a:pt x="676" y="706"/>
                  </a:lnTo>
                  <a:lnTo>
                    <a:pt x="657" y="737"/>
                  </a:lnTo>
                  <a:lnTo>
                    <a:pt x="641" y="763"/>
                  </a:lnTo>
                  <a:lnTo>
                    <a:pt x="626" y="784"/>
                  </a:lnTo>
                  <a:lnTo>
                    <a:pt x="614" y="799"/>
                  </a:lnTo>
                  <a:lnTo>
                    <a:pt x="591" y="824"/>
                  </a:lnTo>
                  <a:lnTo>
                    <a:pt x="570" y="846"/>
                  </a:lnTo>
                  <a:lnTo>
                    <a:pt x="573" y="849"/>
                  </a:lnTo>
                  <a:lnTo>
                    <a:pt x="576" y="852"/>
                  </a:lnTo>
                  <a:lnTo>
                    <a:pt x="579" y="857"/>
                  </a:lnTo>
                  <a:lnTo>
                    <a:pt x="581" y="863"/>
                  </a:lnTo>
                  <a:lnTo>
                    <a:pt x="582" y="869"/>
                  </a:lnTo>
                  <a:lnTo>
                    <a:pt x="582" y="878"/>
                  </a:lnTo>
                  <a:lnTo>
                    <a:pt x="581" y="891"/>
                  </a:lnTo>
                  <a:lnTo>
                    <a:pt x="580" y="904"/>
                  </a:lnTo>
                  <a:lnTo>
                    <a:pt x="618" y="886"/>
                  </a:lnTo>
                  <a:lnTo>
                    <a:pt x="662" y="868"/>
                  </a:lnTo>
                  <a:lnTo>
                    <a:pt x="707" y="848"/>
                  </a:lnTo>
                  <a:lnTo>
                    <a:pt x="754" y="829"/>
                  </a:lnTo>
                  <a:lnTo>
                    <a:pt x="799" y="811"/>
                  </a:lnTo>
                  <a:lnTo>
                    <a:pt x="842" y="793"/>
                  </a:lnTo>
                  <a:lnTo>
                    <a:pt x="879" y="778"/>
                  </a:lnTo>
                  <a:lnTo>
                    <a:pt x="909" y="764"/>
                  </a:lnTo>
                  <a:lnTo>
                    <a:pt x="882" y="753"/>
                  </a:lnTo>
                  <a:lnTo>
                    <a:pt x="855" y="742"/>
                  </a:lnTo>
                  <a:lnTo>
                    <a:pt x="828" y="730"/>
                  </a:lnTo>
                  <a:lnTo>
                    <a:pt x="803" y="720"/>
                  </a:lnTo>
                  <a:lnTo>
                    <a:pt x="780" y="710"/>
                  </a:lnTo>
                  <a:lnTo>
                    <a:pt x="758" y="701"/>
                  </a:lnTo>
                  <a:lnTo>
                    <a:pt x="740" y="693"/>
                  </a:lnTo>
                  <a:lnTo>
                    <a:pt x="727" y="686"/>
                  </a:lnTo>
                  <a:lnTo>
                    <a:pt x="717" y="682"/>
                  </a:lnTo>
                  <a:lnTo>
                    <a:pt x="710" y="676"/>
                  </a:lnTo>
                  <a:lnTo>
                    <a:pt x="703" y="672"/>
                  </a:lnTo>
                  <a:lnTo>
                    <a:pt x="697" y="666"/>
                  </a:lnTo>
                  <a:lnTo>
                    <a:pt x="693" y="660"/>
                  </a:lnTo>
                  <a:lnTo>
                    <a:pt x="689" y="655"/>
                  </a:lnTo>
                  <a:lnTo>
                    <a:pt x="686" y="650"/>
                  </a:lnTo>
                  <a:lnTo>
                    <a:pt x="684" y="645"/>
                  </a:lnTo>
                  <a:lnTo>
                    <a:pt x="679" y="629"/>
                  </a:lnTo>
                  <a:lnTo>
                    <a:pt x="679" y="622"/>
                  </a:lnTo>
                  <a:lnTo>
                    <a:pt x="654" y="624"/>
                  </a:lnTo>
                  <a:lnTo>
                    <a:pt x="655" y="602"/>
                  </a:lnTo>
                  <a:lnTo>
                    <a:pt x="662" y="594"/>
                  </a:lnTo>
                  <a:lnTo>
                    <a:pt x="681" y="574"/>
                  </a:lnTo>
                  <a:lnTo>
                    <a:pt x="685" y="570"/>
                  </a:lnTo>
                  <a:lnTo>
                    <a:pt x="687" y="564"/>
                  </a:lnTo>
                  <a:lnTo>
                    <a:pt x="690" y="559"/>
                  </a:lnTo>
                  <a:lnTo>
                    <a:pt x="693" y="552"/>
                  </a:lnTo>
                  <a:lnTo>
                    <a:pt x="696" y="538"/>
                  </a:lnTo>
                  <a:lnTo>
                    <a:pt x="698" y="523"/>
                  </a:lnTo>
                  <a:lnTo>
                    <a:pt x="702" y="497"/>
                  </a:lnTo>
                  <a:lnTo>
                    <a:pt x="703" y="485"/>
                  </a:lnTo>
                  <a:lnTo>
                    <a:pt x="705" y="487"/>
                  </a:lnTo>
                  <a:lnTo>
                    <a:pt x="719" y="490"/>
                  </a:lnTo>
                  <a:lnTo>
                    <a:pt x="721" y="489"/>
                  </a:lnTo>
                  <a:lnTo>
                    <a:pt x="724" y="487"/>
                  </a:lnTo>
                  <a:lnTo>
                    <a:pt x="727" y="481"/>
                  </a:lnTo>
                  <a:lnTo>
                    <a:pt x="730" y="474"/>
                  </a:lnTo>
                  <a:lnTo>
                    <a:pt x="734" y="455"/>
                  </a:lnTo>
                  <a:lnTo>
                    <a:pt x="740" y="432"/>
                  </a:lnTo>
                  <a:lnTo>
                    <a:pt x="748" y="383"/>
                  </a:lnTo>
                  <a:lnTo>
                    <a:pt x="752" y="346"/>
                  </a:lnTo>
                  <a:lnTo>
                    <a:pt x="752" y="339"/>
                  </a:lnTo>
                  <a:lnTo>
                    <a:pt x="750" y="334"/>
                  </a:lnTo>
                  <a:lnTo>
                    <a:pt x="748" y="331"/>
                  </a:lnTo>
                  <a:lnTo>
                    <a:pt x="745" y="330"/>
                  </a:lnTo>
                  <a:lnTo>
                    <a:pt x="740" y="330"/>
                  </a:lnTo>
                  <a:lnTo>
                    <a:pt x="736" y="331"/>
                  </a:lnTo>
                  <a:lnTo>
                    <a:pt x="732" y="332"/>
                  </a:lnTo>
                  <a:lnTo>
                    <a:pt x="728" y="334"/>
                  </a:lnTo>
                  <a:lnTo>
                    <a:pt x="736" y="319"/>
                  </a:lnTo>
                  <a:lnTo>
                    <a:pt x="743" y="301"/>
                  </a:lnTo>
                  <a:lnTo>
                    <a:pt x="747" y="293"/>
                  </a:lnTo>
                  <a:lnTo>
                    <a:pt x="749" y="283"/>
                  </a:lnTo>
                  <a:lnTo>
                    <a:pt x="751" y="272"/>
                  </a:lnTo>
                  <a:lnTo>
                    <a:pt x="752" y="258"/>
                  </a:lnTo>
                  <a:lnTo>
                    <a:pt x="754" y="228"/>
                  </a:lnTo>
                  <a:lnTo>
                    <a:pt x="752" y="194"/>
                  </a:lnTo>
                  <a:lnTo>
                    <a:pt x="749" y="160"/>
                  </a:lnTo>
                  <a:lnTo>
                    <a:pt x="745" y="129"/>
                  </a:lnTo>
                  <a:lnTo>
                    <a:pt x="741" y="114"/>
                  </a:lnTo>
                  <a:lnTo>
                    <a:pt x="738" y="100"/>
                  </a:lnTo>
                  <a:lnTo>
                    <a:pt x="733" y="89"/>
                  </a:lnTo>
                  <a:lnTo>
                    <a:pt x="729" y="79"/>
                  </a:lnTo>
                  <a:lnTo>
                    <a:pt x="722" y="69"/>
                  </a:lnTo>
                  <a:lnTo>
                    <a:pt x="715" y="62"/>
                  </a:lnTo>
                  <a:lnTo>
                    <a:pt x="708" y="57"/>
                  </a:lnTo>
                  <a:lnTo>
                    <a:pt x="701" y="55"/>
                  </a:lnTo>
                  <a:lnTo>
                    <a:pt x="694" y="54"/>
                  </a:lnTo>
                  <a:lnTo>
                    <a:pt x="687" y="55"/>
                  </a:lnTo>
                  <a:lnTo>
                    <a:pt x="680" y="56"/>
                  </a:lnTo>
                  <a:lnTo>
                    <a:pt x="675" y="59"/>
                  </a:lnTo>
                  <a:lnTo>
                    <a:pt x="667" y="49"/>
                  </a:lnTo>
                  <a:lnTo>
                    <a:pt x="658" y="40"/>
                  </a:lnTo>
                  <a:lnTo>
                    <a:pt x="652" y="35"/>
                  </a:lnTo>
                  <a:lnTo>
                    <a:pt x="646" y="29"/>
                  </a:lnTo>
                  <a:lnTo>
                    <a:pt x="640" y="25"/>
                  </a:lnTo>
                  <a:lnTo>
                    <a:pt x="633" y="20"/>
                  </a:lnTo>
                  <a:lnTo>
                    <a:pt x="618" y="13"/>
                  </a:lnTo>
                  <a:lnTo>
                    <a:pt x="602" y="8"/>
                  </a:lnTo>
                  <a:lnTo>
                    <a:pt x="585" y="4"/>
                  </a:lnTo>
                  <a:lnTo>
                    <a:pt x="568" y="1"/>
                  </a:lnTo>
                  <a:lnTo>
                    <a:pt x="551" y="0"/>
                  </a:lnTo>
                  <a:lnTo>
                    <a:pt x="533" y="0"/>
                  </a:lnTo>
                  <a:close/>
                </a:path>
              </a:pathLst>
            </a:cu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cxnSp>
        <p:nvCxnSpPr>
          <p:cNvPr id="295" name="Straight Connector 294"/>
          <p:cNvCxnSpPr/>
          <p:nvPr/>
        </p:nvCxnSpPr>
        <p:spPr bwMode="auto">
          <a:xfrm flipH="1" flipV="1">
            <a:off x="6219825" y="3157538"/>
            <a:ext cx="0" cy="374650"/>
          </a:xfrm>
          <a:prstGeom prst="line">
            <a:avLst/>
          </a:prstGeom>
          <a:solidFill>
            <a:schemeClr val="accent1"/>
          </a:solidFill>
          <a:ln w="28575" cap="flat" cmpd="sng" algn="ctr">
            <a:solidFill>
              <a:schemeClr val="tx2">
                <a:lumMod val="75000"/>
              </a:schemeClr>
            </a:solidFill>
            <a:prstDash val="solid"/>
            <a:round/>
            <a:headEnd type="none" w="med" len="med"/>
            <a:tailEnd type="none" w="med" len="med"/>
          </a:ln>
          <a:effectLst/>
        </p:spPr>
      </p:cxnSp>
      <p:grpSp>
        <p:nvGrpSpPr>
          <p:cNvPr id="15387" name="Gruppe 956"/>
          <p:cNvGrpSpPr>
            <a:grpSpLocks/>
          </p:cNvGrpSpPr>
          <p:nvPr/>
        </p:nvGrpSpPr>
        <p:grpSpPr bwMode="auto">
          <a:xfrm>
            <a:off x="5794375" y="2840038"/>
            <a:ext cx="700088" cy="869950"/>
            <a:chOff x="215000" y="2687274"/>
            <a:chExt cx="2593295" cy="3223034"/>
          </a:xfrm>
        </p:grpSpPr>
        <p:sp>
          <p:nvSpPr>
            <p:cNvPr id="163" name="Freeform 814"/>
            <p:cNvSpPr>
              <a:spLocks noEditPoints="1"/>
            </p:cNvSpPr>
            <p:nvPr/>
          </p:nvSpPr>
          <p:spPr bwMode="auto">
            <a:xfrm flipH="1">
              <a:off x="215000" y="2969584"/>
              <a:ext cx="993804" cy="2940724"/>
            </a:xfrm>
            <a:custGeom>
              <a:avLst/>
              <a:gdLst>
                <a:gd name="T0" fmla="*/ 2147483647 w 642"/>
                <a:gd name="T1" fmla="*/ 2147483647 h 1854"/>
                <a:gd name="T2" fmla="*/ 2147483647 w 642"/>
                <a:gd name="T3" fmla="*/ 2147483647 h 1854"/>
                <a:gd name="T4" fmla="*/ 2147483647 w 642"/>
                <a:gd name="T5" fmla="*/ 2147483647 h 1854"/>
                <a:gd name="T6" fmla="*/ 2147483647 w 642"/>
                <a:gd name="T7" fmla="*/ 2147483647 h 1854"/>
                <a:gd name="T8" fmla="*/ 2147483647 w 642"/>
                <a:gd name="T9" fmla="*/ 2147483647 h 1854"/>
                <a:gd name="T10" fmla="*/ 2147483647 w 642"/>
                <a:gd name="T11" fmla="*/ 2147483647 h 1854"/>
                <a:gd name="T12" fmla="*/ 2147483647 w 642"/>
                <a:gd name="T13" fmla="*/ 2147483647 h 1854"/>
                <a:gd name="T14" fmla="*/ 2147483647 w 642"/>
                <a:gd name="T15" fmla="*/ 2147483647 h 1854"/>
                <a:gd name="T16" fmla="*/ 2147483647 w 642"/>
                <a:gd name="T17" fmla="*/ 2147483647 h 1854"/>
                <a:gd name="T18" fmla="*/ 2147483647 w 642"/>
                <a:gd name="T19" fmla="*/ 2147483647 h 1854"/>
                <a:gd name="T20" fmla="*/ 2147483647 w 642"/>
                <a:gd name="T21" fmla="*/ 2147483647 h 1854"/>
                <a:gd name="T22" fmla="*/ 2147483647 w 642"/>
                <a:gd name="T23" fmla="*/ 2147483647 h 1854"/>
                <a:gd name="T24" fmla="*/ 2147483647 w 642"/>
                <a:gd name="T25" fmla="*/ 2147483647 h 1854"/>
                <a:gd name="T26" fmla="*/ 2147483647 w 642"/>
                <a:gd name="T27" fmla="*/ 2147483647 h 1854"/>
                <a:gd name="T28" fmla="*/ 2147483647 w 642"/>
                <a:gd name="T29" fmla="*/ 2147483647 h 1854"/>
                <a:gd name="T30" fmla="*/ 2147483647 w 642"/>
                <a:gd name="T31" fmla="*/ 2147483647 h 1854"/>
                <a:gd name="T32" fmla="*/ 2147483647 w 642"/>
                <a:gd name="T33" fmla="*/ 2147483647 h 1854"/>
                <a:gd name="T34" fmla="*/ 2147483647 w 642"/>
                <a:gd name="T35" fmla="*/ 2147483647 h 1854"/>
                <a:gd name="T36" fmla="*/ 2147483647 w 642"/>
                <a:gd name="T37" fmla="*/ 2147483647 h 1854"/>
                <a:gd name="T38" fmla="*/ 2147483647 w 642"/>
                <a:gd name="T39" fmla="*/ 2147483647 h 1854"/>
                <a:gd name="T40" fmla="*/ 2147483647 w 642"/>
                <a:gd name="T41" fmla="*/ 0 h 1854"/>
                <a:gd name="T42" fmla="*/ 2147483647 w 642"/>
                <a:gd name="T43" fmla="*/ 2147483647 h 1854"/>
                <a:gd name="T44" fmla="*/ 2147483647 w 642"/>
                <a:gd name="T45" fmla="*/ 2147483647 h 1854"/>
                <a:gd name="T46" fmla="*/ 2147483647 w 642"/>
                <a:gd name="T47" fmla="*/ 2147483647 h 1854"/>
                <a:gd name="T48" fmla="*/ 2147483647 w 642"/>
                <a:gd name="T49" fmla="*/ 2147483647 h 1854"/>
                <a:gd name="T50" fmla="*/ 2147483647 w 642"/>
                <a:gd name="T51" fmla="*/ 2147483647 h 1854"/>
                <a:gd name="T52" fmla="*/ 2147483647 w 642"/>
                <a:gd name="T53" fmla="*/ 2147483647 h 1854"/>
                <a:gd name="T54" fmla="*/ 2147483647 w 642"/>
                <a:gd name="T55" fmla="*/ 2147483647 h 1854"/>
                <a:gd name="T56" fmla="*/ 2147483647 w 642"/>
                <a:gd name="T57" fmla="*/ 2147483647 h 1854"/>
                <a:gd name="T58" fmla="*/ 2147483647 w 642"/>
                <a:gd name="T59" fmla="*/ 2147483647 h 1854"/>
                <a:gd name="T60" fmla="*/ 2147483647 w 642"/>
                <a:gd name="T61" fmla="*/ 2147483647 h 1854"/>
                <a:gd name="T62" fmla="*/ 2147483647 w 642"/>
                <a:gd name="T63" fmla="*/ 2147483647 h 1854"/>
                <a:gd name="T64" fmla="*/ 2147483647 w 642"/>
                <a:gd name="T65" fmla="*/ 2147483647 h 1854"/>
                <a:gd name="T66" fmla="*/ 0 w 642"/>
                <a:gd name="T67" fmla="*/ 2147483647 h 1854"/>
                <a:gd name="T68" fmla="*/ 2147483647 w 642"/>
                <a:gd name="T69" fmla="*/ 2147483647 h 1854"/>
                <a:gd name="T70" fmla="*/ 2147483647 w 642"/>
                <a:gd name="T71" fmla="*/ 2147483647 h 1854"/>
                <a:gd name="T72" fmla="*/ 2147483647 w 642"/>
                <a:gd name="T73" fmla="*/ 2147483647 h 1854"/>
                <a:gd name="T74" fmla="*/ 2147483647 w 642"/>
                <a:gd name="T75" fmla="*/ 2147483647 h 1854"/>
                <a:gd name="T76" fmla="*/ 2147483647 w 642"/>
                <a:gd name="T77" fmla="*/ 2147483647 h 1854"/>
                <a:gd name="T78" fmla="*/ 2147483647 w 642"/>
                <a:gd name="T79" fmla="*/ 2147483647 h 1854"/>
                <a:gd name="T80" fmla="*/ 2147483647 w 642"/>
                <a:gd name="T81" fmla="*/ 2147483647 h 1854"/>
                <a:gd name="T82" fmla="*/ 2147483647 w 642"/>
                <a:gd name="T83" fmla="*/ 2147483647 h 1854"/>
                <a:gd name="T84" fmla="*/ 2147483647 w 642"/>
                <a:gd name="T85" fmla="*/ 2147483647 h 1854"/>
                <a:gd name="T86" fmla="*/ 2147483647 w 642"/>
                <a:gd name="T87" fmla="*/ 2147483647 h 1854"/>
                <a:gd name="T88" fmla="*/ 2147483647 w 642"/>
                <a:gd name="T89" fmla="*/ 2147483647 h 1854"/>
                <a:gd name="T90" fmla="*/ 2147483647 w 642"/>
                <a:gd name="T91" fmla="*/ 2147483647 h 1854"/>
                <a:gd name="T92" fmla="*/ 2147483647 w 642"/>
                <a:gd name="T93" fmla="*/ 2147483647 h 1854"/>
                <a:gd name="T94" fmla="*/ 2147483647 w 642"/>
                <a:gd name="T95" fmla="*/ 2147483647 h 1854"/>
                <a:gd name="T96" fmla="*/ 2147483647 w 642"/>
                <a:gd name="T97" fmla="*/ 2147483647 h 1854"/>
                <a:gd name="T98" fmla="*/ 2147483647 w 642"/>
                <a:gd name="T99" fmla="*/ 2147483647 h 1854"/>
                <a:gd name="T100" fmla="*/ 2147483647 w 642"/>
                <a:gd name="T101" fmla="*/ 2147483647 h 1854"/>
                <a:gd name="T102" fmla="*/ 2147483647 w 642"/>
                <a:gd name="T103" fmla="*/ 2147483647 h 1854"/>
                <a:gd name="T104" fmla="*/ 2147483647 w 642"/>
                <a:gd name="T105" fmla="*/ 2147483647 h 1854"/>
                <a:gd name="T106" fmla="*/ 2147483647 w 642"/>
                <a:gd name="T107" fmla="*/ 2147483647 h 1854"/>
                <a:gd name="T108" fmla="*/ 2147483647 w 642"/>
                <a:gd name="T109" fmla="*/ 2147483647 h 1854"/>
                <a:gd name="T110" fmla="*/ 2147483647 w 642"/>
                <a:gd name="T111" fmla="*/ 2147483647 h 1854"/>
                <a:gd name="T112" fmla="*/ 2147483647 w 642"/>
                <a:gd name="T113" fmla="*/ 2147483647 h 1854"/>
                <a:gd name="T114" fmla="*/ 2147483647 w 642"/>
                <a:gd name="T115" fmla="*/ 2147483647 h 18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2"/>
                <a:gd name="T175" fmla="*/ 0 h 1854"/>
                <a:gd name="T176" fmla="*/ 642 w 642"/>
                <a:gd name="T177" fmla="*/ 1854 h 18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2" h="1854">
                  <a:moveTo>
                    <a:pt x="642" y="1559"/>
                  </a:moveTo>
                  <a:lnTo>
                    <a:pt x="638" y="1547"/>
                  </a:lnTo>
                  <a:lnTo>
                    <a:pt x="613" y="1535"/>
                  </a:lnTo>
                  <a:lnTo>
                    <a:pt x="593" y="1518"/>
                  </a:lnTo>
                  <a:lnTo>
                    <a:pt x="568" y="1493"/>
                  </a:lnTo>
                  <a:lnTo>
                    <a:pt x="564" y="1489"/>
                  </a:lnTo>
                  <a:lnTo>
                    <a:pt x="555" y="1489"/>
                  </a:lnTo>
                  <a:lnTo>
                    <a:pt x="535" y="1489"/>
                  </a:lnTo>
                  <a:lnTo>
                    <a:pt x="506" y="1493"/>
                  </a:lnTo>
                  <a:lnTo>
                    <a:pt x="481" y="1472"/>
                  </a:lnTo>
                  <a:lnTo>
                    <a:pt x="456" y="1447"/>
                  </a:lnTo>
                  <a:lnTo>
                    <a:pt x="423" y="1402"/>
                  </a:lnTo>
                  <a:lnTo>
                    <a:pt x="402" y="1365"/>
                  </a:lnTo>
                  <a:lnTo>
                    <a:pt x="398" y="1356"/>
                  </a:lnTo>
                  <a:lnTo>
                    <a:pt x="402" y="1356"/>
                  </a:lnTo>
                  <a:lnTo>
                    <a:pt x="406" y="1356"/>
                  </a:lnTo>
                  <a:lnTo>
                    <a:pt x="414" y="1352"/>
                  </a:lnTo>
                  <a:lnTo>
                    <a:pt x="431" y="1340"/>
                  </a:lnTo>
                  <a:lnTo>
                    <a:pt x="456" y="1311"/>
                  </a:lnTo>
                  <a:lnTo>
                    <a:pt x="456" y="1294"/>
                  </a:lnTo>
                  <a:lnTo>
                    <a:pt x="460" y="1244"/>
                  </a:lnTo>
                  <a:lnTo>
                    <a:pt x="464" y="1099"/>
                  </a:lnTo>
                  <a:lnTo>
                    <a:pt x="472" y="888"/>
                  </a:lnTo>
                  <a:lnTo>
                    <a:pt x="468" y="867"/>
                  </a:lnTo>
                  <a:lnTo>
                    <a:pt x="468" y="850"/>
                  </a:lnTo>
                  <a:lnTo>
                    <a:pt x="472" y="842"/>
                  </a:lnTo>
                  <a:lnTo>
                    <a:pt x="477" y="854"/>
                  </a:lnTo>
                  <a:lnTo>
                    <a:pt x="477" y="871"/>
                  </a:lnTo>
                  <a:lnTo>
                    <a:pt x="477" y="900"/>
                  </a:lnTo>
                  <a:lnTo>
                    <a:pt x="477" y="933"/>
                  </a:lnTo>
                  <a:lnTo>
                    <a:pt x="485" y="946"/>
                  </a:lnTo>
                  <a:lnTo>
                    <a:pt x="493" y="946"/>
                  </a:lnTo>
                  <a:lnTo>
                    <a:pt x="506" y="946"/>
                  </a:lnTo>
                  <a:lnTo>
                    <a:pt x="514" y="950"/>
                  </a:lnTo>
                  <a:lnTo>
                    <a:pt x="518" y="946"/>
                  </a:lnTo>
                  <a:lnTo>
                    <a:pt x="526" y="946"/>
                  </a:lnTo>
                  <a:lnTo>
                    <a:pt x="530" y="946"/>
                  </a:lnTo>
                  <a:lnTo>
                    <a:pt x="535" y="946"/>
                  </a:lnTo>
                  <a:lnTo>
                    <a:pt x="539" y="946"/>
                  </a:lnTo>
                  <a:lnTo>
                    <a:pt x="547" y="937"/>
                  </a:lnTo>
                  <a:lnTo>
                    <a:pt x="547" y="921"/>
                  </a:lnTo>
                  <a:lnTo>
                    <a:pt x="547" y="912"/>
                  </a:lnTo>
                  <a:lnTo>
                    <a:pt x="547" y="883"/>
                  </a:lnTo>
                  <a:lnTo>
                    <a:pt x="543" y="875"/>
                  </a:lnTo>
                  <a:lnTo>
                    <a:pt x="539" y="871"/>
                  </a:lnTo>
                  <a:lnTo>
                    <a:pt x="539" y="867"/>
                  </a:lnTo>
                  <a:lnTo>
                    <a:pt x="535" y="854"/>
                  </a:lnTo>
                  <a:lnTo>
                    <a:pt x="535" y="821"/>
                  </a:lnTo>
                  <a:lnTo>
                    <a:pt x="539" y="767"/>
                  </a:lnTo>
                  <a:lnTo>
                    <a:pt x="539" y="738"/>
                  </a:lnTo>
                  <a:lnTo>
                    <a:pt x="518" y="647"/>
                  </a:lnTo>
                  <a:lnTo>
                    <a:pt x="497" y="539"/>
                  </a:lnTo>
                  <a:lnTo>
                    <a:pt x="485" y="444"/>
                  </a:lnTo>
                  <a:lnTo>
                    <a:pt x="456" y="336"/>
                  </a:lnTo>
                  <a:lnTo>
                    <a:pt x="443" y="307"/>
                  </a:lnTo>
                  <a:lnTo>
                    <a:pt x="431" y="286"/>
                  </a:lnTo>
                  <a:lnTo>
                    <a:pt x="414" y="274"/>
                  </a:lnTo>
                  <a:lnTo>
                    <a:pt x="394" y="270"/>
                  </a:lnTo>
                  <a:lnTo>
                    <a:pt x="381" y="265"/>
                  </a:lnTo>
                  <a:lnTo>
                    <a:pt x="365" y="265"/>
                  </a:lnTo>
                  <a:lnTo>
                    <a:pt x="352" y="270"/>
                  </a:lnTo>
                  <a:lnTo>
                    <a:pt x="340" y="270"/>
                  </a:lnTo>
                  <a:lnTo>
                    <a:pt x="336" y="257"/>
                  </a:lnTo>
                  <a:lnTo>
                    <a:pt x="331" y="245"/>
                  </a:lnTo>
                  <a:lnTo>
                    <a:pt x="331" y="228"/>
                  </a:lnTo>
                  <a:lnTo>
                    <a:pt x="331" y="203"/>
                  </a:lnTo>
                  <a:lnTo>
                    <a:pt x="331" y="174"/>
                  </a:lnTo>
                  <a:lnTo>
                    <a:pt x="331" y="145"/>
                  </a:lnTo>
                  <a:lnTo>
                    <a:pt x="331" y="116"/>
                  </a:lnTo>
                  <a:lnTo>
                    <a:pt x="319" y="83"/>
                  </a:lnTo>
                  <a:lnTo>
                    <a:pt x="315" y="66"/>
                  </a:lnTo>
                  <a:lnTo>
                    <a:pt x="302" y="50"/>
                  </a:lnTo>
                  <a:lnTo>
                    <a:pt x="290" y="37"/>
                  </a:lnTo>
                  <a:lnTo>
                    <a:pt x="277" y="25"/>
                  </a:lnTo>
                  <a:lnTo>
                    <a:pt x="248" y="8"/>
                  </a:lnTo>
                  <a:lnTo>
                    <a:pt x="224" y="0"/>
                  </a:lnTo>
                  <a:lnTo>
                    <a:pt x="190" y="0"/>
                  </a:lnTo>
                  <a:lnTo>
                    <a:pt x="157" y="8"/>
                  </a:lnTo>
                  <a:lnTo>
                    <a:pt x="124" y="17"/>
                  </a:lnTo>
                  <a:lnTo>
                    <a:pt x="107" y="25"/>
                  </a:lnTo>
                  <a:lnTo>
                    <a:pt x="95" y="33"/>
                  </a:lnTo>
                  <a:lnTo>
                    <a:pt x="87" y="46"/>
                  </a:lnTo>
                  <a:lnTo>
                    <a:pt x="87" y="54"/>
                  </a:lnTo>
                  <a:lnTo>
                    <a:pt x="87" y="62"/>
                  </a:lnTo>
                  <a:lnTo>
                    <a:pt x="91" y="71"/>
                  </a:lnTo>
                  <a:lnTo>
                    <a:pt x="87" y="87"/>
                  </a:lnTo>
                  <a:lnTo>
                    <a:pt x="87" y="120"/>
                  </a:lnTo>
                  <a:lnTo>
                    <a:pt x="87" y="133"/>
                  </a:lnTo>
                  <a:lnTo>
                    <a:pt x="91" y="137"/>
                  </a:lnTo>
                  <a:lnTo>
                    <a:pt x="95" y="141"/>
                  </a:lnTo>
                  <a:lnTo>
                    <a:pt x="103" y="149"/>
                  </a:lnTo>
                  <a:lnTo>
                    <a:pt x="95" y="170"/>
                  </a:lnTo>
                  <a:lnTo>
                    <a:pt x="91" y="191"/>
                  </a:lnTo>
                  <a:lnTo>
                    <a:pt x="99" y="195"/>
                  </a:lnTo>
                  <a:lnTo>
                    <a:pt x="107" y="195"/>
                  </a:lnTo>
                  <a:lnTo>
                    <a:pt x="112" y="203"/>
                  </a:lnTo>
                  <a:lnTo>
                    <a:pt x="112" y="207"/>
                  </a:lnTo>
                  <a:lnTo>
                    <a:pt x="116" y="212"/>
                  </a:lnTo>
                  <a:lnTo>
                    <a:pt x="116" y="220"/>
                  </a:lnTo>
                  <a:lnTo>
                    <a:pt x="120" y="224"/>
                  </a:lnTo>
                  <a:lnTo>
                    <a:pt x="124" y="228"/>
                  </a:lnTo>
                  <a:lnTo>
                    <a:pt x="128" y="241"/>
                  </a:lnTo>
                  <a:lnTo>
                    <a:pt x="128" y="249"/>
                  </a:lnTo>
                  <a:lnTo>
                    <a:pt x="132" y="253"/>
                  </a:lnTo>
                  <a:lnTo>
                    <a:pt x="141" y="253"/>
                  </a:lnTo>
                  <a:lnTo>
                    <a:pt x="165" y="253"/>
                  </a:lnTo>
                  <a:lnTo>
                    <a:pt x="174" y="253"/>
                  </a:lnTo>
                  <a:lnTo>
                    <a:pt x="178" y="257"/>
                  </a:lnTo>
                  <a:lnTo>
                    <a:pt x="182" y="265"/>
                  </a:lnTo>
                  <a:lnTo>
                    <a:pt x="182" y="270"/>
                  </a:lnTo>
                  <a:lnTo>
                    <a:pt x="182" y="278"/>
                  </a:lnTo>
                  <a:lnTo>
                    <a:pt x="78" y="394"/>
                  </a:lnTo>
                  <a:lnTo>
                    <a:pt x="70" y="406"/>
                  </a:lnTo>
                  <a:lnTo>
                    <a:pt x="70" y="419"/>
                  </a:lnTo>
                  <a:lnTo>
                    <a:pt x="74" y="448"/>
                  </a:lnTo>
                  <a:lnTo>
                    <a:pt x="70" y="518"/>
                  </a:lnTo>
                  <a:lnTo>
                    <a:pt x="62" y="610"/>
                  </a:lnTo>
                  <a:lnTo>
                    <a:pt x="49" y="713"/>
                  </a:lnTo>
                  <a:lnTo>
                    <a:pt x="16" y="713"/>
                  </a:lnTo>
                  <a:lnTo>
                    <a:pt x="0" y="971"/>
                  </a:lnTo>
                  <a:lnTo>
                    <a:pt x="78" y="971"/>
                  </a:lnTo>
                  <a:lnTo>
                    <a:pt x="83" y="979"/>
                  </a:lnTo>
                  <a:lnTo>
                    <a:pt x="87" y="983"/>
                  </a:lnTo>
                  <a:lnTo>
                    <a:pt x="107" y="987"/>
                  </a:lnTo>
                  <a:lnTo>
                    <a:pt x="128" y="987"/>
                  </a:lnTo>
                  <a:lnTo>
                    <a:pt x="132" y="1016"/>
                  </a:lnTo>
                  <a:lnTo>
                    <a:pt x="136" y="1058"/>
                  </a:lnTo>
                  <a:lnTo>
                    <a:pt x="149" y="1165"/>
                  </a:lnTo>
                  <a:lnTo>
                    <a:pt x="157" y="1261"/>
                  </a:lnTo>
                  <a:lnTo>
                    <a:pt x="165" y="1356"/>
                  </a:lnTo>
                  <a:lnTo>
                    <a:pt x="211" y="1356"/>
                  </a:lnTo>
                  <a:lnTo>
                    <a:pt x="224" y="1373"/>
                  </a:lnTo>
                  <a:lnTo>
                    <a:pt x="257" y="1398"/>
                  </a:lnTo>
                  <a:lnTo>
                    <a:pt x="298" y="1439"/>
                  </a:lnTo>
                  <a:lnTo>
                    <a:pt x="302" y="1539"/>
                  </a:lnTo>
                  <a:lnTo>
                    <a:pt x="307" y="1613"/>
                  </a:lnTo>
                  <a:lnTo>
                    <a:pt x="307" y="1659"/>
                  </a:lnTo>
                  <a:lnTo>
                    <a:pt x="298" y="1688"/>
                  </a:lnTo>
                  <a:lnTo>
                    <a:pt x="294" y="1700"/>
                  </a:lnTo>
                  <a:lnTo>
                    <a:pt x="282" y="1734"/>
                  </a:lnTo>
                  <a:lnTo>
                    <a:pt x="265" y="1759"/>
                  </a:lnTo>
                  <a:lnTo>
                    <a:pt x="244" y="1788"/>
                  </a:lnTo>
                  <a:lnTo>
                    <a:pt x="232" y="1792"/>
                  </a:lnTo>
                  <a:lnTo>
                    <a:pt x="203" y="1804"/>
                  </a:lnTo>
                  <a:lnTo>
                    <a:pt x="174" y="1812"/>
                  </a:lnTo>
                  <a:lnTo>
                    <a:pt x="157" y="1821"/>
                  </a:lnTo>
                  <a:lnTo>
                    <a:pt x="153" y="1825"/>
                  </a:lnTo>
                  <a:lnTo>
                    <a:pt x="153" y="1829"/>
                  </a:lnTo>
                  <a:lnTo>
                    <a:pt x="157" y="1833"/>
                  </a:lnTo>
                  <a:lnTo>
                    <a:pt x="170" y="1841"/>
                  </a:lnTo>
                  <a:lnTo>
                    <a:pt x="178" y="1841"/>
                  </a:lnTo>
                  <a:lnTo>
                    <a:pt x="265" y="1850"/>
                  </a:lnTo>
                  <a:lnTo>
                    <a:pt x="286" y="1850"/>
                  </a:lnTo>
                  <a:lnTo>
                    <a:pt x="307" y="1833"/>
                  </a:lnTo>
                  <a:lnTo>
                    <a:pt x="331" y="1812"/>
                  </a:lnTo>
                  <a:lnTo>
                    <a:pt x="352" y="1796"/>
                  </a:lnTo>
                  <a:lnTo>
                    <a:pt x="356" y="1796"/>
                  </a:lnTo>
                  <a:lnTo>
                    <a:pt x="365" y="1796"/>
                  </a:lnTo>
                  <a:lnTo>
                    <a:pt x="369" y="1800"/>
                  </a:lnTo>
                  <a:lnTo>
                    <a:pt x="365" y="1854"/>
                  </a:lnTo>
                  <a:lnTo>
                    <a:pt x="369" y="1854"/>
                  </a:lnTo>
                  <a:lnTo>
                    <a:pt x="377" y="1854"/>
                  </a:lnTo>
                  <a:lnTo>
                    <a:pt x="381" y="1825"/>
                  </a:lnTo>
                  <a:lnTo>
                    <a:pt x="385" y="1800"/>
                  </a:lnTo>
                  <a:lnTo>
                    <a:pt x="394" y="1779"/>
                  </a:lnTo>
                  <a:lnTo>
                    <a:pt x="402" y="1763"/>
                  </a:lnTo>
                  <a:lnTo>
                    <a:pt x="398" y="1750"/>
                  </a:lnTo>
                  <a:lnTo>
                    <a:pt x="389" y="1734"/>
                  </a:lnTo>
                  <a:lnTo>
                    <a:pt x="381" y="1709"/>
                  </a:lnTo>
                  <a:lnTo>
                    <a:pt x="377" y="1676"/>
                  </a:lnTo>
                  <a:lnTo>
                    <a:pt x="377" y="1651"/>
                  </a:lnTo>
                  <a:lnTo>
                    <a:pt x="381" y="1626"/>
                  </a:lnTo>
                  <a:lnTo>
                    <a:pt x="385" y="1601"/>
                  </a:lnTo>
                  <a:lnTo>
                    <a:pt x="398" y="1547"/>
                  </a:lnTo>
                  <a:lnTo>
                    <a:pt x="402" y="1510"/>
                  </a:lnTo>
                  <a:lnTo>
                    <a:pt x="435" y="1530"/>
                  </a:lnTo>
                  <a:lnTo>
                    <a:pt x="468" y="1551"/>
                  </a:lnTo>
                  <a:lnTo>
                    <a:pt x="501" y="1584"/>
                  </a:lnTo>
                  <a:lnTo>
                    <a:pt x="547" y="1642"/>
                  </a:lnTo>
                  <a:lnTo>
                    <a:pt x="555" y="1647"/>
                  </a:lnTo>
                  <a:lnTo>
                    <a:pt x="564" y="1659"/>
                  </a:lnTo>
                  <a:lnTo>
                    <a:pt x="572" y="1688"/>
                  </a:lnTo>
                  <a:lnTo>
                    <a:pt x="576" y="1734"/>
                  </a:lnTo>
                  <a:lnTo>
                    <a:pt x="576" y="1767"/>
                  </a:lnTo>
                  <a:lnTo>
                    <a:pt x="580" y="1775"/>
                  </a:lnTo>
                  <a:lnTo>
                    <a:pt x="589" y="1775"/>
                  </a:lnTo>
                  <a:lnTo>
                    <a:pt x="589" y="1771"/>
                  </a:lnTo>
                  <a:lnTo>
                    <a:pt x="605" y="1746"/>
                  </a:lnTo>
                  <a:lnTo>
                    <a:pt x="626" y="1709"/>
                  </a:lnTo>
                  <a:lnTo>
                    <a:pt x="630" y="1692"/>
                  </a:lnTo>
                  <a:lnTo>
                    <a:pt x="634" y="1671"/>
                  </a:lnTo>
                  <a:lnTo>
                    <a:pt x="626" y="1647"/>
                  </a:lnTo>
                  <a:lnTo>
                    <a:pt x="613" y="1622"/>
                  </a:lnTo>
                  <a:lnTo>
                    <a:pt x="597" y="1593"/>
                  </a:lnTo>
                  <a:lnTo>
                    <a:pt x="589" y="1568"/>
                  </a:lnTo>
                  <a:lnTo>
                    <a:pt x="589" y="1543"/>
                  </a:lnTo>
                  <a:lnTo>
                    <a:pt x="642" y="1559"/>
                  </a:lnTo>
                  <a:close/>
                  <a:moveTo>
                    <a:pt x="373" y="635"/>
                  </a:moveTo>
                  <a:lnTo>
                    <a:pt x="373" y="635"/>
                  </a:lnTo>
                  <a:lnTo>
                    <a:pt x="381" y="614"/>
                  </a:lnTo>
                  <a:lnTo>
                    <a:pt x="389" y="597"/>
                  </a:lnTo>
                  <a:lnTo>
                    <a:pt x="394" y="597"/>
                  </a:lnTo>
                  <a:lnTo>
                    <a:pt x="398" y="610"/>
                  </a:lnTo>
                  <a:lnTo>
                    <a:pt x="406" y="630"/>
                  </a:lnTo>
                  <a:lnTo>
                    <a:pt x="414" y="676"/>
                  </a:lnTo>
                  <a:lnTo>
                    <a:pt x="414" y="701"/>
                  </a:lnTo>
                  <a:lnTo>
                    <a:pt x="394" y="668"/>
                  </a:lnTo>
                  <a:lnTo>
                    <a:pt x="373" y="635"/>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nvGrpSpPr>
            <p:cNvPr id="15413" name="Gruppe 955"/>
            <p:cNvGrpSpPr>
              <a:grpSpLocks/>
            </p:cNvGrpSpPr>
            <p:nvPr/>
          </p:nvGrpSpPr>
          <p:grpSpPr bwMode="auto">
            <a:xfrm>
              <a:off x="1397000" y="2687274"/>
              <a:ext cx="1411295" cy="3138853"/>
              <a:chOff x="1397000" y="2687274"/>
              <a:chExt cx="1411295" cy="3138852"/>
            </a:xfrm>
          </p:grpSpPr>
          <p:sp>
            <p:nvSpPr>
              <p:cNvPr id="165" name="Freeform 810"/>
              <p:cNvSpPr>
                <a:spLocks/>
              </p:cNvSpPr>
              <p:nvPr/>
            </p:nvSpPr>
            <p:spPr bwMode="auto">
              <a:xfrm>
                <a:off x="1396978" y="2687274"/>
                <a:ext cx="1411317" cy="3140693"/>
              </a:xfrm>
              <a:custGeom>
                <a:avLst/>
                <a:gdLst>
                  <a:gd name="T0" fmla="*/ 2147483647 w 772"/>
                  <a:gd name="T1" fmla="*/ 2147483647 h 1717"/>
                  <a:gd name="T2" fmla="*/ 2147483647 w 772"/>
                  <a:gd name="T3" fmla="*/ 2147483647 h 1717"/>
                  <a:gd name="T4" fmla="*/ 2147483647 w 772"/>
                  <a:gd name="T5" fmla="*/ 2147483647 h 1717"/>
                  <a:gd name="T6" fmla="*/ 2147483647 w 772"/>
                  <a:gd name="T7" fmla="*/ 2147483647 h 1717"/>
                  <a:gd name="T8" fmla="*/ 2147483647 w 772"/>
                  <a:gd name="T9" fmla="*/ 2147483647 h 1717"/>
                  <a:gd name="T10" fmla="*/ 2147483647 w 772"/>
                  <a:gd name="T11" fmla="*/ 2147483647 h 1717"/>
                  <a:gd name="T12" fmla="*/ 2147483647 w 772"/>
                  <a:gd name="T13" fmla="*/ 2147483647 h 1717"/>
                  <a:gd name="T14" fmla="*/ 2147483647 w 772"/>
                  <a:gd name="T15" fmla="*/ 2147483647 h 1717"/>
                  <a:gd name="T16" fmla="*/ 2147483647 w 772"/>
                  <a:gd name="T17" fmla="*/ 2147483647 h 1717"/>
                  <a:gd name="T18" fmla="*/ 2147483647 w 772"/>
                  <a:gd name="T19" fmla="*/ 2147483647 h 1717"/>
                  <a:gd name="T20" fmla="*/ 2147483647 w 772"/>
                  <a:gd name="T21" fmla="*/ 2147483647 h 1717"/>
                  <a:gd name="T22" fmla="*/ 2147483647 w 772"/>
                  <a:gd name="T23" fmla="*/ 2147483647 h 1717"/>
                  <a:gd name="T24" fmla="*/ 2147483647 w 772"/>
                  <a:gd name="T25" fmla="*/ 2147483647 h 1717"/>
                  <a:gd name="T26" fmla="*/ 2147483647 w 772"/>
                  <a:gd name="T27" fmla="*/ 2147483647 h 1717"/>
                  <a:gd name="T28" fmla="*/ 2147483647 w 772"/>
                  <a:gd name="T29" fmla="*/ 2147483647 h 1717"/>
                  <a:gd name="T30" fmla="*/ 2147483647 w 772"/>
                  <a:gd name="T31" fmla="*/ 2147483647 h 1717"/>
                  <a:gd name="T32" fmla="*/ 2147483647 w 772"/>
                  <a:gd name="T33" fmla="*/ 2147483647 h 1717"/>
                  <a:gd name="T34" fmla="*/ 2147483647 w 772"/>
                  <a:gd name="T35" fmla="*/ 2147483647 h 1717"/>
                  <a:gd name="T36" fmla="*/ 2147483647 w 772"/>
                  <a:gd name="T37" fmla="*/ 2147483647 h 1717"/>
                  <a:gd name="T38" fmla="*/ 2147483647 w 772"/>
                  <a:gd name="T39" fmla="*/ 2147483647 h 1717"/>
                  <a:gd name="T40" fmla="*/ 2147483647 w 772"/>
                  <a:gd name="T41" fmla="*/ 2147483647 h 1717"/>
                  <a:gd name="T42" fmla="*/ 2147483647 w 772"/>
                  <a:gd name="T43" fmla="*/ 2147483647 h 1717"/>
                  <a:gd name="T44" fmla="*/ 2147483647 w 772"/>
                  <a:gd name="T45" fmla="*/ 2147483647 h 1717"/>
                  <a:gd name="T46" fmla="*/ 2147483647 w 772"/>
                  <a:gd name="T47" fmla="*/ 2147483647 h 1717"/>
                  <a:gd name="T48" fmla="*/ 2147483647 w 772"/>
                  <a:gd name="T49" fmla="*/ 2147483647 h 1717"/>
                  <a:gd name="T50" fmla="*/ 2147483647 w 772"/>
                  <a:gd name="T51" fmla="*/ 2147483647 h 1717"/>
                  <a:gd name="T52" fmla="*/ 2147483647 w 772"/>
                  <a:gd name="T53" fmla="*/ 2147483647 h 1717"/>
                  <a:gd name="T54" fmla="*/ 2147483647 w 772"/>
                  <a:gd name="T55" fmla="*/ 2147483647 h 1717"/>
                  <a:gd name="T56" fmla="*/ 2147483647 w 772"/>
                  <a:gd name="T57" fmla="*/ 2147483647 h 1717"/>
                  <a:gd name="T58" fmla="*/ 2147483647 w 772"/>
                  <a:gd name="T59" fmla="*/ 2147483647 h 1717"/>
                  <a:gd name="T60" fmla="*/ 2147483647 w 772"/>
                  <a:gd name="T61" fmla="*/ 2147483647 h 1717"/>
                  <a:gd name="T62" fmla="*/ 2147483647 w 772"/>
                  <a:gd name="T63" fmla="*/ 2147483647 h 1717"/>
                  <a:gd name="T64" fmla="*/ 2147483647 w 772"/>
                  <a:gd name="T65" fmla="*/ 2147483647 h 1717"/>
                  <a:gd name="T66" fmla="*/ 2147483647 w 772"/>
                  <a:gd name="T67" fmla="*/ 2147483647 h 1717"/>
                  <a:gd name="T68" fmla="*/ 2147483647 w 772"/>
                  <a:gd name="T69" fmla="*/ 2147483647 h 1717"/>
                  <a:gd name="T70" fmla="*/ 2147483647 w 772"/>
                  <a:gd name="T71" fmla="*/ 2147483647 h 1717"/>
                  <a:gd name="T72" fmla="*/ 2147483647 w 772"/>
                  <a:gd name="T73" fmla="*/ 2147483647 h 1717"/>
                  <a:gd name="T74" fmla="*/ 2147483647 w 772"/>
                  <a:gd name="T75" fmla="*/ 2147483647 h 1717"/>
                  <a:gd name="T76" fmla="*/ 2147483647 w 772"/>
                  <a:gd name="T77" fmla="*/ 2147483647 h 1717"/>
                  <a:gd name="T78" fmla="*/ 2147483647 w 772"/>
                  <a:gd name="T79" fmla="*/ 2147483647 h 1717"/>
                  <a:gd name="T80" fmla="*/ 2147483647 w 772"/>
                  <a:gd name="T81" fmla="*/ 2147483647 h 1717"/>
                  <a:gd name="T82" fmla="*/ 2147483647 w 772"/>
                  <a:gd name="T83" fmla="*/ 2147483647 h 1717"/>
                  <a:gd name="T84" fmla="*/ 2147483647 w 772"/>
                  <a:gd name="T85" fmla="*/ 2147483647 h 1717"/>
                  <a:gd name="T86" fmla="*/ 2147483647 w 772"/>
                  <a:gd name="T87" fmla="*/ 2147483647 h 1717"/>
                  <a:gd name="T88" fmla="*/ 2147483647 w 772"/>
                  <a:gd name="T89" fmla="*/ 2147483647 h 1717"/>
                  <a:gd name="T90" fmla="*/ 2147483647 w 772"/>
                  <a:gd name="T91" fmla="*/ 2147483647 h 1717"/>
                  <a:gd name="T92" fmla="*/ 2147483647 w 772"/>
                  <a:gd name="T93" fmla="*/ 2147483647 h 1717"/>
                  <a:gd name="T94" fmla="*/ 2147483647 w 772"/>
                  <a:gd name="T95" fmla="*/ 2147483647 h 1717"/>
                  <a:gd name="T96" fmla="*/ 2147483647 w 772"/>
                  <a:gd name="T97" fmla="*/ 2147483647 h 1717"/>
                  <a:gd name="T98" fmla="*/ 2147483647 w 772"/>
                  <a:gd name="T99" fmla="*/ 2147483647 h 1717"/>
                  <a:gd name="T100" fmla="*/ 2147483647 w 772"/>
                  <a:gd name="T101" fmla="*/ 2147483647 h 1717"/>
                  <a:gd name="T102" fmla="*/ 2147483647 w 772"/>
                  <a:gd name="T103" fmla="*/ 2147483647 h 1717"/>
                  <a:gd name="T104" fmla="*/ 2147483647 w 772"/>
                  <a:gd name="T105" fmla="*/ 2147483647 h 1717"/>
                  <a:gd name="T106" fmla="*/ 2147483647 w 772"/>
                  <a:gd name="T107" fmla="*/ 2147483647 h 17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2"/>
                  <a:gd name="T163" fmla="*/ 0 h 1717"/>
                  <a:gd name="T164" fmla="*/ 772 w 772"/>
                  <a:gd name="T165" fmla="*/ 1717 h 17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2" h="1717">
                    <a:moveTo>
                      <a:pt x="498" y="502"/>
                    </a:moveTo>
                    <a:lnTo>
                      <a:pt x="498" y="502"/>
                    </a:lnTo>
                    <a:lnTo>
                      <a:pt x="502" y="535"/>
                    </a:lnTo>
                    <a:lnTo>
                      <a:pt x="502" y="551"/>
                    </a:lnTo>
                    <a:lnTo>
                      <a:pt x="498" y="576"/>
                    </a:lnTo>
                    <a:lnTo>
                      <a:pt x="477" y="639"/>
                    </a:lnTo>
                    <a:lnTo>
                      <a:pt x="465" y="663"/>
                    </a:lnTo>
                    <a:lnTo>
                      <a:pt x="457" y="680"/>
                    </a:lnTo>
                    <a:lnTo>
                      <a:pt x="452" y="692"/>
                    </a:lnTo>
                    <a:lnTo>
                      <a:pt x="444" y="713"/>
                    </a:lnTo>
                    <a:lnTo>
                      <a:pt x="440" y="742"/>
                    </a:lnTo>
                    <a:lnTo>
                      <a:pt x="440" y="755"/>
                    </a:lnTo>
                    <a:lnTo>
                      <a:pt x="440" y="771"/>
                    </a:lnTo>
                    <a:lnTo>
                      <a:pt x="428" y="788"/>
                    </a:lnTo>
                    <a:lnTo>
                      <a:pt x="423" y="796"/>
                    </a:lnTo>
                    <a:lnTo>
                      <a:pt x="423" y="809"/>
                    </a:lnTo>
                    <a:lnTo>
                      <a:pt x="423" y="892"/>
                    </a:lnTo>
                    <a:lnTo>
                      <a:pt x="415" y="900"/>
                    </a:lnTo>
                    <a:lnTo>
                      <a:pt x="411" y="908"/>
                    </a:lnTo>
                    <a:lnTo>
                      <a:pt x="436" y="904"/>
                    </a:lnTo>
                    <a:lnTo>
                      <a:pt x="440" y="904"/>
                    </a:lnTo>
                    <a:lnTo>
                      <a:pt x="448" y="908"/>
                    </a:lnTo>
                    <a:lnTo>
                      <a:pt x="457" y="912"/>
                    </a:lnTo>
                    <a:lnTo>
                      <a:pt x="610" y="1099"/>
                    </a:lnTo>
                    <a:lnTo>
                      <a:pt x="614" y="1103"/>
                    </a:lnTo>
                    <a:lnTo>
                      <a:pt x="622" y="1120"/>
                    </a:lnTo>
                    <a:lnTo>
                      <a:pt x="627" y="1128"/>
                    </a:lnTo>
                    <a:lnTo>
                      <a:pt x="627" y="1140"/>
                    </a:lnTo>
                    <a:lnTo>
                      <a:pt x="627" y="1149"/>
                    </a:lnTo>
                    <a:lnTo>
                      <a:pt x="614" y="1161"/>
                    </a:lnTo>
                    <a:lnTo>
                      <a:pt x="552" y="1227"/>
                    </a:lnTo>
                    <a:lnTo>
                      <a:pt x="585" y="1269"/>
                    </a:lnTo>
                    <a:lnTo>
                      <a:pt x="618" y="1302"/>
                    </a:lnTo>
                    <a:lnTo>
                      <a:pt x="631" y="1315"/>
                    </a:lnTo>
                    <a:lnTo>
                      <a:pt x="647" y="1319"/>
                    </a:lnTo>
                    <a:lnTo>
                      <a:pt x="660" y="1327"/>
                    </a:lnTo>
                    <a:lnTo>
                      <a:pt x="668" y="1339"/>
                    </a:lnTo>
                    <a:lnTo>
                      <a:pt x="676" y="1348"/>
                    </a:lnTo>
                    <a:lnTo>
                      <a:pt x="681" y="1360"/>
                    </a:lnTo>
                    <a:lnTo>
                      <a:pt x="693" y="1360"/>
                    </a:lnTo>
                    <a:lnTo>
                      <a:pt x="701" y="1360"/>
                    </a:lnTo>
                    <a:lnTo>
                      <a:pt x="730" y="1364"/>
                    </a:lnTo>
                    <a:lnTo>
                      <a:pt x="747" y="1373"/>
                    </a:lnTo>
                    <a:lnTo>
                      <a:pt x="755" y="1381"/>
                    </a:lnTo>
                    <a:lnTo>
                      <a:pt x="755" y="1385"/>
                    </a:lnTo>
                    <a:lnTo>
                      <a:pt x="759" y="1422"/>
                    </a:lnTo>
                    <a:lnTo>
                      <a:pt x="764" y="1443"/>
                    </a:lnTo>
                    <a:lnTo>
                      <a:pt x="751" y="1443"/>
                    </a:lnTo>
                    <a:lnTo>
                      <a:pt x="755" y="1472"/>
                    </a:lnTo>
                    <a:lnTo>
                      <a:pt x="764" y="1497"/>
                    </a:lnTo>
                    <a:lnTo>
                      <a:pt x="768" y="1514"/>
                    </a:lnTo>
                    <a:lnTo>
                      <a:pt x="772" y="1534"/>
                    </a:lnTo>
                    <a:lnTo>
                      <a:pt x="768" y="1555"/>
                    </a:lnTo>
                    <a:lnTo>
                      <a:pt x="759" y="1597"/>
                    </a:lnTo>
                    <a:lnTo>
                      <a:pt x="747" y="1630"/>
                    </a:lnTo>
                    <a:lnTo>
                      <a:pt x="739" y="1646"/>
                    </a:lnTo>
                    <a:lnTo>
                      <a:pt x="739" y="1651"/>
                    </a:lnTo>
                    <a:lnTo>
                      <a:pt x="726" y="1663"/>
                    </a:lnTo>
                    <a:lnTo>
                      <a:pt x="722" y="1667"/>
                    </a:lnTo>
                    <a:lnTo>
                      <a:pt x="714" y="1671"/>
                    </a:lnTo>
                    <a:lnTo>
                      <a:pt x="701" y="1671"/>
                    </a:lnTo>
                    <a:lnTo>
                      <a:pt x="689" y="1671"/>
                    </a:lnTo>
                    <a:lnTo>
                      <a:pt x="681" y="1659"/>
                    </a:lnTo>
                    <a:lnTo>
                      <a:pt x="676" y="1642"/>
                    </a:lnTo>
                    <a:lnTo>
                      <a:pt x="672" y="1622"/>
                    </a:lnTo>
                    <a:lnTo>
                      <a:pt x="664" y="1580"/>
                    </a:lnTo>
                    <a:lnTo>
                      <a:pt x="660" y="1563"/>
                    </a:lnTo>
                    <a:lnTo>
                      <a:pt x="660" y="1551"/>
                    </a:lnTo>
                    <a:lnTo>
                      <a:pt x="656" y="1510"/>
                    </a:lnTo>
                    <a:lnTo>
                      <a:pt x="652" y="1501"/>
                    </a:lnTo>
                    <a:lnTo>
                      <a:pt x="647" y="1497"/>
                    </a:lnTo>
                    <a:lnTo>
                      <a:pt x="643" y="1493"/>
                    </a:lnTo>
                    <a:lnTo>
                      <a:pt x="635" y="1493"/>
                    </a:lnTo>
                    <a:lnTo>
                      <a:pt x="627" y="1493"/>
                    </a:lnTo>
                    <a:lnTo>
                      <a:pt x="614" y="1489"/>
                    </a:lnTo>
                    <a:lnTo>
                      <a:pt x="598" y="1472"/>
                    </a:lnTo>
                    <a:lnTo>
                      <a:pt x="548" y="1427"/>
                    </a:lnTo>
                    <a:lnTo>
                      <a:pt x="511" y="1398"/>
                    </a:lnTo>
                    <a:lnTo>
                      <a:pt x="432" y="1331"/>
                    </a:lnTo>
                    <a:lnTo>
                      <a:pt x="378" y="1393"/>
                    </a:lnTo>
                    <a:lnTo>
                      <a:pt x="369" y="1398"/>
                    </a:lnTo>
                    <a:lnTo>
                      <a:pt x="357" y="1402"/>
                    </a:lnTo>
                    <a:lnTo>
                      <a:pt x="349" y="1402"/>
                    </a:lnTo>
                    <a:lnTo>
                      <a:pt x="336" y="1398"/>
                    </a:lnTo>
                    <a:lnTo>
                      <a:pt x="324" y="1393"/>
                    </a:lnTo>
                    <a:lnTo>
                      <a:pt x="307" y="1381"/>
                    </a:lnTo>
                    <a:lnTo>
                      <a:pt x="274" y="1344"/>
                    </a:lnTo>
                    <a:lnTo>
                      <a:pt x="287" y="1451"/>
                    </a:lnTo>
                    <a:lnTo>
                      <a:pt x="295" y="1526"/>
                    </a:lnTo>
                    <a:lnTo>
                      <a:pt x="303" y="1563"/>
                    </a:lnTo>
                    <a:lnTo>
                      <a:pt x="307" y="1580"/>
                    </a:lnTo>
                    <a:lnTo>
                      <a:pt x="311" y="1609"/>
                    </a:lnTo>
                    <a:lnTo>
                      <a:pt x="316" y="1646"/>
                    </a:lnTo>
                    <a:lnTo>
                      <a:pt x="316" y="1713"/>
                    </a:lnTo>
                    <a:lnTo>
                      <a:pt x="237" y="1713"/>
                    </a:lnTo>
                    <a:lnTo>
                      <a:pt x="237" y="1696"/>
                    </a:lnTo>
                    <a:lnTo>
                      <a:pt x="224" y="1696"/>
                    </a:lnTo>
                    <a:lnTo>
                      <a:pt x="199" y="1700"/>
                    </a:lnTo>
                    <a:lnTo>
                      <a:pt x="183" y="1709"/>
                    </a:lnTo>
                    <a:lnTo>
                      <a:pt x="179" y="1713"/>
                    </a:lnTo>
                    <a:lnTo>
                      <a:pt x="170" y="1717"/>
                    </a:lnTo>
                    <a:lnTo>
                      <a:pt x="92" y="1717"/>
                    </a:lnTo>
                    <a:lnTo>
                      <a:pt x="38" y="1717"/>
                    </a:lnTo>
                    <a:lnTo>
                      <a:pt x="17" y="1717"/>
                    </a:lnTo>
                    <a:lnTo>
                      <a:pt x="9" y="1713"/>
                    </a:lnTo>
                    <a:lnTo>
                      <a:pt x="4" y="1709"/>
                    </a:lnTo>
                    <a:lnTo>
                      <a:pt x="0" y="1696"/>
                    </a:lnTo>
                    <a:lnTo>
                      <a:pt x="4" y="1684"/>
                    </a:lnTo>
                    <a:lnTo>
                      <a:pt x="9" y="1680"/>
                    </a:lnTo>
                    <a:lnTo>
                      <a:pt x="29" y="1675"/>
                    </a:lnTo>
                    <a:lnTo>
                      <a:pt x="58" y="1671"/>
                    </a:lnTo>
                    <a:lnTo>
                      <a:pt x="75" y="1667"/>
                    </a:lnTo>
                    <a:lnTo>
                      <a:pt x="104" y="1659"/>
                    </a:lnTo>
                    <a:lnTo>
                      <a:pt x="125" y="1646"/>
                    </a:lnTo>
                    <a:lnTo>
                      <a:pt x="133" y="1638"/>
                    </a:lnTo>
                    <a:lnTo>
                      <a:pt x="137" y="1630"/>
                    </a:lnTo>
                    <a:lnTo>
                      <a:pt x="137" y="1609"/>
                    </a:lnTo>
                    <a:lnTo>
                      <a:pt x="137" y="1588"/>
                    </a:lnTo>
                    <a:lnTo>
                      <a:pt x="133" y="1572"/>
                    </a:lnTo>
                    <a:lnTo>
                      <a:pt x="129" y="1480"/>
                    </a:lnTo>
                    <a:lnTo>
                      <a:pt x="125" y="1431"/>
                    </a:lnTo>
                    <a:lnTo>
                      <a:pt x="116" y="1406"/>
                    </a:lnTo>
                    <a:lnTo>
                      <a:pt x="108" y="1389"/>
                    </a:lnTo>
                    <a:lnTo>
                      <a:pt x="108" y="1381"/>
                    </a:lnTo>
                    <a:lnTo>
                      <a:pt x="104" y="1369"/>
                    </a:lnTo>
                    <a:lnTo>
                      <a:pt x="100" y="1335"/>
                    </a:lnTo>
                    <a:lnTo>
                      <a:pt x="100" y="1269"/>
                    </a:lnTo>
                    <a:lnTo>
                      <a:pt x="96" y="1232"/>
                    </a:lnTo>
                    <a:lnTo>
                      <a:pt x="96" y="1207"/>
                    </a:lnTo>
                    <a:lnTo>
                      <a:pt x="92" y="1132"/>
                    </a:lnTo>
                    <a:lnTo>
                      <a:pt x="92" y="1066"/>
                    </a:lnTo>
                    <a:lnTo>
                      <a:pt x="92" y="1033"/>
                    </a:lnTo>
                    <a:lnTo>
                      <a:pt x="96" y="995"/>
                    </a:lnTo>
                    <a:lnTo>
                      <a:pt x="100" y="970"/>
                    </a:lnTo>
                    <a:lnTo>
                      <a:pt x="100" y="954"/>
                    </a:lnTo>
                    <a:lnTo>
                      <a:pt x="96" y="945"/>
                    </a:lnTo>
                    <a:lnTo>
                      <a:pt x="87" y="937"/>
                    </a:lnTo>
                    <a:lnTo>
                      <a:pt x="79" y="933"/>
                    </a:lnTo>
                    <a:lnTo>
                      <a:pt x="87" y="871"/>
                    </a:lnTo>
                    <a:lnTo>
                      <a:pt x="100" y="821"/>
                    </a:lnTo>
                    <a:lnTo>
                      <a:pt x="112" y="775"/>
                    </a:lnTo>
                    <a:lnTo>
                      <a:pt x="116" y="759"/>
                    </a:lnTo>
                    <a:lnTo>
                      <a:pt x="121" y="738"/>
                    </a:lnTo>
                    <a:lnTo>
                      <a:pt x="125" y="697"/>
                    </a:lnTo>
                    <a:lnTo>
                      <a:pt x="125" y="643"/>
                    </a:lnTo>
                    <a:lnTo>
                      <a:pt x="129" y="572"/>
                    </a:lnTo>
                    <a:lnTo>
                      <a:pt x="112" y="493"/>
                    </a:lnTo>
                    <a:lnTo>
                      <a:pt x="100" y="406"/>
                    </a:lnTo>
                    <a:lnTo>
                      <a:pt x="104" y="398"/>
                    </a:lnTo>
                    <a:lnTo>
                      <a:pt x="112" y="386"/>
                    </a:lnTo>
                    <a:lnTo>
                      <a:pt x="146" y="348"/>
                    </a:lnTo>
                    <a:lnTo>
                      <a:pt x="187" y="298"/>
                    </a:lnTo>
                    <a:lnTo>
                      <a:pt x="179" y="265"/>
                    </a:lnTo>
                    <a:lnTo>
                      <a:pt x="170" y="245"/>
                    </a:lnTo>
                    <a:lnTo>
                      <a:pt x="166" y="236"/>
                    </a:lnTo>
                    <a:lnTo>
                      <a:pt x="150" y="240"/>
                    </a:lnTo>
                    <a:lnTo>
                      <a:pt x="141" y="240"/>
                    </a:lnTo>
                    <a:lnTo>
                      <a:pt x="133" y="240"/>
                    </a:lnTo>
                    <a:lnTo>
                      <a:pt x="129" y="232"/>
                    </a:lnTo>
                    <a:lnTo>
                      <a:pt x="108" y="199"/>
                    </a:lnTo>
                    <a:lnTo>
                      <a:pt x="96" y="166"/>
                    </a:lnTo>
                    <a:lnTo>
                      <a:pt x="92" y="157"/>
                    </a:lnTo>
                    <a:lnTo>
                      <a:pt x="92" y="137"/>
                    </a:lnTo>
                    <a:lnTo>
                      <a:pt x="87" y="128"/>
                    </a:lnTo>
                    <a:lnTo>
                      <a:pt x="87" y="124"/>
                    </a:lnTo>
                    <a:lnTo>
                      <a:pt x="79" y="116"/>
                    </a:lnTo>
                    <a:lnTo>
                      <a:pt x="79" y="91"/>
                    </a:lnTo>
                    <a:lnTo>
                      <a:pt x="79" y="70"/>
                    </a:lnTo>
                    <a:lnTo>
                      <a:pt x="79" y="58"/>
                    </a:lnTo>
                    <a:lnTo>
                      <a:pt x="87" y="41"/>
                    </a:lnTo>
                    <a:lnTo>
                      <a:pt x="87" y="37"/>
                    </a:lnTo>
                    <a:lnTo>
                      <a:pt x="92" y="25"/>
                    </a:lnTo>
                    <a:lnTo>
                      <a:pt x="96" y="21"/>
                    </a:lnTo>
                    <a:lnTo>
                      <a:pt x="104" y="12"/>
                    </a:lnTo>
                    <a:lnTo>
                      <a:pt x="112" y="8"/>
                    </a:lnTo>
                    <a:lnTo>
                      <a:pt x="129" y="4"/>
                    </a:lnTo>
                    <a:lnTo>
                      <a:pt x="154" y="0"/>
                    </a:lnTo>
                    <a:lnTo>
                      <a:pt x="191" y="0"/>
                    </a:lnTo>
                    <a:lnTo>
                      <a:pt x="208" y="0"/>
                    </a:lnTo>
                    <a:lnTo>
                      <a:pt x="224" y="8"/>
                    </a:lnTo>
                    <a:lnTo>
                      <a:pt x="237" y="16"/>
                    </a:lnTo>
                    <a:lnTo>
                      <a:pt x="249" y="33"/>
                    </a:lnTo>
                    <a:lnTo>
                      <a:pt x="262" y="62"/>
                    </a:lnTo>
                    <a:lnTo>
                      <a:pt x="270" y="91"/>
                    </a:lnTo>
                    <a:lnTo>
                      <a:pt x="274" y="112"/>
                    </a:lnTo>
                    <a:lnTo>
                      <a:pt x="270" y="124"/>
                    </a:lnTo>
                    <a:lnTo>
                      <a:pt x="266" y="137"/>
                    </a:lnTo>
                    <a:lnTo>
                      <a:pt x="262" y="157"/>
                    </a:lnTo>
                    <a:lnTo>
                      <a:pt x="262" y="178"/>
                    </a:lnTo>
                    <a:lnTo>
                      <a:pt x="266" y="186"/>
                    </a:lnTo>
                    <a:lnTo>
                      <a:pt x="274" y="195"/>
                    </a:lnTo>
                    <a:lnTo>
                      <a:pt x="287" y="203"/>
                    </a:lnTo>
                    <a:lnTo>
                      <a:pt x="299" y="211"/>
                    </a:lnTo>
                    <a:lnTo>
                      <a:pt x="311" y="220"/>
                    </a:lnTo>
                    <a:lnTo>
                      <a:pt x="361" y="228"/>
                    </a:lnTo>
                    <a:lnTo>
                      <a:pt x="382" y="232"/>
                    </a:lnTo>
                    <a:lnTo>
                      <a:pt x="399" y="236"/>
                    </a:lnTo>
                    <a:lnTo>
                      <a:pt x="415" y="249"/>
                    </a:lnTo>
                    <a:lnTo>
                      <a:pt x="428" y="269"/>
                    </a:lnTo>
                    <a:lnTo>
                      <a:pt x="440" y="294"/>
                    </a:lnTo>
                    <a:lnTo>
                      <a:pt x="452" y="319"/>
                    </a:lnTo>
                    <a:lnTo>
                      <a:pt x="457" y="340"/>
                    </a:lnTo>
                    <a:lnTo>
                      <a:pt x="461" y="365"/>
                    </a:lnTo>
                    <a:lnTo>
                      <a:pt x="469" y="402"/>
                    </a:lnTo>
                    <a:lnTo>
                      <a:pt x="486" y="448"/>
                    </a:lnTo>
                    <a:lnTo>
                      <a:pt x="498" y="502"/>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5415" name="Freeform 813"/>
              <p:cNvSpPr>
                <a:spLocks/>
              </p:cNvSpPr>
              <p:nvPr/>
            </p:nvSpPr>
            <p:spPr bwMode="auto">
              <a:xfrm>
                <a:off x="1660525" y="3389313"/>
                <a:ext cx="177800" cy="376238"/>
              </a:xfrm>
              <a:custGeom>
                <a:avLst/>
                <a:gdLst>
                  <a:gd name="T0" fmla="*/ 0 w 112"/>
                  <a:gd name="T1" fmla="*/ 2147483647 h 237"/>
                  <a:gd name="T2" fmla="*/ 0 w 112"/>
                  <a:gd name="T3" fmla="*/ 2147483647 h 237"/>
                  <a:gd name="T4" fmla="*/ 2147483647 w 112"/>
                  <a:gd name="T5" fmla="*/ 2147483647 h 237"/>
                  <a:gd name="T6" fmla="*/ 0 w 112"/>
                  <a:gd name="T7" fmla="*/ 2147483647 h 237"/>
                  <a:gd name="T8" fmla="*/ 0 w 112"/>
                  <a:gd name="T9" fmla="*/ 2147483647 h 237"/>
                  <a:gd name="T10" fmla="*/ 0 w 112"/>
                  <a:gd name="T11" fmla="*/ 2147483647 h 237"/>
                  <a:gd name="T12" fmla="*/ 2147483647 w 112"/>
                  <a:gd name="T13" fmla="*/ 2147483647 h 237"/>
                  <a:gd name="T14" fmla="*/ 2147483647 w 112"/>
                  <a:gd name="T15" fmla="*/ 2147483647 h 237"/>
                  <a:gd name="T16" fmla="*/ 2147483647 w 112"/>
                  <a:gd name="T17" fmla="*/ 2147483647 h 237"/>
                  <a:gd name="T18" fmla="*/ 2147483647 w 112"/>
                  <a:gd name="T19" fmla="*/ 2147483647 h 237"/>
                  <a:gd name="T20" fmla="*/ 2147483647 w 112"/>
                  <a:gd name="T21" fmla="*/ 0 h 237"/>
                  <a:gd name="T22" fmla="*/ 2147483647 w 112"/>
                  <a:gd name="T23" fmla="*/ 0 h 237"/>
                  <a:gd name="T24" fmla="*/ 2147483647 w 112"/>
                  <a:gd name="T25" fmla="*/ 2147483647 h 237"/>
                  <a:gd name="T26" fmla="*/ 2147483647 w 112"/>
                  <a:gd name="T27" fmla="*/ 2147483647 h 237"/>
                  <a:gd name="T28" fmla="*/ 2147483647 w 112"/>
                  <a:gd name="T29" fmla="*/ 2147483647 h 237"/>
                  <a:gd name="T30" fmla="*/ 2147483647 w 112"/>
                  <a:gd name="T31" fmla="*/ 2147483647 h 237"/>
                  <a:gd name="T32" fmla="*/ 2147483647 w 112"/>
                  <a:gd name="T33" fmla="*/ 2147483647 h 237"/>
                  <a:gd name="T34" fmla="*/ 2147483647 w 112"/>
                  <a:gd name="T35" fmla="*/ 2147483647 h 237"/>
                  <a:gd name="T36" fmla="*/ 0 w 112"/>
                  <a:gd name="T37" fmla="*/ 2147483647 h 237"/>
                  <a:gd name="T38" fmla="*/ 0 w 112"/>
                  <a:gd name="T39" fmla="*/ 2147483647 h 2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237"/>
                  <a:gd name="T62" fmla="*/ 112 w 112"/>
                  <a:gd name="T63" fmla="*/ 237 h 2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237">
                    <a:moveTo>
                      <a:pt x="0" y="71"/>
                    </a:moveTo>
                    <a:lnTo>
                      <a:pt x="0" y="71"/>
                    </a:lnTo>
                    <a:lnTo>
                      <a:pt x="4" y="112"/>
                    </a:lnTo>
                    <a:lnTo>
                      <a:pt x="0" y="166"/>
                    </a:lnTo>
                    <a:lnTo>
                      <a:pt x="0" y="237"/>
                    </a:lnTo>
                    <a:lnTo>
                      <a:pt x="42" y="141"/>
                    </a:lnTo>
                    <a:lnTo>
                      <a:pt x="79" y="67"/>
                    </a:lnTo>
                    <a:lnTo>
                      <a:pt x="96" y="34"/>
                    </a:lnTo>
                    <a:lnTo>
                      <a:pt x="112" y="17"/>
                    </a:lnTo>
                    <a:lnTo>
                      <a:pt x="104" y="0"/>
                    </a:lnTo>
                    <a:lnTo>
                      <a:pt x="67" y="34"/>
                    </a:lnTo>
                    <a:lnTo>
                      <a:pt x="42" y="54"/>
                    </a:lnTo>
                    <a:lnTo>
                      <a:pt x="25" y="67"/>
                    </a:lnTo>
                    <a:lnTo>
                      <a:pt x="17" y="67"/>
                    </a:lnTo>
                    <a:lnTo>
                      <a:pt x="0"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16" name="Freeform 817"/>
              <p:cNvSpPr>
                <a:spLocks/>
              </p:cNvSpPr>
              <p:nvPr/>
            </p:nvSpPr>
            <p:spPr bwMode="auto">
              <a:xfrm>
                <a:off x="1641475" y="3502026"/>
                <a:ext cx="92075" cy="282575"/>
              </a:xfrm>
              <a:custGeom>
                <a:avLst/>
                <a:gdLst>
                  <a:gd name="T0" fmla="*/ 2147483647 w 58"/>
                  <a:gd name="T1" fmla="*/ 0 h 178"/>
                  <a:gd name="T2" fmla="*/ 2147483647 w 58"/>
                  <a:gd name="T3" fmla="*/ 2147483647 h 178"/>
                  <a:gd name="T4" fmla="*/ 2147483647 w 58"/>
                  <a:gd name="T5" fmla="*/ 2147483647 h 178"/>
                  <a:gd name="T6" fmla="*/ 0 w 58"/>
                  <a:gd name="T7" fmla="*/ 2147483647 h 178"/>
                  <a:gd name="T8" fmla="*/ 2147483647 w 58"/>
                  <a:gd name="T9" fmla="*/ 2147483647 h 178"/>
                  <a:gd name="T10" fmla="*/ 2147483647 w 58"/>
                  <a:gd name="T11" fmla="*/ 2147483647 h 178"/>
                  <a:gd name="T12" fmla="*/ 2147483647 w 58"/>
                  <a:gd name="T13" fmla="*/ 2147483647 h 178"/>
                  <a:gd name="T14" fmla="*/ 2147483647 w 58"/>
                  <a:gd name="T15" fmla="*/ 2147483647 h 178"/>
                  <a:gd name="T16" fmla="*/ 2147483647 w 58"/>
                  <a:gd name="T17" fmla="*/ 2147483647 h 178"/>
                  <a:gd name="T18" fmla="*/ 2147483647 w 58"/>
                  <a:gd name="T19" fmla="*/ 0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178"/>
                  <a:gd name="T32" fmla="*/ 58 w 5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178">
                    <a:moveTo>
                      <a:pt x="33" y="0"/>
                    </a:moveTo>
                    <a:lnTo>
                      <a:pt x="21" y="29"/>
                    </a:lnTo>
                    <a:lnTo>
                      <a:pt x="29" y="45"/>
                    </a:lnTo>
                    <a:lnTo>
                      <a:pt x="0" y="133"/>
                    </a:lnTo>
                    <a:lnTo>
                      <a:pt x="12" y="178"/>
                    </a:lnTo>
                    <a:lnTo>
                      <a:pt x="21" y="170"/>
                    </a:lnTo>
                    <a:lnTo>
                      <a:pt x="58" y="79"/>
                    </a:lnTo>
                    <a:lnTo>
                      <a:pt x="33" y="45"/>
                    </a:lnTo>
                    <a:lnTo>
                      <a:pt x="41" y="33"/>
                    </a:lnTo>
                    <a:lnTo>
                      <a:pt x="33" y="0"/>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grpSp>
        <p:nvGrpSpPr>
          <p:cNvPr id="15388" name="Group 7"/>
          <p:cNvGrpSpPr>
            <a:grpSpLocks/>
          </p:cNvGrpSpPr>
          <p:nvPr/>
        </p:nvGrpSpPr>
        <p:grpSpPr bwMode="auto">
          <a:xfrm>
            <a:off x="5715000" y="4430713"/>
            <a:ext cx="777875" cy="781050"/>
            <a:chOff x="820738" y="1870075"/>
            <a:chExt cx="3594100" cy="3609976"/>
          </a:xfrm>
        </p:grpSpPr>
        <p:sp>
          <p:nvSpPr>
            <p:cNvPr id="15410" name="Freeform 353"/>
            <p:cNvSpPr>
              <a:spLocks/>
            </p:cNvSpPr>
            <p:nvPr/>
          </p:nvSpPr>
          <p:spPr bwMode="auto">
            <a:xfrm>
              <a:off x="820738" y="1870075"/>
              <a:ext cx="3594100" cy="3597274"/>
            </a:xfrm>
            <a:custGeom>
              <a:avLst/>
              <a:gdLst>
                <a:gd name="T0" fmla="*/ 2147483647 w 2264"/>
                <a:gd name="T1" fmla="*/ 2147483647 h 2266"/>
                <a:gd name="T2" fmla="*/ 2147483647 w 2264"/>
                <a:gd name="T3" fmla="*/ 2147483647 h 2266"/>
                <a:gd name="T4" fmla="*/ 2147483647 w 2264"/>
                <a:gd name="T5" fmla="*/ 2147483647 h 2266"/>
                <a:gd name="T6" fmla="*/ 2147483647 w 2264"/>
                <a:gd name="T7" fmla="*/ 2147483647 h 2266"/>
                <a:gd name="T8" fmla="*/ 2147483647 w 2264"/>
                <a:gd name="T9" fmla="*/ 2147483647 h 2266"/>
                <a:gd name="T10" fmla="*/ 2147483647 w 2264"/>
                <a:gd name="T11" fmla="*/ 2147483647 h 2266"/>
                <a:gd name="T12" fmla="*/ 2147483647 w 2264"/>
                <a:gd name="T13" fmla="*/ 2147483647 h 2266"/>
                <a:gd name="T14" fmla="*/ 2147483647 w 2264"/>
                <a:gd name="T15" fmla="*/ 2147483647 h 2266"/>
                <a:gd name="T16" fmla="*/ 2147483647 w 2264"/>
                <a:gd name="T17" fmla="*/ 2147483647 h 2266"/>
                <a:gd name="T18" fmla="*/ 2147483647 w 2264"/>
                <a:gd name="T19" fmla="*/ 2147483647 h 2266"/>
                <a:gd name="T20" fmla="*/ 2147483647 w 2264"/>
                <a:gd name="T21" fmla="*/ 2147483647 h 2266"/>
                <a:gd name="T22" fmla="*/ 2147483647 w 2264"/>
                <a:gd name="T23" fmla="*/ 2147483647 h 2266"/>
                <a:gd name="T24" fmla="*/ 2147483647 w 2264"/>
                <a:gd name="T25" fmla="*/ 2147483647 h 2266"/>
                <a:gd name="T26" fmla="*/ 2147483647 w 2264"/>
                <a:gd name="T27" fmla="*/ 2147483647 h 2266"/>
                <a:gd name="T28" fmla="*/ 2147483647 w 2264"/>
                <a:gd name="T29" fmla="*/ 2147483647 h 2266"/>
                <a:gd name="T30" fmla="*/ 2147483647 w 2264"/>
                <a:gd name="T31" fmla="*/ 2147483647 h 2266"/>
                <a:gd name="T32" fmla="*/ 2147483647 w 2264"/>
                <a:gd name="T33" fmla="*/ 2147483647 h 2266"/>
                <a:gd name="T34" fmla="*/ 2147483647 w 2264"/>
                <a:gd name="T35" fmla="*/ 2147483647 h 2266"/>
                <a:gd name="T36" fmla="*/ 2147483647 w 2264"/>
                <a:gd name="T37" fmla="*/ 2147483647 h 2266"/>
                <a:gd name="T38" fmla="*/ 2147483647 w 2264"/>
                <a:gd name="T39" fmla="*/ 2147483647 h 2266"/>
                <a:gd name="T40" fmla="*/ 2147483647 w 2264"/>
                <a:gd name="T41" fmla="*/ 2147483647 h 2266"/>
                <a:gd name="T42" fmla="*/ 0 w 2264"/>
                <a:gd name="T43" fmla="*/ 2147483647 h 2266"/>
                <a:gd name="T44" fmla="*/ 2147483647 w 2264"/>
                <a:gd name="T45" fmla="*/ 2147483647 h 2266"/>
                <a:gd name="T46" fmla="*/ 2147483647 w 2264"/>
                <a:gd name="T47" fmla="*/ 2147483647 h 2266"/>
                <a:gd name="T48" fmla="*/ 2147483647 w 2264"/>
                <a:gd name="T49" fmla="*/ 2147483647 h 2266"/>
                <a:gd name="T50" fmla="*/ 2147483647 w 2264"/>
                <a:gd name="T51" fmla="*/ 2147483647 h 2266"/>
                <a:gd name="T52" fmla="*/ 2147483647 w 2264"/>
                <a:gd name="T53" fmla="*/ 2147483647 h 2266"/>
                <a:gd name="T54" fmla="*/ 2147483647 w 2264"/>
                <a:gd name="T55" fmla="*/ 2147483647 h 2266"/>
                <a:gd name="T56" fmla="*/ 2147483647 w 2264"/>
                <a:gd name="T57" fmla="*/ 2147483647 h 2266"/>
                <a:gd name="T58" fmla="*/ 2147483647 w 2264"/>
                <a:gd name="T59" fmla="*/ 2147483647 h 2266"/>
                <a:gd name="T60" fmla="*/ 2147483647 w 2264"/>
                <a:gd name="T61" fmla="*/ 2147483647 h 2266"/>
                <a:gd name="T62" fmla="*/ 2147483647 w 2264"/>
                <a:gd name="T63" fmla="*/ 2147483647 h 2266"/>
                <a:gd name="T64" fmla="*/ 2147483647 w 2264"/>
                <a:gd name="T65" fmla="*/ 2147483647 h 2266"/>
                <a:gd name="T66" fmla="*/ 2147483647 w 2264"/>
                <a:gd name="T67" fmla="*/ 2147483647 h 2266"/>
                <a:gd name="T68" fmla="*/ 2147483647 w 2264"/>
                <a:gd name="T69" fmla="*/ 2147483647 h 2266"/>
                <a:gd name="T70" fmla="*/ 2147483647 w 2264"/>
                <a:gd name="T71" fmla="*/ 2147483647 h 2266"/>
                <a:gd name="T72" fmla="*/ 2147483647 w 2264"/>
                <a:gd name="T73" fmla="*/ 2147483647 h 2266"/>
                <a:gd name="T74" fmla="*/ 2147483647 w 2264"/>
                <a:gd name="T75" fmla="*/ 2147483647 h 2266"/>
                <a:gd name="T76" fmla="*/ 2147483647 w 2264"/>
                <a:gd name="T77" fmla="*/ 2147483647 h 2266"/>
                <a:gd name="T78" fmla="*/ 2147483647 w 2264"/>
                <a:gd name="T79" fmla="*/ 2147483647 h 2266"/>
                <a:gd name="T80" fmla="*/ 2147483647 w 2264"/>
                <a:gd name="T81" fmla="*/ 2147483647 h 2266"/>
                <a:gd name="T82" fmla="*/ 2147483647 w 2264"/>
                <a:gd name="T83" fmla="*/ 2147483647 h 2266"/>
                <a:gd name="T84" fmla="*/ 2147483647 w 2264"/>
                <a:gd name="T85" fmla="*/ 2147483647 h 22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64"/>
                <a:gd name="T130" fmla="*/ 0 h 2266"/>
                <a:gd name="T131" fmla="*/ 2264 w 2264"/>
                <a:gd name="T132" fmla="*/ 2266 h 22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64" h="2266">
                  <a:moveTo>
                    <a:pt x="2264" y="1133"/>
                  </a:moveTo>
                  <a:lnTo>
                    <a:pt x="2264" y="1191"/>
                  </a:lnTo>
                  <a:lnTo>
                    <a:pt x="2259" y="1249"/>
                  </a:lnTo>
                  <a:lnTo>
                    <a:pt x="2251" y="1304"/>
                  </a:lnTo>
                  <a:lnTo>
                    <a:pt x="2243" y="1360"/>
                  </a:lnTo>
                  <a:lnTo>
                    <a:pt x="2230" y="1415"/>
                  </a:lnTo>
                  <a:lnTo>
                    <a:pt x="2214" y="1468"/>
                  </a:lnTo>
                  <a:lnTo>
                    <a:pt x="2195" y="1521"/>
                  </a:lnTo>
                  <a:lnTo>
                    <a:pt x="2177" y="1574"/>
                  </a:lnTo>
                  <a:lnTo>
                    <a:pt x="2153" y="1624"/>
                  </a:lnTo>
                  <a:lnTo>
                    <a:pt x="2129" y="1672"/>
                  </a:lnTo>
                  <a:lnTo>
                    <a:pt x="2100" y="1719"/>
                  </a:lnTo>
                  <a:lnTo>
                    <a:pt x="2071" y="1767"/>
                  </a:lnTo>
                  <a:lnTo>
                    <a:pt x="2039" y="1809"/>
                  </a:lnTo>
                  <a:lnTo>
                    <a:pt x="2005" y="1854"/>
                  </a:lnTo>
                  <a:lnTo>
                    <a:pt x="1971" y="1893"/>
                  </a:lnTo>
                  <a:lnTo>
                    <a:pt x="1934" y="1933"/>
                  </a:lnTo>
                  <a:lnTo>
                    <a:pt x="1894" y="1970"/>
                  </a:lnTo>
                  <a:lnTo>
                    <a:pt x="1852" y="2007"/>
                  </a:lnTo>
                  <a:lnTo>
                    <a:pt x="1809" y="2041"/>
                  </a:lnTo>
                  <a:lnTo>
                    <a:pt x="1765" y="2073"/>
                  </a:lnTo>
                  <a:lnTo>
                    <a:pt x="1720" y="2102"/>
                  </a:lnTo>
                  <a:lnTo>
                    <a:pt x="1672" y="2128"/>
                  </a:lnTo>
                  <a:lnTo>
                    <a:pt x="1622" y="2152"/>
                  </a:lnTo>
                  <a:lnTo>
                    <a:pt x="1572" y="2176"/>
                  </a:lnTo>
                  <a:lnTo>
                    <a:pt x="1521" y="2197"/>
                  </a:lnTo>
                  <a:lnTo>
                    <a:pt x="1469" y="2213"/>
                  </a:lnTo>
                  <a:lnTo>
                    <a:pt x="1416" y="2229"/>
                  </a:lnTo>
                  <a:lnTo>
                    <a:pt x="1360" y="2242"/>
                  </a:lnTo>
                  <a:lnTo>
                    <a:pt x="1305" y="2253"/>
                  </a:lnTo>
                  <a:lnTo>
                    <a:pt x="1247" y="2260"/>
                  </a:lnTo>
                  <a:lnTo>
                    <a:pt x="1191" y="2263"/>
                  </a:lnTo>
                  <a:lnTo>
                    <a:pt x="1130" y="2266"/>
                  </a:lnTo>
                  <a:lnTo>
                    <a:pt x="1072" y="2263"/>
                  </a:lnTo>
                  <a:lnTo>
                    <a:pt x="1017" y="2260"/>
                  </a:lnTo>
                  <a:lnTo>
                    <a:pt x="959" y="2253"/>
                  </a:lnTo>
                  <a:lnTo>
                    <a:pt x="903" y="2242"/>
                  </a:lnTo>
                  <a:lnTo>
                    <a:pt x="848" y="2229"/>
                  </a:lnTo>
                  <a:lnTo>
                    <a:pt x="795" y="2213"/>
                  </a:lnTo>
                  <a:lnTo>
                    <a:pt x="742" y="2197"/>
                  </a:lnTo>
                  <a:lnTo>
                    <a:pt x="692" y="2176"/>
                  </a:lnTo>
                  <a:lnTo>
                    <a:pt x="642" y="2152"/>
                  </a:lnTo>
                  <a:lnTo>
                    <a:pt x="591" y="2128"/>
                  </a:lnTo>
                  <a:lnTo>
                    <a:pt x="544" y="2102"/>
                  </a:lnTo>
                  <a:lnTo>
                    <a:pt x="499" y="2073"/>
                  </a:lnTo>
                  <a:lnTo>
                    <a:pt x="454" y="2041"/>
                  </a:lnTo>
                  <a:lnTo>
                    <a:pt x="412" y="2007"/>
                  </a:lnTo>
                  <a:lnTo>
                    <a:pt x="369" y="1970"/>
                  </a:lnTo>
                  <a:lnTo>
                    <a:pt x="330" y="1933"/>
                  </a:lnTo>
                  <a:lnTo>
                    <a:pt x="293" y="1893"/>
                  </a:lnTo>
                  <a:lnTo>
                    <a:pt x="258" y="1854"/>
                  </a:lnTo>
                  <a:lnTo>
                    <a:pt x="224" y="1809"/>
                  </a:lnTo>
                  <a:lnTo>
                    <a:pt x="192" y="1767"/>
                  </a:lnTo>
                  <a:lnTo>
                    <a:pt x="163" y="1719"/>
                  </a:lnTo>
                  <a:lnTo>
                    <a:pt x="134" y="1672"/>
                  </a:lnTo>
                  <a:lnTo>
                    <a:pt x="111" y="1624"/>
                  </a:lnTo>
                  <a:lnTo>
                    <a:pt x="87" y="1574"/>
                  </a:lnTo>
                  <a:lnTo>
                    <a:pt x="68" y="1521"/>
                  </a:lnTo>
                  <a:lnTo>
                    <a:pt x="50" y="1468"/>
                  </a:lnTo>
                  <a:lnTo>
                    <a:pt x="34" y="1415"/>
                  </a:lnTo>
                  <a:lnTo>
                    <a:pt x="21" y="1360"/>
                  </a:lnTo>
                  <a:lnTo>
                    <a:pt x="13" y="1304"/>
                  </a:lnTo>
                  <a:lnTo>
                    <a:pt x="5" y="1249"/>
                  </a:lnTo>
                  <a:lnTo>
                    <a:pt x="0" y="1191"/>
                  </a:lnTo>
                  <a:lnTo>
                    <a:pt x="0" y="1133"/>
                  </a:lnTo>
                  <a:lnTo>
                    <a:pt x="0" y="1075"/>
                  </a:lnTo>
                  <a:lnTo>
                    <a:pt x="5" y="1017"/>
                  </a:lnTo>
                  <a:lnTo>
                    <a:pt x="13" y="961"/>
                  </a:lnTo>
                  <a:lnTo>
                    <a:pt x="21" y="903"/>
                  </a:lnTo>
                  <a:lnTo>
                    <a:pt x="34" y="850"/>
                  </a:lnTo>
                  <a:lnTo>
                    <a:pt x="50" y="795"/>
                  </a:lnTo>
                  <a:lnTo>
                    <a:pt x="68" y="742"/>
                  </a:lnTo>
                  <a:lnTo>
                    <a:pt x="87" y="692"/>
                  </a:lnTo>
                  <a:lnTo>
                    <a:pt x="111" y="642"/>
                  </a:lnTo>
                  <a:lnTo>
                    <a:pt x="134" y="591"/>
                  </a:lnTo>
                  <a:lnTo>
                    <a:pt x="163" y="544"/>
                  </a:lnTo>
                  <a:lnTo>
                    <a:pt x="192" y="499"/>
                  </a:lnTo>
                  <a:lnTo>
                    <a:pt x="224" y="454"/>
                  </a:lnTo>
                  <a:lnTo>
                    <a:pt x="258" y="412"/>
                  </a:lnTo>
                  <a:lnTo>
                    <a:pt x="293" y="370"/>
                  </a:lnTo>
                  <a:lnTo>
                    <a:pt x="330" y="333"/>
                  </a:lnTo>
                  <a:lnTo>
                    <a:pt x="369" y="293"/>
                  </a:lnTo>
                  <a:lnTo>
                    <a:pt x="412" y="259"/>
                  </a:lnTo>
                  <a:lnTo>
                    <a:pt x="454" y="224"/>
                  </a:lnTo>
                  <a:lnTo>
                    <a:pt x="499" y="193"/>
                  </a:lnTo>
                  <a:lnTo>
                    <a:pt x="544" y="164"/>
                  </a:lnTo>
                  <a:lnTo>
                    <a:pt x="591" y="137"/>
                  </a:lnTo>
                  <a:lnTo>
                    <a:pt x="642" y="111"/>
                  </a:lnTo>
                  <a:lnTo>
                    <a:pt x="692" y="90"/>
                  </a:lnTo>
                  <a:lnTo>
                    <a:pt x="742" y="69"/>
                  </a:lnTo>
                  <a:lnTo>
                    <a:pt x="795" y="50"/>
                  </a:lnTo>
                  <a:lnTo>
                    <a:pt x="848" y="34"/>
                  </a:lnTo>
                  <a:lnTo>
                    <a:pt x="903" y="24"/>
                  </a:lnTo>
                  <a:lnTo>
                    <a:pt x="959" y="13"/>
                  </a:lnTo>
                  <a:lnTo>
                    <a:pt x="1017" y="5"/>
                  </a:lnTo>
                  <a:lnTo>
                    <a:pt x="1072" y="3"/>
                  </a:lnTo>
                  <a:lnTo>
                    <a:pt x="1130" y="0"/>
                  </a:lnTo>
                  <a:lnTo>
                    <a:pt x="1191" y="3"/>
                  </a:lnTo>
                  <a:lnTo>
                    <a:pt x="1247" y="5"/>
                  </a:lnTo>
                  <a:lnTo>
                    <a:pt x="1305" y="13"/>
                  </a:lnTo>
                  <a:lnTo>
                    <a:pt x="1360" y="24"/>
                  </a:lnTo>
                  <a:lnTo>
                    <a:pt x="1416" y="34"/>
                  </a:lnTo>
                  <a:lnTo>
                    <a:pt x="1469" y="50"/>
                  </a:lnTo>
                  <a:lnTo>
                    <a:pt x="1521" y="69"/>
                  </a:lnTo>
                  <a:lnTo>
                    <a:pt x="1572" y="90"/>
                  </a:lnTo>
                  <a:lnTo>
                    <a:pt x="1622" y="111"/>
                  </a:lnTo>
                  <a:lnTo>
                    <a:pt x="1672" y="137"/>
                  </a:lnTo>
                  <a:lnTo>
                    <a:pt x="1720" y="164"/>
                  </a:lnTo>
                  <a:lnTo>
                    <a:pt x="1765" y="193"/>
                  </a:lnTo>
                  <a:lnTo>
                    <a:pt x="1809" y="224"/>
                  </a:lnTo>
                  <a:lnTo>
                    <a:pt x="1852" y="259"/>
                  </a:lnTo>
                  <a:lnTo>
                    <a:pt x="1894" y="293"/>
                  </a:lnTo>
                  <a:lnTo>
                    <a:pt x="1934" y="333"/>
                  </a:lnTo>
                  <a:lnTo>
                    <a:pt x="1971" y="370"/>
                  </a:lnTo>
                  <a:lnTo>
                    <a:pt x="2005" y="412"/>
                  </a:lnTo>
                  <a:lnTo>
                    <a:pt x="2039" y="454"/>
                  </a:lnTo>
                  <a:lnTo>
                    <a:pt x="2071" y="499"/>
                  </a:lnTo>
                  <a:lnTo>
                    <a:pt x="2100" y="544"/>
                  </a:lnTo>
                  <a:lnTo>
                    <a:pt x="2129" y="591"/>
                  </a:lnTo>
                  <a:lnTo>
                    <a:pt x="2153" y="642"/>
                  </a:lnTo>
                  <a:lnTo>
                    <a:pt x="2177" y="692"/>
                  </a:lnTo>
                  <a:lnTo>
                    <a:pt x="2195" y="742"/>
                  </a:lnTo>
                  <a:lnTo>
                    <a:pt x="2214" y="795"/>
                  </a:lnTo>
                  <a:lnTo>
                    <a:pt x="2230" y="850"/>
                  </a:lnTo>
                  <a:lnTo>
                    <a:pt x="2243" y="903"/>
                  </a:lnTo>
                  <a:lnTo>
                    <a:pt x="2251" y="961"/>
                  </a:lnTo>
                  <a:lnTo>
                    <a:pt x="2259" y="1017"/>
                  </a:lnTo>
                  <a:lnTo>
                    <a:pt x="2264" y="1075"/>
                  </a:lnTo>
                  <a:lnTo>
                    <a:pt x="2264" y="1133"/>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11" name="Freeform 354"/>
            <p:cNvSpPr>
              <a:spLocks/>
            </p:cNvSpPr>
            <p:nvPr/>
          </p:nvSpPr>
          <p:spPr bwMode="auto">
            <a:xfrm>
              <a:off x="1508126" y="1941512"/>
              <a:ext cx="2620962" cy="3538539"/>
            </a:xfrm>
            <a:custGeom>
              <a:avLst/>
              <a:gdLst>
                <a:gd name="T0" fmla="*/ 2147483647 w 1651"/>
                <a:gd name="T1" fmla="*/ 2147483647 h 2229"/>
                <a:gd name="T2" fmla="*/ 2147483647 w 1651"/>
                <a:gd name="T3" fmla="*/ 2147483647 h 2229"/>
                <a:gd name="T4" fmla="*/ 2147483647 w 1651"/>
                <a:gd name="T5" fmla="*/ 2147483647 h 2229"/>
                <a:gd name="T6" fmla="*/ 2147483647 w 1651"/>
                <a:gd name="T7" fmla="*/ 2147483647 h 2229"/>
                <a:gd name="T8" fmla="*/ 2147483647 w 1651"/>
                <a:gd name="T9" fmla="*/ 2147483647 h 2229"/>
                <a:gd name="T10" fmla="*/ 2147483647 w 1651"/>
                <a:gd name="T11" fmla="*/ 2147483647 h 2229"/>
                <a:gd name="T12" fmla="*/ 2147483647 w 1651"/>
                <a:gd name="T13" fmla="*/ 2147483647 h 2229"/>
                <a:gd name="T14" fmla="*/ 2147483647 w 1651"/>
                <a:gd name="T15" fmla="*/ 2147483647 h 2229"/>
                <a:gd name="T16" fmla="*/ 2147483647 w 1651"/>
                <a:gd name="T17" fmla="*/ 2147483647 h 2229"/>
                <a:gd name="T18" fmla="*/ 2147483647 w 1651"/>
                <a:gd name="T19" fmla="*/ 2147483647 h 2229"/>
                <a:gd name="T20" fmla="*/ 2147483647 w 1651"/>
                <a:gd name="T21" fmla="*/ 2147483647 h 2229"/>
                <a:gd name="T22" fmla="*/ 2147483647 w 1651"/>
                <a:gd name="T23" fmla="*/ 2147483647 h 2229"/>
                <a:gd name="T24" fmla="*/ 2147483647 w 1651"/>
                <a:gd name="T25" fmla="*/ 2147483647 h 2229"/>
                <a:gd name="T26" fmla="*/ 2147483647 w 1651"/>
                <a:gd name="T27" fmla="*/ 2147483647 h 2229"/>
                <a:gd name="T28" fmla="*/ 2147483647 w 1651"/>
                <a:gd name="T29" fmla="*/ 2147483647 h 2229"/>
                <a:gd name="T30" fmla="*/ 2147483647 w 1651"/>
                <a:gd name="T31" fmla="*/ 2147483647 h 2229"/>
                <a:gd name="T32" fmla="*/ 2147483647 w 1651"/>
                <a:gd name="T33" fmla="*/ 2147483647 h 2229"/>
                <a:gd name="T34" fmla="*/ 2147483647 w 1651"/>
                <a:gd name="T35" fmla="*/ 2147483647 h 2229"/>
                <a:gd name="T36" fmla="*/ 2147483647 w 1651"/>
                <a:gd name="T37" fmla="*/ 2147483647 h 2229"/>
                <a:gd name="T38" fmla="*/ 2147483647 w 1651"/>
                <a:gd name="T39" fmla="*/ 2147483647 h 2229"/>
                <a:gd name="T40" fmla="*/ 2147483647 w 1651"/>
                <a:gd name="T41" fmla="*/ 2147483647 h 2229"/>
                <a:gd name="T42" fmla="*/ 2147483647 w 1651"/>
                <a:gd name="T43" fmla="*/ 2147483647 h 2229"/>
                <a:gd name="T44" fmla="*/ 2147483647 w 1651"/>
                <a:gd name="T45" fmla="*/ 2147483647 h 2229"/>
                <a:gd name="T46" fmla="*/ 2147483647 w 1651"/>
                <a:gd name="T47" fmla="*/ 2147483647 h 2229"/>
                <a:gd name="T48" fmla="*/ 2147483647 w 1651"/>
                <a:gd name="T49" fmla="*/ 2147483647 h 2229"/>
                <a:gd name="T50" fmla="*/ 2147483647 w 1651"/>
                <a:gd name="T51" fmla="*/ 2147483647 h 2229"/>
                <a:gd name="T52" fmla="*/ 2147483647 w 1651"/>
                <a:gd name="T53" fmla="*/ 2147483647 h 2229"/>
                <a:gd name="T54" fmla="*/ 2147483647 w 1651"/>
                <a:gd name="T55" fmla="*/ 2147483647 h 2229"/>
                <a:gd name="T56" fmla="*/ 2147483647 w 1651"/>
                <a:gd name="T57" fmla="*/ 2147483647 h 2229"/>
                <a:gd name="T58" fmla="*/ 2147483647 w 1651"/>
                <a:gd name="T59" fmla="*/ 2147483647 h 2229"/>
                <a:gd name="T60" fmla="*/ 2147483647 w 1651"/>
                <a:gd name="T61" fmla="*/ 2147483647 h 2229"/>
                <a:gd name="T62" fmla="*/ 2147483647 w 1651"/>
                <a:gd name="T63" fmla="*/ 2147483647 h 2229"/>
                <a:gd name="T64" fmla="*/ 2147483647 w 1651"/>
                <a:gd name="T65" fmla="*/ 2147483647 h 2229"/>
                <a:gd name="T66" fmla="*/ 2147483647 w 1651"/>
                <a:gd name="T67" fmla="*/ 2147483647 h 2229"/>
                <a:gd name="T68" fmla="*/ 2147483647 w 1651"/>
                <a:gd name="T69" fmla="*/ 2147483647 h 2229"/>
                <a:gd name="T70" fmla="*/ 2147483647 w 1651"/>
                <a:gd name="T71" fmla="*/ 2147483647 h 2229"/>
                <a:gd name="T72" fmla="*/ 0 w 1651"/>
                <a:gd name="T73" fmla="*/ 2147483647 h 2229"/>
                <a:gd name="T74" fmla="*/ 2147483647 w 1651"/>
                <a:gd name="T75" fmla="*/ 2147483647 h 2229"/>
                <a:gd name="T76" fmla="*/ 2147483647 w 1651"/>
                <a:gd name="T77" fmla="*/ 2147483647 h 2229"/>
                <a:gd name="T78" fmla="*/ 2147483647 w 1651"/>
                <a:gd name="T79" fmla="*/ 2147483647 h 2229"/>
                <a:gd name="T80" fmla="*/ 2147483647 w 1651"/>
                <a:gd name="T81" fmla="*/ 2147483647 h 2229"/>
                <a:gd name="T82" fmla="*/ 2147483647 w 1651"/>
                <a:gd name="T83" fmla="*/ 2147483647 h 2229"/>
                <a:gd name="T84" fmla="*/ 2147483647 w 1651"/>
                <a:gd name="T85" fmla="*/ 2147483647 h 2229"/>
                <a:gd name="T86" fmla="*/ 2147483647 w 1651"/>
                <a:gd name="T87" fmla="*/ 2147483647 h 2229"/>
                <a:gd name="T88" fmla="*/ 2147483647 w 1651"/>
                <a:gd name="T89" fmla="*/ 2147483647 h 2229"/>
                <a:gd name="T90" fmla="*/ 2147483647 w 1651"/>
                <a:gd name="T91" fmla="*/ 2147483647 h 2229"/>
                <a:gd name="T92" fmla="*/ 2147483647 w 1651"/>
                <a:gd name="T93" fmla="*/ 2147483647 h 2229"/>
                <a:gd name="T94" fmla="*/ 2147483647 w 1651"/>
                <a:gd name="T95" fmla="*/ 2147483647 h 2229"/>
                <a:gd name="T96" fmla="*/ 2147483647 w 1651"/>
                <a:gd name="T97" fmla="*/ 2147483647 h 2229"/>
                <a:gd name="T98" fmla="*/ 2147483647 w 1651"/>
                <a:gd name="T99" fmla="*/ 2147483647 h 2229"/>
                <a:gd name="T100" fmla="*/ 2147483647 w 1651"/>
                <a:gd name="T101" fmla="*/ 2147483647 h 2229"/>
                <a:gd name="T102" fmla="*/ 2147483647 w 1651"/>
                <a:gd name="T103" fmla="*/ 2147483647 h 2229"/>
                <a:gd name="T104" fmla="*/ 2147483647 w 1651"/>
                <a:gd name="T105" fmla="*/ 2147483647 h 2229"/>
                <a:gd name="T106" fmla="*/ 2147483647 w 1651"/>
                <a:gd name="T107" fmla="*/ 2147483647 h 2229"/>
                <a:gd name="T108" fmla="*/ 2147483647 w 1651"/>
                <a:gd name="T109" fmla="*/ 2147483647 h 2229"/>
                <a:gd name="T110" fmla="*/ 2147483647 w 1651"/>
                <a:gd name="T111" fmla="*/ 2147483647 h 2229"/>
                <a:gd name="T112" fmla="*/ 2147483647 w 1651"/>
                <a:gd name="T113" fmla="*/ 2147483647 h 2229"/>
                <a:gd name="T114" fmla="*/ 2147483647 w 1651"/>
                <a:gd name="T115" fmla="*/ 2147483647 h 2229"/>
                <a:gd name="T116" fmla="*/ 2147483647 w 1651"/>
                <a:gd name="T117" fmla="*/ 2147483647 h 2229"/>
                <a:gd name="T118" fmla="*/ 2147483647 w 1651"/>
                <a:gd name="T119" fmla="*/ 2147483647 h 2229"/>
                <a:gd name="T120" fmla="*/ 2147483647 w 1651"/>
                <a:gd name="T121" fmla="*/ 2147483647 h 2229"/>
                <a:gd name="T122" fmla="*/ 2147483647 w 1651"/>
                <a:gd name="T123" fmla="*/ 2147483647 h 22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1"/>
                <a:gd name="T187" fmla="*/ 0 h 2229"/>
                <a:gd name="T188" fmla="*/ 1651 w 1651"/>
                <a:gd name="T189" fmla="*/ 2229 h 22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1" h="2229">
                  <a:moveTo>
                    <a:pt x="716" y="877"/>
                  </a:moveTo>
                  <a:lnTo>
                    <a:pt x="719" y="869"/>
                  </a:lnTo>
                  <a:lnTo>
                    <a:pt x="719" y="863"/>
                  </a:lnTo>
                  <a:lnTo>
                    <a:pt x="713" y="863"/>
                  </a:lnTo>
                  <a:lnTo>
                    <a:pt x="711" y="863"/>
                  </a:lnTo>
                  <a:lnTo>
                    <a:pt x="708" y="863"/>
                  </a:lnTo>
                  <a:lnTo>
                    <a:pt x="700" y="848"/>
                  </a:lnTo>
                  <a:lnTo>
                    <a:pt x="700" y="840"/>
                  </a:lnTo>
                  <a:lnTo>
                    <a:pt x="700" y="834"/>
                  </a:lnTo>
                  <a:lnTo>
                    <a:pt x="697" y="826"/>
                  </a:lnTo>
                  <a:lnTo>
                    <a:pt x="695" y="816"/>
                  </a:lnTo>
                  <a:lnTo>
                    <a:pt x="689" y="811"/>
                  </a:lnTo>
                  <a:lnTo>
                    <a:pt x="684" y="808"/>
                  </a:lnTo>
                  <a:lnTo>
                    <a:pt x="674" y="808"/>
                  </a:lnTo>
                  <a:lnTo>
                    <a:pt x="660" y="813"/>
                  </a:lnTo>
                  <a:lnTo>
                    <a:pt x="650" y="818"/>
                  </a:lnTo>
                  <a:lnTo>
                    <a:pt x="642" y="818"/>
                  </a:lnTo>
                  <a:lnTo>
                    <a:pt x="639" y="816"/>
                  </a:lnTo>
                  <a:lnTo>
                    <a:pt x="639" y="811"/>
                  </a:lnTo>
                  <a:lnTo>
                    <a:pt x="639" y="797"/>
                  </a:lnTo>
                  <a:lnTo>
                    <a:pt x="642" y="789"/>
                  </a:lnTo>
                  <a:lnTo>
                    <a:pt x="642" y="784"/>
                  </a:lnTo>
                  <a:lnTo>
                    <a:pt x="637" y="782"/>
                  </a:lnTo>
                  <a:lnTo>
                    <a:pt x="626" y="779"/>
                  </a:lnTo>
                  <a:lnTo>
                    <a:pt x="600" y="784"/>
                  </a:lnTo>
                  <a:lnTo>
                    <a:pt x="563" y="792"/>
                  </a:lnTo>
                  <a:lnTo>
                    <a:pt x="568" y="797"/>
                  </a:lnTo>
                  <a:lnTo>
                    <a:pt x="576" y="808"/>
                  </a:lnTo>
                  <a:lnTo>
                    <a:pt x="581" y="816"/>
                  </a:lnTo>
                  <a:lnTo>
                    <a:pt x="581" y="821"/>
                  </a:lnTo>
                  <a:lnTo>
                    <a:pt x="578" y="826"/>
                  </a:lnTo>
                  <a:lnTo>
                    <a:pt x="571" y="829"/>
                  </a:lnTo>
                  <a:lnTo>
                    <a:pt x="557" y="829"/>
                  </a:lnTo>
                  <a:lnTo>
                    <a:pt x="544" y="824"/>
                  </a:lnTo>
                  <a:lnTo>
                    <a:pt x="542" y="824"/>
                  </a:lnTo>
                  <a:lnTo>
                    <a:pt x="542" y="821"/>
                  </a:lnTo>
                  <a:lnTo>
                    <a:pt x="542" y="818"/>
                  </a:lnTo>
                  <a:lnTo>
                    <a:pt x="528" y="816"/>
                  </a:lnTo>
                  <a:lnTo>
                    <a:pt x="518" y="816"/>
                  </a:lnTo>
                  <a:lnTo>
                    <a:pt x="518" y="813"/>
                  </a:lnTo>
                  <a:lnTo>
                    <a:pt x="518" y="811"/>
                  </a:lnTo>
                  <a:lnTo>
                    <a:pt x="520" y="808"/>
                  </a:lnTo>
                  <a:lnTo>
                    <a:pt x="510" y="800"/>
                  </a:lnTo>
                  <a:lnTo>
                    <a:pt x="505" y="797"/>
                  </a:lnTo>
                  <a:lnTo>
                    <a:pt x="494" y="795"/>
                  </a:lnTo>
                  <a:lnTo>
                    <a:pt x="475" y="800"/>
                  </a:lnTo>
                  <a:lnTo>
                    <a:pt x="452" y="805"/>
                  </a:lnTo>
                  <a:lnTo>
                    <a:pt x="431" y="813"/>
                  </a:lnTo>
                  <a:lnTo>
                    <a:pt x="428" y="816"/>
                  </a:lnTo>
                  <a:lnTo>
                    <a:pt x="428" y="821"/>
                  </a:lnTo>
                  <a:lnTo>
                    <a:pt x="420" y="821"/>
                  </a:lnTo>
                  <a:lnTo>
                    <a:pt x="415" y="821"/>
                  </a:lnTo>
                  <a:lnTo>
                    <a:pt x="404" y="826"/>
                  </a:lnTo>
                  <a:lnTo>
                    <a:pt x="399" y="834"/>
                  </a:lnTo>
                  <a:lnTo>
                    <a:pt x="399" y="848"/>
                  </a:lnTo>
                  <a:lnTo>
                    <a:pt x="399" y="861"/>
                  </a:lnTo>
                  <a:lnTo>
                    <a:pt x="399" y="877"/>
                  </a:lnTo>
                  <a:lnTo>
                    <a:pt x="396" y="892"/>
                  </a:lnTo>
                  <a:lnTo>
                    <a:pt x="394" y="903"/>
                  </a:lnTo>
                  <a:lnTo>
                    <a:pt x="391" y="914"/>
                  </a:lnTo>
                  <a:lnTo>
                    <a:pt x="388" y="914"/>
                  </a:lnTo>
                  <a:lnTo>
                    <a:pt x="386" y="911"/>
                  </a:lnTo>
                  <a:lnTo>
                    <a:pt x="383" y="914"/>
                  </a:lnTo>
                  <a:lnTo>
                    <a:pt x="378" y="921"/>
                  </a:lnTo>
                  <a:lnTo>
                    <a:pt x="372" y="935"/>
                  </a:lnTo>
                  <a:lnTo>
                    <a:pt x="372" y="937"/>
                  </a:lnTo>
                  <a:lnTo>
                    <a:pt x="372" y="943"/>
                  </a:lnTo>
                  <a:lnTo>
                    <a:pt x="375" y="953"/>
                  </a:lnTo>
                  <a:lnTo>
                    <a:pt x="372" y="956"/>
                  </a:lnTo>
                  <a:lnTo>
                    <a:pt x="367" y="961"/>
                  </a:lnTo>
                  <a:lnTo>
                    <a:pt x="367" y="982"/>
                  </a:lnTo>
                  <a:lnTo>
                    <a:pt x="370" y="1006"/>
                  </a:lnTo>
                  <a:lnTo>
                    <a:pt x="375" y="1027"/>
                  </a:lnTo>
                  <a:lnTo>
                    <a:pt x="386" y="1048"/>
                  </a:lnTo>
                  <a:lnTo>
                    <a:pt x="396" y="1067"/>
                  </a:lnTo>
                  <a:lnTo>
                    <a:pt x="409" y="1080"/>
                  </a:lnTo>
                  <a:lnTo>
                    <a:pt x="417" y="1085"/>
                  </a:lnTo>
                  <a:lnTo>
                    <a:pt x="428" y="1090"/>
                  </a:lnTo>
                  <a:lnTo>
                    <a:pt x="438" y="1090"/>
                  </a:lnTo>
                  <a:lnTo>
                    <a:pt x="449" y="1090"/>
                  </a:lnTo>
                  <a:lnTo>
                    <a:pt x="462" y="1088"/>
                  </a:lnTo>
                  <a:lnTo>
                    <a:pt x="489" y="1083"/>
                  </a:lnTo>
                  <a:lnTo>
                    <a:pt x="505" y="1075"/>
                  </a:lnTo>
                  <a:lnTo>
                    <a:pt x="518" y="1064"/>
                  </a:lnTo>
                  <a:lnTo>
                    <a:pt x="528" y="1054"/>
                  </a:lnTo>
                  <a:lnTo>
                    <a:pt x="531" y="1046"/>
                  </a:lnTo>
                  <a:lnTo>
                    <a:pt x="534" y="1038"/>
                  </a:lnTo>
                  <a:lnTo>
                    <a:pt x="534" y="1027"/>
                  </a:lnTo>
                  <a:lnTo>
                    <a:pt x="539" y="1022"/>
                  </a:lnTo>
                  <a:lnTo>
                    <a:pt x="544" y="1017"/>
                  </a:lnTo>
                  <a:lnTo>
                    <a:pt x="549" y="1011"/>
                  </a:lnTo>
                  <a:lnTo>
                    <a:pt x="565" y="1009"/>
                  </a:lnTo>
                  <a:lnTo>
                    <a:pt x="581" y="1009"/>
                  </a:lnTo>
                  <a:lnTo>
                    <a:pt x="592" y="1009"/>
                  </a:lnTo>
                  <a:lnTo>
                    <a:pt x="613" y="1011"/>
                  </a:lnTo>
                  <a:lnTo>
                    <a:pt x="610" y="1024"/>
                  </a:lnTo>
                  <a:lnTo>
                    <a:pt x="608" y="1027"/>
                  </a:lnTo>
                  <a:lnTo>
                    <a:pt x="605" y="1027"/>
                  </a:lnTo>
                  <a:lnTo>
                    <a:pt x="602" y="1027"/>
                  </a:lnTo>
                  <a:lnTo>
                    <a:pt x="600" y="1030"/>
                  </a:lnTo>
                  <a:lnTo>
                    <a:pt x="600" y="1040"/>
                  </a:lnTo>
                  <a:lnTo>
                    <a:pt x="600" y="1048"/>
                  </a:lnTo>
                  <a:lnTo>
                    <a:pt x="592" y="1056"/>
                  </a:lnTo>
                  <a:lnTo>
                    <a:pt x="592" y="1061"/>
                  </a:lnTo>
                  <a:lnTo>
                    <a:pt x="592" y="1067"/>
                  </a:lnTo>
                  <a:lnTo>
                    <a:pt x="586" y="1077"/>
                  </a:lnTo>
                  <a:lnTo>
                    <a:pt x="586" y="1088"/>
                  </a:lnTo>
                  <a:lnTo>
                    <a:pt x="589" y="1114"/>
                  </a:lnTo>
                  <a:lnTo>
                    <a:pt x="592" y="1117"/>
                  </a:lnTo>
                  <a:lnTo>
                    <a:pt x="597" y="1120"/>
                  </a:lnTo>
                  <a:lnTo>
                    <a:pt x="594" y="1125"/>
                  </a:lnTo>
                  <a:lnTo>
                    <a:pt x="592" y="1130"/>
                  </a:lnTo>
                  <a:lnTo>
                    <a:pt x="589" y="1141"/>
                  </a:lnTo>
                  <a:lnTo>
                    <a:pt x="586" y="1146"/>
                  </a:lnTo>
                  <a:lnTo>
                    <a:pt x="584" y="1149"/>
                  </a:lnTo>
                  <a:lnTo>
                    <a:pt x="613" y="1143"/>
                  </a:lnTo>
                  <a:lnTo>
                    <a:pt x="615" y="1146"/>
                  </a:lnTo>
                  <a:lnTo>
                    <a:pt x="615" y="1149"/>
                  </a:lnTo>
                  <a:lnTo>
                    <a:pt x="615" y="1151"/>
                  </a:lnTo>
                  <a:lnTo>
                    <a:pt x="626" y="1146"/>
                  </a:lnTo>
                  <a:lnTo>
                    <a:pt x="637" y="1143"/>
                  </a:lnTo>
                  <a:lnTo>
                    <a:pt x="639" y="1143"/>
                  </a:lnTo>
                  <a:lnTo>
                    <a:pt x="645" y="1146"/>
                  </a:lnTo>
                  <a:lnTo>
                    <a:pt x="652" y="1141"/>
                  </a:lnTo>
                  <a:lnTo>
                    <a:pt x="655" y="1138"/>
                  </a:lnTo>
                  <a:lnTo>
                    <a:pt x="658" y="1141"/>
                  </a:lnTo>
                  <a:lnTo>
                    <a:pt x="655" y="1146"/>
                  </a:lnTo>
                  <a:lnTo>
                    <a:pt x="658" y="1149"/>
                  </a:lnTo>
                  <a:lnTo>
                    <a:pt x="671" y="1151"/>
                  </a:lnTo>
                  <a:lnTo>
                    <a:pt x="684" y="1154"/>
                  </a:lnTo>
                  <a:lnTo>
                    <a:pt x="697" y="1159"/>
                  </a:lnTo>
                  <a:lnTo>
                    <a:pt x="705" y="1170"/>
                  </a:lnTo>
                  <a:lnTo>
                    <a:pt x="705" y="1175"/>
                  </a:lnTo>
                  <a:lnTo>
                    <a:pt x="708" y="1183"/>
                  </a:lnTo>
                  <a:lnTo>
                    <a:pt x="705" y="1201"/>
                  </a:lnTo>
                  <a:lnTo>
                    <a:pt x="703" y="1217"/>
                  </a:lnTo>
                  <a:lnTo>
                    <a:pt x="695" y="1236"/>
                  </a:lnTo>
                  <a:lnTo>
                    <a:pt x="692" y="1244"/>
                  </a:lnTo>
                  <a:lnTo>
                    <a:pt x="689" y="1252"/>
                  </a:lnTo>
                  <a:lnTo>
                    <a:pt x="689" y="1262"/>
                  </a:lnTo>
                  <a:lnTo>
                    <a:pt x="689" y="1278"/>
                  </a:lnTo>
                  <a:lnTo>
                    <a:pt x="705" y="1291"/>
                  </a:lnTo>
                  <a:lnTo>
                    <a:pt x="711" y="1302"/>
                  </a:lnTo>
                  <a:lnTo>
                    <a:pt x="719" y="1310"/>
                  </a:lnTo>
                  <a:lnTo>
                    <a:pt x="724" y="1312"/>
                  </a:lnTo>
                  <a:lnTo>
                    <a:pt x="729" y="1312"/>
                  </a:lnTo>
                  <a:lnTo>
                    <a:pt x="734" y="1323"/>
                  </a:lnTo>
                  <a:lnTo>
                    <a:pt x="740" y="1331"/>
                  </a:lnTo>
                  <a:lnTo>
                    <a:pt x="745" y="1331"/>
                  </a:lnTo>
                  <a:lnTo>
                    <a:pt x="748" y="1328"/>
                  </a:lnTo>
                  <a:lnTo>
                    <a:pt x="753" y="1323"/>
                  </a:lnTo>
                  <a:lnTo>
                    <a:pt x="758" y="1320"/>
                  </a:lnTo>
                  <a:lnTo>
                    <a:pt x="777" y="1307"/>
                  </a:lnTo>
                  <a:lnTo>
                    <a:pt x="787" y="1299"/>
                  </a:lnTo>
                  <a:lnTo>
                    <a:pt x="790" y="1302"/>
                  </a:lnTo>
                  <a:lnTo>
                    <a:pt x="795" y="1302"/>
                  </a:lnTo>
                  <a:lnTo>
                    <a:pt x="806" y="1299"/>
                  </a:lnTo>
                  <a:lnTo>
                    <a:pt x="816" y="1296"/>
                  </a:lnTo>
                  <a:lnTo>
                    <a:pt x="827" y="1299"/>
                  </a:lnTo>
                  <a:lnTo>
                    <a:pt x="840" y="1304"/>
                  </a:lnTo>
                  <a:lnTo>
                    <a:pt x="840" y="1312"/>
                  </a:lnTo>
                  <a:lnTo>
                    <a:pt x="840" y="1318"/>
                  </a:lnTo>
                  <a:lnTo>
                    <a:pt x="845" y="1320"/>
                  </a:lnTo>
                  <a:lnTo>
                    <a:pt x="848" y="1320"/>
                  </a:lnTo>
                  <a:lnTo>
                    <a:pt x="853" y="1320"/>
                  </a:lnTo>
                  <a:lnTo>
                    <a:pt x="856" y="1323"/>
                  </a:lnTo>
                  <a:lnTo>
                    <a:pt x="864" y="1315"/>
                  </a:lnTo>
                  <a:lnTo>
                    <a:pt x="872" y="1304"/>
                  </a:lnTo>
                  <a:lnTo>
                    <a:pt x="874" y="1302"/>
                  </a:lnTo>
                  <a:lnTo>
                    <a:pt x="903" y="1265"/>
                  </a:lnTo>
                  <a:lnTo>
                    <a:pt x="909" y="1259"/>
                  </a:lnTo>
                  <a:lnTo>
                    <a:pt x="919" y="1254"/>
                  </a:lnTo>
                  <a:lnTo>
                    <a:pt x="943" y="1244"/>
                  </a:lnTo>
                  <a:lnTo>
                    <a:pt x="967" y="1233"/>
                  </a:lnTo>
                  <a:lnTo>
                    <a:pt x="975" y="1228"/>
                  </a:lnTo>
                  <a:lnTo>
                    <a:pt x="983" y="1225"/>
                  </a:lnTo>
                  <a:lnTo>
                    <a:pt x="985" y="1228"/>
                  </a:lnTo>
                  <a:lnTo>
                    <a:pt x="993" y="1236"/>
                  </a:lnTo>
                  <a:lnTo>
                    <a:pt x="996" y="1241"/>
                  </a:lnTo>
                  <a:lnTo>
                    <a:pt x="996" y="1249"/>
                  </a:lnTo>
                  <a:lnTo>
                    <a:pt x="993" y="1257"/>
                  </a:lnTo>
                  <a:lnTo>
                    <a:pt x="985" y="1265"/>
                  </a:lnTo>
                  <a:lnTo>
                    <a:pt x="972" y="1283"/>
                  </a:lnTo>
                  <a:lnTo>
                    <a:pt x="964" y="1299"/>
                  </a:lnTo>
                  <a:lnTo>
                    <a:pt x="964" y="1307"/>
                  </a:lnTo>
                  <a:lnTo>
                    <a:pt x="964" y="1312"/>
                  </a:lnTo>
                  <a:lnTo>
                    <a:pt x="967" y="1315"/>
                  </a:lnTo>
                  <a:lnTo>
                    <a:pt x="972" y="1315"/>
                  </a:lnTo>
                  <a:lnTo>
                    <a:pt x="980" y="1312"/>
                  </a:lnTo>
                  <a:lnTo>
                    <a:pt x="985" y="1304"/>
                  </a:lnTo>
                  <a:lnTo>
                    <a:pt x="999" y="1283"/>
                  </a:lnTo>
                  <a:lnTo>
                    <a:pt x="1020" y="1236"/>
                  </a:lnTo>
                  <a:lnTo>
                    <a:pt x="1025" y="1228"/>
                  </a:lnTo>
                  <a:lnTo>
                    <a:pt x="1030" y="1225"/>
                  </a:lnTo>
                  <a:lnTo>
                    <a:pt x="1036" y="1228"/>
                  </a:lnTo>
                  <a:lnTo>
                    <a:pt x="1041" y="1230"/>
                  </a:lnTo>
                  <a:lnTo>
                    <a:pt x="1049" y="1236"/>
                  </a:lnTo>
                  <a:lnTo>
                    <a:pt x="1065" y="1257"/>
                  </a:lnTo>
                  <a:lnTo>
                    <a:pt x="1073" y="1265"/>
                  </a:lnTo>
                  <a:lnTo>
                    <a:pt x="1078" y="1270"/>
                  </a:lnTo>
                  <a:lnTo>
                    <a:pt x="1086" y="1273"/>
                  </a:lnTo>
                  <a:lnTo>
                    <a:pt x="1094" y="1275"/>
                  </a:lnTo>
                  <a:lnTo>
                    <a:pt x="1110" y="1273"/>
                  </a:lnTo>
                  <a:lnTo>
                    <a:pt x="1123" y="1267"/>
                  </a:lnTo>
                  <a:lnTo>
                    <a:pt x="1128" y="1267"/>
                  </a:lnTo>
                  <a:lnTo>
                    <a:pt x="1136" y="1267"/>
                  </a:lnTo>
                  <a:lnTo>
                    <a:pt x="1147" y="1270"/>
                  </a:lnTo>
                  <a:lnTo>
                    <a:pt x="1144" y="1262"/>
                  </a:lnTo>
                  <a:lnTo>
                    <a:pt x="1147" y="1257"/>
                  </a:lnTo>
                  <a:lnTo>
                    <a:pt x="1152" y="1252"/>
                  </a:lnTo>
                  <a:lnTo>
                    <a:pt x="1154" y="1252"/>
                  </a:lnTo>
                  <a:lnTo>
                    <a:pt x="1162" y="1254"/>
                  </a:lnTo>
                  <a:lnTo>
                    <a:pt x="1168" y="1254"/>
                  </a:lnTo>
                  <a:lnTo>
                    <a:pt x="1173" y="1254"/>
                  </a:lnTo>
                  <a:lnTo>
                    <a:pt x="1194" y="1246"/>
                  </a:lnTo>
                  <a:lnTo>
                    <a:pt x="1202" y="1244"/>
                  </a:lnTo>
                  <a:lnTo>
                    <a:pt x="1210" y="1244"/>
                  </a:lnTo>
                  <a:lnTo>
                    <a:pt x="1236" y="1262"/>
                  </a:lnTo>
                  <a:lnTo>
                    <a:pt x="1271" y="1289"/>
                  </a:lnTo>
                  <a:lnTo>
                    <a:pt x="1276" y="1291"/>
                  </a:lnTo>
                  <a:lnTo>
                    <a:pt x="1287" y="1291"/>
                  </a:lnTo>
                  <a:lnTo>
                    <a:pt x="1295" y="1291"/>
                  </a:lnTo>
                  <a:lnTo>
                    <a:pt x="1300" y="1294"/>
                  </a:lnTo>
                  <a:lnTo>
                    <a:pt x="1300" y="1296"/>
                  </a:lnTo>
                  <a:lnTo>
                    <a:pt x="1297" y="1302"/>
                  </a:lnTo>
                  <a:lnTo>
                    <a:pt x="1295" y="1304"/>
                  </a:lnTo>
                  <a:lnTo>
                    <a:pt x="1295" y="1307"/>
                  </a:lnTo>
                  <a:lnTo>
                    <a:pt x="1313" y="1323"/>
                  </a:lnTo>
                  <a:lnTo>
                    <a:pt x="1326" y="1323"/>
                  </a:lnTo>
                  <a:lnTo>
                    <a:pt x="1355" y="1320"/>
                  </a:lnTo>
                  <a:lnTo>
                    <a:pt x="1387" y="1320"/>
                  </a:lnTo>
                  <a:lnTo>
                    <a:pt x="1398" y="1323"/>
                  </a:lnTo>
                  <a:lnTo>
                    <a:pt x="1400" y="1326"/>
                  </a:lnTo>
                  <a:lnTo>
                    <a:pt x="1403" y="1328"/>
                  </a:lnTo>
                  <a:lnTo>
                    <a:pt x="1405" y="1344"/>
                  </a:lnTo>
                  <a:lnTo>
                    <a:pt x="1408" y="1344"/>
                  </a:lnTo>
                  <a:lnTo>
                    <a:pt x="1413" y="1347"/>
                  </a:lnTo>
                  <a:lnTo>
                    <a:pt x="1416" y="1352"/>
                  </a:lnTo>
                  <a:lnTo>
                    <a:pt x="1419" y="1357"/>
                  </a:lnTo>
                  <a:lnTo>
                    <a:pt x="1421" y="1365"/>
                  </a:lnTo>
                  <a:lnTo>
                    <a:pt x="1421" y="1378"/>
                  </a:lnTo>
                  <a:lnTo>
                    <a:pt x="1427" y="1378"/>
                  </a:lnTo>
                  <a:lnTo>
                    <a:pt x="1432" y="1378"/>
                  </a:lnTo>
                  <a:lnTo>
                    <a:pt x="1437" y="1381"/>
                  </a:lnTo>
                  <a:lnTo>
                    <a:pt x="1445" y="1386"/>
                  </a:lnTo>
                  <a:lnTo>
                    <a:pt x="1448" y="1394"/>
                  </a:lnTo>
                  <a:lnTo>
                    <a:pt x="1450" y="1407"/>
                  </a:lnTo>
                  <a:lnTo>
                    <a:pt x="1450" y="1423"/>
                  </a:lnTo>
                  <a:lnTo>
                    <a:pt x="1456" y="1421"/>
                  </a:lnTo>
                  <a:lnTo>
                    <a:pt x="1461" y="1418"/>
                  </a:lnTo>
                  <a:lnTo>
                    <a:pt x="1472" y="1418"/>
                  </a:lnTo>
                  <a:lnTo>
                    <a:pt x="1474" y="1421"/>
                  </a:lnTo>
                  <a:lnTo>
                    <a:pt x="1477" y="1423"/>
                  </a:lnTo>
                  <a:lnTo>
                    <a:pt x="1477" y="1426"/>
                  </a:lnTo>
                  <a:lnTo>
                    <a:pt x="1479" y="1428"/>
                  </a:lnTo>
                  <a:lnTo>
                    <a:pt x="1495" y="1436"/>
                  </a:lnTo>
                  <a:lnTo>
                    <a:pt x="1511" y="1442"/>
                  </a:lnTo>
                  <a:lnTo>
                    <a:pt x="1519" y="1442"/>
                  </a:lnTo>
                  <a:lnTo>
                    <a:pt x="1524" y="1436"/>
                  </a:lnTo>
                  <a:lnTo>
                    <a:pt x="1527" y="1434"/>
                  </a:lnTo>
                  <a:lnTo>
                    <a:pt x="1530" y="1431"/>
                  </a:lnTo>
                  <a:lnTo>
                    <a:pt x="1546" y="1439"/>
                  </a:lnTo>
                  <a:lnTo>
                    <a:pt x="1567" y="1450"/>
                  </a:lnTo>
                  <a:lnTo>
                    <a:pt x="1588" y="1455"/>
                  </a:lnTo>
                  <a:lnTo>
                    <a:pt x="1598" y="1455"/>
                  </a:lnTo>
                  <a:lnTo>
                    <a:pt x="1606" y="1452"/>
                  </a:lnTo>
                  <a:lnTo>
                    <a:pt x="1612" y="1452"/>
                  </a:lnTo>
                  <a:lnTo>
                    <a:pt x="1620" y="1452"/>
                  </a:lnTo>
                  <a:lnTo>
                    <a:pt x="1635" y="1460"/>
                  </a:lnTo>
                  <a:lnTo>
                    <a:pt x="1646" y="1468"/>
                  </a:lnTo>
                  <a:lnTo>
                    <a:pt x="1651" y="1473"/>
                  </a:lnTo>
                  <a:lnTo>
                    <a:pt x="1641" y="1505"/>
                  </a:lnTo>
                  <a:lnTo>
                    <a:pt x="1630" y="1537"/>
                  </a:lnTo>
                  <a:lnTo>
                    <a:pt x="1617" y="1576"/>
                  </a:lnTo>
                  <a:lnTo>
                    <a:pt x="1604" y="1598"/>
                  </a:lnTo>
                  <a:lnTo>
                    <a:pt x="1590" y="1621"/>
                  </a:lnTo>
                  <a:lnTo>
                    <a:pt x="1588" y="1629"/>
                  </a:lnTo>
                  <a:lnTo>
                    <a:pt x="1585" y="1637"/>
                  </a:lnTo>
                  <a:lnTo>
                    <a:pt x="1575" y="1653"/>
                  </a:lnTo>
                  <a:lnTo>
                    <a:pt x="1572" y="1653"/>
                  </a:lnTo>
                  <a:lnTo>
                    <a:pt x="1569" y="1650"/>
                  </a:lnTo>
                  <a:lnTo>
                    <a:pt x="1564" y="1664"/>
                  </a:lnTo>
                  <a:lnTo>
                    <a:pt x="1559" y="1674"/>
                  </a:lnTo>
                  <a:lnTo>
                    <a:pt x="1561" y="1685"/>
                  </a:lnTo>
                  <a:lnTo>
                    <a:pt x="1561" y="1695"/>
                  </a:lnTo>
                  <a:lnTo>
                    <a:pt x="1556" y="1714"/>
                  </a:lnTo>
                  <a:lnTo>
                    <a:pt x="1553" y="1714"/>
                  </a:lnTo>
                  <a:lnTo>
                    <a:pt x="1551" y="1711"/>
                  </a:lnTo>
                  <a:lnTo>
                    <a:pt x="1548" y="1714"/>
                  </a:lnTo>
                  <a:lnTo>
                    <a:pt x="1548" y="1727"/>
                  </a:lnTo>
                  <a:lnTo>
                    <a:pt x="1546" y="1740"/>
                  </a:lnTo>
                  <a:lnTo>
                    <a:pt x="1543" y="1745"/>
                  </a:lnTo>
                  <a:lnTo>
                    <a:pt x="1540" y="1753"/>
                  </a:lnTo>
                  <a:lnTo>
                    <a:pt x="1532" y="1764"/>
                  </a:lnTo>
                  <a:lnTo>
                    <a:pt x="1522" y="1772"/>
                  </a:lnTo>
                  <a:lnTo>
                    <a:pt x="1490" y="1811"/>
                  </a:lnTo>
                  <a:lnTo>
                    <a:pt x="1466" y="1835"/>
                  </a:lnTo>
                  <a:lnTo>
                    <a:pt x="1448" y="1848"/>
                  </a:lnTo>
                  <a:lnTo>
                    <a:pt x="1440" y="1854"/>
                  </a:lnTo>
                  <a:lnTo>
                    <a:pt x="1432" y="1856"/>
                  </a:lnTo>
                  <a:lnTo>
                    <a:pt x="1419" y="1859"/>
                  </a:lnTo>
                  <a:lnTo>
                    <a:pt x="1405" y="1864"/>
                  </a:lnTo>
                  <a:lnTo>
                    <a:pt x="1390" y="1872"/>
                  </a:lnTo>
                  <a:lnTo>
                    <a:pt x="1374" y="1883"/>
                  </a:lnTo>
                  <a:lnTo>
                    <a:pt x="1358" y="1896"/>
                  </a:lnTo>
                  <a:lnTo>
                    <a:pt x="1345" y="1912"/>
                  </a:lnTo>
                  <a:lnTo>
                    <a:pt x="1334" y="1925"/>
                  </a:lnTo>
                  <a:lnTo>
                    <a:pt x="1326" y="1943"/>
                  </a:lnTo>
                  <a:lnTo>
                    <a:pt x="1321" y="1957"/>
                  </a:lnTo>
                  <a:lnTo>
                    <a:pt x="1318" y="1957"/>
                  </a:lnTo>
                  <a:lnTo>
                    <a:pt x="1316" y="1957"/>
                  </a:lnTo>
                  <a:lnTo>
                    <a:pt x="1316" y="1954"/>
                  </a:lnTo>
                  <a:lnTo>
                    <a:pt x="1313" y="1954"/>
                  </a:lnTo>
                  <a:lnTo>
                    <a:pt x="1310" y="1970"/>
                  </a:lnTo>
                  <a:lnTo>
                    <a:pt x="1287" y="1994"/>
                  </a:lnTo>
                  <a:lnTo>
                    <a:pt x="1276" y="2004"/>
                  </a:lnTo>
                  <a:lnTo>
                    <a:pt x="1265" y="2015"/>
                  </a:lnTo>
                  <a:lnTo>
                    <a:pt x="1255" y="2017"/>
                  </a:lnTo>
                  <a:lnTo>
                    <a:pt x="1247" y="2020"/>
                  </a:lnTo>
                  <a:lnTo>
                    <a:pt x="1242" y="2025"/>
                  </a:lnTo>
                  <a:lnTo>
                    <a:pt x="1234" y="2033"/>
                  </a:lnTo>
                  <a:lnTo>
                    <a:pt x="1228" y="2036"/>
                  </a:lnTo>
                  <a:lnTo>
                    <a:pt x="1226" y="2036"/>
                  </a:lnTo>
                  <a:lnTo>
                    <a:pt x="1223" y="2033"/>
                  </a:lnTo>
                  <a:lnTo>
                    <a:pt x="1221" y="2033"/>
                  </a:lnTo>
                  <a:lnTo>
                    <a:pt x="1218" y="2036"/>
                  </a:lnTo>
                  <a:lnTo>
                    <a:pt x="1213" y="2041"/>
                  </a:lnTo>
                  <a:lnTo>
                    <a:pt x="1197" y="2052"/>
                  </a:lnTo>
                  <a:lnTo>
                    <a:pt x="1149" y="2052"/>
                  </a:lnTo>
                  <a:lnTo>
                    <a:pt x="1149" y="2054"/>
                  </a:lnTo>
                  <a:lnTo>
                    <a:pt x="1147" y="2068"/>
                  </a:lnTo>
                  <a:lnTo>
                    <a:pt x="1144" y="2078"/>
                  </a:lnTo>
                  <a:lnTo>
                    <a:pt x="1139" y="2083"/>
                  </a:lnTo>
                  <a:lnTo>
                    <a:pt x="1131" y="2089"/>
                  </a:lnTo>
                  <a:lnTo>
                    <a:pt x="1110" y="2099"/>
                  </a:lnTo>
                  <a:lnTo>
                    <a:pt x="1078" y="2118"/>
                  </a:lnTo>
                  <a:lnTo>
                    <a:pt x="1012" y="2155"/>
                  </a:lnTo>
                  <a:lnTo>
                    <a:pt x="980" y="2171"/>
                  </a:lnTo>
                  <a:lnTo>
                    <a:pt x="954" y="2186"/>
                  </a:lnTo>
                  <a:lnTo>
                    <a:pt x="927" y="2205"/>
                  </a:lnTo>
                  <a:lnTo>
                    <a:pt x="898" y="2215"/>
                  </a:lnTo>
                  <a:lnTo>
                    <a:pt x="795" y="2229"/>
                  </a:lnTo>
                  <a:lnTo>
                    <a:pt x="885" y="2160"/>
                  </a:lnTo>
                  <a:lnTo>
                    <a:pt x="896" y="2149"/>
                  </a:lnTo>
                  <a:lnTo>
                    <a:pt x="919" y="2126"/>
                  </a:lnTo>
                  <a:lnTo>
                    <a:pt x="930" y="2110"/>
                  </a:lnTo>
                  <a:lnTo>
                    <a:pt x="940" y="2094"/>
                  </a:lnTo>
                  <a:lnTo>
                    <a:pt x="946" y="2078"/>
                  </a:lnTo>
                  <a:lnTo>
                    <a:pt x="948" y="2062"/>
                  </a:lnTo>
                  <a:lnTo>
                    <a:pt x="948" y="2049"/>
                  </a:lnTo>
                  <a:lnTo>
                    <a:pt x="954" y="2033"/>
                  </a:lnTo>
                  <a:lnTo>
                    <a:pt x="959" y="2017"/>
                  </a:lnTo>
                  <a:lnTo>
                    <a:pt x="967" y="2002"/>
                  </a:lnTo>
                  <a:lnTo>
                    <a:pt x="983" y="1978"/>
                  </a:lnTo>
                  <a:lnTo>
                    <a:pt x="991" y="1967"/>
                  </a:lnTo>
                  <a:lnTo>
                    <a:pt x="1001" y="1938"/>
                  </a:lnTo>
                  <a:lnTo>
                    <a:pt x="1004" y="1936"/>
                  </a:lnTo>
                  <a:lnTo>
                    <a:pt x="1012" y="1930"/>
                  </a:lnTo>
                  <a:lnTo>
                    <a:pt x="1020" y="1928"/>
                  </a:lnTo>
                  <a:lnTo>
                    <a:pt x="1022" y="1922"/>
                  </a:lnTo>
                  <a:lnTo>
                    <a:pt x="1020" y="1920"/>
                  </a:lnTo>
                  <a:lnTo>
                    <a:pt x="1014" y="1917"/>
                  </a:lnTo>
                  <a:lnTo>
                    <a:pt x="1012" y="1917"/>
                  </a:lnTo>
                  <a:lnTo>
                    <a:pt x="1009" y="1914"/>
                  </a:lnTo>
                  <a:lnTo>
                    <a:pt x="1014" y="1891"/>
                  </a:lnTo>
                  <a:lnTo>
                    <a:pt x="1014" y="1872"/>
                  </a:lnTo>
                  <a:lnTo>
                    <a:pt x="1014" y="1862"/>
                  </a:lnTo>
                  <a:lnTo>
                    <a:pt x="1012" y="1856"/>
                  </a:lnTo>
                  <a:lnTo>
                    <a:pt x="1007" y="1851"/>
                  </a:lnTo>
                  <a:lnTo>
                    <a:pt x="999" y="1848"/>
                  </a:lnTo>
                  <a:lnTo>
                    <a:pt x="985" y="1851"/>
                  </a:lnTo>
                  <a:lnTo>
                    <a:pt x="977" y="1851"/>
                  </a:lnTo>
                  <a:lnTo>
                    <a:pt x="970" y="1851"/>
                  </a:lnTo>
                  <a:lnTo>
                    <a:pt x="967" y="1848"/>
                  </a:lnTo>
                  <a:lnTo>
                    <a:pt x="962" y="1843"/>
                  </a:lnTo>
                  <a:lnTo>
                    <a:pt x="954" y="1838"/>
                  </a:lnTo>
                  <a:lnTo>
                    <a:pt x="948" y="1838"/>
                  </a:lnTo>
                  <a:lnTo>
                    <a:pt x="946" y="1838"/>
                  </a:lnTo>
                  <a:lnTo>
                    <a:pt x="943" y="1840"/>
                  </a:lnTo>
                  <a:lnTo>
                    <a:pt x="940" y="1840"/>
                  </a:lnTo>
                  <a:lnTo>
                    <a:pt x="919" y="1830"/>
                  </a:lnTo>
                  <a:lnTo>
                    <a:pt x="898" y="1819"/>
                  </a:lnTo>
                  <a:lnTo>
                    <a:pt x="882" y="1806"/>
                  </a:lnTo>
                  <a:lnTo>
                    <a:pt x="861" y="1764"/>
                  </a:lnTo>
                  <a:lnTo>
                    <a:pt x="845" y="1748"/>
                  </a:lnTo>
                  <a:lnTo>
                    <a:pt x="843" y="1719"/>
                  </a:lnTo>
                  <a:lnTo>
                    <a:pt x="827" y="1727"/>
                  </a:lnTo>
                  <a:lnTo>
                    <a:pt x="766" y="1661"/>
                  </a:lnTo>
                  <a:lnTo>
                    <a:pt x="763" y="1653"/>
                  </a:lnTo>
                  <a:lnTo>
                    <a:pt x="761" y="1640"/>
                  </a:lnTo>
                  <a:lnTo>
                    <a:pt x="761" y="1632"/>
                  </a:lnTo>
                  <a:lnTo>
                    <a:pt x="763" y="1621"/>
                  </a:lnTo>
                  <a:lnTo>
                    <a:pt x="771" y="1613"/>
                  </a:lnTo>
                  <a:lnTo>
                    <a:pt x="782" y="1605"/>
                  </a:lnTo>
                  <a:lnTo>
                    <a:pt x="782" y="1590"/>
                  </a:lnTo>
                  <a:lnTo>
                    <a:pt x="779" y="1579"/>
                  </a:lnTo>
                  <a:lnTo>
                    <a:pt x="777" y="1574"/>
                  </a:lnTo>
                  <a:lnTo>
                    <a:pt x="774" y="1568"/>
                  </a:lnTo>
                  <a:lnTo>
                    <a:pt x="769" y="1563"/>
                  </a:lnTo>
                  <a:lnTo>
                    <a:pt x="766" y="1555"/>
                  </a:lnTo>
                  <a:lnTo>
                    <a:pt x="769" y="1553"/>
                  </a:lnTo>
                  <a:lnTo>
                    <a:pt x="771" y="1547"/>
                  </a:lnTo>
                  <a:lnTo>
                    <a:pt x="779" y="1542"/>
                  </a:lnTo>
                  <a:lnTo>
                    <a:pt x="777" y="1539"/>
                  </a:lnTo>
                  <a:lnTo>
                    <a:pt x="771" y="1537"/>
                  </a:lnTo>
                  <a:lnTo>
                    <a:pt x="766" y="1534"/>
                  </a:lnTo>
                  <a:lnTo>
                    <a:pt x="766" y="1531"/>
                  </a:lnTo>
                  <a:lnTo>
                    <a:pt x="769" y="1521"/>
                  </a:lnTo>
                  <a:lnTo>
                    <a:pt x="774" y="1508"/>
                  </a:lnTo>
                  <a:lnTo>
                    <a:pt x="785" y="1497"/>
                  </a:lnTo>
                  <a:lnTo>
                    <a:pt x="790" y="1495"/>
                  </a:lnTo>
                  <a:lnTo>
                    <a:pt x="795" y="1492"/>
                  </a:lnTo>
                  <a:lnTo>
                    <a:pt x="800" y="1492"/>
                  </a:lnTo>
                  <a:lnTo>
                    <a:pt x="803" y="1492"/>
                  </a:lnTo>
                  <a:lnTo>
                    <a:pt x="806" y="1495"/>
                  </a:lnTo>
                  <a:lnTo>
                    <a:pt x="808" y="1492"/>
                  </a:lnTo>
                  <a:lnTo>
                    <a:pt x="822" y="1489"/>
                  </a:lnTo>
                  <a:lnTo>
                    <a:pt x="837" y="1481"/>
                  </a:lnTo>
                  <a:lnTo>
                    <a:pt x="837" y="1479"/>
                  </a:lnTo>
                  <a:lnTo>
                    <a:pt x="835" y="1479"/>
                  </a:lnTo>
                  <a:lnTo>
                    <a:pt x="832" y="1476"/>
                  </a:lnTo>
                  <a:lnTo>
                    <a:pt x="832" y="1473"/>
                  </a:lnTo>
                  <a:lnTo>
                    <a:pt x="845" y="1452"/>
                  </a:lnTo>
                  <a:lnTo>
                    <a:pt x="853" y="1431"/>
                  </a:lnTo>
                  <a:lnTo>
                    <a:pt x="856" y="1407"/>
                  </a:lnTo>
                  <a:lnTo>
                    <a:pt x="856" y="1397"/>
                  </a:lnTo>
                  <a:lnTo>
                    <a:pt x="853" y="1386"/>
                  </a:lnTo>
                  <a:lnTo>
                    <a:pt x="851" y="1378"/>
                  </a:lnTo>
                  <a:lnTo>
                    <a:pt x="845" y="1357"/>
                  </a:lnTo>
                  <a:lnTo>
                    <a:pt x="843" y="1357"/>
                  </a:lnTo>
                  <a:lnTo>
                    <a:pt x="840" y="1357"/>
                  </a:lnTo>
                  <a:lnTo>
                    <a:pt x="837" y="1352"/>
                  </a:lnTo>
                  <a:lnTo>
                    <a:pt x="840" y="1344"/>
                  </a:lnTo>
                  <a:lnTo>
                    <a:pt x="840" y="1339"/>
                  </a:lnTo>
                  <a:lnTo>
                    <a:pt x="837" y="1339"/>
                  </a:lnTo>
                  <a:lnTo>
                    <a:pt x="835" y="1339"/>
                  </a:lnTo>
                  <a:lnTo>
                    <a:pt x="832" y="1339"/>
                  </a:lnTo>
                  <a:lnTo>
                    <a:pt x="822" y="1323"/>
                  </a:lnTo>
                  <a:lnTo>
                    <a:pt x="816" y="1318"/>
                  </a:lnTo>
                  <a:lnTo>
                    <a:pt x="811" y="1318"/>
                  </a:lnTo>
                  <a:lnTo>
                    <a:pt x="803" y="1318"/>
                  </a:lnTo>
                  <a:lnTo>
                    <a:pt x="798" y="1318"/>
                  </a:lnTo>
                  <a:lnTo>
                    <a:pt x="795" y="1320"/>
                  </a:lnTo>
                  <a:lnTo>
                    <a:pt x="795" y="1328"/>
                  </a:lnTo>
                  <a:lnTo>
                    <a:pt x="795" y="1336"/>
                  </a:lnTo>
                  <a:lnTo>
                    <a:pt x="793" y="1339"/>
                  </a:lnTo>
                  <a:lnTo>
                    <a:pt x="790" y="1339"/>
                  </a:lnTo>
                  <a:lnTo>
                    <a:pt x="790" y="1341"/>
                  </a:lnTo>
                  <a:lnTo>
                    <a:pt x="790" y="1349"/>
                  </a:lnTo>
                  <a:lnTo>
                    <a:pt x="790" y="1357"/>
                  </a:lnTo>
                  <a:lnTo>
                    <a:pt x="787" y="1362"/>
                  </a:lnTo>
                  <a:lnTo>
                    <a:pt x="785" y="1368"/>
                  </a:lnTo>
                  <a:lnTo>
                    <a:pt x="779" y="1373"/>
                  </a:lnTo>
                  <a:lnTo>
                    <a:pt x="774" y="1373"/>
                  </a:lnTo>
                  <a:lnTo>
                    <a:pt x="763" y="1373"/>
                  </a:lnTo>
                  <a:lnTo>
                    <a:pt x="756" y="1370"/>
                  </a:lnTo>
                  <a:lnTo>
                    <a:pt x="742" y="1360"/>
                  </a:lnTo>
                  <a:lnTo>
                    <a:pt x="732" y="1349"/>
                  </a:lnTo>
                  <a:lnTo>
                    <a:pt x="729" y="1344"/>
                  </a:lnTo>
                  <a:lnTo>
                    <a:pt x="721" y="1339"/>
                  </a:lnTo>
                  <a:lnTo>
                    <a:pt x="705" y="1323"/>
                  </a:lnTo>
                  <a:lnTo>
                    <a:pt x="684" y="1310"/>
                  </a:lnTo>
                  <a:lnTo>
                    <a:pt x="674" y="1304"/>
                  </a:lnTo>
                  <a:lnTo>
                    <a:pt x="660" y="1302"/>
                  </a:lnTo>
                  <a:lnTo>
                    <a:pt x="652" y="1302"/>
                  </a:lnTo>
                  <a:lnTo>
                    <a:pt x="645" y="1299"/>
                  </a:lnTo>
                  <a:lnTo>
                    <a:pt x="639" y="1294"/>
                  </a:lnTo>
                  <a:lnTo>
                    <a:pt x="637" y="1286"/>
                  </a:lnTo>
                  <a:lnTo>
                    <a:pt x="634" y="1273"/>
                  </a:lnTo>
                  <a:lnTo>
                    <a:pt x="637" y="1262"/>
                  </a:lnTo>
                  <a:lnTo>
                    <a:pt x="637" y="1257"/>
                  </a:lnTo>
                  <a:lnTo>
                    <a:pt x="631" y="1249"/>
                  </a:lnTo>
                  <a:lnTo>
                    <a:pt x="615" y="1233"/>
                  </a:lnTo>
                  <a:lnTo>
                    <a:pt x="592" y="1217"/>
                  </a:lnTo>
                  <a:lnTo>
                    <a:pt x="581" y="1212"/>
                  </a:lnTo>
                  <a:lnTo>
                    <a:pt x="571" y="1212"/>
                  </a:lnTo>
                  <a:lnTo>
                    <a:pt x="549" y="1212"/>
                  </a:lnTo>
                  <a:lnTo>
                    <a:pt x="539" y="1209"/>
                  </a:lnTo>
                  <a:lnTo>
                    <a:pt x="526" y="1204"/>
                  </a:lnTo>
                  <a:lnTo>
                    <a:pt x="512" y="1196"/>
                  </a:lnTo>
                  <a:lnTo>
                    <a:pt x="499" y="1188"/>
                  </a:lnTo>
                  <a:lnTo>
                    <a:pt x="483" y="1172"/>
                  </a:lnTo>
                  <a:lnTo>
                    <a:pt x="468" y="1154"/>
                  </a:lnTo>
                  <a:lnTo>
                    <a:pt x="465" y="1149"/>
                  </a:lnTo>
                  <a:lnTo>
                    <a:pt x="460" y="1143"/>
                  </a:lnTo>
                  <a:lnTo>
                    <a:pt x="454" y="1138"/>
                  </a:lnTo>
                  <a:lnTo>
                    <a:pt x="449" y="1135"/>
                  </a:lnTo>
                  <a:lnTo>
                    <a:pt x="441" y="1135"/>
                  </a:lnTo>
                  <a:lnTo>
                    <a:pt x="431" y="1138"/>
                  </a:lnTo>
                  <a:lnTo>
                    <a:pt x="417" y="1146"/>
                  </a:lnTo>
                  <a:lnTo>
                    <a:pt x="412" y="1146"/>
                  </a:lnTo>
                  <a:lnTo>
                    <a:pt x="394" y="1146"/>
                  </a:lnTo>
                  <a:lnTo>
                    <a:pt x="378" y="1141"/>
                  </a:lnTo>
                  <a:lnTo>
                    <a:pt x="357" y="1135"/>
                  </a:lnTo>
                  <a:lnTo>
                    <a:pt x="330" y="1125"/>
                  </a:lnTo>
                  <a:lnTo>
                    <a:pt x="296" y="1109"/>
                  </a:lnTo>
                  <a:lnTo>
                    <a:pt x="291" y="1101"/>
                  </a:lnTo>
                  <a:lnTo>
                    <a:pt x="275" y="1085"/>
                  </a:lnTo>
                  <a:lnTo>
                    <a:pt x="251" y="1069"/>
                  </a:lnTo>
                  <a:lnTo>
                    <a:pt x="240" y="1064"/>
                  </a:lnTo>
                  <a:lnTo>
                    <a:pt x="230" y="1061"/>
                  </a:lnTo>
                  <a:lnTo>
                    <a:pt x="219" y="1061"/>
                  </a:lnTo>
                  <a:lnTo>
                    <a:pt x="209" y="1056"/>
                  </a:lnTo>
                  <a:lnTo>
                    <a:pt x="201" y="1051"/>
                  </a:lnTo>
                  <a:lnTo>
                    <a:pt x="193" y="1046"/>
                  </a:lnTo>
                  <a:lnTo>
                    <a:pt x="190" y="1035"/>
                  </a:lnTo>
                  <a:lnTo>
                    <a:pt x="187" y="1027"/>
                  </a:lnTo>
                  <a:lnTo>
                    <a:pt x="190" y="1017"/>
                  </a:lnTo>
                  <a:lnTo>
                    <a:pt x="195" y="1009"/>
                  </a:lnTo>
                  <a:lnTo>
                    <a:pt x="203" y="998"/>
                  </a:lnTo>
                  <a:lnTo>
                    <a:pt x="209" y="990"/>
                  </a:lnTo>
                  <a:lnTo>
                    <a:pt x="209" y="982"/>
                  </a:lnTo>
                  <a:lnTo>
                    <a:pt x="209" y="974"/>
                  </a:lnTo>
                  <a:lnTo>
                    <a:pt x="206" y="964"/>
                  </a:lnTo>
                  <a:lnTo>
                    <a:pt x="198" y="953"/>
                  </a:lnTo>
                  <a:lnTo>
                    <a:pt x="174" y="921"/>
                  </a:lnTo>
                  <a:lnTo>
                    <a:pt x="150" y="887"/>
                  </a:lnTo>
                  <a:lnTo>
                    <a:pt x="135" y="863"/>
                  </a:lnTo>
                  <a:lnTo>
                    <a:pt x="127" y="845"/>
                  </a:lnTo>
                  <a:lnTo>
                    <a:pt x="119" y="837"/>
                  </a:lnTo>
                  <a:lnTo>
                    <a:pt x="106" y="818"/>
                  </a:lnTo>
                  <a:lnTo>
                    <a:pt x="100" y="808"/>
                  </a:lnTo>
                  <a:lnTo>
                    <a:pt x="98" y="795"/>
                  </a:lnTo>
                  <a:lnTo>
                    <a:pt x="98" y="784"/>
                  </a:lnTo>
                  <a:lnTo>
                    <a:pt x="100" y="776"/>
                  </a:lnTo>
                  <a:lnTo>
                    <a:pt x="103" y="766"/>
                  </a:lnTo>
                  <a:lnTo>
                    <a:pt x="103" y="758"/>
                  </a:lnTo>
                  <a:lnTo>
                    <a:pt x="98" y="747"/>
                  </a:lnTo>
                  <a:lnTo>
                    <a:pt x="92" y="739"/>
                  </a:lnTo>
                  <a:lnTo>
                    <a:pt x="84" y="731"/>
                  </a:lnTo>
                  <a:lnTo>
                    <a:pt x="79" y="729"/>
                  </a:lnTo>
                  <a:lnTo>
                    <a:pt x="74" y="729"/>
                  </a:lnTo>
                  <a:lnTo>
                    <a:pt x="71" y="734"/>
                  </a:lnTo>
                  <a:lnTo>
                    <a:pt x="74" y="758"/>
                  </a:lnTo>
                  <a:lnTo>
                    <a:pt x="79" y="792"/>
                  </a:lnTo>
                  <a:lnTo>
                    <a:pt x="87" y="834"/>
                  </a:lnTo>
                  <a:lnTo>
                    <a:pt x="98" y="850"/>
                  </a:lnTo>
                  <a:lnTo>
                    <a:pt x="103" y="866"/>
                  </a:lnTo>
                  <a:lnTo>
                    <a:pt x="106" y="874"/>
                  </a:lnTo>
                  <a:lnTo>
                    <a:pt x="106" y="884"/>
                  </a:lnTo>
                  <a:lnTo>
                    <a:pt x="106" y="892"/>
                  </a:lnTo>
                  <a:lnTo>
                    <a:pt x="108" y="900"/>
                  </a:lnTo>
                  <a:lnTo>
                    <a:pt x="119" y="911"/>
                  </a:lnTo>
                  <a:lnTo>
                    <a:pt x="129" y="921"/>
                  </a:lnTo>
                  <a:lnTo>
                    <a:pt x="135" y="927"/>
                  </a:lnTo>
                  <a:lnTo>
                    <a:pt x="135" y="932"/>
                  </a:lnTo>
                  <a:lnTo>
                    <a:pt x="129" y="943"/>
                  </a:lnTo>
                  <a:lnTo>
                    <a:pt x="127" y="945"/>
                  </a:lnTo>
                  <a:lnTo>
                    <a:pt x="121" y="945"/>
                  </a:lnTo>
                  <a:lnTo>
                    <a:pt x="113" y="940"/>
                  </a:lnTo>
                  <a:lnTo>
                    <a:pt x="106" y="929"/>
                  </a:lnTo>
                  <a:lnTo>
                    <a:pt x="100" y="921"/>
                  </a:lnTo>
                  <a:lnTo>
                    <a:pt x="92" y="916"/>
                  </a:lnTo>
                  <a:lnTo>
                    <a:pt x="79" y="908"/>
                  </a:lnTo>
                  <a:lnTo>
                    <a:pt x="74" y="903"/>
                  </a:lnTo>
                  <a:lnTo>
                    <a:pt x="71" y="898"/>
                  </a:lnTo>
                  <a:lnTo>
                    <a:pt x="71" y="892"/>
                  </a:lnTo>
                  <a:lnTo>
                    <a:pt x="76" y="884"/>
                  </a:lnTo>
                  <a:lnTo>
                    <a:pt x="79" y="877"/>
                  </a:lnTo>
                  <a:lnTo>
                    <a:pt x="82" y="869"/>
                  </a:lnTo>
                  <a:lnTo>
                    <a:pt x="82" y="866"/>
                  </a:lnTo>
                  <a:lnTo>
                    <a:pt x="79" y="861"/>
                  </a:lnTo>
                  <a:lnTo>
                    <a:pt x="69" y="853"/>
                  </a:lnTo>
                  <a:lnTo>
                    <a:pt x="58" y="842"/>
                  </a:lnTo>
                  <a:lnTo>
                    <a:pt x="39" y="813"/>
                  </a:lnTo>
                  <a:lnTo>
                    <a:pt x="37" y="808"/>
                  </a:lnTo>
                  <a:lnTo>
                    <a:pt x="37" y="805"/>
                  </a:lnTo>
                  <a:lnTo>
                    <a:pt x="39" y="805"/>
                  </a:lnTo>
                  <a:lnTo>
                    <a:pt x="47" y="805"/>
                  </a:lnTo>
                  <a:lnTo>
                    <a:pt x="53" y="805"/>
                  </a:lnTo>
                  <a:lnTo>
                    <a:pt x="61" y="803"/>
                  </a:lnTo>
                  <a:lnTo>
                    <a:pt x="66" y="797"/>
                  </a:lnTo>
                  <a:lnTo>
                    <a:pt x="69" y="792"/>
                  </a:lnTo>
                  <a:lnTo>
                    <a:pt x="69" y="787"/>
                  </a:lnTo>
                  <a:lnTo>
                    <a:pt x="69" y="782"/>
                  </a:lnTo>
                  <a:lnTo>
                    <a:pt x="66" y="779"/>
                  </a:lnTo>
                  <a:lnTo>
                    <a:pt x="58" y="776"/>
                  </a:lnTo>
                  <a:lnTo>
                    <a:pt x="53" y="774"/>
                  </a:lnTo>
                  <a:lnTo>
                    <a:pt x="47" y="768"/>
                  </a:lnTo>
                  <a:lnTo>
                    <a:pt x="39" y="758"/>
                  </a:lnTo>
                  <a:lnTo>
                    <a:pt x="39" y="747"/>
                  </a:lnTo>
                  <a:lnTo>
                    <a:pt x="37" y="742"/>
                  </a:lnTo>
                  <a:lnTo>
                    <a:pt x="34" y="671"/>
                  </a:lnTo>
                  <a:lnTo>
                    <a:pt x="29" y="671"/>
                  </a:lnTo>
                  <a:lnTo>
                    <a:pt x="16" y="665"/>
                  </a:lnTo>
                  <a:lnTo>
                    <a:pt x="10" y="660"/>
                  </a:lnTo>
                  <a:lnTo>
                    <a:pt x="5" y="655"/>
                  </a:lnTo>
                  <a:lnTo>
                    <a:pt x="0" y="649"/>
                  </a:lnTo>
                  <a:lnTo>
                    <a:pt x="0" y="642"/>
                  </a:lnTo>
                  <a:lnTo>
                    <a:pt x="3" y="618"/>
                  </a:lnTo>
                  <a:lnTo>
                    <a:pt x="3" y="581"/>
                  </a:lnTo>
                  <a:lnTo>
                    <a:pt x="0" y="533"/>
                  </a:lnTo>
                  <a:lnTo>
                    <a:pt x="32" y="483"/>
                  </a:lnTo>
                  <a:lnTo>
                    <a:pt x="55" y="441"/>
                  </a:lnTo>
                  <a:lnTo>
                    <a:pt x="76" y="409"/>
                  </a:lnTo>
                  <a:lnTo>
                    <a:pt x="87" y="391"/>
                  </a:lnTo>
                  <a:lnTo>
                    <a:pt x="92" y="372"/>
                  </a:lnTo>
                  <a:lnTo>
                    <a:pt x="92" y="356"/>
                  </a:lnTo>
                  <a:lnTo>
                    <a:pt x="87" y="343"/>
                  </a:lnTo>
                  <a:lnTo>
                    <a:pt x="87" y="338"/>
                  </a:lnTo>
                  <a:lnTo>
                    <a:pt x="87" y="330"/>
                  </a:lnTo>
                  <a:lnTo>
                    <a:pt x="90" y="319"/>
                  </a:lnTo>
                  <a:lnTo>
                    <a:pt x="95" y="309"/>
                  </a:lnTo>
                  <a:lnTo>
                    <a:pt x="95" y="301"/>
                  </a:lnTo>
                  <a:lnTo>
                    <a:pt x="92" y="280"/>
                  </a:lnTo>
                  <a:lnTo>
                    <a:pt x="92" y="269"/>
                  </a:lnTo>
                  <a:lnTo>
                    <a:pt x="95" y="259"/>
                  </a:lnTo>
                  <a:lnTo>
                    <a:pt x="98" y="251"/>
                  </a:lnTo>
                  <a:lnTo>
                    <a:pt x="106" y="248"/>
                  </a:lnTo>
                  <a:lnTo>
                    <a:pt x="108" y="248"/>
                  </a:lnTo>
                  <a:lnTo>
                    <a:pt x="95" y="253"/>
                  </a:lnTo>
                  <a:lnTo>
                    <a:pt x="87" y="259"/>
                  </a:lnTo>
                  <a:lnTo>
                    <a:pt x="76" y="267"/>
                  </a:lnTo>
                  <a:lnTo>
                    <a:pt x="71" y="274"/>
                  </a:lnTo>
                  <a:lnTo>
                    <a:pt x="66" y="285"/>
                  </a:lnTo>
                  <a:lnTo>
                    <a:pt x="66" y="293"/>
                  </a:lnTo>
                  <a:lnTo>
                    <a:pt x="63" y="293"/>
                  </a:lnTo>
                  <a:lnTo>
                    <a:pt x="63" y="290"/>
                  </a:lnTo>
                  <a:lnTo>
                    <a:pt x="63" y="282"/>
                  </a:lnTo>
                  <a:lnTo>
                    <a:pt x="66" y="272"/>
                  </a:lnTo>
                  <a:lnTo>
                    <a:pt x="71" y="259"/>
                  </a:lnTo>
                  <a:lnTo>
                    <a:pt x="82" y="243"/>
                  </a:lnTo>
                  <a:lnTo>
                    <a:pt x="95" y="227"/>
                  </a:lnTo>
                  <a:lnTo>
                    <a:pt x="111" y="211"/>
                  </a:lnTo>
                  <a:lnTo>
                    <a:pt x="119" y="195"/>
                  </a:lnTo>
                  <a:lnTo>
                    <a:pt x="124" y="179"/>
                  </a:lnTo>
                  <a:lnTo>
                    <a:pt x="124" y="164"/>
                  </a:lnTo>
                  <a:lnTo>
                    <a:pt x="119" y="153"/>
                  </a:lnTo>
                  <a:lnTo>
                    <a:pt x="111" y="145"/>
                  </a:lnTo>
                  <a:lnTo>
                    <a:pt x="100" y="140"/>
                  </a:lnTo>
                  <a:lnTo>
                    <a:pt x="87" y="140"/>
                  </a:lnTo>
                  <a:lnTo>
                    <a:pt x="76" y="142"/>
                  </a:lnTo>
                  <a:lnTo>
                    <a:pt x="66" y="148"/>
                  </a:lnTo>
                  <a:lnTo>
                    <a:pt x="50" y="161"/>
                  </a:lnTo>
                  <a:lnTo>
                    <a:pt x="34" y="171"/>
                  </a:lnTo>
                  <a:lnTo>
                    <a:pt x="26" y="174"/>
                  </a:lnTo>
                  <a:lnTo>
                    <a:pt x="13" y="177"/>
                  </a:lnTo>
                  <a:lnTo>
                    <a:pt x="69" y="132"/>
                  </a:lnTo>
                  <a:lnTo>
                    <a:pt x="90" y="119"/>
                  </a:lnTo>
                  <a:lnTo>
                    <a:pt x="143" y="90"/>
                  </a:lnTo>
                  <a:lnTo>
                    <a:pt x="214" y="50"/>
                  </a:lnTo>
                  <a:lnTo>
                    <a:pt x="251" y="34"/>
                  </a:lnTo>
                  <a:lnTo>
                    <a:pt x="288" y="18"/>
                  </a:lnTo>
                  <a:lnTo>
                    <a:pt x="291" y="32"/>
                  </a:lnTo>
                  <a:lnTo>
                    <a:pt x="296" y="42"/>
                  </a:lnTo>
                  <a:lnTo>
                    <a:pt x="301" y="45"/>
                  </a:lnTo>
                  <a:lnTo>
                    <a:pt x="304" y="47"/>
                  </a:lnTo>
                  <a:lnTo>
                    <a:pt x="320" y="50"/>
                  </a:lnTo>
                  <a:lnTo>
                    <a:pt x="346" y="50"/>
                  </a:lnTo>
                  <a:lnTo>
                    <a:pt x="370" y="50"/>
                  </a:lnTo>
                  <a:lnTo>
                    <a:pt x="380" y="53"/>
                  </a:lnTo>
                  <a:lnTo>
                    <a:pt x="388" y="55"/>
                  </a:lnTo>
                  <a:lnTo>
                    <a:pt x="401" y="68"/>
                  </a:lnTo>
                  <a:lnTo>
                    <a:pt x="417" y="79"/>
                  </a:lnTo>
                  <a:lnTo>
                    <a:pt x="423" y="79"/>
                  </a:lnTo>
                  <a:lnTo>
                    <a:pt x="428" y="84"/>
                  </a:lnTo>
                  <a:lnTo>
                    <a:pt x="431" y="82"/>
                  </a:lnTo>
                  <a:lnTo>
                    <a:pt x="436" y="84"/>
                  </a:lnTo>
                  <a:lnTo>
                    <a:pt x="441" y="82"/>
                  </a:lnTo>
                  <a:lnTo>
                    <a:pt x="444" y="79"/>
                  </a:lnTo>
                  <a:lnTo>
                    <a:pt x="441" y="76"/>
                  </a:lnTo>
                  <a:lnTo>
                    <a:pt x="441" y="74"/>
                  </a:lnTo>
                  <a:lnTo>
                    <a:pt x="438" y="74"/>
                  </a:lnTo>
                  <a:lnTo>
                    <a:pt x="438" y="71"/>
                  </a:lnTo>
                  <a:lnTo>
                    <a:pt x="436" y="71"/>
                  </a:lnTo>
                  <a:lnTo>
                    <a:pt x="428" y="63"/>
                  </a:lnTo>
                  <a:lnTo>
                    <a:pt x="423" y="61"/>
                  </a:lnTo>
                  <a:lnTo>
                    <a:pt x="423" y="55"/>
                  </a:lnTo>
                  <a:lnTo>
                    <a:pt x="425" y="53"/>
                  </a:lnTo>
                  <a:lnTo>
                    <a:pt x="425" y="50"/>
                  </a:lnTo>
                  <a:lnTo>
                    <a:pt x="428" y="47"/>
                  </a:lnTo>
                  <a:lnTo>
                    <a:pt x="428" y="45"/>
                  </a:lnTo>
                  <a:lnTo>
                    <a:pt x="425" y="45"/>
                  </a:lnTo>
                  <a:lnTo>
                    <a:pt x="412" y="34"/>
                  </a:lnTo>
                  <a:lnTo>
                    <a:pt x="412" y="37"/>
                  </a:lnTo>
                  <a:lnTo>
                    <a:pt x="409" y="37"/>
                  </a:lnTo>
                  <a:lnTo>
                    <a:pt x="407" y="34"/>
                  </a:lnTo>
                  <a:lnTo>
                    <a:pt x="404" y="34"/>
                  </a:lnTo>
                  <a:lnTo>
                    <a:pt x="401" y="29"/>
                  </a:lnTo>
                  <a:lnTo>
                    <a:pt x="399" y="26"/>
                  </a:lnTo>
                  <a:lnTo>
                    <a:pt x="399" y="21"/>
                  </a:lnTo>
                  <a:lnTo>
                    <a:pt x="404" y="18"/>
                  </a:lnTo>
                  <a:lnTo>
                    <a:pt x="420" y="13"/>
                  </a:lnTo>
                  <a:lnTo>
                    <a:pt x="423" y="13"/>
                  </a:lnTo>
                  <a:lnTo>
                    <a:pt x="425" y="16"/>
                  </a:lnTo>
                  <a:lnTo>
                    <a:pt x="428" y="13"/>
                  </a:lnTo>
                  <a:lnTo>
                    <a:pt x="428" y="10"/>
                  </a:lnTo>
                  <a:lnTo>
                    <a:pt x="441" y="10"/>
                  </a:lnTo>
                  <a:lnTo>
                    <a:pt x="454" y="10"/>
                  </a:lnTo>
                  <a:lnTo>
                    <a:pt x="454" y="8"/>
                  </a:lnTo>
                  <a:lnTo>
                    <a:pt x="452" y="5"/>
                  </a:lnTo>
                  <a:lnTo>
                    <a:pt x="452" y="2"/>
                  </a:lnTo>
                  <a:lnTo>
                    <a:pt x="465" y="0"/>
                  </a:lnTo>
                  <a:lnTo>
                    <a:pt x="475" y="0"/>
                  </a:lnTo>
                  <a:lnTo>
                    <a:pt x="483" y="2"/>
                  </a:lnTo>
                  <a:lnTo>
                    <a:pt x="486" y="8"/>
                  </a:lnTo>
                  <a:lnTo>
                    <a:pt x="486" y="16"/>
                  </a:lnTo>
                  <a:lnTo>
                    <a:pt x="489" y="18"/>
                  </a:lnTo>
                  <a:lnTo>
                    <a:pt x="491" y="21"/>
                  </a:lnTo>
                  <a:lnTo>
                    <a:pt x="489" y="21"/>
                  </a:lnTo>
                  <a:lnTo>
                    <a:pt x="491" y="24"/>
                  </a:lnTo>
                  <a:lnTo>
                    <a:pt x="491" y="26"/>
                  </a:lnTo>
                  <a:lnTo>
                    <a:pt x="494" y="26"/>
                  </a:lnTo>
                  <a:lnTo>
                    <a:pt x="502" y="26"/>
                  </a:lnTo>
                  <a:lnTo>
                    <a:pt x="523" y="45"/>
                  </a:lnTo>
                  <a:lnTo>
                    <a:pt x="526" y="47"/>
                  </a:lnTo>
                  <a:lnTo>
                    <a:pt x="528" y="47"/>
                  </a:lnTo>
                  <a:lnTo>
                    <a:pt x="531" y="53"/>
                  </a:lnTo>
                  <a:lnTo>
                    <a:pt x="528" y="61"/>
                  </a:lnTo>
                  <a:lnTo>
                    <a:pt x="526" y="63"/>
                  </a:lnTo>
                  <a:lnTo>
                    <a:pt x="520" y="66"/>
                  </a:lnTo>
                  <a:lnTo>
                    <a:pt x="512" y="68"/>
                  </a:lnTo>
                  <a:lnTo>
                    <a:pt x="505" y="68"/>
                  </a:lnTo>
                  <a:lnTo>
                    <a:pt x="499" y="71"/>
                  </a:lnTo>
                  <a:lnTo>
                    <a:pt x="497" y="68"/>
                  </a:lnTo>
                  <a:lnTo>
                    <a:pt x="494" y="68"/>
                  </a:lnTo>
                  <a:lnTo>
                    <a:pt x="489" y="71"/>
                  </a:lnTo>
                  <a:lnTo>
                    <a:pt x="478" y="74"/>
                  </a:lnTo>
                  <a:lnTo>
                    <a:pt x="473" y="79"/>
                  </a:lnTo>
                  <a:lnTo>
                    <a:pt x="470" y="82"/>
                  </a:lnTo>
                  <a:lnTo>
                    <a:pt x="473" y="84"/>
                  </a:lnTo>
                  <a:lnTo>
                    <a:pt x="478" y="84"/>
                  </a:lnTo>
                  <a:lnTo>
                    <a:pt x="518" y="82"/>
                  </a:lnTo>
                  <a:lnTo>
                    <a:pt x="523" y="84"/>
                  </a:lnTo>
                  <a:lnTo>
                    <a:pt x="523" y="82"/>
                  </a:lnTo>
                  <a:lnTo>
                    <a:pt x="534" y="82"/>
                  </a:lnTo>
                  <a:lnTo>
                    <a:pt x="536" y="82"/>
                  </a:lnTo>
                  <a:lnTo>
                    <a:pt x="565" y="76"/>
                  </a:lnTo>
                  <a:lnTo>
                    <a:pt x="568" y="66"/>
                  </a:lnTo>
                  <a:lnTo>
                    <a:pt x="571" y="63"/>
                  </a:lnTo>
                  <a:lnTo>
                    <a:pt x="571" y="61"/>
                  </a:lnTo>
                  <a:lnTo>
                    <a:pt x="573" y="55"/>
                  </a:lnTo>
                  <a:lnTo>
                    <a:pt x="571" y="55"/>
                  </a:lnTo>
                  <a:lnTo>
                    <a:pt x="573" y="45"/>
                  </a:lnTo>
                  <a:lnTo>
                    <a:pt x="584" y="45"/>
                  </a:lnTo>
                  <a:lnTo>
                    <a:pt x="584" y="47"/>
                  </a:lnTo>
                  <a:lnTo>
                    <a:pt x="584" y="50"/>
                  </a:lnTo>
                  <a:lnTo>
                    <a:pt x="586" y="53"/>
                  </a:lnTo>
                  <a:lnTo>
                    <a:pt x="589" y="50"/>
                  </a:lnTo>
                  <a:lnTo>
                    <a:pt x="592" y="47"/>
                  </a:lnTo>
                  <a:lnTo>
                    <a:pt x="597" y="53"/>
                  </a:lnTo>
                  <a:lnTo>
                    <a:pt x="602" y="47"/>
                  </a:lnTo>
                  <a:lnTo>
                    <a:pt x="608" y="63"/>
                  </a:lnTo>
                  <a:lnTo>
                    <a:pt x="608" y="66"/>
                  </a:lnTo>
                  <a:lnTo>
                    <a:pt x="610" y="68"/>
                  </a:lnTo>
                  <a:lnTo>
                    <a:pt x="618" y="82"/>
                  </a:lnTo>
                  <a:lnTo>
                    <a:pt x="623" y="90"/>
                  </a:lnTo>
                  <a:lnTo>
                    <a:pt x="631" y="98"/>
                  </a:lnTo>
                  <a:lnTo>
                    <a:pt x="637" y="103"/>
                  </a:lnTo>
                  <a:lnTo>
                    <a:pt x="637" y="111"/>
                  </a:lnTo>
                  <a:lnTo>
                    <a:pt x="631" y="119"/>
                  </a:lnTo>
                  <a:lnTo>
                    <a:pt x="621" y="124"/>
                  </a:lnTo>
                  <a:lnTo>
                    <a:pt x="618" y="129"/>
                  </a:lnTo>
                  <a:lnTo>
                    <a:pt x="615" y="127"/>
                  </a:lnTo>
                  <a:lnTo>
                    <a:pt x="613" y="129"/>
                  </a:lnTo>
                  <a:lnTo>
                    <a:pt x="610" y="129"/>
                  </a:lnTo>
                  <a:lnTo>
                    <a:pt x="608" y="129"/>
                  </a:lnTo>
                  <a:lnTo>
                    <a:pt x="602" y="135"/>
                  </a:lnTo>
                  <a:lnTo>
                    <a:pt x="594" y="135"/>
                  </a:lnTo>
                  <a:lnTo>
                    <a:pt x="584" y="135"/>
                  </a:lnTo>
                  <a:lnTo>
                    <a:pt x="586" y="137"/>
                  </a:lnTo>
                  <a:lnTo>
                    <a:pt x="586" y="140"/>
                  </a:lnTo>
                  <a:lnTo>
                    <a:pt x="584" y="142"/>
                  </a:lnTo>
                  <a:lnTo>
                    <a:pt x="565" y="153"/>
                  </a:lnTo>
                  <a:lnTo>
                    <a:pt x="547" y="166"/>
                  </a:lnTo>
                  <a:lnTo>
                    <a:pt x="542" y="177"/>
                  </a:lnTo>
                  <a:lnTo>
                    <a:pt x="536" y="185"/>
                  </a:lnTo>
                  <a:lnTo>
                    <a:pt x="536" y="195"/>
                  </a:lnTo>
                  <a:lnTo>
                    <a:pt x="536" y="208"/>
                  </a:lnTo>
                  <a:lnTo>
                    <a:pt x="539" y="211"/>
                  </a:lnTo>
                  <a:lnTo>
                    <a:pt x="552" y="219"/>
                  </a:lnTo>
                  <a:lnTo>
                    <a:pt x="578" y="232"/>
                  </a:lnTo>
                  <a:lnTo>
                    <a:pt x="615" y="248"/>
                  </a:lnTo>
                  <a:lnTo>
                    <a:pt x="652" y="261"/>
                  </a:lnTo>
                  <a:lnTo>
                    <a:pt x="674" y="272"/>
                  </a:lnTo>
                  <a:lnTo>
                    <a:pt x="679" y="274"/>
                  </a:lnTo>
                  <a:lnTo>
                    <a:pt x="684" y="280"/>
                  </a:lnTo>
                  <a:lnTo>
                    <a:pt x="687" y="293"/>
                  </a:lnTo>
                  <a:lnTo>
                    <a:pt x="695" y="311"/>
                  </a:lnTo>
                  <a:lnTo>
                    <a:pt x="703" y="330"/>
                  </a:lnTo>
                  <a:lnTo>
                    <a:pt x="711" y="335"/>
                  </a:lnTo>
                  <a:lnTo>
                    <a:pt x="716" y="340"/>
                  </a:lnTo>
                  <a:lnTo>
                    <a:pt x="724" y="343"/>
                  </a:lnTo>
                  <a:lnTo>
                    <a:pt x="732" y="338"/>
                  </a:lnTo>
                  <a:lnTo>
                    <a:pt x="737" y="335"/>
                  </a:lnTo>
                  <a:lnTo>
                    <a:pt x="742" y="327"/>
                  </a:lnTo>
                  <a:lnTo>
                    <a:pt x="745" y="322"/>
                  </a:lnTo>
                  <a:lnTo>
                    <a:pt x="745" y="314"/>
                  </a:lnTo>
                  <a:lnTo>
                    <a:pt x="745" y="306"/>
                  </a:lnTo>
                  <a:lnTo>
                    <a:pt x="742" y="296"/>
                  </a:lnTo>
                  <a:lnTo>
                    <a:pt x="734" y="280"/>
                  </a:lnTo>
                  <a:lnTo>
                    <a:pt x="734" y="272"/>
                  </a:lnTo>
                  <a:lnTo>
                    <a:pt x="737" y="267"/>
                  </a:lnTo>
                  <a:lnTo>
                    <a:pt x="740" y="264"/>
                  </a:lnTo>
                  <a:lnTo>
                    <a:pt x="745" y="261"/>
                  </a:lnTo>
                  <a:lnTo>
                    <a:pt x="756" y="259"/>
                  </a:lnTo>
                  <a:lnTo>
                    <a:pt x="758" y="256"/>
                  </a:lnTo>
                  <a:lnTo>
                    <a:pt x="766" y="251"/>
                  </a:lnTo>
                  <a:lnTo>
                    <a:pt x="769" y="248"/>
                  </a:lnTo>
                  <a:lnTo>
                    <a:pt x="771" y="243"/>
                  </a:lnTo>
                  <a:lnTo>
                    <a:pt x="771" y="235"/>
                  </a:lnTo>
                  <a:lnTo>
                    <a:pt x="769" y="230"/>
                  </a:lnTo>
                  <a:lnTo>
                    <a:pt x="753" y="219"/>
                  </a:lnTo>
                  <a:lnTo>
                    <a:pt x="745" y="208"/>
                  </a:lnTo>
                  <a:lnTo>
                    <a:pt x="740" y="203"/>
                  </a:lnTo>
                  <a:lnTo>
                    <a:pt x="740" y="201"/>
                  </a:lnTo>
                  <a:lnTo>
                    <a:pt x="740" y="195"/>
                  </a:lnTo>
                  <a:lnTo>
                    <a:pt x="742" y="190"/>
                  </a:lnTo>
                  <a:lnTo>
                    <a:pt x="742" y="182"/>
                  </a:lnTo>
                  <a:lnTo>
                    <a:pt x="740" y="179"/>
                  </a:lnTo>
                  <a:lnTo>
                    <a:pt x="734" y="177"/>
                  </a:lnTo>
                  <a:lnTo>
                    <a:pt x="734" y="166"/>
                  </a:lnTo>
                  <a:lnTo>
                    <a:pt x="737" y="164"/>
                  </a:lnTo>
                  <a:lnTo>
                    <a:pt x="740" y="161"/>
                  </a:lnTo>
                  <a:lnTo>
                    <a:pt x="753" y="153"/>
                  </a:lnTo>
                  <a:lnTo>
                    <a:pt x="761" y="150"/>
                  </a:lnTo>
                  <a:lnTo>
                    <a:pt x="766" y="150"/>
                  </a:lnTo>
                  <a:lnTo>
                    <a:pt x="774" y="153"/>
                  </a:lnTo>
                  <a:lnTo>
                    <a:pt x="785" y="156"/>
                  </a:lnTo>
                  <a:lnTo>
                    <a:pt x="787" y="156"/>
                  </a:lnTo>
                  <a:lnTo>
                    <a:pt x="790" y="153"/>
                  </a:lnTo>
                  <a:lnTo>
                    <a:pt x="793" y="153"/>
                  </a:lnTo>
                  <a:lnTo>
                    <a:pt x="803" y="156"/>
                  </a:lnTo>
                  <a:lnTo>
                    <a:pt x="814" y="161"/>
                  </a:lnTo>
                  <a:lnTo>
                    <a:pt x="824" y="169"/>
                  </a:lnTo>
                  <a:lnTo>
                    <a:pt x="830" y="179"/>
                  </a:lnTo>
                  <a:lnTo>
                    <a:pt x="832" y="187"/>
                  </a:lnTo>
                  <a:lnTo>
                    <a:pt x="840" y="201"/>
                  </a:lnTo>
                  <a:lnTo>
                    <a:pt x="845" y="208"/>
                  </a:lnTo>
                  <a:lnTo>
                    <a:pt x="851" y="211"/>
                  </a:lnTo>
                  <a:lnTo>
                    <a:pt x="859" y="214"/>
                  </a:lnTo>
                  <a:lnTo>
                    <a:pt x="866" y="211"/>
                  </a:lnTo>
                  <a:lnTo>
                    <a:pt x="880" y="195"/>
                  </a:lnTo>
                  <a:lnTo>
                    <a:pt x="885" y="182"/>
                  </a:lnTo>
                  <a:lnTo>
                    <a:pt x="888" y="177"/>
                  </a:lnTo>
                  <a:lnTo>
                    <a:pt x="885" y="174"/>
                  </a:lnTo>
                  <a:lnTo>
                    <a:pt x="888" y="174"/>
                  </a:lnTo>
                  <a:lnTo>
                    <a:pt x="893" y="174"/>
                  </a:lnTo>
                  <a:lnTo>
                    <a:pt x="903" y="182"/>
                  </a:lnTo>
                  <a:lnTo>
                    <a:pt x="917" y="195"/>
                  </a:lnTo>
                  <a:lnTo>
                    <a:pt x="927" y="206"/>
                  </a:lnTo>
                  <a:lnTo>
                    <a:pt x="940" y="214"/>
                  </a:lnTo>
                  <a:lnTo>
                    <a:pt x="940" y="216"/>
                  </a:lnTo>
                  <a:lnTo>
                    <a:pt x="940" y="219"/>
                  </a:lnTo>
                  <a:lnTo>
                    <a:pt x="940" y="222"/>
                  </a:lnTo>
                  <a:lnTo>
                    <a:pt x="954" y="224"/>
                  </a:lnTo>
                  <a:lnTo>
                    <a:pt x="964" y="227"/>
                  </a:lnTo>
                  <a:lnTo>
                    <a:pt x="1025" y="253"/>
                  </a:lnTo>
                  <a:lnTo>
                    <a:pt x="1036" y="259"/>
                  </a:lnTo>
                  <a:lnTo>
                    <a:pt x="1054" y="272"/>
                  </a:lnTo>
                  <a:lnTo>
                    <a:pt x="1059" y="277"/>
                  </a:lnTo>
                  <a:lnTo>
                    <a:pt x="1062" y="282"/>
                  </a:lnTo>
                  <a:lnTo>
                    <a:pt x="1067" y="304"/>
                  </a:lnTo>
                  <a:lnTo>
                    <a:pt x="1073" y="319"/>
                  </a:lnTo>
                  <a:lnTo>
                    <a:pt x="1083" y="335"/>
                  </a:lnTo>
                  <a:lnTo>
                    <a:pt x="1107" y="343"/>
                  </a:lnTo>
                  <a:lnTo>
                    <a:pt x="1125" y="354"/>
                  </a:lnTo>
                  <a:lnTo>
                    <a:pt x="1131" y="359"/>
                  </a:lnTo>
                  <a:lnTo>
                    <a:pt x="1136" y="364"/>
                  </a:lnTo>
                  <a:lnTo>
                    <a:pt x="1139" y="375"/>
                  </a:lnTo>
                  <a:lnTo>
                    <a:pt x="1136" y="388"/>
                  </a:lnTo>
                  <a:lnTo>
                    <a:pt x="1136" y="393"/>
                  </a:lnTo>
                  <a:lnTo>
                    <a:pt x="1131" y="396"/>
                  </a:lnTo>
                  <a:lnTo>
                    <a:pt x="1125" y="399"/>
                  </a:lnTo>
                  <a:lnTo>
                    <a:pt x="1117" y="399"/>
                  </a:lnTo>
                  <a:lnTo>
                    <a:pt x="1102" y="396"/>
                  </a:lnTo>
                  <a:lnTo>
                    <a:pt x="1086" y="391"/>
                  </a:lnTo>
                  <a:lnTo>
                    <a:pt x="1083" y="385"/>
                  </a:lnTo>
                  <a:lnTo>
                    <a:pt x="1081" y="380"/>
                  </a:lnTo>
                  <a:lnTo>
                    <a:pt x="1078" y="383"/>
                  </a:lnTo>
                  <a:lnTo>
                    <a:pt x="1073" y="385"/>
                  </a:lnTo>
                  <a:lnTo>
                    <a:pt x="1059" y="380"/>
                  </a:lnTo>
                  <a:lnTo>
                    <a:pt x="1054" y="375"/>
                  </a:lnTo>
                  <a:lnTo>
                    <a:pt x="1057" y="354"/>
                  </a:lnTo>
                  <a:lnTo>
                    <a:pt x="1057" y="335"/>
                  </a:lnTo>
                  <a:lnTo>
                    <a:pt x="1057" y="327"/>
                  </a:lnTo>
                  <a:lnTo>
                    <a:pt x="1057" y="317"/>
                  </a:lnTo>
                  <a:lnTo>
                    <a:pt x="1054" y="311"/>
                  </a:lnTo>
                  <a:lnTo>
                    <a:pt x="1051" y="311"/>
                  </a:lnTo>
                  <a:lnTo>
                    <a:pt x="1046" y="314"/>
                  </a:lnTo>
                  <a:lnTo>
                    <a:pt x="1036" y="322"/>
                  </a:lnTo>
                  <a:lnTo>
                    <a:pt x="1038" y="325"/>
                  </a:lnTo>
                  <a:lnTo>
                    <a:pt x="1041" y="333"/>
                  </a:lnTo>
                  <a:lnTo>
                    <a:pt x="1041" y="335"/>
                  </a:lnTo>
                  <a:lnTo>
                    <a:pt x="1036" y="340"/>
                  </a:lnTo>
                  <a:lnTo>
                    <a:pt x="1028" y="343"/>
                  </a:lnTo>
                  <a:lnTo>
                    <a:pt x="1017" y="343"/>
                  </a:lnTo>
                  <a:lnTo>
                    <a:pt x="1004" y="343"/>
                  </a:lnTo>
                  <a:lnTo>
                    <a:pt x="991" y="338"/>
                  </a:lnTo>
                  <a:lnTo>
                    <a:pt x="967" y="333"/>
                  </a:lnTo>
                  <a:lnTo>
                    <a:pt x="956" y="330"/>
                  </a:lnTo>
                  <a:lnTo>
                    <a:pt x="946" y="333"/>
                  </a:lnTo>
                  <a:lnTo>
                    <a:pt x="935" y="338"/>
                  </a:lnTo>
                  <a:lnTo>
                    <a:pt x="927" y="348"/>
                  </a:lnTo>
                  <a:lnTo>
                    <a:pt x="906" y="388"/>
                  </a:lnTo>
                  <a:lnTo>
                    <a:pt x="917" y="383"/>
                  </a:lnTo>
                  <a:lnTo>
                    <a:pt x="938" y="370"/>
                  </a:lnTo>
                  <a:lnTo>
                    <a:pt x="948" y="367"/>
                  </a:lnTo>
                  <a:lnTo>
                    <a:pt x="959" y="364"/>
                  </a:lnTo>
                  <a:lnTo>
                    <a:pt x="967" y="364"/>
                  </a:lnTo>
                  <a:lnTo>
                    <a:pt x="970" y="367"/>
                  </a:lnTo>
                  <a:lnTo>
                    <a:pt x="972" y="370"/>
                  </a:lnTo>
                  <a:lnTo>
                    <a:pt x="970" y="383"/>
                  </a:lnTo>
                  <a:lnTo>
                    <a:pt x="970" y="396"/>
                  </a:lnTo>
                  <a:lnTo>
                    <a:pt x="972" y="404"/>
                  </a:lnTo>
                  <a:lnTo>
                    <a:pt x="975" y="407"/>
                  </a:lnTo>
                  <a:lnTo>
                    <a:pt x="985" y="409"/>
                  </a:lnTo>
                  <a:lnTo>
                    <a:pt x="1001" y="407"/>
                  </a:lnTo>
                  <a:lnTo>
                    <a:pt x="1012" y="407"/>
                  </a:lnTo>
                  <a:lnTo>
                    <a:pt x="1017" y="409"/>
                  </a:lnTo>
                  <a:lnTo>
                    <a:pt x="1017" y="414"/>
                  </a:lnTo>
                  <a:lnTo>
                    <a:pt x="1025" y="407"/>
                  </a:lnTo>
                  <a:lnTo>
                    <a:pt x="1033" y="401"/>
                  </a:lnTo>
                  <a:lnTo>
                    <a:pt x="1038" y="399"/>
                  </a:lnTo>
                  <a:lnTo>
                    <a:pt x="1041" y="401"/>
                  </a:lnTo>
                  <a:lnTo>
                    <a:pt x="1044" y="407"/>
                  </a:lnTo>
                  <a:lnTo>
                    <a:pt x="1046" y="407"/>
                  </a:lnTo>
                  <a:lnTo>
                    <a:pt x="1049" y="404"/>
                  </a:lnTo>
                  <a:lnTo>
                    <a:pt x="1051" y="414"/>
                  </a:lnTo>
                  <a:lnTo>
                    <a:pt x="1059" y="420"/>
                  </a:lnTo>
                  <a:lnTo>
                    <a:pt x="1062" y="420"/>
                  </a:lnTo>
                  <a:lnTo>
                    <a:pt x="1044" y="438"/>
                  </a:lnTo>
                  <a:lnTo>
                    <a:pt x="1004" y="473"/>
                  </a:lnTo>
                  <a:lnTo>
                    <a:pt x="996" y="478"/>
                  </a:lnTo>
                  <a:lnTo>
                    <a:pt x="991" y="478"/>
                  </a:lnTo>
                  <a:lnTo>
                    <a:pt x="988" y="475"/>
                  </a:lnTo>
                  <a:lnTo>
                    <a:pt x="988" y="467"/>
                  </a:lnTo>
                  <a:lnTo>
                    <a:pt x="991" y="451"/>
                  </a:lnTo>
                  <a:lnTo>
                    <a:pt x="993" y="436"/>
                  </a:lnTo>
                  <a:lnTo>
                    <a:pt x="991" y="433"/>
                  </a:lnTo>
                  <a:lnTo>
                    <a:pt x="991" y="430"/>
                  </a:lnTo>
                  <a:lnTo>
                    <a:pt x="983" y="436"/>
                  </a:lnTo>
                  <a:lnTo>
                    <a:pt x="970" y="443"/>
                  </a:lnTo>
                  <a:lnTo>
                    <a:pt x="948" y="462"/>
                  </a:lnTo>
                  <a:lnTo>
                    <a:pt x="927" y="475"/>
                  </a:lnTo>
                  <a:lnTo>
                    <a:pt x="903" y="488"/>
                  </a:lnTo>
                  <a:lnTo>
                    <a:pt x="909" y="510"/>
                  </a:lnTo>
                  <a:lnTo>
                    <a:pt x="909" y="523"/>
                  </a:lnTo>
                  <a:lnTo>
                    <a:pt x="906" y="528"/>
                  </a:lnTo>
                  <a:lnTo>
                    <a:pt x="903" y="533"/>
                  </a:lnTo>
                  <a:lnTo>
                    <a:pt x="896" y="539"/>
                  </a:lnTo>
                  <a:lnTo>
                    <a:pt x="890" y="539"/>
                  </a:lnTo>
                  <a:lnTo>
                    <a:pt x="888" y="541"/>
                  </a:lnTo>
                  <a:lnTo>
                    <a:pt x="885" y="544"/>
                  </a:lnTo>
                  <a:lnTo>
                    <a:pt x="874" y="544"/>
                  </a:lnTo>
                  <a:lnTo>
                    <a:pt x="866" y="546"/>
                  </a:lnTo>
                  <a:lnTo>
                    <a:pt x="861" y="549"/>
                  </a:lnTo>
                  <a:lnTo>
                    <a:pt x="861" y="552"/>
                  </a:lnTo>
                  <a:lnTo>
                    <a:pt x="859" y="554"/>
                  </a:lnTo>
                  <a:lnTo>
                    <a:pt x="837" y="570"/>
                  </a:lnTo>
                  <a:lnTo>
                    <a:pt x="840" y="573"/>
                  </a:lnTo>
                  <a:lnTo>
                    <a:pt x="843" y="576"/>
                  </a:lnTo>
                  <a:lnTo>
                    <a:pt x="830" y="597"/>
                  </a:lnTo>
                  <a:lnTo>
                    <a:pt x="830" y="607"/>
                  </a:lnTo>
                  <a:lnTo>
                    <a:pt x="832" y="620"/>
                  </a:lnTo>
                  <a:lnTo>
                    <a:pt x="835" y="636"/>
                  </a:lnTo>
                  <a:lnTo>
                    <a:pt x="837" y="644"/>
                  </a:lnTo>
                  <a:lnTo>
                    <a:pt x="837" y="652"/>
                  </a:lnTo>
                  <a:lnTo>
                    <a:pt x="830" y="671"/>
                  </a:lnTo>
                  <a:lnTo>
                    <a:pt x="824" y="673"/>
                  </a:lnTo>
                  <a:lnTo>
                    <a:pt x="822" y="681"/>
                  </a:lnTo>
                  <a:lnTo>
                    <a:pt x="816" y="689"/>
                  </a:lnTo>
                  <a:lnTo>
                    <a:pt x="814" y="689"/>
                  </a:lnTo>
                  <a:lnTo>
                    <a:pt x="811" y="686"/>
                  </a:lnTo>
                  <a:lnTo>
                    <a:pt x="811" y="692"/>
                  </a:lnTo>
                  <a:lnTo>
                    <a:pt x="808" y="697"/>
                  </a:lnTo>
                  <a:lnTo>
                    <a:pt x="806" y="700"/>
                  </a:lnTo>
                  <a:lnTo>
                    <a:pt x="806" y="702"/>
                  </a:lnTo>
                  <a:lnTo>
                    <a:pt x="795" y="705"/>
                  </a:lnTo>
                  <a:lnTo>
                    <a:pt x="782" y="708"/>
                  </a:lnTo>
                  <a:lnTo>
                    <a:pt x="777" y="705"/>
                  </a:lnTo>
                  <a:lnTo>
                    <a:pt x="774" y="705"/>
                  </a:lnTo>
                  <a:lnTo>
                    <a:pt x="771" y="710"/>
                  </a:lnTo>
                  <a:lnTo>
                    <a:pt x="771" y="718"/>
                  </a:lnTo>
                  <a:lnTo>
                    <a:pt x="769" y="726"/>
                  </a:lnTo>
                  <a:lnTo>
                    <a:pt x="766" y="726"/>
                  </a:lnTo>
                  <a:lnTo>
                    <a:pt x="763" y="723"/>
                  </a:lnTo>
                  <a:lnTo>
                    <a:pt x="761" y="721"/>
                  </a:lnTo>
                  <a:lnTo>
                    <a:pt x="758" y="721"/>
                  </a:lnTo>
                  <a:lnTo>
                    <a:pt x="748" y="731"/>
                  </a:lnTo>
                  <a:lnTo>
                    <a:pt x="742" y="745"/>
                  </a:lnTo>
                  <a:lnTo>
                    <a:pt x="740" y="747"/>
                  </a:lnTo>
                  <a:lnTo>
                    <a:pt x="737" y="747"/>
                  </a:lnTo>
                  <a:lnTo>
                    <a:pt x="737" y="755"/>
                  </a:lnTo>
                  <a:lnTo>
                    <a:pt x="734" y="766"/>
                  </a:lnTo>
                  <a:lnTo>
                    <a:pt x="732" y="776"/>
                  </a:lnTo>
                  <a:lnTo>
                    <a:pt x="734" y="789"/>
                  </a:lnTo>
                  <a:lnTo>
                    <a:pt x="740" y="803"/>
                  </a:lnTo>
                  <a:lnTo>
                    <a:pt x="748" y="821"/>
                  </a:lnTo>
                  <a:lnTo>
                    <a:pt x="750" y="832"/>
                  </a:lnTo>
                  <a:lnTo>
                    <a:pt x="753" y="845"/>
                  </a:lnTo>
                  <a:lnTo>
                    <a:pt x="756" y="848"/>
                  </a:lnTo>
                  <a:lnTo>
                    <a:pt x="758" y="848"/>
                  </a:lnTo>
                  <a:lnTo>
                    <a:pt x="763" y="871"/>
                  </a:lnTo>
                  <a:lnTo>
                    <a:pt x="769" y="892"/>
                  </a:lnTo>
                  <a:lnTo>
                    <a:pt x="769" y="911"/>
                  </a:lnTo>
                  <a:lnTo>
                    <a:pt x="766" y="916"/>
                  </a:lnTo>
                  <a:lnTo>
                    <a:pt x="761" y="919"/>
                  </a:lnTo>
                  <a:lnTo>
                    <a:pt x="753" y="921"/>
                  </a:lnTo>
                  <a:lnTo>
                    <a:pt x="748" y="919"/>
                  </a:lnTo>
                  <a:lnTo>
                    <a:pt x="734" y="911"/>
                  </a:lnTo>
                  <a:lnTo>
                    <a:pt x="726" y="898"/>
                  </a:lnTo>
                  <a:lnTo>
                    <a:pt x="724" y="890"/>
                  </a:lnTo>
                  <a:lnTo>
                    <a:pt x="721" y="884"/>
                  </a:lnTo>
                  <a:lnTo>
                    <a:pt x="716" y="8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298" name="TextBox 297"/>
          <p:cNvSpPr txBox="1"/>
          <p:nvPr/>
        </p:nvSpPr>
        <p:spPr>
          <a:xfrm>
            <a:off x="5308600" y="3856038"/>
            <a:ext cx="1552575"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Customer Satisfaction</a:t>
            </a:r>
          </a:p>
        </p:txBody>
      </p:sp>
      <p:sp>
        <p:nvSpPr>
          <p:cNvPr id="299" name="TextBox 298"/>
          <p:cNvSpPr txBox="1"/>
          <p:nvPr/>
        </p:nvSpPr>
        <p:spPr>
          <a:xfrm>
            <a:off x="1054100" y="3856038"/>
            <a:ext cx="868363"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Leadership</a:t>
            </a:r>
          </a:p>
        </p:txBody>
      </p:sp>
      <p:sp>
        <p:nvSpPr>
          <p:cNvPr id="300" name="TextBox 299"/>
          <p:cNvSpPr txBox="1"/>
          <p:nvPr/>
        </p:nvSpPr>
        <p:spPr>
          <a:xfrm>
            <a:off x="2395538" y="3856038"/>
            <a:ext cx="1249362"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Policy &amp; Strategy</a:t>
            </a:r>
          </a:p>
        </p:txBody>
      </p:sp>
      <p:sp>
        <p:nvSpPr>
          <p:cNvPr id="301" name="TextBox 300"/>
          <p:cNvSpPr txBox="1"/>
          <p:nvPr/>
        </p:nvSpPr>
        <p:spPr>
          <a:xfrm>
            <a:off x="5448300" y="5395913"/>
            <a:ext cx="1274763" cy="276225"/>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Impact of Society</a:t>
            </a:r>
          </a:p>
        </p:txBody>
      </p:sp>
      <p:sp>
        <p:nvSpPr>
          <p:cNvPr id="302" name="TextBox 301"/>
          <p:cNvSpPr txBox="1"/>
          <p:nvPr/>
        </p:nvSpPr>
        <p:spPr>
          <a:xfrm>
            <a:off x="2606675" y="5395913"/>
            <a:ext cx="825500" cy="276225"/>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Resources</a:t>
            </a:r>
          </a:p>
        </p:txBody>
      </p:sp>
      <p:sp>
        <p:nvSpPr>
          <p:cNvPr id="303" name="TextBox 302"/>
          <p:cNvSpPr txBox="1"/>
          <p:nvPr/>
        </p:nvSpPr>
        <p:spPr>
          <a:xfrm>
            <a:off x="5399088" y="2347913"/>
            <a:ext cx="1373187"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People Satisfaction</a:t>
            </a:r>
          </a:p>
        </p:txBody>
      </p:sp>
      <p:sp>
        <p:nvSpPr>
          <p:cNvPr id="304" name="TextBox 303"/>
          <p:cNvSpPr txBox="1"/>
          <p:nvPr/>
        </p:nvSpPr>
        <p:spPr>
          <a:xfrm>
            <a:off x="2273300" y="2347913"/>
            <a:ext cx="1492250"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People Management</a:t>
            </a:r>
          </a:p>
        </p:txBody>
      </p:sp>
      <p:sp>
        <p:nvSpPr>
          <p:cNvPr id="305" name="TextBox 304"/>
          <p:cNvSpPr txBox="1"/>
          <p:nvPr/>
        </p:nvSpPr>
        <p:spPr>
          <a:xfrm>
            <a:off x="7069138" y="3856038"/>
            <a:ext cx="1147762"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Business Result</a:t>
            </a:r>
          </a:p>
        </p:txBody>
      </p:sp>
      <p:grpSp>
        <p:nvGrpSpPr>
          <p:cNvPr id="15397" name="Group 9"/>
          <p:cNvGrpSpPr>
            <a:grpSpLocks/>
          </p:cNvGrpSpPr>
          <p:nvPr/>
        </p:nvGrpSpPr>
        <p:grpSpPr bwMode="auto">
          <a:xfrm>
            <a:off x="2665413" y="4497388"/>
            <a:ext cx="730250" cy="628650"/>
            <a:chOff x="2606754" y="4566276"/>
            <a:chExt cx="802127" cy="688236"/>
          </a:xfrm>
        </p:grpSpPr>
        <p:grpSp>
          <p:nvGrpSpPr>
            <p:cNvPr id="15404" name="Group 8"/>
            <p:cNvGrpSpPr>
              <a:grpSpLocks/>
            </p:cNvGrpSpPr>
            <p:nvPr/>
          </p:nvGrpSpPr>
          <p:grpSpPr bwMode="auto">
            <a:xfrm>
              <a:off x="2606754" y="4566276"/>
              <a:ext cx="741523" cy="496821"/>
              <a:chOff x="7035800" y="1363644"/>
              <a:chExt cx="706893" cy="473618"/>
            </a:xfrm>
          </p:grpSpPr>
          <p:sp>
            <p:nvSpPr>
              <p:cNvPr id="4" name="Oval Callout 3"/>
              <p:cNvSpPr/>
              <p:nvPr/>
            </p:nvSpPr>
            <p:spPr>
              <a:xfrm>
                <a:off x="7035800" y="1363644"/>
                <a:ext cx="706485" cy="473846"/>
              </a:xfrm>
              <a:prstGeom prst="wedgeEllipseCallou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5-Point Star 4"/>
              <p:cNvSpPr/>
              <p:nvPr/>
            </p:nvSpPr>
            <p:spPr>
              <a:xfrm>
                <a:off x="7238603" y="1438200"/>
                <a:ext cx="299217" cy="301538"/>
              </a:xfrm>
              <a:prstGeom prst="star5">
                <a:avLst>
                  <a:gd name="adj" fmla="val 26194"/>
                  <a:gd name="hf" fmla="val 105146"/>
                  <a:gd name="vf" fmla="val 11055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nvGrpSpPr>
            <p:cNvPr id="15405" name="Group 305"/>
            <p:cNvGrpSpPr>
              <a:grpSpLocks/>
            </p:cNvGrpSpPr>
            <p:nvPr/>
          </p:nvGrpSpPr>
          <p:grpSpPr bwMode="auto">
            <a:xfrm>
              <a:off x="2995133" y="4977301"/>
              <a:ext cx="413748" cy="277211"/>
              <a:chOff x="7035800" y="1363644"/>
              <a:chExt cx="706893" cy="473618"/>
            </a:xfrm>
          </p:grpSpPr>
          <p:sp>
            <p:nvSpPr>
              <p:cNvPr id="307" name="Oval Callout 306"/>
              <p:cNvSpPr/>
              <p:nvPr/>
            </p:nvSpPr>
            <p:spPr>
              <a:xfrm>
                <a:off x="7036616" y="1362168"/>
                <a:ext cx="706077" cy="475094"/>
              </a:xfrm>
              <a:prstGeom prst="wedgeEllipseCallout">
                <a:avLst/>
              </a:prstGeom>
              <a:solidFill>
                <a:schemeClr val="tx2">
                  <a:lumMod val="7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08" name="5-Point Star 307"/>
              <p:cNvSpPr/>
              <p:nvPr/>
            </p:nvSpPr>
            <p:spPr>
              <a:xfrm>
                <a:off x="7239203" y="1436401"/>
                <a:ext cx="300902" cy="302872"/>
              </a:xfrm>
              <a:prstGeom prst="star5">
                <a:avLst>
                  <a:gd name="adj" fmla="val 26194"/>
                  <a:gd name="hf" fmla="val 105146"/>
                  <a:gd name="vf" fmla="val 11055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sp>
        <p:nvSpPr>
          <p:cNvPr id="309" name="Oval 308"/>
          <p:cNvSpPr/>
          <p:nvPr/>
        </p:nvSpPr>
        <p:spPr>
          <a:xfrm>
            <a:off x="3933825" y="2706688"/>
            <a:ext cx="1216025"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0" name="Circular Arrow 309"/>
          <p:cNvSpPr/>
          <p:nvPr/>
        </p:nvSpPr>
        <p:spPr>
          <a:xfrm>
            <a:off x="4113213" y="2894013"/>
            <a:ext cx="854075" cy="854075"/>
          </a:xfrm>
          <a:prstGeom prst="circularArrow">
            <a:avLst>
              <a:gd name="adj1" fmla="val 12500"/>
              <a:gd name="adj2" fmla="val 1142319"/>
              <a:gd name="adj3" fmla="val 20457681"/>
              <a:gd name="adj4" fmla="val 1085162"/>
              <a:gd name="adj5" fmla="val 12500"/>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grpSp>
        <p:nvGrpSpPr>
          <p:cNvPr id="15400" name="Group 2"/>
          <p:cNvGrpSpPr>
            <a:grpSpLocks/>
          </p:cNvGrpSpPr>
          <p:nvPr/>
        </p:nvGrpSpPr>
        <p:grpSpPr bwMode="auto">
          <a:xfrm>
            <a:off x="7310438" y="3005138"/>
            <a:ext cx="688975" cy="530225"/>
            <a:chOff x="7215188" y="1"/>
            <a:chExt cx="2387921" cy="1837262"/>
          </a:xfrm>
        </p:grpSpPr>
        <p:sp>
          <p:nvSpPr>
            <p:cNvPr id="2" name="Rectangle 1"/>
            <p:cNvSpPr/>
            <p:nvPr/>
          </p:nvSpPr>
          <p:spPr>
            <a:xfrm>
              <a:off x="7215188" y="715103"/>
              <a:ext cx="764793" cy="112216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83" name="Rectangle 282"/>
            <p:cNvSpPr/>
            <p:nvPr/>
          </p:nvSpPr>
          <p:spPr>
            <a:xfrm>
              <a:off x="8029502" y="1"/>
              <a:ext cx="764793" cy="1837262"/>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88" name="Rectangle 287"/>
            <p:cNvSpPr/>
            <p:nvPr/>
          </p:nvSpPr>
          <p:spPr>
            <a:xfrm>
              <a:off x="8838312" y="1144164"/>
              <a:ext cx="764797" cy="69309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Tree>
    <p:extLst>
      <p:ext uri="{BB962C8B-B14F-4D97-AF65-F5344CB8AC3E}">
        <p14:creationId xmlns:p14="http://schemas.microsoft.com/office/powerpoint/2010/main" val="70742833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 name="Rectangle 305"/>
          <p:cNvSpPr/>
          <p:nvPr/>
        </p:nvSpPr>
        <p:spPr>
          <a:xfrm>
            <a:off x="539750" y="1082675"/>
            <a:ext cx="3954463" cy="4589463"/>
          </a:xfrm>
          <a:prstGeom prst="rect">
            <a:avLst/>
          </a:prstGeom>
          <a:solidFill>
            <a:schemeClr val="bg1">
              <a:lumMod val="75000"/>
              <a:alpha val="33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6" name="Rectangle 5"/>
          <p:cNvSpPr/>
          <p:nvPr/>
        </p:nvSpPr>
        <p:spPr>
          <a:xfrm>
            <a:off x="4516438" y="1082675"/>
            <a:ext cx="3954462" cy="4589463"/>
          </a:xfrm>
          <a:prstGeom prst="rect">
            <a:avLst/>
          </a:prstGeom>
          <a:solidFill>
            <a:schemeClr val="bg1">
              <a:lumMod val="75000"/>
              <a:alpha val="33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16387" name="TextBox 3"/>
          <p:cNvSpPr txBox="1">
            <a:spLocks noChangeArrowheads="1"/>
          </p:cNvSpPr>
          <p:nvPr/>
        </p:nvSpPr>
        <p:spPr bwMode="auto">
          <a:xfrm>
            <a:off x="296863" y="227013"/>
            <a:ext cx="307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800" b="1">
                <a:solidFill>
                  <a:srgbClr val="404040"/>
                </a:solidFill>
              </a:rPr>
              <a:t>BUSINESS EXCELLENCE </a:t>
            </a:r>
            <a:r>
              <a:rPr lang="en-US" sz="1800">
                <a:solidFill>
                  <a:srgbClr val="404040"/>
                </a:solidFill>
              </a:rPr>
              <a:t>MODEL</a:t>
            </a:r>
          </a:p>
        </p:txBody>
      </p:sp>
      <p:cxnSp>
        <p:nvCxnSpPr>
          <p:cNvPr id="40" name="Straight Connector 39"/>
          <p:cNvCxnSpPr>
            <a:endCxn id="57" idx="3"/>
          </p:cNvCxnSpPr>
          <p:nvPr/>
        </p:nvCxnSpPr>
        <p:spPr>
          <a:xfrm flipV="1">
            <a:off x="4978400" y="2224088"/>
            <a:ext cx="696913" cy="6604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endCxn id="58" idx="1"/>
          </p:cNvCxnSpPr>
          <p:nvPr/>
        </p:nvCxnSpPr>
        <p:spPr>
          <a:xfrm>
            <a:off x="5048250" y="3770313"/>
            <a:ext cx="627063" cy="61912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a:stCxn id="309" idx="1"/>
            <a:endCxn id="55" idx="5"/>
          </p:cNvCxnSpPr>
          <p:nvPr/>
        </p:nvCxnSpPr>
        <p:spPr>
          <a:xfrm flipH="1" flipV="1">
            <a:off x="3449638" y="2224088"/>
            <a:ext cx="663575" cy="6604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a:stCxn id="309" idx="3"/>
            <a:endCxn id="56" idx="7"/>
          </p:cNvCxnSpPr>
          <p:nvPr/>
        </p:nvCxnSpPr>
        <p:spPr>
          <a:xfrm flipH="1">
            <a:off x="3449638" y="3744913"/>
            <a:ext cx="663575" cy="64452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a:stCxn id="54" idx="1"/>
            <a:endCxn id="57" idx="5"/>
          </p:cNvCxnSpPr>
          <p:nvPr/>
        </p:nvCxnSpPr>
        <p:spPr>
          <a:xfrm flipH="1" flipV="1">
            <a:off x="6535738" y="2224088"/>
            <a:ext cx="679450" cy="6604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a:stCxn id="54" idx="3"/>
            <a:endCxn id="58" idx="7"/>
          </p:cNvCxnSpPr>
          <p:nvPr/>
        </p:nvCxnSpPr>
        <p:spPr>
          <a:xfrm flipH="1">
            <a:off x="6535738" y="3744913"/>
            <a:ext cx="679450" cy="64452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a:stCxn id="57" idx="4"/>
            <a:endCxn id="58" idx="0"/>
          </p:cNvCxnSpPr>
          <p:nvPr/>
        </p:nvCxnSpPr>
        <p:spPr>
          <a:xfrm>
            <a:off x="6105525" y="2401888"/>
            <a:ext cx="0" cy="180975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a:stCxn id="53" idx="6"/>
            <a:endCxn id="54" idx="2"/>
          </p:cNvCxnSpPr>
          <p:nvPr/>
        </p:nvCxnSpPr>
        <p:spPr>
          <a:xfrm>
            <a:off x="2108200" y="3313113"/>
            <a:ext cx="4927600" cy="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53" idx="7"/>
            <a:endCxn id="55" idx="3"/>
          </p:cNvCxnSpPr>
          <p:nvPr/>
        </p:nvCxnSpPr>
        <p:spPr>
          <a:xfrm flipV="1">
            <a:off x="1928813" y="2224088"/>
            <a:ext cx="660400" cy="6604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a:stCxn id="53" idx="5"/>
            <a:endCxn id="56" idx="1"/>
          </p:cNvCxnSpPr>
          <p:nvPr/>
        </p:nvCxnSpPr>
        <p:spPr>
          <a:xfrm>
            <a:off x="1928813" y="3744913"/>
            <a:ext cx="660400" cy="64452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a:stCxn id="55" idx="4"/>
            <a:endCxn id="56" idx="0"/>
          </p:cNvCxnSpPr>
          <p:nvPr/>
        </p:nvCxnSpPr>
        <p:spPr>
          <a:xfrm>
            <a:off x="3019425" y="2401888"/>
            <a:ext cx="0" cy="180975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3" name="Oval 52"/>
          <p:cNvSpPr/>
          <p:nvPr/>
        </p:nvSpPr>
        <p:spPr>
          <a:xfrm>
            <a:off x="890588" y="2706688"/>
            <a:ext cx="1217612"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4" name="Oval 53"/>
          <p:cNvSpPr/>
          <p:nvPr/>
        </p:nvSpPr>
        <p:spPr>
          <a:xfrm>
            <a:off x="7035800" y="2706688"/>
            <a:ext cx="1217613"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5" name="Oval 54"/>
          <p:cNvSpPr/>
          <p:nvPr/>
        </p:nvSpPr>
        <p:spPr>
          <a:xfrm>
            <a:off x="2409825" y="1185863"/>
            <a:ext cx="1217613"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6" name="Oval 55"/>
          <p:cNvSpPr/>
          <p:nvPr/>
        </p:nvSpPr>
        <p:spPr>
          <a:xfrm>
            <a:off x="2409825" y="4211638"/>
            <a:ext cx="1217613" cy="12192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7" name="Oval 56"/>
          <p:cNvSpPr/>
          <p:nvPr/>
        </p:nvSpPr>
        <p:spPr>
          <a:xfrm>
            <a:off x="5497513" y="1185863"/>
            <a:ext cx="1216025"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8" name="Oval 57"/>
          <p:cNvSpPr/>
          <p:nvPr/>
        </p:nvSpPr>
        <p:spPr>
          <a:xfrm>
            <a:off x="5497513" y="4211638"/>
            <a:ext cx="1216025" cy="12192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9" name="Oval 58"/>
          <p:cNvSpPr/>
          <p:nvPr/>
        </p:nvSpPr>
        <p:spPr>
          <a:xfrm>
            <a:off x="5497513" y="2706688"/>
            <a:ext cx="1216025"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1" name="Oval 60"/>
          <p:cNvSpPr/>
          <p:nvPr/>
        </p:nvSpPr>
        <p:spPr>
          <a:xfrm>
            <a:off x="2409825" y="2706688"/>
            <a:ext cx="1217613"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3" name="TextBox 62"/>
          <p:cNvSpPr txBox="1"/>
          <p:nvPr/>
        </p:nvSpPr>
        <p:spPr>
          <a:xfrm>
            <a:off x="4219575" y="3856038"/>
            <a:ext cx="668338"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process</a:t>
            </a:r>
          </a:p>
        </p:txBody>
      </p:sp>
      <p:grpSp>
        <p:nvGrpSpPr>
          <p:cNvPr id="14358" name="Group 165"/>
          <p:cNvGrpSpPr>
            <a:grpSpLocks/>
          </p:cNvGrpSpPr>
          <p:nvPr/>
        </p:nvGrpSpPr>
        <p:grpSpPr bwMode="auto">
          <a:xfrm>
            <a:off x="1312863" y="2852738"/>
            <a:ext cx="354012" cy="968375"/>
            <a:chOff x="-39797" y="1590244"/>
            <a:chExt cx="825079" cy="2412051"/>
          </a:xfrm>
          <a:solidFill>
            <a:schemeClr val="bg1">
              <a:lumMod val="85000"/>
            </a:schemeClr>
          </a:solidFill>
        </p:grpSpPr>
        <p:sp>
          <p:nvSpPr>
            <p:cNvPr id="159" name="Freeform 1578"/>
            <p:cNvSpPr>
              <a:spLocks/>
            </p:cNvSpPr>
            <p:nvPr/>
          </p:nvSpPr>
          <p:spPr bwMode="auto">
            <a:xfrm>
              <a:off x="348692" y="3725502"/>
              <a:ext cx="403291" cy="193754"/>
            </a:xfrm>
            <a:custGeom>
              <a:avLst/>
              <a:gdLst>
                <a:gd name="T0" fmla="*/ 2147483647 w 470"/>
                <a:gd name="T1" fmla="*/ 0 h 225"/>
                <a:gd name="T2" fmla="*/ 2147483647 w 470"/>
                <a:gd name="T3" fmla="*/ 0 h 225"/>
                <a:gd name="T4" fmla="*/ 0 w 470"/>
                <a:gd name="T5" fmla="*/ 2147483647 h 225"/>
                <a:gd name="T6" fmla="*/ 0 w 470"/>
                <a:gd name="T7" fmla="*/ 2147483647 h 225"/>
                <a:gd name="T8" fmla="*/ 0 w 470"/>
                <a:gd name="T9" fmla="*/ 2147483647 h 225"/>
                <a:gd name="T10" fmla="*/ 0 w 470"/>
                <a:gd name="T11" fmla="*/ 2147483647 h 225"/>
                <a:gd name="T12" fmla="*/ 2147483647 w 470"/>
                <a:gd name="T13" fmla="*/ 2147483647 h 225"/>
                <a:gd name="T14" fmla="*/ 2147483647 w 470"/>
                <a:gd name="T15" fmla="*/ 2147483647 h 225"/>
                <a:gd name="T16" fmla="*/ 2147483647 w 470"/>
                <a:gd name="T17" fmla="*/ 2147483647 h 225"/>
                <a:gd name="T18" fmla="*/ 2147483647 w 470"/>
                <a:gd name="T19" fmla="*/ 2147483647 h 225"/>
                <a:gd name="T20" fmla="*/ 2147483647 w 470"/>
                <a:gd name="T21" fmla="*/ 2147483647 h 225"/>
                <a:gd name="T22" fmla="*/ 2147483647 w 470"/>
                <a:gd name="T23" fmla="*/ 2147483647 h 225"/>
                <a:gd name="T24" fmla="*/ 2147483647 w 470"/>
                <a:gd name="T25" fmla="*/ 2147483647 h 225"/>
                <a:gd name="T26" fmla="*/ 2147483647 w 470"/>
                <a:gd name="T27" fmla="*/ 2147483647 h 225"/>
                <a:gd name="T28" fmla="*/ 2147483647 w 470"/>
                <a:gd name="T29" fmla="*/ 2147483647 h 225"/>
                <a:gd name="T30" fmla="*/ 2147483647 w 470"/>
                <a:gd name="T31" fmla="*/ 2147483647 h 225"/>
                <a:gd name="T32" fmla="*/ 2147483647 w 470"/>
                <a:gd name="T33" fmla="*/ 2147483647 h 225"/>
                <a:gd name="T34" fmla="*/ 2147483647 w 470"/>
                <a:gd name="T35" fmla="*/ 2147483647 h 225"/>
                <a:gd name="T36" fmla="*/ 2147483647 w 470"/>
                <a:gd name="T37" fmla="*/ 2147483647 h 225"/>
                <a:gd name="T38" fmla="*/ 2147483647 w 470"/>
                <a:gd name="T39" fmla="*/ 2147483647 h 225"/>
                <a:gd name="T40" fmla="*/ 2147483647 w 470"/>
                <a:gd name="T41" fmla="*/ 2147483647 h 225"/>
                <a:gd name="T42" fmla="*/ 2147483647 w 470"/>
                <a:gd name="T43" fmla="*/ 2147483647 h 225"/>
                <a:gd name="T44" fmla="*/ 2147483647 w 470"/>
                <a:gd name="T45" fmla="*/ 2147483647 h 225"/>
                <a:gd name="T46" fmla="*/ 2147483647 w 470"/>
                <a:gd name="T47" fmla="*/ 2147483647 h 225"/>
                <a:gd name="T48" fmla="*/ 2147483647 w 470"/>
                <a:gd name="T49" fmla="*/ 2147483647 h 225"/>
                <a:gd name="T50" fmla="*/ 2147483647 w 470"/>
                <a:gd name="T51" fmla="*/ 2147483647 h 225"/>
                <a:gd name="T52" fmla="*/ 2147483647 w 470"/>
                <a:gd name="T53" fmla="*/ 2147483647 h 225"/>
                <a:gd name="T54" fmla="*/ 2147483647 w 470"/>
                <a:gd name="T55" fmla="*/ 2147483647 h 225"/>
                <a:gd name="T56" fmla="*/ 2147483647 w 470"/>
                <a:gd name="T57" fmla="*/ 2147483647 h 225"/>
                <a:gd name="T58" fmla="*/ 2147483647 w 470"/>
                <a:gd name="T59" fmla="*/ 2147483647 h 225"/>
                <a:gd name="T60" fmla="*/ 2147483647 w 470"/>
                <a:gd name="T61" fmla="*/ 2147483647 h 225"/>
                <a:gd name="T62" fmla="*/ 2147483647 w 470"/>
                <a:gd name="T63" fmla="*/ 2147483647 h 225"/>
                <a:gd name="T64" fmla="*/ 2147483647 w 470"/>
                <a:gd name="T65" fmla="*/ 2147483647 h 225"/>
                <a:gd name="T66" fmla="*/ 2147483647 w 470"/>
                <a:gd name="T67" fmla="*/ 2147483647 h 225"/>
                <a:gd name="T68" fmla="*/ 2147483647 w 470"/>
                <a:gd name="T69" fmla="*/ 2147483647 h 225"/>
                <a:gd name="T70" fmla="*/ 2147483647 w 470"/>
                <a:gd name="T71" fmla="*/ 2147483647 h 225"/>
                <a:gd name="T72" fmla="*/ 2147483647 w 470"/>
                <a:gd name="T73" fmla="*/ 2147483647 h 225"/>
                <a:gd name="T74" fmla="*/ 2147483647 w 470"/>
                <a:gd name="T75" fmla="*/ 2147483647 h 225"/>
                <a:gd name="T76" fmla="*/ 2147483647 w 470"/>
                <a:gd name="T77" fmla="*/ 2147483647 h 225"/>
                <a:gd name="T78" fmla="*/ 2147483647 w 470"/>
                <a:gd name="T79" fmla="*/ 2147483647 h 225"/>
                <a:gd name="T80" fmla="*/ 2147483647 w 470"/>
                <a:gd name="T81" fmla="*/ 2147483647 h 225"/>
                <a:gd name="T82" fmla="*/ 2147483647 w 470"/>
                <a:gd name="T83" fmla="*/ 2147483647 h 225"/>
                <a:gd name="T84" fmla="*/ 2147483647 w 470"/>
                <a:gd name="T85" fmla="*/ 2147483647 h 225"/>
                <a:gd name="T86" fmla="*/ 2147483647 w 470"/>
                <a:gd name="T87" fmla="*/ 2147483647 h 225"/>
                <a:gd name="T88" fmla="*/ 2147483647 w 470"/>
                <a:gd name="T89" fmla="*/ 2147483647 h 225"/>
                <a:gd name="T90" fmla="*/ 2147483647 w 470"/>
                <a:gd name="T91" fmla="*/ 0 h 225"/>
                <a:gd name="T92" fmla="*/ 2147483647 w 470"/>
                <a:gd name="T93" fmla="*/ 0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0"/>
                <a:gd name="T142" fmla="*/ 0 h 225"/>
                <a:gd name="T143" fmla="*/ 470 w 470"/>
                <a:gd name="T144" fmla="*/ 225 h 22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0" h="225">
                  <a:moveTo>
                    <a:pt x="16" y="0"/>
                  </a:moveTo>
                  <a:lnTo>
                    <a:pt x="16" y="0"/>
                  </a:lnTo>
                  <a:lnTo>
                    <a:pt x="0" y="77"/>
                  </a:lnTo>
                  <a:lnTo>
                    <a:pt x="0" y="115"/>
                  </a:lnTo>
                  <a:lnTo>
                    <a:pt x="0" y="126"/>
                  </a:lnTo>
                  <a:lnTo>
                    <a:pt x="0" y="137"/>
                  </a:lnTo>
                  <a:lnTo>
                    <a:pt x="5" y="186"/>
                  </a:lnTo>
                  <a:lnTo>
                    <a:pt x="5" y="197"/>
                  </a:lnTo>
                  <a:lnTo>
                    <a:pt x="11" y="203"/>
                  </a:lnTo>
                  <a:lnTo>
                    <a:pt x="16" y="208"/>
                  </a:lnTo>
                  <a:lnTo>
                    <a:pt x="22" y="208"/>
                  </a:lnTo>
                  <a:lnTo>
                    <a:pt x="93" y="214"/>
                  </a:lnTo>
                  <a:lnTo>
                    <a:pt x="126" y="208"/>
                  </a:lnTo>
                  <a:lnTo>
                    <a:pt x="142" y="203"/>
                  </a:lnTo>
                  <a:lnTo>
                    <a:pt x="147" y="197"/>
                  </a:lnTo>
                  <a:lnTo>
                    <a:pt x="147" y="186"/>
                  </a:lnTo>
                  <a:lnTo>
                    <a:pt x="202" y="203"/>
                  </a:lnTo>
                  <a:lnTo>
                    <a:pt x="246" y="219"/>
                  </a:lnTo>
                  <a:lnTo>
                    <a:pt x="284" y="225"/>
                  </a:lnTo>
                  <a:lnTo>
                    <a:pt x="361" y="225"/>
                  </a:lnTo>
                  <a:lnTo>
                    <a:pt x="421" y="225"/>
                  </a:lnTo>
                  <a:lnTo>
                    <a:pt x="470" y="214"/>
                  </a:lnTo>
                  <a:lnTo>
                    <a:pt x="470" y="208"/>
                  </a:lnTo>
                  <a:lnTo>
                    <a:pt x="465" y="192"/>
                  </a:lnTo>
                  <a:lnTo>
                    <a:pt x="454" y="181"/>
                  </a:lnTo>
                  <a:lnTo>
                    <a:pt x="437" y="170"/>
                  </a:lnTo>
                  <a:lnTo>
                    <a:pt x="415" y="159"/>
                  </a:lnTo>
                  <a:lnTo>
                    <a:pt x="388" y="153"/>
                  </a:lnTo>
                  <a:lnTo>
                    <a:pt x="312" y="137"/>
                  </a:lnTo>
                  <a:lnTo>
                    <a:pt x="301" y="132"/>
                  </a:lnTo>
                  <a:lnTo>
                    <a:pt x="284" y="121"/>
                  </a:lnTo>
                  <a:lnTo>
                    <a:pt x="246" y="82"/>
                  </a:lnTo>
                  <a:lnTo>
                    <a:pt x="229" y="39"/>
                  </a:lnTo>
                  <a:lnTo>
                    <a:pt x="175" y="39"/>
                  </a:lnTo>
                  <a:lnTo>
                    <a:pt x="120" y="33"/>
                  </a:lnTo>
                  <a:lnTo>
                    <a:pt x="71" y="22"/>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14401" name="Freeform 1579"/>
            <p:cNvSpPr>
              <a:spLocks/>
            </p:cNvSpPr>
            <p:nvPr/>
          </p:nvSpPr>
          <p:spPr bwMode="auto">
            <a:xfrm>
              <a:off x="180624" y="1829561"/>
              <a:ext cx="154381" cy="155257"/>
            </a:xfrm>
            <a:custGeom>
              <a:avLst/>
              <a:gdLst>
                <a:gd name="T0" fmla="*/ 2147483647 w 180"/>
                <a:gd name="T1" fmla="*/ 0 h 181"/>
                <a:gd name="T2" fmla="*/ 2147483647 w 180"/>
                <a:gd name="T3" fmla="*/ 0 h 181"/>
                <a:gd name="T4" fmla="*/ 0 w 180"/>
                <a:gd name="T5" fmla="*/ 2147483647 h 181"/>
                <a:gd name="T6" fmla="*/ 0 w 180"/>
                <a:gd name="T7" fmla="*/ 2147483647 h 181"/>
                <a:gd name="T8" fmla="*/ 2147483647 w 180"/>
                <a:gd name="T9" fmla="*/ 2147483647 h 181"/>
                <a:gd name="T10" fmla="*/ 2147483647 w 180"/>
                <a:gd name="T11" fmla="*/ 2147483647 h 181"/>
                <a:gd name="T12" fmla="*/ 2147483647 w 180"/>
                <a:gd name="T13" fmla="*/ 2147483647 h 181"/>
                <a:gd name="T14" fmla="*/ 2147483647 w 180"/>
                <a:gd name="T15" fmla="*/ 2147483647 h 181"/>
                <a:gd name="T16" fmla="*/ 2147483647 w 180"/>
                <a:gd name="T17" fmla="*/ 2147483647 h 181"/>
                <a:gd name="T18" fmla="*/ 2147483647 w 180"/>
                <a:gd name="T19" fmla="*/ 2147483647 h 181"/>
                <a:gd name="T20" fmla="*/ 2147483647 w 180"/>
                <a:gd name="T21" fmla="*/ 2147483647 h 181"/>
                <a:gd name="T22" fmla="*/ 2147483647 w 180"/>
                <a:gd name="T23" fmla="*/ 2147483647 h 181"/>
                <a:gd name="T24" fmla="*/ 2147483647 w 180"/>
                <a:gd name="T25" fmla="*/ 2147483647 h 181"/>
                <a:gd name="T26" fmla="*/ 2147483647 w 180"/>
                <a:gd name="T27" fmla="*/ 2147483647 h 181"/>
                <a:gd name="T28" fmla="*/ 2147483647 w 180"/>
                <a:gd name="T29" fmla="*/ 2147483647 h 181"/>
                <a:gd name="T30" fmla="*/ 2147483647 w 180"/>
                <a:gd name="T31" fmla="*/ 0 h 181"/>
                <a:gd name="T32" fmla="*/ 2147483647 w 180"/>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0"/>
                <a:gd name="T52" fmla="*/ 0 h 181"/>
                <a:gd name="T53" fmla="*/ 180 w 180"/>
                <a:gd name="T54" fmla="*/ 181 h 1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0" h="181">
                  <a:moveTo>
                    <a:pt x="22" y="0"/>
                  </a:moveTo>
                  <a:lnTo>
                    <a:pt x="22" y="0"/>
                  </a:lnTo>
                  <a:lnTo>
                    <a:pt x="0" y="49"/>
                  </a:lnTo>
                  <a:lnTo>
                    <a:pt x="44" y="109"/>
                  </a:lnTo>
                  <a:lnTo>
                    <a:pt x="82" y="153"/>
                  </a:lnTo>
                  <a:lnTo>
                    <a:pt x="109" y="181"/>
                  </a:lnTo>
                  <a:lnTo>
                    <a:pt x="120" y="181"/>
                  </a:lnTo>
                  <a:lnTo>
                    <a:pt x="137" y="175"/>
                  </a:lnTo>
                  <a:lnTo>
                    <a:pt x="158" y="153"/>
                  </a:lnTo>
                  <a:lnTo>
                    <a:pt x="180" y="115"/>
                  </a:lnTo>
                  <a:lnTo>
                    <a:pt x="76" y="27"/>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61" name="Freeform 1580"/>
            <p:cNvSpPr>
              <a:spLocks noEditPoints="1"/>
            </p:cNvSpPr>
            <p:nvPr/>
          </p:nvSpPr>
          <p:spPr bwMode="auto">
            <a:xfrm>
              <a:off x="-39797" y="1590244"/>
              <a:ext cx="825079" cy="2412051"/>
            </a:xfrm>
            <a:custGeom>
              <a:avLst/>
              <a:gdLst>
                <a:gd name="T0" fmla="*/ 2147483647 w 962"/>
                <a:gd name="T1" fmla="*/ 2147483647 h 2812"/>
                <a:gd name="T2" fmla="*/ 2147483647 w 962"/>
                <a:gd name="T3" fmla="*/ 2147483647 h 2812"/>
                <a:gd name="T4" fmla="*/ 2147483647 w 962"/>
                <a:gd name="T5" fmla="*/ 2147483647 h 2812"/>
                <a:gd name="T6" fmla="*/ 2147483647 w 962"/>
                <a:gd name="T7" fmla="*/ 2147483647 h 2812"/>
                <a:gd name="T8" fmla="*/ 2147483647 w 962"/>
                <a:gd name="T9" fmla="*/ 2147483647 h 2812"/>
                <a:gd name="T10" fmla="*/ 2147483647 w 962"/>
                <a:gd name="T11" fmla="*/ 2147483647 h 2812"/>
                <a:gd name="T12" fmla="*/ 2147483647 w 962"/>
                <a:gd name="T13" fmla="*/ 2147483647 h 2812"/>
                <a:gd name="T14" fmla="*/ 2147483647 w 962"/>
                <a:gd name="T15" fmla="*/ 2147483647 h 2812"/>
                <a:gd name="T16" fmla="*/ 2147483647 w 962"/>
                <a:gd name="T17" fmla="*/ 2147483647 h 2812"/>
                <a:gd name="T18" fmla="*/ 2147483647 w 962"/>
                <a:gd name="T19" fmla="*/ 2147483647 h 2812"/>
                <a:gd name="T20" fmla="*/ 2147483647 w 962"/>
                <a:gd name="T21" fmla="*/ 2147483647 h 2812"/>
                <a:gd name="T22" fmla="*/ 2147483647 w 962"/>
                <a:gd name="T23" fmla="*/ 2147483647 h 2812"/>
                <a:gd name="T24" fmla="*/ 2147483647 w 962"/>
                <a:gd name="T25" fmla="*/ 2147483647 h 2812"/>
                <a:gd name="T26" fmla="*/ 2147483647 w 962"/>
                <a:gd name="T27" fmla="*/ 2147483647 h 2812"/>
                <a:gd name="T28" fmla="*/ 2147483647 w 962"/>
                <a:gd name="T29" fmla="*/ 2147483647 h 2812"/>
                <a:gd name="T30" fmla="*/ 2147483647 w 962"/>
                <a:gd name="T31" fmla="*/ 2147483647 h 2812"/>
                <a:gd name="T32" fmla="*/ 2147483647 w 962"/>
                <a:gd name="T33" fmla="*/ 2147483647 h 2812"/>
                <a:gd name="T34" fmla="*/ 2147483647 w 962"/>
                <a:gd name="T35" fmla="*/ 2147483647 h 2812"/>
                <a:gd name="T36" fmla="*/ 2147483647 w 962"/>
                <a:gd name="T37" fmla="*/ 2147483647 h 2812"/>
                <a:gd name="T38" fmla="*/ 2147483647 w 962"/>
                <a:gd name="T39" fmla="*/ 2147483647 h 2812"/>
                <a:gd name="T40" fmla="*/ 2147483647 w 962"/>
                <a:gd name="T41" fmla="*/ 2147483647 h 2812"/>
                <a:gd name="T42" fmla="*/ 2147483647 w 962"/>
                <a:gd name="T43" fmla="*/ 2147483647 h 2812"/>
                <a:gd name="T44" fmla="*/ 2147483647 w 962"/>
                <a:gd name="T45" fmla="*/ 2147483647 h 2812"/>
                <a:gd name="T46" fmla="*/ 2147483647 w 962"/>
                <a:gd name="T47" fmla="*/ 2147483647 h 2812"/>
                <a:gd name="T48" fmla="*/ 2147483647 w 962"/>
                <a:gd name="T49" fmla="*/ 2147483647 h 2812"/>
                <a:gd name="T50" fmla="*/ 2147483647 w 962"/>
                <a:gd name="T51" fmla="*/ 2147483647 h 2812"/>
                <a:gd name="T52" fmla="*/ 2147483647 w 962"/>
                <a:gd name="T53" fmla="*/ 2147483647 h 2812"/>
                <a:gd name="T54" fmla="*/ 2147483647 w 962"/>
                <a:gd name="T55" fmla="*/ 2147483647 h 2812"/>
                <a:gd name="T56" fmla="*/ 2147483647 w 962"/>
                <a:gd name="T57" fmla="*/ 2147483647 h 2812"/>
                <a:gd name="T58" fmla="*/ 2147483647 w 962"/>
                <a:gd name="T59" fmla="*/ 2147483647 h 2812"/>
                <a:gd name="T60" fmla="*/ 2147483647 w 962"/>
                <a:gd name="T61" fmla="*/ 2147483647 h 2812"/>
                <a:gd name="T62" fmla="*/ 2147483647 w 962"/>
                <a:gd name="T63" fmla="*/ 2147483647 h 2812"/>
                <a:gd name="T64" fmla="*/ 2147483647 w 962"/>
                <a:gd name="T65" fmla="*/ 2147483647 h 2812"/>
                <a:gd name="T66" fmla="*/ 2147483647 w 962"/>
                <a:gd name="T67" fmla="*/ 2147483647 h 2812"/>
                <a:gd name="T68" fmla="*/ 2147483647 w 962"/>
                <a:gd name="T69" fmla="*/ 2147483647 h 2812"/>
                <a:gd name="T70" fmla="*/ 2147483647 w 962"/>
                <a:gd name="T71" fmla="*/ 2147483647 h 2812"/>
                <a:gd name="T72" fmla="*/ 2147483647 w 962"/>
                <a:gd name="T73" fmla="*/ 2147483647 h 2812"/>
                <a:gd name="T74" fmla="*/ 2147483647 w 962"/>
                <a:gd name="T75" fmla="*/ 2147483647 h 2812"/>
                <a:gd name="T76" fmla="*/ 2147483647 w 962"/>
                <a:gd name="T77" fmla="*/ 2147483647 h 2812"/>
                <a:gd name="T78" fmla="*/ 2147483647 w 962"/>
                <a:gd name="T79" fmla="*/ 2147483647 h 2812"/>
                <a:gd name="T80" fmla="*/ 2147483647 w 962"/>
                <a:gd name="T81" fmla="*/ 2147483647 h 2812"/>
                <a:gd name="T82" fmla="*/ 2147483647 w 962"/>
                <a:gd name="T83" fmla="*/ 2147483647 h 2812"/>
                <a:gd name="T84" fmla="*/ 2147483647 w 962"/>
                <a:gd name="T85" fmla="*/ 2147483647 h 2812"/>
                <a:gd name="T86" fmla="*/ 2147483647 w 962"/>
                <a:gd name="T87" fmla="*/ 2147483647 h 2812"/>
                <a:gd name="T88" fmla="*/ 2147483647 w 962"/>
                <a:gd name="T89" fmla="*/ 2147483647 h 2812"/>
                <a:gd name="T90" fmla="*/ 2147483647 w 962"/>
                <a:gd name="T91" fmla="*/ 2147483647 h 2812"/>
                <a:gd name="T92" fmla="*/ 2147483647 w 962"/>
                <a:gd name="T93" fmla="*/ 2147483647 h 2812"/>
                <a:gd name="T94" fmla="*/ 2147483647 w 962"/>
                <a:gd name="T95" fmla="*/ 2147483647 h 2812"/>
                <a:gd name="T96" fmla="*/ 2147483647 w 962"/>
                <a:gd name="T97" fmla="*/ 2147483647 h 2812"/>
                <a:gd name="T98" fmla="*/ 2147483647 w 962"/>
                <a:gd name="T99" fmla="*/ 2147483647 h 2812"/>
                <a:gd name="T100" fmla="*/ 2147483647 w 962"/>
                <a:gd name="T101" fmla="*/ 2147483647 h 2812"/>
                <a:gd name="T102" fmla="*/ 2147483647 w 962"/>
                <a:gd name="T103" fmla="*/ 2147483647 h 2812"/>
                <a:gd name="T104" fmla="*/ 2147483647 w 962"/>
                <a:gd name="T105" fmla="*/ 2147483647 h 2812"/>
                <a:gd name="T106" fmla="*/ 2147483647 w 962"/>
                <a:gd name="T107" fmla="*/ 2147483647 h 2812"/>
                <a:gd name="T108" fmla="*/ 2147483647 w 962"/>
                <a:gd name="T109" fmla="*/ 2147483647 h 2812"/>
                <a:gd name="T110" fmla="*/ 2147483647 w 962"/>
                <a:gd name="T111" fmla="*/ 2147483647 h 2812"/>
                <a:gd name="T112" fmla="*/ 2147483647 w 962"/>
                <a:gd name="T113" fmla="*/ 2147483647 h 2812"/>
                <a:gd name="T114" fmla="*/ 2147483647 w 962"/>
                <a:gd name="T115" fmla="*/ 2147483647 h 2812"/>
                <a:gd name="T116" fmla="*/ 2147483647 w 962"/>
                <a:gd name="T117" fmla="*/ 2147483647 h 2812"/>
                <a:gd name="T118" fmla="*/ 2147483647 w 962"/>
                <a:gd name="T119" fmla="*/ 2147483647 h 2812"/>
                <a:gd name="T120" fmla="*/ 2147483647 w 962"/>
                <a:gd name="T121" fmla="*/ 2147483647 h 2812"/>
                <a:gd name="T122" fmla="*/ 2147483647 w 962"/>
                <a:gd name="T123" fmla="*/ 2147483647 h 28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62"/>
                <a:gd name="T187" fmla="*/ 0 h 2812"/>
                <a:gd name="T188" fmla="*/ 962 w 962"/>
                <a:gd name="T189" fmla="*/ 2812 h 28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62" h="2812">
                  <a:moveTo>
                    <a:pt x="880" y="377"/>
                  </a:moveTo>
                  <a:lnTo>
                    <a:pt x="880" y="377"/>
                  </a:lnTo>
                  <a:lnTo>
                    <a:pt x="864" y="372"/>
                  </a:lnTo>
                  <a:lnTo>
                    <a:pt x="842" y="356"/>
                  </a:lnTo>
                  <a:lnTo>
                    <a:pt x="809" y="323"/>
                  </a:lnTo>
                  <a:lnTo>
                    <a:pt x="804" y="312"/>
                  </a:lnTo>
                  <a:lnTo>
                    <a:pt x="798" y="301"/>
                  </a:lnTo>
                  <a:lnTo>
                    <a:pt x="776" y="290"/>
                  </a:lnTo>
                  <a:lnTo>
                    <a:pt x="776" y="279"/>
                  </a:lnTo>
                  <a:lnTo>
                    <a:pt x="766" y="241"/>
                  </a:lnTo>
                  <a:lnTo>
                    <a:pt x="755" y="208"/>
                  </a:lnTo>
                  <a:lnTo>
                    <a:pt x="744" y="191"/>
                  </a:lnTo>
                  <a:lnTo>
                    <a:pt x="727" y="186"/>
                  </a:lnTo>
                  <a:lnTo>
                    <a:pt x="716" y="186"/>
                  </a:lnTo>
                  <a:lnTo>
                    <a:pt x="711" y="186"/>
                  </a:lnTo>
                  <a:lnTo>
                    <a:pt x="700" y="186"/>
                  </a:lnTo>
                  <a:lnTo>
                    <a:pt x="683" y="181"/>
                  </a:lnTo>
                  <a:lnTo>
                    <a:pt x="673" y="181"/>
                  </a:lnTo>
                  <a:lnTo>
                    <a:pt x="667" y="186"/>
                  </a:lnTo>
                  <a:lnTo>
                    <a:pt x="667" y="191"/>
                  </a:lnTo>
                  <a:lnTo>
                    <a:pt x="645" y="186"/>
                  </a:lnTo>
                  <a:lnTo>
                    <a:pt x="634" y="186"/>
                  </a:lnTo>
                  <a:lnTo>
                    <a:pt x="629" y="191"/>
                  </a:lnTo>
                  <a:lnTo>
                    <a:pt x="623" y="197"/>
                  </a:lnTo>
                  <a:lnTo>
                    <a:pt x="612" y="191"/>
                  </a:lnTo>
                  <a:lnTo>
                    <a:pt x="596" y="191"/>
                  </a:lnTo>
                  <a:lnTo>
                    <a:pt x="585" y="197"/>
                  </a:lnTo>
                  <a:lnTo>
                    <a:pt x="574" y="213"/>
                  </a:lnTo>
                  <a:lnTo>
                    <a:pt x="563" y="252"/>
                  </a:lnTo>
                  <a:lnTo>
                    <a:pt x="563" y="257"/>
                  </a:lnTo>
                  <a:lnTo>
                    <a:pt x="574" y="268"/>
                  </a:lnTo>
                  <a:lnTo>
                    <a:pt x="590" y="290"/>
                  </a:lnTo>
                  <a:lnTo>
                    <a:pt x="618" y="312"/>
                  </a:lnTo>
                  <a:lnTo>
                    <a:pt x="623" y="323"/>
                  </a:lnTo>
                  <a:lnTo>
                    <a:pt x="640" y="334"/>
                  </a:lnTo>
                  <a:lnTo>
                    <a:pt x="667" y="345"/>
                  </a:lnTo>
                  <a:lnTo>
                    <a:pt x="705" y="356"/>
                  </a:lnTo>
                  <a:lnTo>
                    <a:pt x="711" y="372"/>
                  </a:lnTo>
                  <a:lnTo>
                    <a:pt x="716" y="377"/>
                  </a:lnTo>
                  <a:lnTo>
                    <a:pt x="716" y="388"/>
                  </a:lnTo>
                  <a:lnTo>
                    <a:pt x="722" y="421"/>
                  </a:lnTo>
                  <a:lnTo>
                    <a:pt x="744" y="465"/>
                  </a:lnTo>
                  <a:lnTo>
                    <a:pt x="771" y="520"/>
                  </a:lnTo>
                  <a:lnTo>
                    <a:pt x="771" y="547"/>
                  </a:lnTo>
                  <a:lnTo>
                    <a:pt x="755" y="536"/>
                  </a:lnTo>
                  <a:lnTo>
                    <a:pt x="722" y="520"/>
                  </a:lnTo>
                  <a:lnTo>
                    <a:pt x="667" y="503"/>
                  </a:lnTo>
                  <a:lnTo>
                    <a:pt x="645" y="481"/>
                  </a:lnTo>
                  <a:lnTo>
                    <a:pt x="607" y="449"/>
                  </a:lnTo>
                  <a:lnTo>
                    <a:pt x="596" y="438"/>
                  </a:lnTo>
                  <a:lnTo>
                    <a:pt x="585" y="432"/>
                  </a:lnTo>
                  <a:lnTo>
                    <a:pt x="574" y="427"/>
                  </a:lnTo>
                  <a:lnTo>
                    <a:pt x="558" y="421"/>
                  </a:lnTo>
                  <a:lnTo>
                    <a:pt x="519" y="421"/>
                  </a:lnTo>
                  <a:lnTo>
                    <a:pt x="497" y="416"/>
                  </a:lnTo>
                  <a:lnTo>
                    <a:pt x="481" y="410"/>
                  </a:lnTo>
                  <a:lnTo>
                    <a:pt x="465" y="405"/>
                  </a:lnTo>
                  <a:lnTo>
                    <a:pt x="459" y="399"/>
                  </a:lnTo>
                  <a:lnTo>
                    <a:pt x="454" y="394"/>
                  </a:lnTo>
                  <a:lnTo>
                    <a:pt x="465" y="399"/>
                  </a:lnTo>
                  <a:lnTo>
                    <a:pt x="487" y="399"/>
                  </a:lnTo>
                  <a:lnTo>
                    <a:pt x="497" y="394"/>
                  </a:lnTo>
                  <a:lnTo>
                    <a:pt x="503" y="383"/>
                  </a:lnTo>
                  <a:lnTo>
                    <a:pt x="508" y="372"/>
                  </a:lnTo>
                  <a:lnTo>
                    <a:pt x="508" y="361"/>
                  </a:lnTo>
                  <a:lnTo>
                    <a:pt x="514" y="356"/>
                  </a:lnTo>
                  <a:lnTo>
                    <a:pt x="519" y="356"/>
                  </a:lnTo>
                  <a:lnTo>
                    <a:pt x="519" y="350"/>
                  </a:lnTo>
                  <a:lnTo>
                    <a:pt x="525" y="345"/>
                  </a:lnTo>
                  <a:lnTo>
                    <a:pt x="519" y="345"/>
                  </a:lnTo>
                  <a:lnTo>
                    <a:pt x="519" y="339"/>
                  </a:lnTo>
                  <a:lnTo>
                    <a:pt x="525" y="339"/>
                  </a:lnTo>
                  <a:lnTo>
                    <a:pt x="530" y="334"/>
                  </a:lnTo>
                  <a:lnTo>
                    <a:pt x="530" y="328"/>
                  </a:lnTo>
                  <a:lnTo>
                    <a:pt x="530" y="317"/>
                  </a:lnTo>
                  <a:lnTo>
                    <a:pt x="530" y="312"/>
                  </a:lnTo>
                  <a:lnTo>
                    <a:pt x="552" y="312"/>
                  </a:lnTo>
                  <a:lnTo>
                    <a:pt x="563" y="312"/>
                  </a:lnTo>
                  <a:lnTo>
                    <a:pt x="563" y="284"/>
                  </a:lnTo>
                  <a:lnTo>
                    <a:pt x="563" y="257"/>
                  </a:lnTo>
                  <a:lnTo>
                    <a:pt x="563" y="252"/>
                  </a:lnTo>
                  <a:lnTo>
                    <a:pt x="563" y="235"/>
                  </a:lnTo>
                  <a:lnTo>
                    <a:pt x="563" y="224"/>
                  </a:lnTo>
                  <a:lnTo>
                    <a:pt x="574" y="213"/>
                  </a:lnTo>
                  <a:lnTo>
                    <a:pt x="574" y="208"/>
                  </a:lnTo>
                  <a:lnTo>
                    <a:pt x="580" y="186"/>
                  </a:lnTo>
                  <a:lnTo>
                    <a:pt x="585" y="164"/>
                  </a:lnTo>
                  <a:lnTo>
                    <a:pt x="580" y="137"/>
                  </a:lnTo>
                  <a:lnTo>
                    <a:pt x="585" y="131"/>
                  </a:lnTo>
                  <a:lnTo>
                    <a:pt x="590" y="126"/>
                  </a:lnTo>
                  <a:lnTo>
                    <a:pt x="601" y="115"/>
                  </a:lnTo>
                  <a:lnTo>
                    <a:pt x="601" y="104"/>
                  </a:lnTo>
                  <a:lnTo>
                    <a:pt x="580" y="77"/>
                  </a:lnTo>
                  <a:lnTo>
                    <a:pt x="580" y="66"/>
                  </a:lnTo>
                  <a:lnTo>
                    <a:pt x="569" y="55"/>
                  </a:lnTo>
                  <a:lnTo>
                    <a:pt x="552" y="44"/>
                  </a:lnTo>
                  <a:lnTo>
                    <a:pt x="530" y="27"/>
                  </a:lnTo>
                  <a:lnTo>
                    <a:pt x="497" y="16"/>
                  </a:lnTo>
                  <a:lnTo>
                    <a:pt x="454" y="5"/>
                  </a:lnTo>
                  <a:lnTo>
                    <a:pt x="394" y="0"/>
                  </a:lnTo>
                  <a:lnTo>
                    <a:pt x="377" y="5"/>
                  </a:lnTo>
                  <a:lnTo>
                    <a:pt x="355" y="11"/>
                  </a:lnTo>
                  <a:lnTo>
                    <a:pt x="333" y="27"/>
                  </a:lnTo>
                  <a:lnTo>
                    <a:pt x="311" y="49"/>
                  </a:lnTo>
                  <a:lnTo>
                    <a:pt x="295" y="82"/>
                  </a:lnTo>
                  <a:lnTo>
                    <a:pt x="290" y="126"/>
                  </a:lnTo>
                  <a:lnTo>
                    <a:pt x="290" y="186"/>
                  </a:lnTo>
                  <a:lnTo>
                    <a:pt x="295" y="191"/>
                  </a:lnTo>
                  <a:lnTo>
                    <a:pt x="301" y="219"/>
                  </a:lnTo>
                  <a:lnTo>
                    <a:pt x="295" y="252"/>
                  </a:lnTo>
                  <a:lnTo>
                    <a:pt x="290" y="268"/>
                  </a:lnTo>
                  <a:lnTo>
                    <a:pt x="284" y="284"/>
                  </a:lnTo>
                  <a:lnTo>
                    <a:pt x="426" y="394"/>
                  </a:lnTo>
                  <a:lnTo>
                    <a:pt x="394" y="427"/>
                  </a:lnTo>
                  <a:lnTo>
                    <a:pt x="366" y="454"/>
                  </a:lnTo>
                  <a:lnTo>
                    <a:pt x="311" y="394"/>
                  </a:lnTo>
                  <a:lnTo>
                    <a:pt x="262" y="339"/>
                  </a:lnTo>
                  <a:lnTo>
                    <a:pt x="257" y="328"/>
                  </a:lnTo>
                  <a:lnTo>
                    <a:pt x="218" y="388"/>
                  </a:lnTo>
                  <a:lnTo>
                    <a:pt x="175" y="421"/>
                  </a:lnTo>
                  <a:lnTo>
                    <a:pt x="136" y="443"/>
                  </a:lnTo>
                  <a:lnTo>
                    <a:pt x="114" y="454"/>
                  </a:lnTo>
                  <a:lnTo>
                    <a:pt x="93" y="454"/>
                  </a:lnTo>
                  <a:lnTo>
                    <a:pt x="82" y="460"/>
                  </a:lnTo>
                  <a:lnTo>
                    <a:pt x="60" y="476"/>
                  </a:lnTo>
                  <a:lnTo>
                    <a:pt x="49" y="492"/>
                  </a:lnTo>
                  <a:lnTo>
                    <a:pt x="43" y="514"/>
                  </a:lnTo>
                  <a:lnTo>
                    <a:pt x="38" y="542"/>
                  </a:lnTo>
                  <a:lnTo>
                    <a:pt x="38" y="580"/>
                  </a:lnTo>
                  <a:lnTo>
                    <a:pt x="38" y="624"/>
                  </a:lnTo>
                  <a:lnTo>
                    <a:pt x="27" y="673"/>
                  </a:lnTo>
                  <a:lnTo>
                    <a:pt x="11" y="733"/>
                  </a:lnTo>
                  <a:lnTo>
                    <a:pt x="11" y="739"/>
                  </a:lnTo>
                  <a:lnTo>
                    <a:pt x="5" y="782"/>
                  </a:lnTo>
                  <a:lnTo>
                    <a:pt x="0" y="903"/>
                  </a:lnTo>
                  <a:lnTo>
                    <a:pt x="0" y="963"/>
                  </a:lnTo>
                  <a:lnTo>
                    <a:pt x="5" y="1018"/>
                  </a:lnTo>
                  <a:lnTo>
                    <a:pt x="16" y="1050"/>
                  </a:lnTo>
                  <a:lnTo>
                    <a:pt x="27" y="1083"/>
                  </a:lnTo>
                  <a:lnTo>
                    <a:pt x="60" y="1143"/>
                  </a:lnTo>
                  <a:lnTo>
                    <a:pt x="93" y="1204"/>
                  </a:lnTo>
                  <a:lnTo>
                    <a:pt x="120" y="1264"/>
                  </a:lnTo>
                  <a:lnTo>
                    <a:pt x="125" y="1264"/>
                  </a:lnTo>
                  <a:lnTo>
                    <a:pt x="136" y="1297"/>
                  </a:lnTo>
                  <a:lnTo>
                    <a:pt x="142" y="1318"/>
                  </a:lnTo>
                  <a:lnTo>
                    <a:pt x="153" y="1346"/>
                  </a:lnTo>
                  <a:lnTo>
                    <a:pt x="175" y="1384"/>
                  </a:lnTo>
                  <a:lnTo>
                    <a:pt x="180" y="1444"/>
                  </a:lnTo>
                  <a:lnTo>
                    <a:pt x="180" y="1483"/>
                  </a:lnTo>
                  <a:lnTo>
                    <a:pt x="180" y="1504"/>
                  </a:lnTo>
                  <a:lnTo>
                    <a:pt x="207" y="1504"/>
                  </a:lnTo>
                  <a:lnTo>
                    <a:pt x="229" y="1504"/>
                  </a:lnTo>
                  <a:lnTo>
                    <a:pt x="240" y="1504"/>
                  </a:lnTo>
                  <a:lnTo>
                    <a:pt x="235" y="1515"/>
                  </a:lnTo>
                  <a:lnTo>
                    <a:pt x="224" y="1548"/>
                  </a:lnTo>
                  <a:lnTo>
                    <a:pt x="213" y="1592"/>
                  </a:lnTo>
                  <a:lnTo>
                    <a:pt x="213" y="1614"/>
                  </a:lnTo>
                  <a:lnTo>
                    <a:pt x="218" y="1641"/>
                  </a:lnTo>
                  <a:lnTo>
                    <a:pt x="224" y="1696"/>
                  </a:lnTo>
                  <a:lnTo>
                    <a:pt x="229" y="1773"/>
                  </a:lnTo>
                  <a:lnTo>
                    <a:pt x="229" y="1882"/>
                  </a:lnTo>
                  <a:lnTo>
                    <a:pt x="224" y="1937"/>
                  </a:lnTo>
                  <a:lnTo>
                    <a:pt x="213" y="1986"/>
                  </a:lnTo>
                  <a:lnTo>
                    <a:pt x="197" y="2062"/>
                  </a:lnTo>
                  <a:lnTo>
                    <a:pt x="191" y="2101"/>
                  </a:lnTo>
                  <a:lnTo>
                    <a:pt x="186" y="2145"/>
                  </a:lnTo>
                  <a:lnTo>
                    <a:pt x="186" y="2205"/>
                  </a:lnTo>
                  <a:lnTo>
                    <a:pt x="186" y="2276"/>
                  </a:lnTo>
                  <a:lnTo>
                    <a:pt x="197" y="2407"/>
                  </a:lnTo>
                  <a:lnTo>
                    <a:pt x="207" y="2495"/>
                  </a:lnTo>
                  <a:lnTo>
                    <a:pt x="213" y="2555"/>
                  </a:lnTo>
                  <a:lnTo>
                    <a:pt x="213" y="2599"/>
                  </a:lnTo>
                  <a:lnTo>
                    <a:pt x="207" y="2631"/>
                  </a:lnTo>
                  <a:lnTo>
                    <a:pt x="207" y="2653"/>
                  </a:lnTo>
                  <a:lnTo>
                    <a:pt x="207" y="2670"/>
                  </a:lnTo>
                  <a:lnTo>
                    <a:pt x="207" y="2730"/>
                  </a:lnTo>
                  <a:lnTo>
                    <a:pt x="268" y="2752"/>
                  </a:lnTo>
                  <a:lnTo>
                    <a:pt x="301" y="2752"/>
                  </a:lnTo>
                  <a:lnTo>
                    <a:pt x="306" y="2763"/>
                  </a:lnTo>
                  <a:lnTo>
                    <a:pt x="328" y="2779"/>
                  </a:lnTo>
                  <a:lnTo>
                    <a:pt x="350" y="2790"/>
                  </a:lnTo>
                  <a:lnTo>
                    <a:pt x="372" y="2801"/>
                  </a:lnTo>
                  <a:lnTo>
                    <a:pt x="399" y="2807"/>
                  </a:lnTo>
                  <a:lnTo>
                    <a:pt x="437" y="2812"/>
                  </a:lnTo>
                  <a:lnTo>
                    <a:pt x="508" y="2807"/>
                  </a:lnTo>
                  <a:lnTo>
                    <a:pt x="541" y="2801"/>
                  </a:lnTo>
                  <a:lnTo>
                    <a:pt x="552" y="2801"/>
                  </a:lnTo>
                  <a:lnTo>
                    <a:pt x="552" y="2796"/>
                  </a:lnTo>
                  <a:lnTo>
                    <a:pt x="552" y="2785"/>
                  </a:lnTo>
                  <a:lnTo>
                    <a:pt x="547" y="2768"/>
                  </a:lnTo>
                  <a:lnTo>
                    <a:pt x="536" y="2752"/>
                  </a:lnTo>
                  <a:lnTo>
                    <a:pt x="470" y="2692"/>
                  </a:lnTo>
                  <a:lnTo>
                    <a:pt x="432" y="2648"/>
                  </a:lnTo>
                  <a:lnTo>
                    <a:pt x="415" y="2631"/>
                  </a:lnTo>
                  <a:lnTo>
                    <a:pt x="404" y="2615"/>
                  </a:lnTo>
                  <a:lnTo>
                    <a:pt x="404" y="2599"/>
                  </a:lnTo>
                  <a:lnTo>
                    <a:pt x="399" y="2588"/>
                  </a:lnTo>
                  <a:lnTo>
                    <a:pt x="394" y="2566"/>
                  </a:lnTo>
                  <a:lnTo>
                    <a:pt x="388" y="2555"/>
                  </a:lnTo>
                  <a:lnTo>
                    <a:pt x="388" y="2528"/>
                  </a:lnTo>
                  <a:lnTo>
                    <a:pt x="394" y="2467"/>
                  </a:lnTo>
                  <a:lnTo>
                    <a:pt x="399" y="2424"/>
                  </a:lnTo>
                  <a:lnTo>
                    <a:pt x="394" y="2402"/>
                  </a:lnTo>
                  <a:lnTo>
                    <a:pt x="383" y="2374"/>
                  </a:lnTo>
                  <a:lnTo>
                    <a:pt x="394" y="2238"/>
                  </a:lnTo>
                  <a:lnTo>
                    <a:pt x="399" y="2145"/>
                  </a:lnTo>
                  <a:lnTo>
                    <a:pt x="404" y="2095"/>
                  </a:lnTo>
                  <a:lnTo>
                    <a:pt x="415" y="2062"/>
                  </a:lnTo>
                  <a:lnTo>
                    <a:pt x="421" y="2013"/>
                  </a:lnTo>
                  <a:lnTo>
                    <a:pt x="432" y="1948"/>
                  </a:lnTo>
                  <a:lnTo>
                    <a:pt x="437" y="1931"/>
                  </a:lnTo>
                  <a:lnTo>
                    <a:pt x="454" y="1893"/>
                  </a:lnTo>
                  <a:lnTo>
                    <a:pt x="476" y="1827"/>
                  </a:lnTo>
                  <a:lnTo>
                    <a:pt x="492" y="1729"/>
                  </a:lnTo>
                  <a:lnTo>
                    <a:pt x="497" y="1723"/>
                  </a:lnTo>
                  <a:lnTo>
                    <a:pt x="503" y="1718"/>
                  </a:lnTo>
                  <a:lnTo>
                    <a:pt x="503" y="1729"/>
                  </a:lnTo>
                  <a:lnTo>
                    <a:pt x="558" y="1893"/>
                  </a:lnTo>
                  <a:lnTo>
                    <a:pt x="569" y="1920"/>
                  </a:lnTo>
                  <a:lnTo>
                    <a:pt x="569" y="1948"/>
                  </a:lnTo>
                  <a:lnTo>
                    <a:pt x="563" y="1980"/>
                  </a:lnTo>
                  <a:lnTo>
                    <a:pt x="547" y="2035"/>
                  </a:lnTo>
                  <a:lnTo>
                    <a:pt x="541" y="2084"/>
                  </a:lnTo>
                  <a:lnTo>
                    <a:pt x="536" y="2145"/>
                  </a:lnTo>
                  <a:lnTo>
                    <a:pt x="519" y="2287"/>
                  </a:lnTo>
                  <a:lnTo>
                    <a:pt x="503" y="2380"/>
                  </a:lnTo>
                  <a:lnTo>
                    <a:pt x="497" y="2429"/>
                  </a:lnTo>
                  <a:lnTo>
                    <a:pt x="481" y="2445"/>
                  </a:lnTo>
                  <a:lnTo>
                    <a:pt x="476" y="2462"/>
                  </a:lnTo>
                  <a:lnTo>
                    <a:pt x="470" y="2506"/>
                  </a:lnTo>
                  <a:lnTo>
                    <a:pt x="519" y="2528"/>
                  </a:lnTo>
                  <a:lnTo>
                    <a:pt x="580" y="2544"/>
                  </a:lnTo>
                  <a:lnTo>
                    <a:pt x="640" y="2555"/>
                  </a:lnTo>
                  <a:lnTo>
                    <a:pt x="694" y="2555"/>
                  </a:lnTo>
                  <a:lnTo>
                    <a:pt x="689" y="2517"/>
                  </a:lnTo>
                  <a:lnTo>
                    <a:pt x="705" y="2484"/>
                  </a:lnTo>
                  <a:lnTo>
                    <a:pt x="716" y="2445"/>
                  </a:lnTo>
                  <a:lnTo>
                    <a:pt x="738" y="2396"/>
                  </a:lnTo>
                  <a:lnTo>
                    <a:pt x="755" y="2331"/>
                  </a:lnTo>
                  <a:lnTo>
                    <a:pt x="771" y="2249"/>
                  </a:lnTo>
                  <a:lnTo>
                    <a:pt x="782" y="2156"/>
                  </a:lnTo>
                  <a:lnTo>
                    <a:pt x="787" y="2041"/>
                  </a:lnTo>
                  <a:lnTo>
                    <a:pt x="787" y="2013"/>
                  </a:lnTo>
                  <a:lnTo>
                    <a:pt x="787" y="1991"/>
                  </a:lnTo>
                  <a:lnTo>
                    <a:pt x="787" y="1980"/>
                  </a:lnTo>
                  <a:lnTo>
                    <a:pt x="793" y="1969"/>
                  </a:lnTo>
                  <a:lnTo>
                    <a:pt x="798" y="1937"/>
                  </a:lnTo>
                  <a:lnTo>
                    <a:pt x="798" y="1882"/>
                  </a:lnTo>
                  <a:lnTo>
                    <a:pt x="798" y="1805"/>
                  </a:lnTo>
                  <a:lnTo>
                    <a:pt x="782" y="1690"/>
                  </a:lnTo>
                  <a:lnTo>
                    <a:pt x="755" y="1559"/>
                  </a:lnTo>
                  <a:lnTo>
                    <a:pt x="722" y="1411"/>
                  </a:lnTo>
                  <a:lnTo>
                    <a:pt x="733" y="1401"/>
                  </a:lnTo>
                  <a:lnTo>
                    <a:pt x="738" y="1390"/>
                  </a:lnTo>
                  <a:lnTo>
                    <a:pt x="744" y="1368"/>
                  </a:lnTo>
                  <a:lnTo>
                    <a:pt x="733" y="1313"/>
                  </a:lnTo>
                  <a:lnTo>
                    <a:pt x="711" y="1220"/>
                  </a:lnTo>
                  <a:lnTo>
                    <a:pt x="683" y="1083"/>
                  </a:lnTo>
                  <a:lnTo>
                    <a:pt x="673" y="1018"/>
                  </a:lnTo>
                  <a:lnTo>
                    <a:pt x="656" y="957"/>
                  </a:lnTo>
                  <a:lnTo>
                    <a:pt x="645" y="914"/>
                  </a:lnTo>
                  <a:lnTo>
                    <a:pt x="634" y="870"/>
                  </a:lnTo>
                  <a:lnTo>
                    <a:pt x="634" y="821"/>
                  </a:lnTo>
                  <a:lnTo>
                    <a:pt x="640" y="777"/>
                  </a:lnTo>
                  <a:lnTo>
                    <a:pt x="634" y="739"/>
                  </a:lnTo>
                  <a:lnTo>
                    <a:pt x="634" y="706"/>
                  </a:lnTo>
                  <a:lnTo>
                    <a:pt x="678" y="717"/>
                  </a:lnTo>
                  <a:lnTo>
                    <a:pt x="776" y="728"/>
                  </a:lnTo>
                  <a:lnTo>
                    <a:pt x="837" y="733"/>
                  </a:lnTo>
                  <a:lnTo>
                    <a:pt x="891" y="728"/>
                  </a:lnTo>
                  <a:lnTo>
                    <a:pt x="913" y="722"/>
                  </a:lnTo>
                  <a:lnTo>
                    <a:pt x="935" y="717"/>
                  </a:lnTo>
                  <a:lnTo>
                    <a:pt x="952" y="706"/>
                  </a:lnTo>
                  <a:lnTo>
                    <a:pt x="962" y="689"/>
                  </a:lnTo>
                  <a:lnTo>
                    <a:pt x="946" y="618"/>
                  </a:lnTo>
                  <a:lnTo>
                    <a:pt x="924" y="520"/>
                  </a:lnTo>
                  <a:lnTo>
                    <a:pt x="880" y="377"/>
                  </a:lnTo>
                  <a:close/>
                  <a:moveTo>
                    <a:pt x="640" y="279"/>
                  </a:moveTo>
                  <a:lnTo>
                    <a:pt x="640" y="279"/>
                  </a:lnTo>
                  <a:lnTo>
                    <a:pt x="634" y="279"/>
                  </a:lnTo>
                  <a:lnTo>
                    <a:pt x="618" y="274"/>
                  </a:lnTo>
                  <a:lnTo>
                    <a:pt x="607" y="263"/>
                  </a:lnTo>
                  <a:lnTo>
                    <a:pt x="596" y="246"/>
                  </a:lnTo>
                  <a:lnTo>
                    <a:pt x="580" y="241"/>
                  </a:lnTo>
                  <a:lnTo>
                    <a:pt x="590" y="230"/>
                  </a:lnTo>
                  <a:lnTo>
                    <a:pt x="596" y="224"/>
                  </a:lnTo>
                  <a:lnTo>
                    <a:pt x="618" y="224"/>
                  </a:lnTo>
                  <a:lnTo>
                    <a:pt x="623" y="230"/>
                  </a:lnTo>
                  <a:lnTo>
                    <a:pt x="623" y="235"/>
                  </a:lnTo>
                  <a:lnTo>
                    <a:pt x="623" y="246"/>
                  </a:lnTo>
                  <a:lnTo>
                    <a:pt x="623" y="252"/>
                  </a:lnTo>
                  <a:lnTo>
                    <a:pt x="629" y="257"/>
                  </a:lnTo>
                  <a:lnTo>
                    <a:pt x="634" y="263"/>
                  </a:lnTo>
                  <a:lnTo>
                    <a:pt x="640" y="263"/>
                  </a:lnTo>
                  <a:lnTo>
                    <a:pt x="645" y="263"/>
                  </a:lnTo>
                  <a:lnTo>
                    <a:pt x="645" y="268"/>
                  </a:lnTo>
                  <a:lnTo>
                    <a:pt x="640" y="279"/>
                  </a:lnTo>
                  <a:close/>
                  <a:moveTo>
                    <a:pt x="235" y="990"/>
                  </a:moveTo>
                  <a:lnTo>
                    <a:pt x="235" y="990"/>
                  </a:lnTo>
                  <a:lnTo>
                    <a:pt x="235" y="1023"/>
                  </a:lnTo>
                  <a:lnTo>
                    <a:pt x="229" y="1067"/>
                  </a:lnTo>
                  <a:lnTo>
                    <a:pt x="224" y="1089"/>
                  </a:lnTo>
                  <a:lnTo>
                    <a:pt x="218" y="1089"/>
                  </a:lnTo>
                  <a:lnTo>
                    <a:pt x="213" y="1083"/>
                  </a:lnTo>
                  <a:lnTo>
                    <a:pt x="213" y="1072"/>
                  </a:lnTo>
                  <a:lnTo>
                    <a:pt x="207" y="1056"/>
                  </a:lnTo>
                  <a:lnTo>
                    <a:pt x="202" y="1045"/>
                  </a:lnTo>
                  <a:lnTo>
                    <a:pt x="191" y="1029"/>
                  </a:lnTo>
                  <a:lnTo>
                    <a:pt x="191" y="1012"/>
                  </a:lnTo>
                  <a:lnTo>
                    <a:pt x="197" y="1001"/>
                  </a:lnTo>
                  <a:lnTo>
                    <a:pt x="202" y="985"/>
                  </a:lnTo>
                  <a:lnTo>
                    <a:pt x="207" y="979"/>
                  </a:lnTo>
                  <a:lnTo>
                    <a:pt x="207" y="963"/>
                  </a:lnTo>
                  <a:lnTo>
                    <a:pt x="207" y="946"/>
                  </a:lnTo>
                  <a:lnTo>
                    <a:pt x="207" y="936"/>
                  </a:lnTo>
                  <a:lnTo>
                    <a:pt x="213" y="930"/>
                  </a:lnTo>
                  <a:lnTo>
                    <a:pt x="224" y="952"/>
                  </a:lnTo>
                  <a:lnTo>
                    <a:pt x="235" y="968"/>
                  </a:lnTo>
                  <a:lnTo>
                    <a:pt x="235" y="9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14403" name="Freeform 1581"/>
            <p:cNvSpPr>
              <a:spLocks/>
            </p:cNvSpPr>
            <p:nvPr/>
          </p:nvSpPr>
          <p:spPr bwMode="auto">
            <a:xfrm>
              <a:off x="443070" y="1772949"/>
              <a:ext cx="9435" cy="37741"/>
            </a:xfrm>
            <a:custGeom>
              <a:avLst/>
              <a:gdLst>
                <a:gd name="T0" fmla="*/ 0 w 11"/>
                <a:gd name="T1" fmla="*/ 2147483647 h 44"/>
                <a:gd name="T2" fmla="*/ 0 w 11"/>
                <a:gd name="T3" fmla="*/ 2147483647 h 44"/>
                <a:gd name="T4" fmla="*/ 0 w 11"/>
                <a:gd name="T5" fmla="*/ 2147483647 h 44"/>
                <a:gd name="T6" fmla="*/ 0 w 11"/>
                <a:gd name="T7" fmla="*/ 2147483647 h 44"/>
                <a:gd name="T8" fmla="*/ 0 w 11"/>
                <a:gd name="T9" fmla="*/ 2147483647 h 44"/>
                <a:gd name="T10" fmla="*/ 0 w 11"/>
                <a:gd name="T11" fmla="*/ 2147483647 h 44"/>
                <a:gd name="T12" fmla="*/ 2147483647 w 11"/>
                <a:gd name="T13" fmla="*/ 0 h 44"/>
                <a:gd name="T14" fmla="*/ 2147483647 w 11"/>
                <a:gd name="T15" fmla="*/ 0 h 44"/>
                <a:gd name="T16" fmla="*/ 0 w 11"/>
                <a:gd name="T17" fmla="*/ 2147483647 h 44"/>
                <a:gd name="T18" fmla="*/ 0 w 11"/>
                <a:gd name="T19" fmla="*/ 2147483647 h 44"/>
                <a:gd name="T20" fmla="*/ 0 w 11"/>
                <a:gd name="T21" fmla="*/ 2147483647 h 44"/>
                <a:gd name="T22" fmla="*/ 0 w 11"/>
                <a:gd name="T23" fmla="*/ 2147483647 h 44"/>
                <a:gd name="T24" fmla="*/ 0 w 11"/>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44"/>
                <a:gd name="T41" fmla="*/ 11 w 1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44">
                  <a:moveTo>
                    <a:pt x="0" y="39"/>
                  </a:moveTo>
                  <a:lnTo>
                    <a:pt x="0" y="39"/>
                  </a:lnTo>
                  <a:lnTo>
                    <a:pt x="0" y="44"/>
                  </a:lnTo>
                  <a:lnTo>
                    <a:pt x="0" y="39"/>
                  </a:lnTo>
                  <a:lnTo>
                    <a:pt x="11" y="0"/>
                  </a:lnTo>
                  <a:lnTo>
                    <a:pt x="0" y="11"/>
                  </a:lnTo>
                  <a:lnTo>
                    <a:pt x="0" y="22"/>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4404" name="Freeform 1582"/>
            <p:cNvSpPr>
              <a:spLocks noEditPoints="1"/>
            </p:cNvSpPr>
            <p:nvPr/>
          </p:nvSpPr>
          <p:spPr bwMode="auto">
            <a:xfrm>
              <a:off x="302413" y="1726628"/>
              <a:ext cx="173251" cy="93497"/>
            </a:xfrm>
            <a:custGeom>
              <a:avLst/>
              <a:gdLst>
                <a:gd name="T0" fmla="*/ 2147483647 w 202"/>
                <a:gd name="T1" fmla="*/ 2147483647 h 109"/>
                <a:gd name="T2" fmla="*/ 2147483647 w 202"/>
                <a:gd name="T3" fmla="*/ 2147483647 h 109"/>
                <a:gd name="T4" fmla="*/ 2147483647 w 202"/>
                <a:gd name="T5" fmla="*/ 2147483647 h 109"/>
                <a:gd name="T6" fmla="*/ 2147483647 w 202"/>
                <a:gd name="T7" fmla="*/ 2147483647 h 109"/>
                <a:gd name="T8" fmla="*/ 2147483647 w 202"/>
                <a:gd name="T9" fmla="*/ 2147483647 h 109"/>
                <a:gd name="T10" fmla="*/ 2147483647 w 202"/>
                <a:gd name="T11" fmla="*/ 2147483647 h 109"/>
                <a:gd name="T12" fmla="*/ 2147483647 w 202"/>
                <a:gd name="T13" fmla="*/ 2147483647 h 109"/>
                <a:gd name="T14" fmla="*/ 2147483647 w 202"/>
                <a:gd name="T15" fmla="*/ 2147483647 h 109"/>
                <a:gd name="T16" fmla="*/ 2147483647 w 202"/>
                <a:gd name="T17" fmla="*/ 2147483647 h 109"/>
                <a:gd name="T18" fmla="*/ 2147483647 w 202"/>
                <a:gd name="T19" fmla="*/ 2147483647 h 109"/>
                <a:gd name="T20" fmla="*/ 2147483647 w 202"/>
                <a:gd name="T21" fmla="*/ 2147483647 h 109"/>
                <a:gd name="T22" fmla="*/ 2147483647 w 202"/>
                <a:gd name="T23" fmla="*/ 2147483647 h 109"/>
                <a:gd name="T24" fmla="*/ 2147483647 w 202"/>
                <a:gd name="T25" fmla="*/ 2147483647 h 109"/>
                <a:gd name="T26" fmla="*/ 2147483647 w 202"/>
                <a:gd name="T27" fmla="*/ 2147483647 h 109"/>
                <a:gd name="T28" fmla="*/ 2147483647 w 202"/>
                <a:gd name="T29" fmla="*/ 2147483647 h 109"/>
                <a:gd name="T30" fmla="*/ 2147483647 w 202"/>
                <a:gd name="T31" fmla="*/ 0 h 109"/>
                <a:gd name="T32" fmla="*/ 0 w 202"/>
                <a:gd name="T33" fmla="*/ 0 h 109"/>
                <a:gd name="T34" fmla="*/ 0 w 202"/>
                <a:gd name="T35" fmla="*/ 2147483647 h 109"/>
                <a:gd name="T36" fmla="*/ 0 w 202"/>
                <a:gd name="T37" fmla="*/ 2147483647 h 109"/>
                <a:gd name="T38" fmla="*/ 0 w 202"/>
                <a:gd name="T39" fmla="*/ 2147483647 h 109"/>
                <a:gd name="T40" fmla="*/ 2147483647 w 202"/>
                <a:gd name="T41" fmla="*/ 2147483647 h 109"/>
                <a:gd name="T42" fmla="*/ 2147483647 w 202"/>
                <a:gd name="T43" fmla="*/ 2147483647 h 109"/>
                <a:gd name="T44" fmla="*/ 2147483647 w 202"/>
                <a:gd name="T45" fmla="*/ 2147483647 h 109"/>
                <a:gd name="T46" fmla="*/ 2147483647 w 202"/>
                <a:gd name="T47" fmla="*/ 2147483647 h 109"/>
                <a:gd name="T48" fmla="*/ 2147483647 w 202"/>
                <a:gd name="T49" fmla="*/ 2147483647 h 109"/>
                <a:gd name="T50" fmla="*/ 2147483647 w 202"/>
                <a:gd name="T51" fmla="*/ 2147483647 h 109"/>
                <a:gd name="T52" fmla="*/ 2147483647 w 202"/>
                <a:gd name="T53" fmla="*/ 2147483647 h 109"/>
                <a:gd name="T54" fmla="*/ 2147483647 w 202"/>
                <a:gd name="T55" fmla="*/ 2147483647 h 109"/>
                <a:gd name="T56" fmla="*/ 2147483647 w 202"/>
                <a:gd name="T57" fmla="*/ 2147483647 h 109"/>
                <a:gd name="T58" fmla="*/ 2147483647 w 202"/>
                <a:gd name="T59" fmla="*/ 2147483647 h 109"/>
                <a:gd name="T60" fmla="*/ 2147483647 w 202"/>
                <a:gd name="T61" fmla="*/ 2147483647 h 109"/>
                <a:gd name="T62" fmla="*/ 2147483647 w 202"/>
                <a:gd name="T63" fmla="*/ 2147483647 h 109"/>
                <a:gd name="T64" fmla="*/ 2147483647 w 202"/>
                <a:gd name="T65" fmla="*/ 2147483647 h 109"/>
                <a:gd name="T66" fmla="*/ 2147483647 w 202"/>
                <a:gd name="T67" fmla="*/ 2147483647 h 109"/>
                <a:gd name="T68" fmla="*/ 2147483647 w 202"/>
                <a:gd name="T69" fmla="*/ 2147483647 h 109"/>
                <a:gd name="T70" fmla="*/ 2147483647 w 202"/>
                <a:gd name="T71" fmla="*/ 2147483647 h 109"/>
                <a:gd name="T72" fmla="*/ 2147483647 w 202"/>
                <a:gd name="T73" fmla="*/ 2147483647 h 109"/>
                <a:gd name="T74" fmla="*/ 2147483647 w 202"/>
                <a:gd name="T75" fmla="*/ 2147483647 h 109"/>
                <a:gd name="T76" fmla="*/ 2147483647 w 202"/>
                <a:gd name="T77" fmla="*/ 2147483647 h 109"/>
                <a:gd name="T78" fmla="*/ 2147483647 w 202"/>
                <a:gd name="T79" fmla="*/ 2147483647 h 109"/>
                <a:gd name="T80" fmla="*/ 2147483647 w 202"/>
                <a:gd name="T81" fmla="*/ 2147483647 h 109"/>
                <a:gd name="T82" fmla="*/ 2147483647 w 202"/>
                <a:gd name="T83" fmla="*/ 2147483647 h 109"/>
                <a:gd name="T84" fmla="*/ 2147483647 w 202"/>
                <a:gd name="T85" fmla="*/ 2147483647 h 109"/>
                <a:gd name="T86" fmla="*/ 2147483647 w 202"/>
                <a:gd name="T87" fmla="*/ 2147483647 h 109"/>
                <a:gd name="T88" fmla="*/ 2147483647 w 202"/>
                <a:gd name="T89" fmla="*/ 2147483647 h 109"/>
                <a:gd name="T90" fmla="*/ 2147483647 w 202"/>
                <a:gd name="T91" fmla="*/ 2147483647 h 109"/>
                <a:gd name="T92" fmla="*/ 2147483647 w 202"/>
                <a:gd name="T93" fmla="*/ 2147483647 h 109"/>
                <a:gd name="T94" fmla="*/ 2147483647 w 202"/>
                <a:gd name="T95" fmla="*/ 2147483647 h 109"/>
                <a:gd name="T96" fmla="*/ 2147483647 w 202"/>
                <a:gd name="T97" fmla="*/ 2147483647 h 109"/>
                <a:gd name="T98" fmla="*/ 2147483647 w 202"/>
                <a:gd name="T99" fmla="*/ 2147483647 h 109"/>
                <a:gd name="T100" fmla="*/ 2147483647 w 202"/>
                <a:gd name="T101" fmla="*/ 2147483647 h 109"/>
                <a:gd name="T102" fmla="*/ 2147483647 w 202"/>
                <a:gd name="T103" fmla="*/ 2147483647 h 109"/>
                <a:gd name="T104" fmla="*/ 2147483647 w 202"/>
                <a:gd name="T105" fmla="*/ 2147483647 h 109"/>
                <a:gd name="T106" fmla="*/ 2147483647 w 202"/>
                <a:gd name="T107" fmla="*/ 2147483647 h 109"/>
                <a:gd name="T108" fmla="*/ 2147483647 w 202"/>
                <a:gd name="T109" fmla="*/ 2147483647 h 109"/>
                <a:gd name="T110" fmla="*/ 2147483647 w 202"/>
                <a:gd name="T111" fmla="*/ 2147483647 h 109"/>
                <a:gd name="T112" fmla="*/ 2147483647 w 202"/>
                <a:gd name="T113" fmla="*/ 2147483647 h 109"/>
                <a:gd name="T114" fmla="*/ 2147483647 w 202"/>
                <a:gd name="T115" fmla="*/ 2147483647 h 109"/>
                <a:gd name="T116" fmla="*/ 2147483647 w 202"/>
                <a:gd name="T117" fmla="*/ 2147483647 h 1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2"/>
                <a:gd name="T178" fmla="*/ 0 h 109"/>
                <a:gd name="T179" fmla="*/ 202 w 202"/>
                <a:gd name="T180" fmla="*/ 109 h 1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2" h="109">
                  <a:moveTo>
                    <a:pt x="202" y="71"/>
                  </a:moveTo>
                  <a:lnTo>
                    <a:pt x="202" y="71"/>
                  </a:lnTo>
                  <a:lnTo>
                    <a:pt x="202" y="60"/>
                  </a:lnTo>
                  <a:lnTo>
                    <a:pt x="197" y="54"/>
                  </a:lnTo>
                  <a:lnTo>
                    <a:pt x="175" y="38"/>
                  </a:lnTo>
                  <a:lnTo>
                    <a:pt x="148" y="32"/>
                  </a:lnTo>
                  <a:lnTo>
                    <a:pt x="137" y="38"/>
                  </a:lnTo>
                  <a:lnTo>
                    <a:pt x="131" y="43"/>
                  </a:lnTo>
                  <a:lnTo>
                    <a:pt x="126" y="43"/>
                  </a:lnTo>
                  <a:lnTo>
                    <a:pt x="115" y="38"/>
                  </a:lnTo>
                  <a:lnTo>
                    <a:pt x="55" y="11"/>
                  </a:lnTo>
                  <a:lnTo>
                    <a:pt x="16" y="0"/>
                  </a:lnTo>
                  <a:lnTo>
                    <a:pt x="0" y="0"/>
                  </a:lnTo>
                  <a:lnTo>
                    <a:pt x="0" y="5"/>
                  </a:lnTo>
                  <a:lnTo>
                    <a:pt x="11" y="5"/>
                  </a:lnTo>
                  <a:lnTo>
                    <a:pt x="49" y="22"/>
                  </a:lnTo>
                  <a:lnTo>
                    <a:pt x="82" y="43"/>
                  </a:lnTo>
                  <a:lnTo>
                    <a:pt x="120" y="65"/>
                  </a:lnTo>
                  <a:lnTo>
                    <a:pt x="115" y="76"/>
                  </a:lnTo>
                  <a:lnTo>
                    <a:pt x="120" y="87"/>
                  </a:lnTo>
                  <a:lnTo>
                    <a:pt x="126" y="98"/>
                  </a:lnTo>
                  <a:lnTo>
                    <a:pt x="142" y="109"/>
                  </a:lnTo>
                  <a:lnTo>
                    <a:pt x="159" y="109"/>
                  </a:lnTo>
                  <a:lnTo>
                    <a:pt x="175" y="109"/>
                  </a:lnTo>
                  <a:lnTo>
                    <a:pt x="181" y="104"/>
                  </a:lnTo>
                  <a:lnTo>
                    <a:pt x="191" y="98"/>
                  </a:lnTo>
                  <a:lnTo>
                    <a:pt x="202" y="82"/>
                  </a:lnTo>
                  <a:lnTo>
                    <a:pt x="202" y="71"/>
                  </a:lnTo>
                  <a:close/>
                  <a:moveTo>
                    <a:pt x="77" y="82"/>
                  </a:moveTo>
                  <a:lnTo>
                    <a:pt x="77" y="82"/>
                  </a:lnTo>
                  <a:lnTo>
                    <a:pt x="60" y="71"/>
                  </a:lnTo>
                  <a:lnTo>
                    <a:pt x="55" y="65"/>
                  </a:lnTo>
                  <a:lnTo>
                    <a:pt x="55" y="49"/>
                  </a:lnTo>
                  <a:lnTo>
                    <a:pt x="60" y="38"/>
                  </a:lnTo>
                  <a:lnTo>
                    <a:pt x="66" y="27"/>
                  </a:lnTo>
                  <a:lnTo>
                    <a:pt x="77" y="22"/>
                  </a:lnTo>
                  <a:lnTo>
                    <a:pt x="82" y="22"/>
                  </a:lnTo>
                  <a:lnTo>
                    <a:pt x="93" y="27"/>
                  </a:lnTo>
                  <a:lnTo>
                    <a:pt x="115" y="38"/>
                  </a:lnTo>
                  <a:lnTo>
                    <a:pt x="120" y="49"/>
                  </a:lnTo>
                  <a:lnTo>
                    <a:pt x="115" y="60"/>
                  </a:lnTo>
                  <a:lnTo>
                    <a:pt x="109" y="76"/>
                  </a:lnTo>
                  <a:lnTo>
                    <a:pt x="98" y="82"/>
                  </a:lnTo>
                  <a:lnTo>
                    <a:pt x="7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4405" name="Freeform 1583"/>
            <p:cNvSpPr>
              <a:spLocks/>
            </p:cNvSpPr>
            <p:nvPr/>
          </p:nvSpPr>
          <p:spPr bwMode="auto">
            <a:xfrm>
              <a:off x="288691" y="1918766"/>
              <a:ext cx="112354" cy="385137"/>
            </a:xfrm>
            <a:custGeom>
              <a:avLst/>
              <a:gdLst>
                <a:gd name="T0" fmla="*/ 0 w 131"/>
                <a:gd name="T1" fmla="*/ 2147483647 h 449"/>
                <a:gd name="T2" fmla="*/ 0 w 131"/>
                <a:gd name="T3" fmla="*/ 2147483647 h 449"/>
                <a:gd name="T4" fmla="*/ 2147483647 w 131"/>
                <a:gd name="T5" fmla="*/ 2147483647 h 449"/>
                <a:gd name="T6" fmla="*/ 2147483647 w 131"/>
                <a:gd name="T7" fmla="*/ 2147483647 h 449"/>
                <a:gd name="T8" fmla="*/ 2147483647 w 131"/>
                <a:gd name="T9" fmla="*/ 2147483647 h 449"/>
                <a:gd name="T10" fmla="*/ 2147483647 w 131"/>
                <a:gd name="T11" fmla="*/ 2147483647 h 449"/>
                <a:gd name="T12" fmla="*/ 2147483647 w 131"/>
                <a:gd name="T13" fmla="*/ 2147483647 h 449"/>
                <a:gd name="T14" fmla="*/ 2147483647 w 131"/>
                <a:gd name="T15" fmla="*/ 2147483647 h 449"/>
                <a:gd name="T16" fmla="*/ 2147483647 w 131"/>
                <a:gd name="T17" fmla="*/ 2147483647 h 449"/>
                <a:gd name="T18" fmla="*/ 2147483647 w 131"/>
                <a:gd name="T19" fmla="*/ 2147483647 h 449"/>
                <a:gd name="T20" fmla="*/ 2147483647 w 131"/>
                <a:gd name="T21" fmla="*/ 2147483647 h 449"/>
                <a:gd name="T22" fmla="*/ 2147483647 w 131"/>
                <a:gd name="T23" fmla="*/ 2147483647 h 449"/>
                <a:gd name="T24" fmla="*/ 2147483647 w 131"/>
                <a:gd name="T25" fmla="*/ 2147483647 h 449"/>
                <a:gd name="T26" fmla="*/ 2147483647 w 131"/>
                <a:gd name="T27" fmla="*/ 2147483647 h 449"/>
                <a:gd name="T28" fmla="*/ 2147483647 w 131"/>
                <a:gd name="T29" fmla="*/ 2147483647 h 449"/>
                <a:gd name="T30" fmla="*/ 2147483647 w 131"/>
                <a:gd name="T31" fmla="*/ 2147483647 h 449"/>
                <a:gd name="T32" fmla="*/ 2147483647 w 131"/>
                <a:gd name="T33" fmla="*/ 2147483647 h 449"/>
                <a:gd name="T34" fmla="*/ 2147483647 w 131"/>
                <a:gd name="T35" fmla="*/ 2147483647 h 449"/>
                <a:gd name="T36" fmla="*/ 2147483647 w 131"/>
                <a:gd name="T37" fmla="*/ 2147483647 h 449"/>
                <a:gd name="T38" fmla="*/ 2147483647 w 131"/>
                <a:gd name="T39" fmla="*/ 2147483647 h 449"/>
                <a:gd name="T40" fmla="*/ 2147483647 w 131"/>
                <a:gd name="T41" fmla="*/ 2147483647 h 449"/>
                <a:gd name="T42" fmla="*/ 2147483647 w 131"/>
                <a:gd name="T43" fmla="*/ 2147483647 h 449"/>
                <a:gd name="T44" fmla="*/ 2147483647 w 131"/>
                <a:gd name="T45" fmla="*/ 2147483647 h 449"/>
                <a:gd name="T46" fmla="*/ 2147483647 w 131"/>
                <a:gd name="T47" fmla="*/ 2147483647 h 449"/>
                <a:gd name="T48" fmla="*/ 2147483647 w 131"/>
                <a:gd name="T49" fmla="*/ 2147483647 h 449"/>
                <a:gd name="T50" fmla="*/ 2147483647 w 131"/>
                <a:gd name="T51" fmla="*/ 2147483647 h 449"/>
                <a:gd name="T52" fmla="*/ 2147483647 w 131"/>
                <a:gd name="T53" fmla="*/ 2147483647 h 449"/>
                <a:gd name="T54" fmla="*/ 2147483647 w 131"/>
                <a:gd name="T55" fmla="*/ 2147483647 h 449"/>
                <a:gd name="T56" fmla="*/ 2147483647 w 131"/>
                <a:gd name="T57" fmla="*/ 0 h 449"/>
                <a:gd name="T58" fmla="*/ 2147483647 w 131"/>
                <a:gd name="T59" fmla="*/ 0 h 449"/>
                <a:gd name="T60" fmla="*/ 2147483647 w 131"/>
                <a:gd name="T61" fmla="*/ 2147483647 h 449"/>
                <a:gd name="T62" fmla="*/ 2147483647 w 131"/>
                <a:gd name="T63" fmla="*/ 2147483647 h 449"/>
                <a:gd name="T64" fmla="*/ 0 w 131"/>
                <a:gd name="T65" fmla="*/ 2147483647 h 44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1"/>
                <a:gd name="T100" fmla="*/ 0 h 449"/>
                <a:gd name="T101" fmla="*/ 131 w 131"/>
                <a:gd name="T102" fmla="*/ 449 h 44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1" h="449">
                  <a:moveTo>
                    <a:pt x="0" y="55"/>
                  </a:moveTo>
                  <a:lnTo>
                    <a:pt x="0" y="55"/>
                  </a:lnTo>
                  <a:lnTo>
                    <a:pt x="11" y="60"/>
                  </a:lnTo>
                  <a:lnTo>
                    <a:pt x="21" y="77"/>
                  </a:lnTo>
                  <a:lnTo>
                    <a:pt x="32" y="104"/>
                  </a:lnTo>
                  <a:lnTo>
                    <a:pt x="54" y="186"/>
                  </a:lnTo>
                  <a:lnTo>
                    <a:pt x="76" y="273"/>
                  </a:lnTo>
                  <a:lnTo>
                    <a:pt x="98" y="323"/>
                  </a:lnTo>
                  <a:lnTo>
                    <a:pt x="120" y="372"/>
                  </a:lnTo>
                  <a:lnTo>
                    <a:pt x="125" y="410"/>
                  </a:lnTo>
                  <a:lnTo>
                    <a:pt x="125" y="449"/>
                  </a:lnTo>
                  <a:lnTo>
                    <a:pt x="131" y="399"/>
                  </a:lnTo>
                  <a:lnTo>
                    <a:pt x="131" y="350"/>
                  </a:lnTo>
                  <a:lnTo>
                    <a:pt x="120" y="235"/>
                  </a:lnTo>
                  <a:lnTo>
                    <a:pt x="109" y="126"/>
                  </a:lnTo>
                  <a:lnTo>
                    <a:pt x="93" y="27"/>
                  </a:lnTo>
                  <a:lnTo>
                    <a:pt x="87" y="22"/>
                  </a:lnTo>
                  <a:lnTo>
                    <a:pt x="76" y="22"/>
                  </a:lnTo>
                  <a:lnTo>
                    <a:pt x="60" y="22"/>
                  </a:lnTo>
                  <a:lnTo>
                    <a:pt x="49" y="16"/>
                  </a:lnTo>
                  <a:lnTo>
                    <a:pt x="38" y="5"/>
                  </a:lnTo>
                  <a:lnTo>
                    <a:pt x="32" y="5"/>
                  </a:lnTo>
                  <a:lnTo>
                    <a:pt x="21" y="0"/>
                  </a:lnTo>
                  <a:lnTo>
                    <a:pt x="11" y="16"/>
                  </a:lnTo>
                  <a:lnTo>
                    <a:pt x="5" y="44"/>
                  </a:lnTo>
                  <a:lnTo>
                    <a:pt x="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4406" name="Freeform 1584"/>
            <p:cNvSpPr>
              <a:spLocks/>
            </p:cNvSpPr>
            <p:nvPr/>
          </p:nvSpPr>
          <p:spPr bwMode="auto">
            <a:xfrm>
              <a:off x="316135" y="1923054"/>
              <a:ext cx="108067" cy="408298"/>
            </a:xfrm>
            <a:custGeom>
              <a:avLst/>
              <a:gdLst>
                <a:gd name="T0" fmla="*/ 2147483647 w 126"/>
                <a:gd name="T1" fmla="*/ 2147483647 h 476"/>
                <a:gd name="T2" fmla="*/ 0 w 126"/>
                <a:gd name="T3" fmla="*/ 2147483647 h 476"/>
                <a:gd name="T4" fmla="*/ 2147483647 w 126"/>
                <a:gd name="T5" fmla="*/ 2147483647 h 476"/>
                <a:gd name="T6" fmla="*/ 2147483647 w 126"/>
                <a:gd name="T7" fmla="*/ 2147483647 h 476"/>
                <a:gd name="T8" fmla="*/ 2147483647 w 126"/>
                <a:gd name="T9" fmla="*/ 2147483647 h 476"/>
                <a:gd name="T10" fmla="*/ 2147483647 w 126"/>
                <a:gd name="T11" fmla="*/ 2147483647 h 476"/>
                <a:gd name="T12" fmla="*/ 2147483647 w 126"/>
                <a:gd name="T13" fmla="*/ 2147483647 h 476"/>
                <a:gd name="T14" fmla="*/ 2147483647 w 126"/>
                <a:gd name="T15" fmla="*/ 2147483647 h 476"/>
                <a:gd name="T16" fmla="*/ 2147483647 w 126"/>
                <a:gd name="T17" fmla="*/ 2147483647 h 476"/>
                <a:gd name="T18" fmla="*/ 2147483647 w 126"/>
                <a:gd name="T19" fmla="*/ 2147483647 h 476"/>
                <a:gd name="T20" fmla="*/ 2147483647 w 126"/>
                <a:gd name="T21" fmla="*/ 2147483647 h 476"/>
                <a:gd name="T22" fmla="*/ 2147483647 w 126"/>
                <a:gd name="T23" fmla="*/ 2147483647 h 476"/>
                <a:gd name="T24" fmla="*/ 2147483647 w 126"/>
                <a:gd name="T25" fmla="*/ 2147483647 h 476"/>
                <a:gd name="T26" fmla="*/ 2147483647 w 126"/>
                <a:gd name="T27" fmla="*/ 2147483647 h 476"/>
                <a:gd name="T28" fmla="*/ 2147483647 w 126"/>
                <a:gd name="T29" fmla="*/ 2147483647 h 476"/>
                <a:gd name="T30" fmla="*/ 2147483647 w 126"/>
                <a:gd name="T31" fmla="*/ 2147483647 h 476"/>
                <a:gd name="T32" fmla="*/ 2147483647 w 126"/>
                <a:gd name="T33" fmla="*/ 2147483647 h 476"/>
                <a:gd name="T34" fmla="*/ 2147483647 w 126"/>
                <a:gd name="T35" fmla="*/ 2147483647 h 476"/>
                <a:gd name="T36" fmla="*/ 2147483647 w 126"/>
                <a:gd name="T37" fmla="*/ 0 h 476"/>
                <a:gd name="T38" fmla="*/ 2147483647 w 126"/>
                <a:gd name="T39" fmla="*/ 0 h 476"/>
                <a:gd name="T40" fmla="*/ 2147483647 w 126"/>
                <a:gd name="T41" fmla="*/ 2147483647 h 476"/>
                <a:gd name="T42" fmla="*/ 2147483647 w 126"/>
                <a:gd name="T43" fmla="*/ 2147483647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6"/>
                <a:gd name="T67" fmla="*/ 0 h 476"/>
                <a:gd name="T68" fmla="*/ 126 w 126"/>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6" h="476">
                  <a:moveTo>
                    <a:pt x="11" y="6"/>
                  </a:moveTo>
                  <a:lnTo>
                    <a:pt x="0" y="17"/>
                  </a:lnTo>
                  <a:lnTo>
                    <a:pt x="22" y="55"/>
                  </a:lnTo>
                  <a:lnTo>
                    <a:pt x="28" y="88"/>
                  </a:lnTo>
                  <a:lnTo>
                    <a:pt x="39" y="121"/>
                  </a:lnTo>
                  <a:lnTo>
                    <a:pt x="44" y="214"/>
                  </a:lnTo>
                  <a:lnTo>
                    <a:pt x="44" y="323"/>
                  </a:lnTo>
                  <a:lnTo>
                    <a:pt x="77" y="444"/>
                  </a:lnTo>
                  <a:lnTo>
                    <a:pt x="99" y="476"/>
                  </a:lnTo>
                  <a:lnTo>
                    <a:pt x="126" y="372"/>
                  </a:lnTo>
                  <a:lnTo>
                    <a:pt x="82" y="148"/>
                  </a:lnTo>
                  <a:lnTo>
                    <a:pt x="44" y="50"/>
                  </a:lnTo>
                  <a:lnTo>
                    <a:pt x="50" y="17"/>
                  </a:lnTo>
                  <a:lnTo>
                    <a:pt x="39" y="6"/>
                  </a:lnTo>
                  <a:lnTo>
                    <a:pt x="22" y="0"/>
                  </a:lnTo>
                  <a:lnTo>
                    <a:pt x="17" y="0"/>
                  </a:ln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nvGrpSpPr>
          <p:cNvPr id="14359" name="Gruppe 291"/>
          <p:cNvGrpSpPr>
            <a:grpSpLocks/>
          </p:cNvGrpSpPr>
          <p:nvPr/>
        </p:nvGrpSpPr>
        <p:grpSpPr bwMode="auto">
          <a:xfrm>
            <a:off x="2727325" y="1208088"/>
            <a:ext cx="600075" cy="1108075"/>
            <a:chOff x="-1" y="-1241699"/>
            <a:chExt cx="5000630" cy="9231491"/>
          </a:xfrm>
          <a:solidFill>
            <a:schemeClr val="bg1">
              <a:lumMod val="85000"/>
            </a:schemeClr>
          </a:solidFill>
        </p:grpSpPr>
        <p:grpSp>
          <p:nvGrpSpPr>
            <p:cNvPr id="168" name="Gruppe 111"/>
            <p:cNvGrpSpPr/>
            <p:nvPr/>
          </p:nvGrpSpPr>
          <p:grpSpPr>
            <a:xfrm>
              <a:off x="-1" y="-1241699"/>
              <a:ext cx="5000630" cy="9231491"/>
              <a:chOff x="3295650" y="3451225"/>
              <a:chExt cx="1392238" cy="2570163"/>
            </a:xfrm>
            <a:grpFill/>
          </p:grpSpPr>
          <p:sp>
            <p:nvSpPr>
              <p:cNvPr id="172" name="Freeform 207"/>
              <p:cNvSpPr>
                <a:spLocks/>
              </p:cNvSpPr>
              <p:nvPr/>
            </p:nvSpPr>
            <p:spPr bwMode="auto">
              <a:xfrm>
                <a:off x="4586288" y="4176713"/>
                <a:ext cx="30162" cy="30162"/>
              </a:xfrm>
              <a:custGeom>
                <a:avLst/>
                <a:gdLst>
                  <a:gd name="T0" fmla="*/ 20637 w 19"/>
                  <a:gd name="T1" fmla="*/ 0 h 19"/>
                  <a:gd name="T2" fmla="*/ 20637 w 19"/>
                  <a:gd name="T3" fmla="*/ 0 h 19"/>
                  <a:gd name="T4" fmla="*/ 20637 w 19"/>
                  <a:gd name="T5" fmla="*/ 9525 h 19"/>
                  <a:gd name="T6" fmla="*/ 9525 w 19"/>
                  <a:gd name="T7" fmla="*/ 9525 h 19"/>
                  <a:gd name="T8" fmla="*/ 0 w 19"/>
                  <a:gd name="T9" fmla="*/ 0 h 19"/>
                  <a:gd name="T10" fmla="*/ 0 w 19"/>
                  <a:gd name="T11" fmla="*/ 0 h 19"/>
                  <a:gd name="T12" fmla="*/ 0 w 19"/>
                  <a:gd name="T13" fmla="*/ 30162 h 19"/>
                  <a:gd name="T14" fmla="*/ 0 w 19"/>
                  <a:gd name="T15" fmla="*/ 30162 h 19"/>
                  <a:gd name="T16" fmla="*/ 9525 w 19"/>
                  <a:gd name="T17" fmla="*/ 30162 h 19"/>
                  <a:gd name="T18" fmla="*/ 30162 w 19"/>
                  <a:gd name="T19" fmla="*/ 20637 h 19"/>
                  <a:gd name="T20" fmla="*/ 30162 w 19"/>
                  <a:gd name="T21" fmla="*/ 9525 h 19"/>
                  <a:gd name="T22" fmla="*/ 20637 w 19"/>
                  <a:gd name="T23" fmla="*/ 0 h 19"/>
                  <a:gd name="T24" fmla="*/ 206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3" y="0"/>
                    </a:moveTo>
                    <a:lnTo>
                      <a:pt x="13" y="0"/>
                    </a:lnTo>
                    <a:lnTo>
                      <a:pt x="13" y="6"/>
                    </a:lnTo>
                    <a:lnTo>
                      <a:pt x="6" y="6"/>
                    </a:lnTo>
                    <a:lnTo>
                      <a:pt x="0" y="0"/>
                    </a:lnTo>
                    <a:lnTo>
                      <a:pt x="0" y="19"/>
                    </a:lnTo>
                    <a:lnTo>
                      <a:pt x="6" y="19"/>
                    </a:lnTo>
                    <a:lnTo>
                      <a:pt x="19" y="13"/>
                    </a:lnTo>
                    <a:lnTo>
                      <a:pt x="19" y="6"/>
                    </a:lnTo>
                    <a:lnTo>
                      <a:pt x="13"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3" name="Freeform 212"/>
              <p:cNvSpPr>
                <a:spLocks/>
              </p:cNvSpPr>
              <p:nvPr/>
            </p:nvSpPr>
            <p:spPr bwMode="auto">
              <a:xfrm>
                <a:off x="4465638" y="4348163"/>
                <a:ext cx="80962" cy="20637"/>
              </a:xfrm>
              <a:custGeom>
                <a:avLst/>
                <a:gdLst>
                  <a:gd name="T0" fmla="*/ 0 w 51"/>
                  <a:gd name="T1" fmla="*/ 0 h 13"/>
                  <a:gd name="T2" fmla="*/ 0 w 51"/>
                  <a:gd name="T3" fmla="*/ 0 h 13"/>
                  <a:gd name="T4" fmla="*/ 0 w 51"/>
                  <a:gd name="T5" fmla="*/ 9525 h 13"/>
                  <a:gd name="T6" fmla="*/ 9525 w 51"/>
                  <a:gd name="T7" fmla="*/ 20637 h 13"/>
                  <a:gd name="T8" fmla="*/ 30162 w 51"/>
                  <a:gd name="T9" fmla="*/ 20637 h 13"/>
                  <a:gd name="T10" fmla="*/ 50800 w 51"/>
                  <a:gd name="T11" fmla="*/ 20637 h 13"/>
                  <a:gd name="T12" fmla="*/ 80962 w 51"/>
                  <a:gd name="T13" fmla="*/ 20637 h 13"/>
                  <a:gd name="T14" fmla="*/ 80962 w 51"/>
                  <a:gd name="T15" fmla="*/ 20637 h 13"/>
                  <a:gd name="T16" fmla="*/ 80962 w 51"/>
                  <a:gd name="T17" fmla="*/ 9525 h 13"/>
                  <a:gd name="T18" fmla="*/ 69850 w 51"/>
                  <a:gd name="T19" fmla="*/ 0 h 13"/>
                  <a:gd name="T20" fmla="*/ 39687 w 51"/>
                  <a:gd name="T21" fmla="*/ 0 h 13"/>
                  <a:gd name="T22" fmla="*/ 9525 w 51"/>
                  <a:gd name="T23" fmla="*/ 0 h 13"/>
                  <a:gd name="T24" fmla="*/ 0 w 51"/>
                  <a:gd name="T25" fmla="*/ 0 h 13"/>
                  <a:gd name="T26" fmla="*/ 0 w 51"/>
                  <a:gd name="T27" fmla="*/ 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13"/>
                  <a:gd name="T44" fmla="*/ 51 w 5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13">
                    <a:moveTo>
                      <a:pt x="0" y="0"/>
                    </a:moveTo>
                    <a:lnTo>
                      <a:pt x="0" y="0"/>
                    </a:lnTo>
                    <a:lnTo>
                      <a:pt x="0" y="6"/>
                    </a:lnTo>
                    <a:lnTo>
                      <a:pt x="6" y="13"/>
                    </a:lnTo>
                    <a:lnTo>
                      <a:pt x="19" y="13"/>
                    </a:lnTo>
                    <a:lnTo>
                      <a:pt x="32" y="13"/>
                    </a:lnTo>
                    <a:lnTo>
                      <a:pt x="51" y="13"/>
                    </a:lnTo>
                    <a:lnTo>
                      <a:pt x="51" y="6"/>
                    </a:lnTo>
                    <a:lnTo>
                      <a:pt x="44" y="0"/>
                    </a:lnTo>
                    <a:lnTo>
                      <a:pt x="25" y="0"/>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4" name="Freeform 214"/>
              <p:cNvSpPr>
                <a:spLocks/>
              </p:cNvSpPr>
              <p:nvPr/>
            </p:nvSpPr>
            <p:spPr bwMode="auto">
              <a:xfrm>
                <a:off x="4475163" y="4378325"/>
                <a:ext cx="71437" cy="30163"/>
              </a:xfrm>
              <a:custGeom>
                <a:avLst/>
                <a:gdLst>
                  <a:gd name="T0" fmla="*/ 0 w 45"/>
                  <a:gd name="T1" fmla="*/ 0 h 19"/>
                  <a:gd name="T2" fmla="*/ 0 w 45"/>
                  <a:gd name="T3" fmla="*/ 0 h 19"/>
                  <a:gd name="T4" fmla="*/ 0 w 45"/>
                  <a:gd name="T5" fmla="*/ 30163 h 19"/>
                  <a:gd name="T6" fmla="*/ 0 w 45"/>
                  <a:gd name="T7" fmla="*/ 30163 h 19"/>
                  <a:gd name="T8" fmla="*/ 41275 w 45"/>
                  <a:gd name="T9" fmla="*/ 20638 h 19"/>
                  <a:gd name="T10" fmla="*/ 71437 w 45"/>
                  <a:gd name="T11" fmla="*/ 20638 h 19"/>
                  <a:gd name="T12" fmla="*/ 71437 w 45"/>
                  <a:gd name="T13" fmla="*/ 20638 h 19"/>
                  <a:gd name="T14" fmla="*/ 60325 w 45"/>
                  <a:gd name="T15" fmla="*/ 0 h 19"/>
                  <a:gd name="T16" fmla="*/ 41275 w 45"/>
                  <a:gd name="T17" fmla="*/ 0 h 19"/>
                  <a:gd name="T18" fmla="*/ 0 w 45"/>
                  <a:gd name="T19" fmla="*/ 0 h 19"/>
                  <a:gd name="T20" fmla="*/ 0 w 45"/>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9"/>
                  <a:gd name="T35" fmla="*/ 45 w 45"/>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9">
                    <a:moveTo>
                      <a:pt x="0" y="0"/>
                    </a:moveTo>
                    <a:lnTo>
                      <a:pt x="0" y="0"/>
                    </a:lnTo>
                    <a:lnTo>
                      <a:pt x="0" y="19"/>
                    </a:lnTo>
                    <a:lnTo>
                      <a:pt x="26" y="13"/>
                    </a:lnTo>
                    <a:lnTo>
                      <a:pt x="45" y="13"/>
                    </a:lnTo>
                    <a:lnTo>
                      <a:pt x="38" y="0"/>
                    </a:lnTo>
                    <a:lnTo>
                      <a:pt x="2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5" name="Freeform 216"/>
              <p:cNvSpPr>
                <a:spLocks/>
              </p:cNvSpPr>
              <p:nvPr/>
            </p:nvSpPr>
            <p:spPr bwMode="auto">
              <a:xfrm>
                <a:off x="4465638" y="4408488"/>
                <a:ext cx="60325" cy="20637"/>
              </a:xfrm>
              <a:custGeom>
                <a:avLst/>
                <a:gdLst>
                  <a:gd name="T0" fmla="*/ 60325 w 38"/>
                  <a:gd name="T1" fmla="*/ 20637 h 13"/>
                  <a:gd name="T2" fmla="*/ 60325 w 38"/>
                  <a:gd name="T3" fmla="*/ 20637 h 13"/>
                  <a:gd name="T4" fmla="*/ 60325 w 38"/>
                  <a:gd name="T5" fmla="*/ 11112 h 13"/>
                  <a:gd name="T6" fmla="*/ 50800 w 38"/>
                  <a:gd name="T7" fmla="*/ 0 h 13"/>
                  <a:gd name="T8" fmla="*/ 30163 w 38"/>
                  <a:gd name="T9" fmla="*/ 0 h 13"/>
                  <a:gd name="T10" fmla="*/ 0 w 38"/>
                  <a:gd name="T11" fmla="*/ 0 h 13"/>
                  <a:gd name="T12" fmla="*/ 0 w 38"/>
                  <a:gd name="T13" fmla="*/ 11112 h 13"/>
                  <a:gd name="T14" fmla="*/ 0 w 38"/>
                  <a:gd name="T15" fmla="*/ 20637 h 13"/>
                  <a:gd name="T16" fmla="*/ 0 w 38"/>
                  <a:gd name="T17" fmla="*/ 20637 h 13"/>
                  <a:gd name="T18" fmla="*/ 9525 w 38"/>
                  <a:gd name="T19" fmla="*/ 20637 h 13"/>
                  <a:gd name="T20" fmla="*/ 30163 w 38"/>
                  <a:gd name="T21" fmla="*/ 20637 h 13"/>
                  <a:gd name="T22" fmla="*/ 50800 w 38"/>
                  <a:gd name="T23" fmla="*/ 11112 h 13"/>
                  <a:gd name="T24" fmla="*/ 60325 w 38"/>
                  <a:gd name="T25" fmla="*/ 20637 h 13"/>
                  <a:gd name="T26" fmla="*/ 60325 w 38"/>
                  <a:gd name="T27" fmla="*/ 2063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13"/>
                  <a:gd name="T44" fmla="*/ 38 w 38"/>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13">
                    <a:moveTo>
                      <a:pt x="38" y="13"/>
                    </a:moveTo>
                    <a:lnTo>
                      <a:pt x="38" y="13"/>
                    </a:lnTo>
                    <a:lnTo>
                      <a:pt x="38" y="7"/>
                    </a:lnTo>
                    <a:lnTo>
                      <a:pt x="32" y="0"/>
                    </a:lnTo>
                    <a:lnTo>
                      <a:pt x="19" y="0"/>
                    </a:lnTo>
                    <a:lnTo>
                      <a:pt x="0" y="0"/>
                    </a:lnTo>
                    <a:lnTo>
                      <a:pt x="0" y="7"/>
                    </a:lnTo>
                    <a:lnTo>
                      <a:pt x="0" y="13"/>
                    </a:lnTo>
                    <a:lnTo>
                      <a:pt x="6" y="13"/>
                    </a:lnTo>
                    <a:lnTo>
                      <a:pt x="19" y="13"/>
                    </a:lnTo>
                    <a:lnTo>
                      <a:pt x="32" y="7"/>
                    </a:lnTo>
                    <a:lnTo>
                      <a:pt x="38"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6" name="Freeform 219"/>
              <p:cNvSpPr>
                <a:spLocks/>
              </p:cNvSpPr>
              <p:nvPr/>
            </p:nvSpPr>
            <p:spPr bwMode="auto">
              <a:xfrm>
                <a:off x="4475163" y="4176713"/>
                <a:ext cx="50800" cy="30162"/>
              </a:xfrm>
              <a:custGeom>
                <a:avLst/>
                <a:gdLst>
                  <a:gd name="T0" fmla="*/ 50800 w 32"/>
                  <a:gd name="T1" fmla="*/ 30162 h 19"/>
                  <a:gd name="T2" fmla="*/ 50800 w 32"/>
                  <a:gd name="T3" fmla="*/ 30162 h 19"/>
                  <a:gd name="T4" fmla="*/ 50800 w 32"/>
                  <a:gd name="T5" fmla="*/ 9525 h 19"/>
                  <a:gd name="T6" fmla="*/ 41275 w 32"/>
                  <a:gd name="T7" fmla="*/ 0 h 19"/>
                  <a:gd name="T8" fmla="*/ 41275 w 32"/>
                  <a:gd name="T9" fmla="*/ 0 h 19"/>
                  <a:gd name="T10" fmla="*/ 30162 w 32"/>
                  <a:gd name="T11" fmla="*/ 9525 h 19"/>
                  <a:gd name="T12" fmla="*/ 11112 w 32"/>
                  <a:gd name="T13" fmla="*/ 20637 h 19"/>
                  <a:gd name="T14" fmla="*/ 0 w 32"/>
                  <a:gd name="T15" fmla="*/ 20637 h 19"/>
                  <a:gd name="T16" fmla="*/ 0 w 32"/>
                  <a:gd name="T17" fmla="*/ 30162 h 19"/>
                  <a:gd name="T18" fmla="*/ 0 w 32"/>
                  <a:gd name="T19" fmla="*/ 30162 h 19"/>
                  <a:gd name="T20" fmla="*/ 11112 w 32"/>
                  <a:gd name="T21" fmla="*/ 30162 h 19"/>
                  <a:gd name="T22" fmla="*/ 20637 w 32"/>
                  <a:gd name="T23" fmla="*/ 30162 h 19"/>
                  <a:gd name="T24" fmla="*/ 50800 w 32"/>
                  <a:gd name="T25" fmla="*/ 30162 h 19"/>
                  <a:gd name="T26" fmla="*/ 50800 w 32"/>
                  <a:gd name="T27" fmla="*/ 3016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9"/>
                  <a:gd name="T44" fmla="*/ 32 w 3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9">
                    <a:moveTo>
                      <a:pt x="32" y="19"/>
                    </a:moveTo>
                    <a:lnTo>
                      <a:pt x="32" y="19"/>
                    </a:lnTo>
                    <a:lnTo>
                      <a:pt x="32" y="6"/>
                    </a:lnTo>
                    <a:lnTo>
                      <a:pt x="26" y="0"/>
                    </a:lnTo>
                    <a:lnTo>
                      <a:pt x="19" y="6"/>
                    </a:lnTo>
                    <a:lnTo>
                      <a:pt x="7" y="13"/>
                    </a:lnTo>
                    <a:lnTo>
                      <a:pt x="0" y="13"/>
                    </a:lnTo>
                    <a:lnTo>
                      <a:pt x="0" y="19"/>
                    </a:lnTo>
                    <a:lnTo>
                      <a:pt x="7" y="19"/>
                    </a:lnTo>
                    <a:lnTo>
                      <a:pt x="13" y="19"/>
                    </a:lnTo>
                    <a:lnTo>
                      <a:pt x="32"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7" name="Freeform 220"/>
              <p:cNvSpPr>
                <a:spLocks/>
              </p:cNvSpPr>
              <p:nvPr/>
            </p:nvSpPr>
            <p:spPr bwMode="auto">
              <a:xfrm>
                <a:off x="4586288" y="4176713"/>
                <a:ext cx="30162" cy="30162"/>
              </a:xfrm>
              <a:custGeom>
                <a:avLst/>
                <a:gdLst>
                  <a:gd name="T0" fmla="*/ 20637 w 19"/>
                  <a:gd name="T1" fmla="*/ 0 h 19"/>
                  <a:gd name="T2" fmla="*/ 20637 w 19"/>
                  <a:gd name="T3" fmla="*/ 0 h 19"/>
                  <a:gd name="T4" fmla="*/ 20637 w 19"/>
                  <a:gd name="T5" fmla="*/ 9525 h 19"/>
                  <a:gd name="T6" fmla="*/ 9525 w 19"/>
                  <a:gd name="T7" fmla="*/ 9525 h 19"/>
                  <a:gd name="T8" fmla="*/ 0 w 19"/>
                  <a:gd name="T9" fmla="*/ 0 h 19"/>
                  <a:gd name="T10" fmla="*/ 0 w 19"/>
                  <a:gd name="T11" fmla="*/ 0 h 19"/>
                  <a:gd name="T12" fmla="*/ 0 w 19"/>
                  <a:gd name="T13" fmla="*/ 30162 h 19"/>
                  <a:gd name="T14" fmla="*/ 0 w 19"/>
                  <a:gd name="T15" fmla="*/ 30162 h 19"/>
                  <a:gd name="T16" fmla="*/ 9525 w 19"/>
                  <a:gd name="T17" fmla="*/ 30162 h 19"/>
                  <a:gd name="T18" fmla="*/ 30162 w 19"/>
                  <a:gd name="T19" fmla="*/ 20637 h 19"/>
                  <a:gd name="T20" fmla="*/ 30162 w 19"/>
                  <a:gd name="T21" fmla="*/ 9525 h 19"/>
                  <a:gd name="T22" fmla="*/ 20637 w 19"/>
                  <a:gd name="T23" fmla="*/ 0 h 19"/>
                  <a:gd name="T24" fmla="*/ 206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3" y="0"/>
                    </a:moveTo>
                    <a:lnTo>
                      <a:pt x="13" y="0"/>
                    </a:lnTo>
                    <a:lnTo>
                      <a:pt x="13" y="6"/>
                    </a:lnTo>
                    <a:lnTo>
                      <a:pt x="6" y="6"/>
                    </a:lnTo>
                    <a:lnTo>
                      <a:pt x="0" y="0"/>
                    </a:lnTo>
                    <a:lnTo>
                      <a:pt x="0" y="19"/>
                    </a:lnTo>
                    <a:lnTo>
                      <a:pt x="6" y="19"/>
                    </a:lnTo>
                    <a:lnTo>
                      <a:pt x="19" y="13"/>
                    </a:lnTo>
                    <a:lnTo>
                      <a:pt x="19" y="6"/>
                    </a:lnTo>
                    <a:lnTo>
                      <a:pt x="13"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8" name="Freeform 226"/>
              <p:cNvSpPr>
                <a:spLocks/>
              </p:cNvSpPr>
              <p:nvPr/>
            </p:nvSpPr>
            <p:spPr bwMode="auto">
              <a:xfrm>
                <a:off x="4465638" y="4348163"/>
                <a:ext cx="80962" cy="20637"/>
              </a:xfrm>
              <a:custGeom>
                <a:avLst/>
                <a:gdLst>
                  <a:gd name="T0" fmla="*/ 0 w 51"/>
                  <a:gd name="T1" fmla="*/ 0 h 13"/>
                  <a:gd name="T2" fmla="*/ 0 w 51"/>
                  <a:gd name="T3" fmla="*/ 0 h 13"/>
                  <a:gd name="T4" fmla="*/ 0 w 51"/>
                  <a:gd name="T5" fmla="*/ 9525 h 13"/>
                  <a:gd name="T6" fmla="*/ 9525 w 51"/>
                  <a:gd name="T7" fmla="*/ 20637 h 13"/>
                  <a:gd name="T8" fmla="*/ 30162 w 51"/>
                  <a:gd name="T9" fmla="*/ 20637 h 13"/>
                  <a:gd name="T10" fmla="*/ 50800 w 51"/>
                  <a:gd name="T11" fmla="*/ 20637 h 13"/>
                  <a:gd name="T12" fmla="*/ 80962 w 51"/>
                  <a:gd name="T13" fmla="*/ 20637 h 13"/>
                  <a:gd name="T14" fmla="*/ 80962 w 51"/>
                  <a:gd name="T15" fmla="*/ 20637 h 13"/>
                  <a:gd name="T16" fmla="*/ 80962 w 51"/>
                  <a:gd name="T17" fmla="*/ 9525 h 13"/>
                  <a:gd name="T18" fmla="*/ 69850 w 51"/>
                  <a:gd name="T19" fmla="*/ 0 h 13"/>
                  <a:gd name="T20" fmla="*/ 39687 w 51"/>
                  <a:gd name="T21" fmla="*/ 0 h 13"/>
                  <a:gd name="T22" fmla="*/ 9525 w 51"/>
                  <a:gd name="T23" fmla="*/ 0 h 13"/>
                  <a:gd name="T24" fmla="*/ 0 w 51"/>
                  <a:gd name="T25" fmla="*/ 0 h 13"/>
                  <a:gd name="T26" fmla="*/ 0 w 51"/>
                  <a:gd name="T27" fmla="*/ 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13"/>
                  <a:gd name="T44" fmla="*/ 51 w 5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13">
                    <a:moveTo>
                      <a:pt x="0" y="0"/>
                    </a:moveTo>
                    <a:lnTo>
                      <a:pt x="0" y="0"/>
                    </a:lnTo>
                    <a:lnTo>
                      <a:pt x="0" y="6"/>
                    </a:lnTo>
                    <a:lnTo>
                      <a:pt x="6" y="13"/>
                    </a:lnTo>
                    <a:lnTo>
                      <a:pt x="19" y="13"/>
                    </a:lnTo>
                    <a:lnTo>
                      <a:pt x="32" y="13"/>
                    </a:lnTo>
                    <a:lnTo>
                      <a:pt x="51" y="13"/>
                    </a:lnTo>
                    <a:lnTo>
                      <a:pt x="51" y="6"/>
                    </a:lnTo>
                    <a:lnTo>
                      <a:pt x="44" y="0"/>
                    </a:lnTo>
                    <a:lnTo>
                      <a:pt x="25" y="0"/>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9" name="Freeform 228"/>
              <p:cNvSpPr>
                <a:spLocks/>
              </p:cNvSpPr>
              <p:nvPr/>
            </p:nvSpPr>
            <p:spPr bwMode="auto">
              <a:xfrm>
                <a:off x="4475163" y="4378325"/>
                <a:ext cx="71437" cy="30163"/>
              </a:xfrm>
              <a:custGeom>
                <a:avLst/>
                <a:gdLst>
                  <a:gd name="T0" fmla="*/ 0 w 45"/>
                  <a:gd name="T1" fmla="*/ 0 h 19"/>
                  <a:gd name="T2" fmla="*/ 0 w 45"/>
                  <a:gd name="T3" fmla="*/ 0 h 19"/>
                  <a:gd name="T4" fmla="*/ 0 w 45"/>
                  <a:gd name="T5" fmla="*/ 30163 h 19"/>
                  <a:gd name="T6" fmla="*/ 0 w 45"/>
                  <a:gd name="T7" fmla="*/ 30163 h 19"/>
                  <a:gd name="T8" fmla="*/ 41275 w 45"/>
                  <a:gd name="T9" fmla="*/ 20638 h 19"/>
                  <a:gd name="T10" fmla="*/ 71437 w 45"/>
                  <a:gd name="T11" fmla="*/ 20638 h 19"/>
                  <a:gd name="T12" fmla="*/ 71437 w 45"/>
                  <a:gd name="T13" fmla="*/ 20638 h 19"/>
                  <a:gd name="T14" fmla="*/ 60325 w 45"/>
                  <a:gd name="T15" fmla="*/ 0 h 19"/>
                  <a:gd name="T16" fmla="*/ 41275 w 45"/>
                  <a:gd name="T17" fmla="*/ 0 h 19"/>
                  <a:gd name="T18" fmla="*/ 0 w 45"/>
                  <a:gd name="T19" fmla="*/ 0 h 19"/>
                  <a:gd name="T20" fmla="*/ 0 w 45"/>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9"/>
                  <a:gd name="T35" fmla="*/ 45 w 45"/>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9">
                    <a:moveTo>
                      <a:pt x="0" y="0"/>
                    </a:moveTo>
                    <a:lnTo>
                      <a:pt x="0" y="0"/>
                    </a:lnTo>
                    <a:lnTo>
                      <a:pt x="0" y="19"/>
                    </a:lnTo>
                    <a:lnTo>
                      <a:pt x="26" y="13"/>
                    </a:lnTo>
                    <a:lnTo>
                      <a:pt x="45" y="13"/>
                    </a:lnTo>
                    <a:lnTo>
                      <a:pt x="38" y="0"/>
                    </a:lnTo>
                    <a:lnTo>
                      <a:pt x="2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0" name="Freeform 231"/>
              <p:cNvSpPr>
                <a:spLocks/>
              </p:cNvSpPr>
              <p:nvPr/>
            </p:nvSpPr>
            <p:spPr bwMode="auto">
              <a:xfrm>
                <a:off x="4475163" y="4498975"/>
                <a:ext cx="50800" cy="30163"/>
              </a:xfrm>
              <a:custGeom>
                <a:avLst/>
                <a:gdLst>
                  <a:gd name="T0" fmla="*/ 50800 w 32"/>
                  <a:gd name="T1" fmla="*/ 30163 h 19"/>
                  <a:gd name="T2" fmla="*/ 50800 w 32"/>
                  <a:gd name="T3" fmla="*/ 30163 h 19"/>
                  <a:gd name="T4" fmla="*/ 50800 w 32"/>
                  <a:gd name="T5" fmla="*/ 11113 h 19"/>
                  <a:gd name="T6" fmla="*/ 41275 w 32"/>
                  <a:gd name="T7" fmla="*/ 0 h 19"/>
                  <a:gd name="T8" fmla="*/ 41275 w 32"/>
                  <a:gd name="T9" fmla="*/ 0 h 19"/>
                  <a:gd name="T10" fmla="*/ 30162 w 32"/>
                  <a:gd name="T11" fmla="*/ 11113 h 19"/>
                  <a:gd name="T12" fmla="*/ 11112 w 32"/>
                  <a:gd name="T13" fmla="*/ 20638 h 19"/>
                  <a:gd name="T14" fmla="*/ 0 w 32"/>
                  <a:gd name="T15" fmla="*/ 20638 h 19"/>
                  <a:gd name="T16" fmla="*/ 0 w 32"/>
                  <a:gd name="T17" fmla="*/ 30163 h 19"/>
                  <a:gd name="T18" fmla="*/ 0 w 32"/>
                  <a:gd name="T19" fmla="*/ 30163 h 19"/>
                  <a:gd name="T20" fmla="*/ 11112 w 32"/>
                  <a:gd name="T21" fmla="*/ 30163 h 19"/>
                  <a:gd name="T22" fmla="*/ 20637 w 32"/>
                  <a:gd name="T23" fmla="*/ 30163 h 19"/>
                  <a:gd name="T24" fmla="*/ 50800 w 32"/>
                  <a:gd name="T25" fmla="*/ 30163 h 19"/>
                  <a:gd name="T26" fmla="*/ 50800 w 32"/>
                  <a:gd name="T27" fmla="*/ 30163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9"/>
                  <a:gd name="T44" fmla="*/ 32 w 3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9">
                    <a:moveTo>
                      <a:pt x="32" y="19"/>
                    </a:moveTo>
                    <a:lnTo>
                      <a:pt x="32" y="19"/>
                    </a:lnTo>
                    <a:lnTo>
                      <a:pt x="32" y="7"/>
                    </a:lnTo>
                    <a:lnTo>
                      <a:pt x="26" y="0"/>
                    </a:lnTo>
                    <a:lnTo>
                      <a:pt x="19" y="7"/>
                    </a:lnTo>
                    <a:lnTo>
                      <a:pt x="7" y="13"/>
                    </a:lnTo>
                    <a:lnTo>
                      <a:pt x="0" y="13"/>
                    </a:lnTo>
                    <a:lnTo>
                      <a:pt x="0" y="19"/>
                    </a:lnTo>
                    <a:lnTo>
                      <a:pt x="7" y="19"/>
                    </a:lnTo>
                    <a:lnTo>
                      <a:pt x="13" y="19"/>
                    </a:lnTo>
                    <a:lnTo>
                      <a:pt x="32"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1" name="Freeform 234"/>
              <p:cNvSpPr>
                <a:spLocks/>
              </p:cNvSpPr>
              <p:nvPr/>
            </p:nvSpPr>
            <p:spPr bwMode="auto">
              <a:xfrm>
                <a:off x="4465638" y="4579938"/>
                <a:ext cx="80962" cy="20637"/>
              </a:xfrm>
              <a:custGeom>
                <a:avLst/>
                <a:gdLst>
                  <a:gd name="T0" fmla="*/ 80962 w 51"/>
                  <a:gd name="T1" fmla="*/ 0 h 13"/>
                  <a:gd name="T2" fmla="*/ 80962 w 51"/>
                  <a:gd name="T3" fmla="*/ 0 h 13"/>
                  <a:gd name="T4" fmla="*/ 39687 w 51"/>
                  <a:gd name="T5" fmla="*/ 0 h 13"/>
                  <a:gd name="T6" fmla="*/ 20637 w 51"/>
                  <a:gd name="T7" fmla="*/ 0 h 13"/>
                  <a:gd name="T8" fmla="*/ 0 w 51"/>
                  <a:gd name="T9" fmla="*/ 20637 h 13"/>
                  <a:gd name="T10" fmla="*/ 0 w 51"/>
                  <a:gd name="T11" fmla="*/ 20637 h 13"/>
                  <a:gd name="T12" fmla="*/ 50800 w 51"/>
                  <a:gd name="T13" fmla="*/ 20637 h 13"/>
                  <a:gd name="T14" fmla="*/ 69850 w 51"/>
                  <a:gd name="T15" fmla="*/ 9525 h 13"/>
                  <a:gd name="T16" fmla="*/ 80962 w 51"/>
                  <a:gd name="T17" fmla="*/ 0 h 13"/>
                  <a:gd name="T18" fmla="*/ 80962 w 5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13"/>
                  <a:gd name="T32" fmla="*/ 51 w 5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13">
                    <a:moveTo>
                      <a:pt x="51" y="0"/>
                    </a:moveTo>
                    <a:lnTo>
                      <a:pt x="51" y="0"/>
                    </a:lnTo>
                    <a:lnTo>
                      <a:pt x="25" y="0"/>
                    </a:lnTo>
                    <a:lnTo>
                      <a:pt x="13" y="0"/>
                    </a:lnTo>
                    <a:lnTo>
                      <a:pt x="0" y="13"/>
                    </a:lnTo>
                    <a:lnTo>
                      <a:pt x="32" y="13"/>
                    </a:lnTo>
                    <a:lnTo>
                      <a:pt x="44" y="6"/>
                    </a:lnTo>
                    <a:lnTo>
                      <a:pt x="51"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2" name="Freeform 236"/>
              <p:cNvSpPr>
                <a:spLocks/>
              </p:cNvSpPr>
              <p:nvPr/>
            </p:nvSpPr>
            <p:spPr bwMode="auto">
              <a:xfrm>
                <a:off x="4465638" y="4610100"/>
                <a:ext cx="60325" cy="20638"/>
              </a:xfrm>
              <a:custGeom>
                <a:avLst/>
                <a:gdLst>
                  <a:gd name="T0" fmla="*/ 9525 w 38"/>
                  <a:gd name="T1" fmla="*/ 20638 h 13"/>
                  <a:gd name="T2" fmla="*/ 9525 w 38"/>
                  <a:gd name="T3" fmla="*/ 20638 h 13"/>
                  <a:gd name="T4" fmla="*/ 30163 w 38"/>
                  <a:gd name="T5" fmla="*/ 20638 h 13"/>
                  <a:gd name="T6" fmla="*/ 60325 w 38"/>
                  <a:gd name="T7" fmla="*/ 20638 h 13"/>
                  <a:gd name="T8" fmla="*/ 60325 w 38"/>
                  <a:gd name="T9" fmla="*/ 20638 h 13"/>
                  <a:gd name="T10" fmla="*/ 60325 w 38"/>
                  <a:gd name="T11" fmla="*/ 0 h 13"/>
                  <a:gd name="T12" fmla="*/ 60325 w 38"/>
                  <a:gd name="T13" fmla="*/ 0 h 13"/>
                  <a:gd name="T14" fmla="*/ 60325 w 38"/>
                  <a:gd name="T15" fmla="*/ 0 h 13"/>
                  <a:gd name="T16" fmla="*/ 50800 w 38"/>
                  <a:gd name="T17" fmla="*/ 0 h 13"/>
                  <a:gd name="T18" fmla="*/ 50800 w 38"/>
                  <a:gd name="T19" fmla="*/ 0 h 13"/>
                  <a:gd name="T20" fmla="*/ 39687 w 38"/>
                  <a:gd name="T21" fmla="*/ 0 h 13"/>
                  <a:gd name="T22" fmla="*/ 20637 w 38"/>
                  <a:gd name="T23" fmla="*/ 11113 h 13"/>
                  <a:gd name="T24" fmla="*/ 0 w 38"/>
                  <a:gd name="T25" fmla="*/ 11113 h 13"/>
                  <a:gd name="T26" fmla="*/ 0 w 38"/>
                  <a:gd name="T27" fmla="*/ 11113 h 13"/>
                  <a:gd name="T28" fmla="*/ 9525 w 38"/>
                  <a:gd name="T29" fmla="*/ 20638 h 13"/>
                  <a:gd name="T30" fmla="*/ 9525 w 38"/>
                  <a:gd name="T31" fmla="*/ 20638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3"/>
                  <a:gd name="T50" fmla="*/ 38 w 38"/>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3">
                    <a:moveTo>
                      <a:pt x="6" y="13"/>
                    </a:moveTo>
                    <a:lnTo>
                      <a:pt x="6" y="13"/>
                    </a:lnTo>
                    <a:lnTo>
                      <a:pt x="19" y="13"/>
                    </a:lnTo>
                    <a:lnTo>
                      <a:pt x="38" y="13"/>
                    </a:lnTo>
                    <a:lnTo>
                      <a:pt x="38" y="0"/>
                    </a:lnTo>
                    <a:lnTo>
                      <a:pt x="32" y="0"/>
                    </a:lnTo>
                    <a:lnTo>
                      <a:pt x="25" y="0"/>
                    </a:lnTo>
                    <a:lnTo>
                      <a:pt x="13" y="7"/>
                    </a:lnTo>
                    <a:lnTo>
                      <a:pt x="0" y="7"/>
                    </a:lnTo>
                    <a:lnTo>
                      <a:pt x="6"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3" name="Freeform 238"/>
              <p:cNvSpPr>
                <a:spLocks/>
              </p:cNvSpPr>
              <p:nvPr/>
            </p:nvSpPr>
            <p:spPr bwMode="auto">
              <a:xfrm>
                <a:off x="4465638" y="4540250"/>
                <a:ext cx="60325" cy="30163"/>
              </a:xfrm>
              <a:custGeom>
                <a:avLst/>
                <a:gdLst>
                  <a:gd name="T0" fmla="*/ 50800 w 38"/>
                  <a:gd name="T1" fmla="*/ 0 h 19"/>
                  <a:gd name="T2" fmla="*/ 50800 w 38"/>
                  <a:gd name="T3" fmla="*/ 0 h 19"/>
                  <a:gd name="T4" fmla="*/ 50800 w 38"/>
                  <a:gd name="T5" fmla="*/ 9525 h 19"/>
                  <a:gd name="T6" fmla="*/ 50800 w 38"/>
                  <a:gd name="T7" fmla="*/ 9525 h 19"/>
                  <a:gd name="T8" fmla="*/ 30163 w 38"/>
                  <a:gd name="T9" fmla="*/ 9525 h 19"/>
                  <a:gd name="T10" fmla="*/ 9525 w 38"/>
                  <a:gd name="T11" fmla="*/ 9525 h 19"/>
                  <a:gd name="T12" fmla="*/ 0 w 38"/>
                  <a:gd name="T13" fmla="*/ 9525 h 19"/>
                  <a:gd name="T14" fmla="*/ 0 w 38"/>
                  <a:gd name="T15" fmla="*/ 30163 h 19"/>
                  <a:gd name="T16" fmla="*/ 0 w 38"/>
                  <a:gd name="T17" fmla="*/ 30163 h 19"/>
                  <a:gd name="T18" fmla="*/ 50800 w 38"/>
                  <a:gd name="T19" fmla="*/ 30163 h 19"/>
                  <a:gd name="T20" fmla="*/ 60325 w 38"/>
                  <a:gd name="T21" fmla="*/ 19050 h 19"/>
                  <a:gd name="T22" fmla="*/ 50800 w 38"/>
                  <a:gd name="T23" fmla="*/ 0 h 19"/>
                  <a:gd name="T24" fmla="*/ 5080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32" y="0"/>
                    </a:moveTo>
                    <a:lnTo>
                      <a:pt x="32" y="0"/>
                    </a:lnTo>
                    <a:lnTo>
                      <a:pt x="32" y="6"/>
                    </a:lnTo>
                    <a:lnTo>
                      <a:pt x="19" y="6"/>
                    </a:lnTo>
                    <a:lnTo>
                      <a:pt x="6" y="6"/>
                    </a:lnTo>
                    <a:lnTo>
                      <a:pt x="0" y="6"/>
                    </a:lnTo>
                    <a:lnTo>
                      <a:pt x="0" y="19"/>
                    </a:lnTo>
                    <a:lnTo>
                      <a:pt x="32" y="19"/>
                    </a:lnTo>
                    <a:lnTo>
                      <a:pt x="38" y="12"/>
                    </a:lnTo>
                    <a:lnTo>
                      <a:pt x="32"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4" name="Freeform 241"/>
              <p:cNvSpPr>
                <a:spLocks/>
              </p:cNvSpPr>
              <p:nvPr/>
            </p:nvSpPr>
            <p:spPr bwMode="auto">
              <a:xfrm>
                <a:off x="4465638" y="4579938"/>
                <a:ext cx="80962" cy="20637"/>
              </a:xfrm>
              <a:custGeom>
                <a:avLst/>
                <a:gdLst>
                  <a:gd name="T0" fmla="*/ 80962 w 51"/>
                  <a:gd name="T1" fmla="*/ 0 h 13"/>
                  <a:gd name="T2" fmla="*/ 80962 w 51"/>
                  <a:gd name="T3" fmla="*/ 0 h 13"/>
                  <a:gd name="T4" fmla="*/ 39687 w 51"/>
                  <a:gd name="T5" fmla="*/ 0 h 13"/>
                  <a:gd name="T6" fmla="*/ 20637 w 51"/>
                  <a:gd name="T7" fmla="*/ 0 h 13"/>
                  <a:gd name="T8" fmla="*/ 0 w 51"/>
                  <a:gd name="T9" fmla="*/ 20637 h 13"/>
                  <a:gd name="T10" fmla="*/ 0 w 51"/>
                  <a:gd name="T11" fmla="*/ 20637 h 13"/>
                  <a:gd name="T12" fmla="*/ 50800 w 51"/>
                  <a:gd name="T13" fmla="*/ 20637 h 13"/>
                  <a:gd name="T14" fmla="*/ 69850 w 51"/>
                  <a:gd name="T15" fmla="*/ 9525 h 13"/>
                  <a:gd name="T16" fmla="*/ 80962 w 51"/>
                  <a:gd name="T17" fmla="*/ 0 h 13"/>
                  <a:gd name="T18" fmla="*/ 80962 w 5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13"/>
                  <a:gd name="T32" fmla="*/ 51 w 5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13">
                    <a:moveTo>
                      <a:pt x="51" y="0"/>
                    </a:moveTo>
                    <a:lnTo>
                      <a:pt x="51" y="0"/>
                    </a:lnTo>
                    <a:lnTo>
                      <a:pt x="25" y="0"/>
                    </a:lnTo>
                    <a:lnTo>
                      <a:pt x="13" y="0"/>
                    </a:lnTo>
                    <a:lnTo>
                      <a:pt x="0" y="13"/>
                    </a:lnTo>
                    <a:lnTo>
                      <a:pt x="32" y="13"/>
                    </a:lnTo>
                    <a:lnTo>
                      <a:pt x="44" y="6"/>
                    </a:lnTo>
                    <a:lnTo>
                      <a:pt x="51"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5" name="Freeform 243"/>
              <p:cNvSpPr>
                <a:spLocks/>
              </p:cNvSpPr>
              <p:nvPr/>
            </p:nvSpPr>
            <p:spPr bwMode="auto">
              <a:xfrm>
                <a:off x="4465638" y="4610100"/>
                <a:ext cx="60325" cy="20638"/>
              </a:xfrm>
              <a:custGeom>
                <a:avLst/>
                <a:gdLst>
                  <a:gd name="T0" fmla="*/ 9525 w 38"/>
                  <a:gd name="T1" fmla="*/ 20638 h 13"/>
                  <a:gd name="T2" fmla="*/ 9525 w 38"/>
                  <a:gd name="T3" fmla="*/ 20638 h 13"/>
                  <a:gd name="T4" fmla="*/ 30163 w 38"/>
                  <a:gd name="T5" fmla="*/ 20638 h 13"/>
                  <a:gd name="T6" fmla="*/ 60325 w 38"/>
                  <a:gd name="T7" fmla="*/ 20638 h 13"/>
                  <a:gd name="T8" fmla="*/ 60325 w 38"/>
                  <a:gd name="T9" fmla="*/ 20638 h 13"/>
                  <a:gd name="T10" fmla="*/ 60325 w 38"/>
                  <a:gd name="T11" fmla="*/ 0 h 13"/>
                  <a:gd name="T12" fmla="*/ 60325 w 38"/>
                  <a:gd name="T13" fmla="*/ 0 h 13"/>
                  <a:gd name="T14" fmla="*/ 60325 w 38"/>
                  <a:gd name="T15" fmla="*/ 0 h 13"/>
                  <a:gd name="T16" fmla="*/ 50800 w 38"/>
                  <a:gd name="T17" fmla="*/ 0 h 13"/>
                  <a:gd name="T18" fmla="*/ 50800 w 38"/>
                  <a:gd name="T19" fmla="*/ 0 h 13"/>
                  <a:gd name="T20" fmla="*/ 39687 w 38"/>
                  <a:gd name="T21" fmla="*/ 0 h 13"/>
                  <a:gd name="T22" fmla="*/ 20637 w 38"/>
                  <a:gd name="T23" fmla="*/ 11113 h 13"/>
                  <a:gd name="T24" fmla="*/ 0 w 38"/>
                  <a:gd name="T25" fmla="*/ 11113 h 13"/>
                  <a:gd name="T26" fmla="*/ 0 w 38"/>
                  <a:gd name="T27" fmla="*/ 11113 h 13"/>
                  <a:gd name="T28" fmla="*/ 9525 w 38"/>
                  <a:gd name="T29" fmla="*/ 20638 h 13"/>
                  <a:gd name="T30" fmla="*/ 9525 w 38"/>
                  <a:gd name="T31" fmla="*/ 20638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3"/>
                  <a:gd name="T50" fmla="*/ 38 w 38"/>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3">
                    <a:moveTo>
                      <a:pt x="6" y="13"/>
                    </a:moveTo>
                    <a:lnTo>
                      <a:pt x="6" y="13"/>
                    </a:lnTo>
                    <a:lnTo>
                      <a:pt x="19" y="13"/>
                    </a:lnTo>
                    <a:lnTo>
                      <a:pt x="38" y="13"/>
                    </a:lnTo>
                    <a:lnTo>
                      <a:pt x="38" y="0"/>
                    </a:lnTo>
                    <a:lnTo>
                      <a:pt x="32" y="0"/>
                    </a:lnTo>
                    <a:lnTo>
                      <a:pt x="25" y="0"/>
                    </a:lnTo>
                    <a:lnTo>
                      <a:pt x="13" y="7"/>
                    </a:lnTo>
                    <a:lnTo>
                      <a:pt x="0" y="7"/>
                    </a:lnTo>
                    <a:lnTo>
                      <a:pt x="6"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6" name="Freeform 245"/>
              <p:cNvSpPr>
                <a:spLocks/>
              </p:cNvSpPr>
              <p:nvPr/>
            </p:nvSpPr>
            <p:spPr bwMode="auto">
              <a:xfrm>
                <a:off x="4465638" y="4540250"/>
                <a:ext cx="60325" cy="30163"/>
              </a:xfrm>
              <a:custGeom>
                <a:avLst/>
                <a:gdLst>
                  <a:gd name="T0" fmla="*/ 50800 w 38"/>
                  <a:gd name="T1" fmla="*/ 0 h 19"/>
                  <a:gd name="T2" fmla="*/ 50800 w 38"/>
                  <a:gd name="T3" fmla="*/ 0 h 19"/>
                  <a:gd name="T4" fmla="*/ 50800 w 38"/>
                  <a:gd name="T5" fmla="*/ 9525 h 19"/>
                  <a:gd name="T6" fmla="*/ 50800 w 38"/>
                  <a:gd name="T7" fmla="*/ 9525 h 19"/>
                  <a:gd name="T8" fmla="*/ 30163 w 38"/>
                  <a:gd name="T9" fmla="*/ 9525 h 19"/>
                  <a:gd name="T10" fmla="*/ 9525 w 38"/>
                  <a:gd name="T11" fmla="*/ 9525 h 19"/>
                  <a:gd name="T12" fmla="*/ 0 w 38"/>
                  <a:gd name="T13" fmla="*/ 9525 h 19"/>
                  <a:gd name="T14" fmla="*/ 0 w 38"/>
                  <a:gd name="T15" fmla="*/ 30163 h 19"/>
                  <a:gd name="T16" fmla="*/ 0 w 38"/>
                  <a:gd name="T17" fmla="*/ 30163 h 19"/>
                  <a:gd name="T18" fmla="*/ 50800 w 38"/>
                  <a:gd name="T19" fmla="*/ 30163 h 19"/>
                  <a:gd name="T20" fmla="*/ 60325 w 38"/>
                  <a:gd name="T21" fmla="*/ 19050 h 19"/>
                  <a:gd name="T22" fmla="*/ 50800 w 38"/>
                  <a:gd name="T23" fmla="*/ 0 h 19"/>
                  <a:gd name="T24" fmla="*/ 5080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32" y="0"/>
                    </a:moveTo>
                    <a:lnTo>
                      <a:pt x="32" y="0"/>
                    </a:lnTo>
                    <a:lnTo>
                      <a:pt x="32" y="6"/>
                    </a:lnTo>
                    <a:lnTo>
                      <a:pt x="19" y="6"/>
                    </a:lnTo>
                    <a:lnTo>
                      <a:pt x="6" y="6"/>
                    </a:lnTo>
                    <a:lnTo>
                      <a:pt x="0" y="6"/>
                    </a:lnTo>
                    <a:lnTo>
                      <a:pt x="0" y="19"/>
                    </a:lnTo>
                    <a:lnTo>
                      <a:pt x="32" y="19"/>
                    </a:lnTo>
                    <a:lnTo>
                      <a:pt x="38" y="12"/>
                    </a:lnTo>
                    <a:lnTo>
                      <a:pt x="32"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7" name="Freeform 281"/>
              <p:cNvSpPr>
                <a:spLocks/>
              </p:cNvSpPr>
              <p:nvPr/>
            </p:nvSpPr>
            <p:spPr bwMode="auto">
              <a:xfrm>
                <a:off x="3629025" y="34512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8" name="Freeform 282"/>
              <p:cNvSpPr>
                <a:spLocks/>
              </p:cNvSpPr>
              <p:nvPr/>
            </p:nvSpPr>
            <p:spPr bwMode="auto">
              <a:xfrm>
                <a:off x="3629025" y="3511550"/>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w 1588"/>
                  <a:gd name="T19" fmla="*/ 0 h 15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8"/>
                  <a:gd name="T31" fmla="*/ 0 h 1588"/>
                  <a:gd name="T32" fmla="*/ 1588 w 1588"/>
                  <a:gd name="T33" fmla="*/ 1588 h 15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9" name="Freeform 283"/>
              <p:cNvSpPr>
                <a:spLocks/>
              </p:cNvSpPr>
              <p:nvPr/>
            </p:nvSpPr>
            <p:spPr bwMode="auto">
              <a:xfrm>
                <a:off x="3629025" y="351155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0" name="Rectangle 284"/>
              <p:cNvSpPr>
                <a:spLocks noChangeArrowheads="1"/>
              </p:cNvSpPr>
              <p:nvPr/>
            </p:nvSpPr>
            <p:spPr bwMode="auto">
              <a:xfrm>
                <a:off x="3629025" y="352107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1" name="Freeform 285"/>
              <p:cNvSpPr>
                <a:spLocks/>
              </p:cNvSpPr>
              <p:nvPr/>
            </p:nvSpPr>
            <p:spPr bwMode="auto">
              <a:xfrm>
                <a:off x="3608388" y="353218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2" name="Freeform 286"/>
              <p:cNvSpPr>
                <a:spLocks/>
              </p:cNvSpPr>
              <p:nvPr/>
            </p:nvSpPr>
            <p:spPr bwMode="auto">
              <a:xfrm>
                <a:off x="3629025" y="3532188"/>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3" name="Freeform 287"/>
              <p:cNvSpPr>
                <a:spLocks/>
              </p:cNvSpPr>
              <p:nvPr/>
            </p:nvSpPr>
            <p:spPr bwMode="auto">
              <a:xfrm>
                <a:off x="3648075" y="3551238"/>
                <a:ext cx="1588"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8"/>
                  <a:gd name="T28" fmla="*/ 0 h 1588"/>
                  <a:gd name="T29" fmla="*/ 1588 w 1588"/>
                  <a:gd name="T30" fmla="*/ 1588 h 15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4" name="Rectangle 290"/>
              <p:cNvSpPr>
                <a:spLocks noChangeArrowheads="1"/>
              </p:cNvSpPr>
              <p:nvPr/>
            </p:nvSpPr>
            <p:spPr bwMode="auto">
              <a:xfrm>
                <a:off x="3648075" y="38338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5" name="Freeform 291"/>
              <p:cNvSpPr>
                <a:spLocks/>
              </p:cNvSpPr>
              <p:nvPr/>
            </p:nvSpPr>
            <p:spPr bwMode="auto">
              <a:xfrm>
                <a:off x="3659188" y="3833813"/>
                <a:ext cx="1587" cy="11112"/>
              </a:xfrm>
              <a:custGeom>
                <a:avLst/>
                <a:gdLst>
                  <a:gd name="T0" fmla="*/ 0 w 1588"/>
                  <a:gd name="T1" fmla="*/ 11112 h 7"/>
                  <a:gd name="T2" fmla="*/ 0 w 1588"/>
                  <a:gd name="T3" fmla="*/ 11112 h 7"/>
                  <a:gd name="T4" fmla="*/ 0 w 1588"/>
                  <a:gd name="T5" fmla="*/ 0 h 7"/>
                  <a:gd name="T6" fmla="*/ 0 w 1588"/>
                  <a:gd name="T7" fmla="*/ 11112 h 7"/>
                  <a:gd name="T8" fmla="*/ 0 w 1588"/>
                  <a:gd name="T9" fmla="*/ 11112 h 7"/>
                  <a:gd name="T10" fmla="*/ 0 60000 65536"/>
                  <a:gd name="T11" fmla="*/ 0 60000 65536"/>
                  <a:gd name="T12" fmla="*/ 0 60000 65536"/>
                  <a:gd name="T13" fmla="*/ 0 60000 65536"/>
                  <a:gd name="T14" fmla="*/ 0 60000 65536"/>
                  <a:gd name="T15" fmla="*/ 0 w 1588"/>
                  <a:gd name="T16" fmla="*/ 0 h 7"/>
                  <a:gd name="T17" fmla="*/ 1588 w 1588"/>
                  <a:gd name="T18" fmla="*/ 7 h 7"/>
                </a:gdLst>
                <a:ahLst/>
                <a:cxnLst>
                  <a:cxn ang="T10">
                    <a:pos x="T0" y="T1"/>
                  </a:cxn>
                  <a:cxn ang="T11">
                    <a:pos x="T2" y="T3"/>
                  </a:cxn>
                  <a:cxn ang="T12">
                    <a:pos x="T4" y="T5"/>
                  </a:cxn>
                  <a:cxn ang="T13">
                    <a:pos x="T6" y="T7"/>
                  </a:cxn>
                  <a:cxn ang="T14">
                    <a:pos x="T8" y="T9"/>
                  </a:cxn>
                </a:cxnLst>
                <a:rect l="T15" t="T16" r="T17" b="T18"/>
                <a:pathLst>
                  <a:path w="1588" h="7">
                    <a:moveTo>
                      <a:pt x="0" y="7"/>
                    </a:moveTo>
                    <a:lnTo>
                      <a:pt x="0" y="7"/>
                    </a:lnTo>
                    <a:lnTo>
                      <a:pt x="0" y="0"/>
                    </a:lnTo>
                    <a:lnTo>
                      <a:pt x="0"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6" name="Rectangle 292"/>
              <p:cNvSpPr>
                <a:spLocks noChangeArrowheads="1"/>
              </p:cNvSpPr>
              <p:nvPr/>
            </p:nvSpPr>
            <p:spPr bwMode="auto">
              <a:xfrm>
                <a:off x="3538538" y="384492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7" name="Rectangle 293"/>
              <p:cNvSpPr>
                <a:spLocks noChangeArrowheads="1"/>
              </p:cNvSpPr>
              <p:nvPr/>
            </p:nvSpPr>
            <p:spPr bwMode="auto">
              <a:xfrm>
                <a:off x="3659188" y="384492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8" name="Freeform 294"/>
              <p:cNvSpPr>
                <a:spLocks/>
              </p:cNvSpPr>
              <p:nvPr/>
            </p:nvSpPr>
            <p:spPr bwMode="auto">
              <a:xfrm>
                <a:off x="3648075" y="38449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9" name="Freeform 295"/>
              <p:cNvSpPr>
                <a:spLocks/>
              </p:cNvSpPr>
              <p:nvPr/>
            </p:nvSpPr>
            <p:spPr bwMode="auto">
              <a:xfrm>
                <a:off x="3648075" y="38449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0" name="Rectangle 296"/>
              <p:cNvSpPr>
                <a:spLocks noChangeArrowheads="1"/>
              </p:cNvSpPr>
              <p:nvPr/>
            </p:nvSpPr>
            <p:spPr bwMode="auto">
              <a:xfrm>
                <a:off x="3659188"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01" name="Freeform 297"/>
              <p:cNvSpPr>
                <a:spLocks/>
              </p:cNvSpPr>
              <p:nvPr/>
            </p:nvSpPr>
            <p:spPr bwMode="auto">
              <a:xfrm>
                <a:off x="3638550" y="39147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2" name="Rectangle 298"/>
              <p:cNvSpPr>
                <a:spLocks noChangeArrowheads="1"/>
              </p:cNvSpPr>
              <p:nvPr/>
            </p:nvSpPr>
            <p:spPr bwMode="auto">
              <a:xfrm>
                <a:off x="3668713"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03" name="Freeform 299"/>
              <p:cNvSpPr>
                <a:spLocks/>
              </p:cNvSpPr>
              <p:nvPr/>
            </p:nvSpPr>
            <p:spPr bwMode="auto">
              <a:xfrm>
                <a:off x="3679825" y="391477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4" name="Rectangle 300"/>
              <p:cNvSpPr>
                <a:spLocks noChangeArrowheads="1"/>
              </p:cNvSpPr>
              <p:nvPr/>
            </p:nvSpPr>
            <p:spPr bwMode="auto">
              <a:xfrm>
                <a:off x="3709988"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05" name="Freeform 301"/>
              <p:cNvSpPr>
                <a:spLocks/>
              </p:cNvSpPr>
              <p:nvPr/>
            </p:nvSpPr>
            <p:spPr bwMode="auto">
              <a:xfrm>
                <a:off x="3587750" y="3914775"/>
                <a:ext cx="1588" cy="30163"/>
              </a:xfrm>
              <a:custGeom>
                <a:avLst/>
                <a:gdLst>
                  <a:gd name="T0" fmla="*/ 0 w 1588"/>
                  <a:gd name="T1" fmla="*/ 30163 h 19"/>
                  <a:gd name="T2" fmla="*/ 0 w 1588"/>
                  <a:gd name="T3" fmla="*/ 30163 h 19"/>
                  <a:gd name="T4" fmla="*/ 0 w 1588"/>
                  <a:gd name="T5" fmla="*/ 0 h 19"/>
                  <a:gd name="T6" fmla="*/ 0 w 1588"/>
                  <a:gd name="T7" fmla="*/ 0 h 19"/>
                  <a:gd name="T8" fmla="*/ 0 w 1588"/>
                  <a:gd name="T9" fmla="*/ 30163 h 19"/>
                  <a:gd name="T10" fmla="*/ 0 w 1588"/>
                  <a:gd name="T11" fmla="*/ 30163 h 19"/>
                  <a:gd name="T12" fmla="*/ 0 60000 65536"/>
                  <a:gd name="T13" fmla="*/ 0 60000 65536"/>
                  <a:gd name="T14" fmla="*/ 0 60000 65536"/>
                  <a:gd name="T15" fmla="*/ 0 60000 65536"/>
                  <a:gd name="T16" fmla="*/ 0 60000 65536"/>
                  <a:gd name="T17" fmla="*/ 0 60000 65536"/>
                  <a:gd name="T18" fmla="*/ 0 w 1588"/>
                  <a:gd name="T19" fmla="*/ 0 h 19"/>
                  <a:gd name="T20" fmla="*/ 1588 w 1588"/>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588" h="19">
                    <a:moveTo>
                      <a:pt x="0" y="19"/>
                    </a:moveTo>
                    <a:lnTo>
                      <a:pt x="0" y="19"/>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6" name="Freeform 302"/>
              <p:cNvSpPr>
                <a:spLocks/>
              </p:cNvSpPr>
              <p:nvPr/>
            </p:nvSpPr>
            <p:spPr bwMode="auto">
              <a:xfrm>
                <a:off x="3698875" y="391477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9525 h 6"/>
                  <a:gd name="T12" fmla="*/ 0 w 1588"/>
                  <a:gd name="T13" fmla="*/ 0 h 6"/>
                  <a:gd name="T14" fmla="*/ 0 w 1588"/>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6"/>
                  <a:gd name="T26" fmla="*/ 1588 w 158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7" name="Freeform 303"/>
              <p:cNvSpPr>
                <a:spLocks/>
              </p:cNvSpPr>
              <p:nvPr/>
            </p:nvSpPr>
            <p:spPr bwMode="auto">
              <a:xfrm>
                <a:off x="3587750" y="3924300"/>
                <a:ext cx="1588"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11113 h 13"/>
                  <a:gd name="T10" fmla="*/ 0 w 1588"/>
                  <a:gd name="T11" fmla="*/ 20638 h 13"/>
                  <a:gd name="T12" fmla="*/ 0 w 1588"/>
                  <a:gd name="T13" fmla="*/ 20638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7"/>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08" name="Rectangle 304"/>
              <p:cNvSpPr>
                <a:spLocks noChangeArrowheads="1"/>
              </p:cNvSpPr>
              <p:nvPr/>
            </p:nvSpPr>
            <p:spPr bwMode="auto">
              <a:xfrm>
                <a:off x="3659188" y="3924300"/>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09" name="Freeform 305"/>
              <p:cNvSpPr>
                <a:spLocks/>
              </p:cNvSpPr>
              <p:nvPr/>
            </p:nvSpPr>
            <p:spPr bwMode="auto">
              <a:xfrm>
                <a:off x="3578225" y="3924300"/>
                <a:ext cx="1588" cy="30163"/>
              </a:xfrm>
              <a:custGeom>
                <a:avLst/>
                <a:gdLst>
                  <a:gd name="T0" fmla="*/ 0 w 1588"/>
                  <a:gd name="T1" fmla="*/ 30163 h 19"/>
                  <a:gd name="T2" fmla="*/ 0 w 1588"/>
                  <a:gd name="T3" fmla="*/ 30163 h 19"/>
                  <a:gd name="T4" fmla="*/ 0 w 1588"/>
                  <a:gd name="T5" fmla="*/ 0 h 19"/>
                  <a:gd name="T6" fmla="*/ 0 w 1588"/>
                  <a:gd name="T7" fmla="*/ 0 h 19"/>
                  <a:gd name="T8" fmla="*/ 0 w 1588"/>
                  <a:gd name="T9" fmla="*/ 20638 h 19"/>
                  <a:gd name="T10" fmla="*/ 0 w 1588"/>
                  <a:gd name="T11" fmla="*/ 30163 h 19"/>
                  <a:gd name="T12" fmla="*/ 0 w 1588"/>
                  <a:gd name="T13" fmla="*/ 30163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0"/>
                    </a:lnTo>
                    <a:lnTo>
                      <a:pt x="0" y="13"/>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0" name="Freeform 306"/>
              <p:cNvSpPr>
                <a:spLocks/>
              </p:cNvSpPr>
              <p:nvPr/>
            </p:nvSpPr>
            <p:spPr bwMode="auto">
              <a:xfrm>
                <a:off x="3568700" y="3924300"/>
                <a:ext cx="9525" cy="30163"/>
              </a:xfrm>
              <a:custGeom>
                <a:avLst/>
                <a:gdLst>
                  <a:gd name="T0" fmla="*/ 0 w 6"/>
                  <a:gd name="T1" fmla="*/ 0 h 19"/>
                  <a:gd name="T2" fmla="*/ 0 w 6"/>
                  <a:gd name="T3" fmla="*/ 0 h 19"/>
                  <a:gd name="T4" fmla="*/ 0 w 6"/>
                  <a:gd name="T5" fmla="*/ 20638 h 19"/>
                  <a:gd name="T6" fmla="*/ 9525 w 6"/>
                  <a:gd name="T7" fmla="*/ 30163 h 19"/>
                  <a:gd name="T8" fmla="*/ 9525 w 6"/>
                  <a:gd name="T9" fmla="*/ 30163 h 19"/>
                  <a:gd name="T10" fmla="*/ 0 w 6"/>
                  <a:gd name="T11" fmla="*/ 0 h 19"/>
                  <a:gd name="T12" fmla="*/ 0 w 6"/>
                  <a:gd name="T13" fmla="*/ 0 h 19"/>
                  <a:gd name="T14" fmla="*/ 0 60000 65536"/>
                  <a:gd name="T15" fmla="*/ 0 60000 65536"/>
                  <a:gd name="T16" fmla="*/ 0 60000 65536"/>
                  <a:gd name="T17" fmla="*/ 0 60000 65536"/>
                  <a:gd name="T18" fmla="*/ 0 60000 65536"/>
                  <a:gd name="T19" fmla="*/ 0 60000 65536"/>
                  <a:gd name="T20" fmla="*/ 0 60000 65536"/>
                  <a:gd name="T21" fmla="*/ 0 w 6"/>
                  <a:gd name="T22" fmla="*/ 0 h 19"/>
                  <a:gd name="T23" fmla="*/ 6 w 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9">
                    <a:moveTo>
                      <a:pt x="0" y="0"/>
                    </a:moveTo>
                    <a:lnTo>
                      <a:pt x="0" y="0"/>
                    </a:lnTo>
                    <a:lnTo>
                      <a:pt x="0" y="13"/>
                    </a:lnTo>
                    <a:lnTo>
                      <a:pt x="6" y="19"/>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1" name="Rectangle 307"/>
              <p:cNvSpPr>
                <a:spLocks noChangeArrowheads="1"/>
              </p:cNvSpPr>
              <p:nvPr/>
            </p:nvSpPr>
            <p:spPr bwMode="auto">
              <a:xfrm>
                <a:off x="3648075" y="39354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12" name="Rectangle 308"/>
              <p:cNvSpPr>
                <a:spLocks noChangeArrowheads="1"/>
              </p:cNvSpPr>
              <p:nvPr/>
            </p:nvSpPr>
            <p:spPr bwMode="auto">
              <a:xfrm>
                <a:off x="3648075" y="39354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13" name="Freeform 309"/>
              <p:cNvSpPr>
                <a:spLocks/>
              </p:cNvSpPr>
              <p:nvPr/>
            </p:nvSpPr>
            <p:spPr bwMode="auto">
              <a:xfrm>
                <a:off x="3557588" y="3944938"/>
                <a:ext cx="1587" cy="9525"/>
              </a:xfrm>
              <a:custGeom>
                <a:avLst/>
                <a:gdLst>
                  <a:gd name="T0" fmla="*/ 0 w 1588"/>
                  <a:gd name="T1" fmla="*/ 0 h 6"/>
                  <a:gd name="T2" fmla="*/ 0 w 1588"/>
                  <a:gd name="T3" fmla="*/ 0 h 6"/>
                  <a:gd name="T4" fmla="*/ 0 w 1588"/>
                  <a:gd name="T5" fmla="*/ 0 h 6"/>
                  <a:gd name="T6" fmla="*/ 0 w 1588"/>
                  <a:gd name="T7" fmla="*/ 0 h 6"/>
                  <a:gd name="T8" fmla="*/ 0 w 1588"/>
                  <a:gd name="T9" fmla="*/ 9525 h 6"/>
                  <a:gd name="T10" fmla="*/ 0 w 1588"/>
                  <a:gd name="T11" fmla="*/ 9525 h 6"/>
                  <a:gd name="T12" fmla="*/ 0 w 1588"/>
                  <a:gd name="T13" fmla="*/ 0 h 6"/>
                  <a:gd name="T14" fmla="*/ 0 w 1588"/>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6"/>
                  <a:gd name="T26" fmla="*/ 1588 w 158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4" name="Freeform 310"/>
              <p:cNvSpPr>
                <a:spLocks/>
              </p:cNvSpPr>
              <p:nvPr/>
            </p:nvSpPr>
            <p:spPr bwMode="auto">
              <a:xfrm>
                <a:off x="3557588" y="3954463"/>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5" name="Freeform 311"/>
              <p:cNvSpPr>
                <a:spLocks/>
              </p:cNvSpPr>
              <p:nvPr/>
            </p:nvSpPr>
            <p:spPr bwMode="auto">
              <a:xfrm>
                <a:off x="3557588" y="3954463"/>
                <a:ext cx="11112" cy="11112"/>
              </a:xfrm>
              <a:custGeom>
                <a:avLst/>
                <a:gdLst>
                  <a:gd name="T0" fmla="*/ 11112 w 7"/>
                  <a:gd name="T1" fmla="*/ 0 h 7"/>
                  <a:gd name="T2" fmla="*/ 11112 w 7"/>
                  <a:gd name="T3" fmla="*/ 0 h 7"/>
                  <a:gd name="T4" fmla="*/ 0 w 7"/>
                  <a:gd name="T5" fmla="*/ 0 h 7"/>
                  <a:gd name="T6" fmla="*/ 0 w 7"/>
                  <a:gd name="T7" fmla="*/ 11112 h 7"/>
                  <a:gd name="T8" fmla="*/ 0 w 7"/>
                  <a:gd name="T9" fmla="*/ 11112 h 7"/>
                  <a:gd name="T10" fmla="*/ 11112 w 7"/>
                  <a:gd name="T11" fmla="*/ 11112 h 7"/>
                  <a:gd name="T12" fmla="*/ 11112 w 7"/>
                  <a:gd name="T13" fmla="*/ 0 h 7"/>
                  <a:gd name="T14" fmla="*/ 11112 w 7"/>
                  <a:gd name="T15" fmla="*/ 0 h 7"/>
                  <a:gd name="T16" fmla="*/ 11112 w 7"/>
                  <a:gd name="T17" fmla="*/ 0 h 7"/>
                  <a:gd name="T18" fmla="*/ 11112 w 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7" y="0"/>
                    </a:moveTo>
                    <a:lnTo>
                      <a:pt x="7" y="0"/>
                    </a:lnTo>
                    <a:lnTo>
                      <a:pt x="0" y="0"/>
                    </a:lnTo>
                    <a:lnTo>
                      <a:pt x="0" y="7"/>
                    </a:lnTo>
                    <a:lnTo>
                      <a:pt x="7" y="7"/>
                    </a:lnTo>
                    <a:lnTo>
                      <a:pt x="7"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6" name="Freeform 312"/>
              <p:cNvSpPr>
                <a:spLocks/>
              </p:cNvSpPr>
              <p:nvPr/>
            </p:nvSpPr>
            <p:spPr bwMode="auto">
              <a:xfrm>
                <a:off x="3587750" y="3954463"/>
                <a:ext cx="1588" cy="20637"/>
              </a:xfrm>
              <a:custGeom>
                <a:avLst/>
                <a:gdLst>
                  <a:gd name="T0" fmla="*/ 0 w 1588"/>
                  <a:gd name="T1" fmla="*/ 20637 h 13"/>
                  <a:gd name="T2" fmla="*/ 0 w 1588"/>
                  <a:gd name="T3" fmla="*/ 20637 h 13"/>
                  <a:gd name="T4" fmla="*/ 0 w 1588"/>
                  <a:gd name="T5" fmla="*/ 11112 h 13"/>
                  <a:gd name="T6" fmla="*/ 0 w 1588"/>
                  <a:gd name="T7" fmla="*/ 0 h 13"/>
                  <a:gd name="T8" fmla="*/ 0 w 1588"/>
                  <a:gd name="T9" fmla="*/ 0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7"/>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7" name="Freeform 313"/>
              <p:cNvSpPr>
                <a:spLocks/>
              </p:cNvSpPr>
              <p:nvPr/>
            </p:nvSpPr>
            <p:spPr bwMode="auto">
              <a:xfrm>
                <a:off x="3587750" y="3954463"/>
                <a:ext cx="1588" cy="30162"/>
              </a:xfrm>
              <a:custGeom>
                <a:avLst/>
                <a:gdLst>
                  <a:gd name="T0" fmla="*/ 0 w 1588"/>
                  <a:gd name="T1" fmla="*/ 30162 h 19"/>
                  <a:gd name="T2" fmla="*/ 0 w 1588"/>
                  <a:gd name="T3" fmla="*/ 30162 h 19"/>
                  <a:gd name="T4" fmla="*/ 0 w 1588"/>
                  <a:gd name="T5" fmla="*/ 11112 h 19"/>
                  <a:gd name="T6" fmla="*/ 0 w 1588"/>
                  <a:gd name="T7" fmla="*/ 0 h 19"/>
                  <a:gd name="T8" fmla="*/ 0 w 1588"/>
                  <a:gd name="T9" fmla="*/ 0 h 19"/>
                  <a:gd name="T10" fmla="*/ 0 w 1588"/>
                  <a:gd name="T11" fmla="*/ 30162 h 19"/>
                  <a:gd name="T12" fmla="*/ 0 w 1588"/>
                  <a:gd name="T13" fmla="*/ 30162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7"/>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8" name="Freeform 314"/>
              <p:cNvSpPr>
                <a:spLocks/>
              </p:cNvSpPr>
              <p:nvPr/>
            </p:nvSpPr>
            <p:spPr bwMode="auto">
              <a:xfrm>
                <a:off x="3578225" y="3965575"/>
                <a:ext cx="1588" cy="19050"/>
              </a:xfrm>
              <a:custGeom>
                <a:avLst/>
                <a:gdLst>
                  <a:gd name="T0" fmla="*/ 0 w 1588"/>
                  <a:gd name="T1" fmla="*/ 0 h 12"/>
                  <a:gd name="T2" fmla="*/ 0 w 1588"/>
                  <a:gd name="T3" fmla="*/ 0 h 12"/>
                  <a:gd name="T4" fmla="*/ 0 w 1588"/>
                  <a:gd name="T5" fmla="*/ 9525 h 12"/>
                  <a:gd name="T6" fmla="*/ 0 w 1588"/>
                  <a:gd name="T7" fmla="*/ 19050 h 12"/>
                  <a:gd name="T8" fmla="*/ 0 w 1588"/>
                  <a:gd name="T9" fmla="*/ 19050 h 12"/>
                  <a:gd name="T10" fmla="*/ 0 w 1588"/>
                  <a:gd name="T11" fmla="*/ 9525 h 12"/>
                  <a:gd name="T12" fmla="*/ 0 w 1588"/>
                  <a:gd name="T13" fmla="*/ 0 h 12"/>
                  <a:gd name="T14" fmla="*/ 0 w 1588"/>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12"/>
                  <a:gd name="T26" fmla="*/ 1588 w 158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12">
                    <a:moveTo>
                      <a:pt x="0" y="0"/>
                    </a:moveTo>
                    <a:lnTo>
                      <a:pt x="0" y="0"/>
                    </a:lnTo>
                    <a:lnTo>
                      <a:pt x="0" y="6"/>
                    </a:lnTo>
                    <a:lnTo>
                      <a:pt x="0" y="12"/>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19" name="Freeform 315"/>
              <p:cNvSpPr>
                <a:spLocks/>
              </p:cNvSpPr>
              <p:nvPr/>
            </p:nvSpPr>
            <p:spPr bwMode="auto">
              <a:xfrm>
                <a:off x="3568700" y="3965575"/>
                <a:ext cx="9525" cy="19050"/>
              </a:xfrm>
              <a:custGeom>
                <a:avLst/>
                <a:gdLst>
                  <a:gd name="T0" fmla="*/ 9525 w 6"/>
                  <a:gd name="T1" fmla="*/ 19050 h 12"/>
                  <a:gd name="T2" fmla="*/ 9525 w 6"/>
                  <a:gd name="T3" fmla="*/ 19050 h 12"/>
                  <a:gd name="T4" fmla="*/ 0 w 6"/>
                  <a:gd name="T5" fmla="*/ 0 h 12"/>
                  <a:gd name="T6" fmla="*/ 0 w 6"/>
                  <a:gd name="T7" fmla="*/ 0 h 12"/>
                  <a:gd name="T8" fmla="*/ 9525 w 6"/>
                  <a:gd name="T9" fmla="*/ 19050 h 12"/>
                  <a:gd name="T10" fmla="*/ 9525 w 6"/>
                  <a:gd name="T11" fmla="*/ 1905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6" y="12"/>
                    </a:moveTo>
                    <a:lnTo>
                      <a:pt x="6" y="12"/>
                    </a:lnTo>
                    <a:lnTo>
                      <a:pt x="0" y="0"/>
                    </a:lnTo>
                    <a:lnTo>
                      <a:pt x="6" y="12"/>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0" name="Freeform 316"/>
              <p:cNvSpPr>
                <a:spLocks/>
              </p:cNvSpPr>
              <p:nvPr/>
            </p:nvSpPr>
            <p:spPr bwMode="auto">
              <a:xfrm>
                <a:off x="3648075" y="39655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1" name="Freeform 317"/>
              <p:cNvSpPr>
                <a:spLocks/>
              </p:cNvSpPr>
              <p:nvPr/>
            </p:nvSpPr>
            <p:spPr bwMode="auto">
              <a:xfrm>
                <a:off x="3568700" y="3965575"/>
                <a:ext cx="1588" cy="30163"/>
              </a:xfrm>
              <a:custGeom>
                <a:avLst/>
                <a:gdLst>
                  <a:gd name="T0" fmla="*/ 0 w 1588"/>
                  <a:gd name="T1" fmla="*/ 30163 h 19"/>
                  <a:gd name="T2" fmla="*/ 0 w 1588"/>
                  <a:gd name="T3" fmla="*/ 30163 h 19"/>
                  <a:gd name="T4" fmla="*/ 0 w 1588"/>
                  <a:gd name="T5" fmla="*/ 19050 h 19"/>
                  <a:gd name="T6" fmla="*/ 0 w 1588"/>
                  <a:gd name="T7" fmla="*/ 0 h 19"/>
                  <a:gd name="T8" fmla="*/ 0 w 1588"/>
                  <a:gd name="T9" fmla="*/ 0 h 19"/>
                  <a:gd name="T10" fmla="*/ 0 w 1588"/>
                  <a:gd name="T11" fmla="*/ 30163 h 19"/>
                  <a:gd name="T12" fmla="*/ 0 w 1588"/>
                  <a:gd name="T13" fmla="*/ 30163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12"/>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2" name="Freeform 318"/>
              <p:cNvSpPr>
                <a:spLocks/>
              </p:cNvSpPr>
              <p:nvPr/>
            </p:nvSpPr>
            <p:spPr bwMode="auto">
              <a:xfrm>
                <a:off x="3557588" y="3975100"/>
                <a:ext cx="1587"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9525 h 13"/>
                  <a:gd name="T10" fmla="*/ 0 w 1588"/>
                  <a:gd name="T11" fmla="*/ 20638 h 13"/>
                  <a:gd name="T12" fmla="*/ 0 w 1588"/>
                  <a:gd name="T13" fmla="*/ 20638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3" name="Freeform 319"/>
              <p:cNvSpPr>
                <a:spLocks/>
              </p:cNvSpPr>
              <p:nvPr/>
            </p:nvSpPr>
            <p:spPr bwMode="auto">
              <a:xfrm>
                <a:off x="3659188" y="3984625"/>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4" name="Freeform 320"/>
              <p:cNvSpPr>
                <a:spLocks/>
              </p:cNvSpPr>
              <p:nvPr/>
            </p:nvSpPr>
            <p:spPr bwMode="auto">
              <a:xfrm>
                <a:off x="3729038" y="3984625"/>
                <a:ext cx="1587"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20638 h 13"/>
                  <a:gd name="T10" fmla="*/ 0 w 1588"/>
                  <a:gd name="T11" fmla="*/ 20638 h 13"/>
                  <a:gd name="T12" fmla="*/ 0 60000 65536"/>
                  <a:gd name="T13" fmla="*/ 0 60000 65536"/>
                  <a:gd name="T14" fmla="*/ 0 60000 65536"/>
                  <a:gd name="T15" fmla="*/ 0 60000 65536"/>
                  <a:gd name="T16" fmla="*/ 0 60000 65536"/>
                  <a:gd name="T17" fmla="*/ 0 60000 65536"/>
                  <a:gd name="T18" fmla="*/ 0 w 1588"/>
                  <a:gd name="T19" fmla="*/ 0 h 13"/>
                  <a:gd name="T20" fmla="*/ 1588 w 158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88" h="13">
                    <a:moveTo>
                      <a:pt x="0" y="13"/>
                    </a:moveTo>
                    <a:lnTo>
                      <a:pt x="0" y="13"/>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5" name="Freeform 322"/>
              <p:cNvSpPr>
                <a:spLocks/>
              </p:cNvSpPr>
              <p:nvPr/>
            </p:nvSpPr>
            <p:spPr bwMode="auto">
              <a:xfrm>
                <a:off x="3659188" y="399573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6" name="Rectangle 323"/>
              <p:cNvSpPr>
                <a:spLocks noChangeArrowheads="1"/>
              </p:cNvSpPr>
              <p:nvPr/>
            </p:nvSpPr>
            <p:spPr bwMode="auto">
              <a:xfrm>
                <a:off x="3648075" y="3995738"/>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27" name="Freeform 324"/>
              <p:cNvSpPr>
                <a:spLocks/>
              </p:cNvSpPr>
              <p:nvPr/>
            </p:nvSpPr>
            <p:spPr bwMode="auto">
              <a:xfrm>
                <a:off x="3538538" y="399573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8" name="Freeform 325"/>
              <p:cNvSpPr>
                <a:spLocks/>
              </p:cNvSpPr>
              <p:nvPr/>
            </p:nvSpPr>
            <p:spPr bwMode="auto">
              <a:xfrm>
                <a:off x="3587750" y="3995738"/>
                <a:ext cx="1588" cy="20637"/>
              </a:xfrm>
              <a:custGeom>
                <a:avLst/>
                <a:gdLst>
                  <a:gd name="T0" fmla="*/ 0 w 1588"/>
                  <a:gd name="T1" fmla="*/ 20637 h 13"/>
                  <a:gd name="T2" fmla="*/ 0 w 1588"/>
                  <a:gd name="T3" fmla="*/ 20637 h 13"/>
                  <a:gd name="T4" fmla="*/ 0 w 1588"/>
                  <a:gd name="T5" fmla="*/ 0 h 13"/>
                  <a:gd name="T6" fmla="*/ 0 w 1588"/>
                  <a:gd name="T7" fmla="*/ 0 h 13"/>
                  <a:gd name="T8" fmla="*/ 0 w 1588"/>
                  <a:gd name="T9" fmla="*/ 9525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29" name="Rectangle 326"/>
              <p:cNvSpPr>
                <a:spLocks noChangeArrowheads="1"/>
              </p:cNvSpPr>
              <p:nvPr/>
            </p:nvSpPr>
            <p:spPr bwMode="auto">
              <a:xfrm>
                <a:off x="3538538" y="3995738"/>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0" name="Freeform 327"/>
              <p:cNvSpPr>
                <a:spLocks/>
              </p:cNvSpPr>
              <p:nvPr/>
            </p:nvSpPr>
            <p:spPr bwMode="auto">
              <a:xfrm>
                <a:off x="3587750" y="4005263"/>
                <a:ext cx="11113" cy="11112"/>
              </a:xfrm>
              <a:custGeom>
                <a:avLst/>
                <a:gdLst>
                  <a:gd name="T0" fmla="*/ 0 w 7"/>
                  <a:gd name="T1" fmla="*/ 11112 h 7"/>
                  <a:gd name="T2" fmla="*/ 0 w 7"/>
                  <a:gd name="T3" fmla="*/ 11112 h 7"/>
                  <a:gd name="T4" fmla="*/ 11113 w 7"/>
                  <a:gd name="T5" fmla="*/ 0 h 7"/>
                  <a:gd name="T6" fmla="*/ 0 w 7"/>
                  <a:gd name="T7" fmla="*/ 0 h 7"/>
                  <a:gd name="T8" fmla="*/ 0 w 7"/>
                  <a:gd name="T9" fmla="*/ 0 h 7"/>
                  <a:gd name="T10" fmla="*/ 0 w 7"/>
                  <a:gd name="T11" fmla="*/ 11112 h 7"/>
                  <a:gd name="T12" fmla="*/ 0 w 7"/>
                  <a:gd name="T13" fmla="*/ 11112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0" y="7"/>
                    </a:moveTo>
                    <a:lnTo>
                      <a:pt x="0" y="7"/>
                    </a:lnTo>
                    <a:lnTo>
                      <a:pt x="7" y="0"/>
                    </a:lnTo>
                    <a:lnTo>
                      <a:pt x="0" y="0"/>
                    </a:lnTo>
                    <a:lnTo>
                      <a:pt x="0"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1" name="Rectangle 328"/>
              <p:cNvSpPr>
                <a:spLocks noChangeArrowheads="1"/>
              </p:cNvSpPr>
              <p:nvPr/>
            </p:nvSpPr>
            <p:spPr bwMode="auto">
              <a:xfrm>
                <a:off x="3527425" y="400526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2" name="Freeform 329"/>
              <p:cNvSpPr>
                <a:spLocks/>
              </p:cNvSpPr>
              <p:nvPr/>
            </p:nvSpPr>
            <p:spPr bwMode="auto">
              <a:xfrm>
                <a:off x="3578225" y="4005263"/>
                <a:ext cx="1588" cy="11112"/>
              </a:xfrm>
              <a:custGeom>
                <a:avLst/>
                <a:gdLst>
                  <a:gd name="T0" fmla="*/ 0 w 1588"/>
                  <a:gd name="T1" fmla="*/ 0 h 7"/>
                  <a:gd name="T2" fmla="*/ 0 w 1588"/>
                  <a:gd name="T3" fmla="*/ 0 h 7"/>
                  <a:gd name="T4" fmla="*/ 0 w 1588"/>
                  <a:gd name="T5" fmla="*/ 0 h 7"/>
                  <a:gd name="T6" fmla="*/ 0 w 1588"/>
                  <a:gd name="T7" fmla="*/ 11112 h 7"/>
                  <a:gd name="T8" fmla="*/ 0 w 1588"/>
                  <a:gd name="T9" fmla="*/ 11112 h 7"/>
                  <a:gd name="T10" fmla="*/ 0 w 1588"/>
                  <a:gd name="T11" fmla="*/ 0 h 7"/>
                  <a:gd name="T12" fmla="*/ 0 w 1588"/>
                  <a:gd name="T13" fmla="*/ 0 h 7"/>
                  <a:gd name="T14" fmla="*/ 0 60000 65536"/>
                  <a:gd name="T15" fmla="*/ 0 60000 65536"/>
                  <a:gd name="T16" fmla="*/ 0 60000 65536"/>
                  <a:gd name="T17" fmla="*/ 0 60000 65536"/>
                  <a:gd name="T18" fmla="*/ 0 60000 65536"/>
                  <a:gd name="T19" fmla="*/ 0 60000 65536"/>
                  <a:gd name="T20" fmla="*/ 0 60000 65536"/>
                  <a:gd name="T21" fmla="*/ 0 w 1588"/>
                  <a:gd name="T22" fmla="*/ 0 h 7"/>
                  <a:gd name="T23" fmla="*/ 1588 w 158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7">
                    <a:moveTo>
                      <a:pt x="0" y="0"/>
                    </a:moveTo>
                    <a:lnTo>
                      <a:pt x="0" y="0"/>
                    </a:lnTo>
                    <a:lnTo>
                      <a:pt x="0" y="7"/>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3" name="Freeform 330"/>
              <p:cNvSpPr>
                <a:spLocks/>
              </p:cNvSpPr>
              <p:nvPr/>
            </p:nvSpPr>
            <p:spPr bwMode="auto">
              <a:xfrm>
                <a:off x="3568700" y="4005263"/>
                <a:ext cx="9525" cy="20637"/>
              </a:xfrm>
              <a:custGeom>
                <a:avLst/>
                <a:gdLst>
                  <a:gd name="T0" fmla="*/ 9525 w 6"/>
                  <a:gd name="T1" fmla="*/ 0 h 13"/>
                  <a:gd name="T2" fmla="*/ 9525 w 6"/>
                  <a:gd name="T3" fmla="*/ 0 h 13"/>
                  <a:gd name="T4" fmla="*/ 0 w 6"/>
                  <a:gd name="T5" fmla="*/ 0 h 13"/>
                  <a:gd name="T6" fmla="*/ 9525 w 6"/>
                  <a:gd name="T7" fmla="*/ 20637 h 13"/>
                  <a:gd name="T8" fmla="*/ 9525 w 6"/>
                  <a:gd name="T9" fmla="*/ 20637 h 13"/>
                  <a:gd name="T10" fmla="*/ 9525 w 6"/>
                  <a:gd name="T11" fmla="*/ 0 h 13"/>
                  <a:gd name="T12" fmla="*/ 9525 w 6"/>
                  <a:gd name="T13" fmla="*/ 0 h 13"/>
                  <a:gd name="T14" fmla="*/ 0 60000 65536"/>
                  <a:gd name="T15" fmla="*/ 0 60000 65536"/>
                  <a:gd name="T16" fmla="*/ 0 60000 65536"/>
                  <a:gd name="T17" fmla="*/ 0 60000 65536"/>
                  <a:gd name="T18" fmla="*/ 0 60000 65536"/>
                  <a:gd name="T19" fmla="*/ 0 60000 65536"/>
                  <a:gd name="T20" fmla="*/ 0 60000 65536"/>
                  <a:gd name="T21" fmla="*/ 0 w 6"/>
                  <a:gd name="T22" fmla="*/ 0 h 13"/>
                  <a:gd name="T23" fmla="*/ 6 w 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3">
                    <a:moveTo>
                      <a:pt x="6" y="0"/>
                    </a:moveTo>
                    <a:lnTo>
                      <a:pt x="6" y="0"/>
                    </a:lnTo>
                    <a:lnTo>
                      <a:pt x="0" y="0"/>
                    </a:lnTo>
                    <a:lnTo>
                      <a:pt x="6" y="13"/>
                    </a:lnTo>
                    <a:lnTo>
                      <a:pt x="6"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4" name="Freeform 331"/>
              <p:cNvSpPr>
                <a:spLocks/>
              </p:cNvSpPr>
              <p:nvPr/>
            </p:nvSpPr>
            <p:spPr bwMode="auto">
              <a:xfrm>
                <a:off x="3648075" y="4005263"/>
                <a:ext cx="11113" cy="11112"/>
              </a:xfrm>
              <a:custGeom>
                <a:avLst/>
                <a:gdLst>
                  <a:gd name="T0" fmla="*/ 0 w 7"/>
                  <a:gd name="T1" fmla="*/ 0 h 7"/>
                  <a:gd name="T2" fmla="*/ 0 w 7"/>
                  <a:gd name="T3" fmla="*/ 0 h 7"/>
                  <a:gd name="T4" fmla="*/ 0 w 7"/>
                  <a:gd name="T5" fmla="*/ 11112 h 7"/>
                  <a:gd name="T6" fmla="*/ 0 w 7"/>
                  <a:gd name="T7" fmla="*/ 11112 h 7"/>
                  <a:gd name="T8" fmla="*/ 0 w 7"/>
                  <a:gd name="T9" fmla="*/ 0 h 7"/>
                  <a:gd name="T10" fmla="*/ 0 w 7"/>
                  <a:gd name="T11" fmla="*/ 0 h 7"/>
                  <a:gd name="T12" fmla="*/ 11113 w 7"/>
                  <a:gd name="T13" fmla="*/ 0 h 7"/>
                  <a:gd name="T14" fmla="*/ 11113 w 7"/>
                  <a:gd name="T15" fmla="*/ 0 h 7"/>
                  <a:gd name="T16" fmla="*/ 0 w 7"/>
                  <a:gd name="T17" fmla="*/ 0 h 7"/>
                  <a:gd name="T18" fmla="*/ 0 w 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0" y="0"/>
                    </a:moveTo>
                    <a:lnTo>
                      <a:pt x="0" y="0"/>
                    </a:lnTo>
                    <a:lnTo>
                      <a:pt x="0" y="7"/>
                    </a:lnTo>
                    <a:lnTo>
                      <a:pt x="0" y="0"/>
                    </a:lnTo>
                    <a:lnTo>
                      <a:pt x="7"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5" name="Rectangle 332"/>
              <p:cNvSpPr>
                <a:spLocks noChangeArrowheads="1"/>
              </p:cNvSpPr>
              <p:nvPr/>
            </p:nvSpPr>
            <p:spPr bwMode="auto">
              <a:xfrm>
                <a:off x="3648075" y="400526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6" name="Rectangle 333"/>
              <p:cNvSpPr>
                <a:spLocks noChangeArrowheads="1"/>
              </p:cNvSpPr>
              <p:nvPr/>
            </p:nvSpPr>
            <p:spPr bwMode="auto">
              <a:xfrm>
                <a:off x="3779838" y="4005263"/>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7" name="Freeform 334"/>
              <p:cNvSpPr>
                <a:spLocks/>
              </p:cNvSpPr>
              <p:nvPr/>
            </p:nvSpPr>
            <p:spPr bwMode="auto">
              <a:xfrm>
                <a:off x="3729038" y="4016375"/>
                <a:ext cx="1587"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38" name="Rectangle 335"/>
              <p:cNvSpPr>
                <a:spLocks noChangeArrowheads="1"/>
              </p:cNvSpPr>
              <p:nvPr/>
            </p:nvSpPr>
            <p:spPr bwMode="auto">
              <a:xfrm>
                <a:off x="3648075" y="401637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39" name="Freeform 336"/>
              <p:cNvSpPr>
                <a:spLocks/>
              </p:cNvSpPr>
              <p:nvPr/>
            </p:nvSpPr>
            <p:spPr bwMode="auto">
              <a:xfrm>
                <a:off x="3729038" y="401637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0" name="Freeform 337"/>
              <p:cNvSpPr>
                <a:spLocks/>
              </p:cNvSpPr>
              <p:nvPr/>
            </p:nvSpPr>
            <p:spPr bwMode="auto">
              <a:xfrm>
                <a:off x="3648075" y="40163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w 1588"/>
                  <a:gd name="T19" fmla="*/ 0 h 15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8"/>
                  <a:gd name="T31" fmla="*/ 0 h 1588"/>
                  <a:gd name="T32" fmla="*/ 1588 w 1588"/>
                  <a:gd name="T33" fmla="*/ 1588 h 15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1" name="Freeform 338"/>
              <p:cNvSpPr>
                <a:spLocks/>
              </p:cNvSpPr>
              <p:nvPr/>
            </p:nvSpPr>
            <p:spPr bwMode="auto">
              <a:xfrm>
                <a:off x="3648075" y="4016375"/>
                <a:ext cx="1588" cy="9525"/>
              </a:xfrm>
              <a:custGeom>
                <a:avLst/>
                <a:gdLst>
                  <a:gd name="T0" fmla="*/ 0 w 1588"/>
                  <a:gd name="T1" fmla="*/ 0 h 6"/>
                  <a:gd name="T2" fmla="*/ 0 w 1588"/>
                  <a:gd name="T3" fmla="*/ 0 h 6"/>
                  <a:gd name="T4" fmla="*/ 0 w 1588"/>
                  <a:gd name="T5" fmla="*/ 9525 h 6"/>
                  <a:gd name="T6" fmla="*/ 0 w 1588"/>
                  <a:gd name="T7" fmla="*/ 0 h 6"/>
                  <a:gd name="T8" fmla="*/ 0 w 1588"/>
                  <a:gd name="T9" fmla="*/ 0 h 6"/>
                  <a:gd name="T10" fmla="*/ 0 60000 65536"/>
                  <a:gd name="T11" fmla="*/ 0 60000 65536"/>
                  <a:gd name="T12" fmla="*/ 0 60000 65536"/>
                  <a:gd name="T13" fmla="*/ 0 60000 65536"/>
                  <a:gd name="T14" fmla="*/ 0 60000 65536"/>
                  <a:gd name="T15" fmla="*/ 0 w 1588"/>
                  <a:gd name="T16" fmla="*/ 0 h 6"/>
                  <a:gd name="T17" fmla="*/ 1588 w 1588"/>
                  <a:gd name="T18" fmla="*/ 6 h 6"/>
                </a:gdLst>
                <a:ahLst/>
                <a:cxnLst>
                  <a:cxn ang="T10">
                    <a:pos x="T0" y="T1"/>
                  </a:cxn>
                  <a:cxn ang="T11">
                    <a:pos x="T2" y="T3"/>
                  </a:cxn>
                  <a:cxn ang="T12">
                    <a:pos x="T4" y="T5"/>
                  </a:cxn>
                  <a:cxn ang="T13">
                    <a:pos x="T6" y="T7"/>
                  </a:cxn>
                  <a:cxn ang="T14">
                    <a:pos x="T8" y="T9"/>
                  </a:cxn>
                </a:cxnLst>
                <a:rect l="T15" t="T16" r="T17" b="T18"/>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2" name="Rectangle 339"/>
              <p:cNvSpPr>
                <a:spLocks noChangeArrowheads="1"/>
              </p:cNvSpPr>
              <p:nvPr/>
            </p:nvSpPr>
            <p:spPr bwMode="auto">
              <a:xfrm>
                <a:off x="3587750" y="40259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43" name="Freeform 340"/>
              <p:cNvSpPr>
                <a:spLocks/>
              </p:cNvSpPr>
              <p:nvPr/>
            </p:nvSpPr>
            <p:spPr bwMode="auto">
              <a:xfrm>
                <a:off x="3587750" y="4025900"/>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4" name="Freeform 341"/>
              <p:cNvSpPr>
                <a:spLocks/>
              </p:cNvSpPr>
              <p:nvPr/>
            </p:nvSpPr>
            <p:spPr bwMode="auto">
              <a:xfrm>
                <a:off x="3587750" y="4025900"/>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5" name="Rectangle 342"/>
              <p:cNvSpPr>
                <a:spLocks noChangeArrowheads="1"/>
              </p:cNvSpPr>
              <p:nvPr/>
            </p:nvSpPr>
            <p:spPr bwMode="auto">
              <a:xfrm>
                <a:off x="3578225" y="40259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46" name="Freeform 343"/>
              <p:cNvSpPr>
                <a:spLocks/>
              </p:cNvSpPr>
              <p:nvPr/>
            </p:nvSpPr>
            <p:spPr bwMode="auto">
              <a:xfrm>
                <a:off x="3578225" y="4025900"/>
                <a:ext cx="1588"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20638 h 13"/>
                  <a:gd name="T10" fmla="*/ 0 w 1588"/>
                  <a:gd name="T11" fmla="*/ 20638 h 13"/>
                  <a:gd name="T12" fmla="*/ 0 60000 65536"/>
                  <a:gd name="T13" fmla="*/ 0 60000 65536"/>
                  <a:gd name="T14" fmla="*/ 0 60000 65536"/>
                  <a:gd name="T15" fmla="*/ 0 60000 65536"/>
                  <a:gd name="T16" fmla="*/ 0 60000 65536"/>
                  <a:gd name="T17" fmla="*/ 0 60000 65536"/>
                  <a:gd name="T18" fmla="*/ 0 w 1588"/>
                  <a:gd name="T19" fmla="*/ 0 h 13"/>
                  <a:gd name="T20" fmla="*/ 1588 w 158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88" h="13">
                    <a:moveTo>
                      <a:pt x="0" y="13"/>
                    </a:moveTo>
                    <a:lnTo>
                      <a:pt x="0" y="13"/>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7" name="Freeform 344"/>
              <p:cNvSpPr>
                <a:spLocks/>
              </p:cNvSpPr>
              <p:nvPr/>
            </p:nvSpPr>
            <p:spPr bwMode="auto">
              <a:xfrm>
                <a:off x="3648075" y="40259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8" name="Freeform 345"/>
              <p:cNvSpPr>
                <a:spLocks/>
              </p:cNvSpPr>
              <p:nvPr/>
            </p:nvSpPr>
            <p:spPr bwMode="auto">
              <a:xfrm>
                <a:off x="3568700" y="4025900"/>
                <a:ext cx="9525" cy="20638"/>
              </a:xfrm>
              <a:custGeom>
                <a:avLst/>
                <a:gdLst>
                  <a:gd name="T0" fmla="*/ 0 w 6"/>
                  <a:gd name="T1" fmla="*/ 0 h 13"/>
                  <a:gd name="T2" fmla="*/ 0 w 6"/>
                  <a:gd name="T3" fmla="*/ 0 h 13"/>
                  <a:gd name="T4" fmla="*/ 0 w 6"/>
                  <a:gd name="T5" fmla="*/ 9525 h 13"/>
                  <a:gd name="T6" fmla="*/ 9525 w 6"/>
                  <a:gd name="T7" fmla="*/ 20638 h 13"/>
                  <a:gd name="T8" fmla="*/ 9525 w 6"/>
                  <a:gd name="T9" fmla="*/ 20638 h 13"/>
                  <a:gd name="T10" fmla="*/ 9525 w 6"/>
                  <a:gd name="T11" fmla="*/ 9525 h 13"/>
                  <a:gd name="T12" fmla="*/ 0 w 6"/>
                  <a:gd name="T13" fmla="*/ 0 h 13"/>
                  <a:gd name="T14" fmla="*/ 0 w 6"/>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3"/>
                  <a:gd name="T26" fmla="*/ 6 w 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3">
                    <a:moveTo>
                      <a:pt x="0" y="0"/>
                    </a:moveTo>
                    <a:lnTo>
                      <a:pt x="0" y="0"/>
                    </a:lnTo>
                    <a:lnTo>
                      <a:pt x="0" y="6"/>
                    </a:lnTo>
                    <a:lnTo>
                      <a:pt x="6" y="13"/>
                    </a:lnTo>
                    <a:lnTo>
                      <a:pt x="6"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49" name="Freeform 346"/>
              <p:cNvSpPr>
                <a:spLocks/>
              </p:cNvSpPr>
              <p:nvPr/>
            </p:nvSpPr>
            <p:spPr bwMode="auto">
              <a:xfrm>
                <a:off x="3587750" y="40259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0" name="Freeform 347"/>
              <p:cNvSpPr>
                <a:spLocks/>
              </p:cNvSpPr>
              <p:nvPr/>
            </p:nvSpPr>
            <p:spPr bwMode="auto">
              <a:xfrm>
                <a:off x="3527425" y="4035425"/>
                <a:ext cx="11113" cy="11113"/>
              </a:xfrm>
              <a:custGeom>
                <a:avLst/>
                <a:gdLst>
                  <a:gd name="T0" fmla="*/ 11113 w 7"/>
                  <a:gd name="T1" fmla="*/ 11113 h 7"/>
                  <a:gd name="T2" fmla="*/ 11113 w 7"/>
                  <a:gd name="T3" fmla="*/ 11113 h 7"/>
                  <a:gd name="T4" fmla="*/ 11113 w 7"/>
                  <a:gd name="T5" fmla="*/ 0 h 7"/>
                  <a:gd name="T6" fmla="*/ 11113 w 7"/>
                  <a:gd name="T7" fmla="*/ 0 h 7"/>
                  <a:gd name="T8" fmla="*/ 0 w 7"/>
                  <a:gd name="T9" fmla="*/ 0 h 7"/>
                  <a:gd name="T10" fmla="*/ 0 w 7"/>
                  <a:gd name="T11" fmla="*/ 0 h 7"/>
                  <a:gd name="T12" fmla="*/ 0 w 7"/>
                  <a:gd name="T13" fmla="*/ 11113 h 7"/>
                  <a:gd name="T14" fmla="*/ 0 w 7"/>
                  <a:gd name="T15" fmla="*/ 11113 h 7"/>
                  <a:gd name="T16" fmla="*/ 11113 w 7"/>
                  <a:gd name="T17" fmla="*/ 11113 h 7"/>
                  <a:gd name="T18" fmla="*/ 11113 w 7"/>
                  <a:gd name="T19" fmla="*/ 11113 h 7"/>
                  <a:gd name="T20" fmla="*/ 11113 w 7"/>
                  <a:gd name="T21" fmla="*/ 11113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7"/>
                  <a:gd name="T35" fmla="*/ 7 w 7"/>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7">
                    <a:moveTo>
                      <a:pt x="7" y="7"/>
                    </a:moveTo>
                    <a:lnTo>
                      <a:pt x="7" y="7"/>
                    </a:lnTo>
                    <a:lnTo>
                      <a:pt x="7" y="0"/>
                    </a:lnTo>
                    <a:lnTo>
                      <a:pt x="0" y="0"/>
                    </a:lnTo>
                    <a:lnTo>
                      <a:pt x="0" y="7"/>
                    </a:lnTo>
                    <a:lnTo>
                      <a:pt x="7"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1" name="Rectangle 348"/>
              <p:cNvSpPr>
                <a:spLocks noChangeArrowheads="1"/>
              </p:cNvSpPr>
              <p:nvPr/>
            </p:nvSpPr>
            <p:spPr bwMode="auto">
              <a:xfrm>
                <a:off x="3648075" y="403542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52" name="Freeform 349"/>
              <p:cNvSpPr>
                <a:spLocks/>
              </p:cNvSpPr>
              <p:nvPr/>
            </p:nvSpPr>
            <p:spPr bwMode="auto">
              <a:xfrm>
                <a:off x="3648075" y="40354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3" name="Freeform 350"/>
              <p:cNvSpPr>
                <a:spLocks/>
              </p:cNvSpPr>
              <p:nvPr/>
            </p:nvSpPr>
            <p:spPr bwMode="auto">
              <a:xfrm>
                <a:off x="3729038" y="4035425"/>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4" name="Freeform 351"/>
              <p:cNvSpPr>
                <a:spLocks/>
              </p:cNvSpPr>
              <p:nvPr/>
            </p:nvSpPr>
            <p:spPr bwMode="auto">
              <a:xfrm>
                <a:off x="3587750" y="4046538"/>
                <a:ext cx="11113" cy="19050"/>
              </a:xfrm>
              <a:custGeom>
                <a:avLst/>
                <a:gdLst>
                  <a:gd name="T0" fmla="*/ 0 w 7"/>
                  <a:gd name="T1" fmla="*/ 0 h 12"/>
                  <a:gd name="T2" fmla="*/ 0 w 7"/>
                  <a:gd name="T3" fmla="*/ 0 h 12"/>
                  <a:gd name="T4" fmla="*/ 0 w 7"/>
                  <a:gd name="T5" fmla="*/ 9525 h 12"/>
                  <a:gd name="T6" fmla="*/ 11113 w 7"/>
                  <a:gd name="T7" fmla="*/ 19050 h 12"/>
                  <a:gd name="T8" fmla="*/ 11113 w 7"/>
                  <a:gd name="T9" fmla="*/ 19050 h 12"/>
                  <a:gd name="T10" fmla="*/ 0 w 7"/>
                  <a:gd name="T11" fmla="*/ 0 h 12"/>
                  <a:gd name="T12" fmla="*/ 0 w 7"/>
                  <a:gd name="T13" fmla="*/ 0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0"/>
                    </a:moveTo>
                    <a:lnTo>
                      <a:pt x="0" y="0"/>
                    </a:lnTo>
                    <a:lnTo>
                      <a:pt x="0" y="6"/>
                    </a:lnTo>
                    <a:lnTo>
                      <a:pt x="7" y="12"/>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5" name="Freeform 352"/>
              <p:cNvSpPr>
                <a:spLocks/>
              </p:cNvSpPr>
              <p:nvPr/>
            </p:nvSpPr>
            <p:spPr bwMode="auto">
              <a:xfrm>
                <a:off x="3729038" y="4046538"/>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6" name="Freeform 353"/>
              <p:cNvSpPr>
                <a:spLocks/>
              </p:cNvSpPr>
              <p:nvPr/>
            </p:nvSpPr>
            <p:spPr bwMode="auto">
              <a:xfrm>
                <a:off x="3729038" y="4046538"/>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7" name="Freeform 354"/>
              <p:cNvSpPr>
                <a:spLocks/>
              </p:cNvSpPr>
              <p:nvPr/>
            </p:nvSpPr>
            <p:spPr bwMode="auto">
              <a:xfrm>
                <a:off x="3578225" y="4056063"/>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8" name="Freeform 355"/>
              <p:cNvSpPr>
                <a:spLocks/>
              </p:cNvSpPr>
              <p:nvPr/>
            </p:nvSpPr>
            <p:spPr bwMode="auto">
              <a:xfrm>
                <a:off x="3587750" y="4056063"/>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59" name="Freeform 356"/>
              <p:cNvSpPr>
                <a:spLocks/>
              </p:cNvSpPr>
              <p:nvPr/>
            </p:nvSpPr>
            <p:spPr bwMode="auto">
              <a:xfrm>
                <a:off x="3568700" y="4056063"/>
                <a:ext cx="9525" cy="9525"/>
              </a:xfrm>
              <a:custGeom>
                <a:avLst/>
                <a:gdLst>
                  <a:gd name="T0" fmla="*/ 0 w 6"/>
                  <a:gd name="T1" fmla="*/ 0 h 6"/>
                  <a:gd name="T2" fmla="*/ 0 w 6"/>
                  <a:gd name="T3" fmla="*/ 0 h 6"/>
                  <a:gd name="T4" fmla="*/ 0 w 6"/>
                  <a:gd name="T5" fmla="*/ 9525 h 6"/>
                  <a:gd name="T6" fmla="*/ 9525 w 6"/>
                  <a:gd name="T7" fmla="*/ 9525 h 6"/>
                  <a:gd name="T8" fmla="*/ 9525 w 6"/>
                  <a:gd name="T9" fmla="*/ 9525 h 6"/>
                  <a:gd name="T10" fmla="*/ 9525 w 6"/>
                  <a:gd name="T11" fmla="*/ 0 h 6"/>
                  <a:gd name="T12" fmla="*/ 0 w 6"/>
                  <a:gd name="T13" fmla="*/ 0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0"/>
                    </a:moveTo>
                    <a:lnTo>
                      <a:pt x="0" y="0"/>
                    </a:lnTo>
                    <a:lnTo>
                      <a:pt x="0" y="6"/>
                    </a:lnTo>
                    <a:lnTo>
                      <a:pt x="6" y="6"/>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0" name="Freeform 357"/>
              <p:cNvSpPr>
                <a:spLocks/>
              </p:cNvSpPr>
              <p:nvPr/>
            </p:nvSpPr>
            <p:spPr bwMode="auto">
              <a:xfrm>
                <a:off x="3568700" y="4056063"/>
                <a:ext cx="1588" cy="20637"/>
              </a:xfrm>
              <a:custGeom>
                <a:avLst/>
                <a:gdLst>
                  <a:gd name="T0" fmla="*/ 0 w 1588"/>
                  <a:gd name="T1" fmla="*/ 20637 h 13"/>
                  <a:gd name="T2" fmla="*/ 0 w 1588"/>
                  <a:gd name="T3" fmla="*/ 20637 h 13"/>
                  <a:gd name="T4" fmla="*/ 0 w 1588"/>
                  <a:gd name="T5" fmla="*/ 9525 h 13"/>
                  <a:gd name="T6" fmla="*/ 0 w 1588"/>
                  <a:gd name="T7" fmla="*/ 0 h 13"/>
                  <a:gd name="T8" fmla="*/ 0 w 1588"/>
                  <a:gd name="T9" fmla="*/ 0 h 13"/>
                  <a:gd name="T10" fmla="*/ 0 w 1588"/>
                  <a:gd name="T11" fmla="*/ 9525 h 13"/>
                  <a:gd name="T12" fmla="*/ 0 w 1588"/>
                  <a:gd name="T13" fmla="*/ 20637 h 13"/>
                  <a:gd name="T14" fmla="*/ 0 w 1588"/>
                  <a:gd name="T15" fmla="*/ 20637 h 13"/>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13"/>
                  <a:gd name="T26" fmla="*/ 1588 w 158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13">
                    <a:moveTo>
                      <a:pt x="0" y="13"/>
                    </a:moveTo>
                    <a:lnTo>
                      <a:pt x="0" y="13"/>
                    </a:lnTo>
                    <a:lnTo>
                      <a:pt x="0" y="6"/>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1" name="Freeform 358"/>
              <p:cNvSpPr>
                <a:spLocks/>
              </p:cNvSpPr>
              <p:nvPr/>
            </p:nvSpPr>
            <p:spPr bwMode="auto">
              <a:xfrm>
                <a:off x="3557588" y="4056063"/>
                <a:ext cx="1587" cy="20637"/>
              </a:xfrm>
              <a:custGeom>
                <a:avLst/>
                <a:gdLst>
                  <a:gd name="T0" fmla="*/ 0 w 1588"/>
                  <a:gd name="T1" fmla="*/ 20637 h 13"/>
                  <a:gd name="T2" fmla="*/ 0 w 1588"/>
                  <a:gd name="T3" fmla="*/ 20637 h 13"/>
                  <a:gd name="T4" fmla="*/ 0 w 1588"/>
                  <a:gd name="T5" fmla="*/ 9525 h 13"/>
                  <a:gd name="T6" fmla="*/ 0 w 1588"/>
                  <a:gd name="T7" fmla="*/ 0 h 13"/>
                  <a:gd name="T8" fmla="*/ 0 w 1588"/>
                  <a:gd name="T9" fmla="*/ 0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6"/>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2" name="Rectangle 359"/>
              <p:cNvSpPr>
                <a:spLocks noChangeArrowheads="1"/>
              </p:cNvSpPr>
              <p:nvPr/>
            </p:nvSpPr>
            <p:spPr bwMode="auto">
              <a:xfrm>
                <a:off x="3729038" y="4065588"/>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63" name="Freeform 360"/>
              <p:cNvSpPr>
                <a:spLocks/>
              </p:cNvSpPr>
              <p:nvPr/>
            </p:nvSpPr>
            <p:spPr bwMode="auto">
              <a:xfrm>
                <a:off x="3729038" y="4065588"/>
                <a:ext cx="1587" cy="11112"/>
              </a:xfrm>
              <a:custGeom>
                <a:avLst/>
                <a:gdLst>
                  <a:gd name="T0" fmla="*/ 0 w 1588"/>
                  <a:gd name="T1" fmla="*/ 0 h 7"/>
                  <a:gd name="T2" fmla="*/ 0 w 1588"/>
                  <a:gd name="T3" fmla="*/ 0 h 7"/>
                  <a:gd name="T4" fmla="*/ 0 w 1588"/>
                  <a:gd name="T5" fmla="*/ 11112 h 7"/>
                  <a:gd name="T6" fmla="*/ 0 w 1588"/>
                  <a:gd name="T7" fmla="*/ 11112 h 7"/>
                  <a:gd name="T8" fmla="*/ 0 w 1588"/>
                  <a:gd name="T9" fmla="*/ 0 h 7"/>
                  <a:gd name="T10" fmla="*/ 0 w 1588"/>
                  <a:gd name="T11" fmla="*/ 0 h 7"/>
                  <a:gd name="T12" fmla="*/ 0 60000 65536"/>
                  <a:gd name="T13" fmla="*/ 0 60000 65536"/>
                  <a:gd name="T14" fmla="*/ 0 60000 65536"/>
                  <a:gd name="T15" fmla="*/ 0 60000 65536"/>
                  <a:gd name="T16" fmla="*/ 0 60000 65536"/>
                  <a:gd name="T17" fmla="*/ 0 60000 65536"/>
                  <a:gd name="T18" fmla="*/ 0 w 1588"/>
                  <a:gd name="T19" fmla="*/ 0 h 7"/>
                  <a:gd name="T20" fmla="*/ 1588 w 1588"/>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88" h="7">
                    <a:moveTo>
                      <a:pt x="0" y="0"/>
                    </a:moveTo>
                    <a:lnTo>
                      <a:pt x="0" y="0"/>
                    </a:lnTo>
                    <a:lnTo>
                      <a:pt x="0" y="7"/>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4" name="Freeform 361"/>
              <p:cNvSpPr>
                <a:spLocks/>
              </p:cNvSpPr>
              <p:nvPr/>
            </p:nvSpPr>
            <p:spPr bwMode="auto">
              <a:xfrm>
                <a:off x="3729038" y="4076700"/>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5" name="Freeform 362"/>
              <p:cNvSpPr>
                <a:spLocks/>
              </p:cNvSpPr>
              <p:nvPr/>
            </p:nvSpPr>
            <p:spPr bwMode="auto">
              <a:xfrm>
                <a:off x="3578225" y="4076700"/>
                <a:ext cx="1588" cy="19050"/>
              </a:xfrm>
              <a:custGeom>
                <a:avLst/>
                <a:gdLst>
                  <a:gd name="T0" fmla="*/ 0 w 1588"/>
                  <a:gd name="T1" fmla="*/ 0 h 12"/>
                  <a:gd name="T2" fmla="*/ 0 w 1588"/>
                  <a:gd name="T3" fmla="*/ 0 h 12"/>
                  <a:gd name="T4" fmla="*/ 0 w 1588"/>
                  <a:gd name="T5" fmla="*/ 19050 h 12"/>
                  <a:gd name="T6" fmla="*/ 0 w 1588"/>
                  <a:gd name="T7" fmla="*/ 19050 h 12"/>
                  <a:gd name="T8" fmla="*/ 0 w 1588"/>
                  <a:gd name="T9" fmla="*/ 9525 h 12"/>
                  <a:gd name="T10" fmla="*/ 0 w 1588"/>
                  <a:gd name="T11" fmla="*/ 0 h 12"/>
                  <a:gd name="T12" fmla="*/ 0 w 1588"/>
                  <a:gd name="T13" fmla="*/ 0 h 12"/>
                  <a:gd name="T14" fmla="*/ 0 60000 65536"/>
                  <a:gd name="T15" fmla="*/ 0 60000 65536"/>
                  <a:gd name="T16" fmla="*/ 0 60000 65536"/>
                  <a:gd name="T17" fmla="*/ 0 60000 65536"/>
                  <a:gd name="T18" fmla="*/ 0 60000 65536"/>
                  <a:gd name="T19" fmla="*/ 0 60000 65536"/>
                  <a:gd name="T20" fmla="*/ 0 60000 65536"/>
                  <a:gd name="T21" fmla="*/ 0 w 1588"/>
                  <a:gd name="T22" fmla="*/ 0 h 12"/>
                  <a:gd name="T23" fmla="*/ 1588 w 158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2">
                    <a:moveTo>
                      <a:pt x="0" y="0"/>
                    </a:moveTo>
                    <a:lnTo>
                      <a:pt x="0" y="0"/>
                    </a:lnTo>
                    <a:lnTo>
                      <a:pt x="0" y="12"/>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6" name="Rectangle 363"/>
              <p:cNvSpPr>
                <a:spLocks noChangeArrowheads="1"/>
              </p:cNvSpPr>
              <p:nvPr/>
            </p:nvSpPr>
            <p:spPr bwMode="auto">
              <a:xfrm>
                <a:off x="3568700" y="40767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67" name="Freeform 364"/>
              <p:cNvSpPr>
                <a:spLocks/>
              </p:cNvSpPr>
              <p:nvPr/>
            </p:nvSpPr>
            <p:spPr bwMode="auto">
              <a:xfrm>
                <a:off x="3578225" y="4076700"/>
                <a:ext cx="1588" cy="19050"/>
              </a:xfrm>
              <a:custGeom>
                <a:avLst/>
                <a:gdLst>
                  <a:gd name="T0" fmla="*/ 0 w 1588"/>
                  <a:gd name="T1" fmla="*/ 0 h 12"/>
                  <a:gd name="T2" fmla="*/ 0 w 1588"/>
                  <a:gd name="T3" fmla="*/ 0 h 12"/>
                  <a:gd name="T4" fmla="*/ 0 w 1588"/>
                  <a:gd name="T5" fmla="*/ 19050 h 12"/>
                  <a:gd name="T6" fmla="*/ 0 w 1588"/>
                  <a:gd name="T7" fmla="*/ 19050 h 12"/>
                  <a:gd name="T8" fmla="*/ 0 w 1588"/>
                  <a:gd name="T9" fmla="*/ 19050 h 12"/>
                  <a:gd name="T10" fmla="*/ 0 w 1588"/>
                  <a:gd name="T11" fmla="*/ 0 h 12"/>
                  <a:gd name="T12" fmla="*/ 0 w 1588"/>
                  <a:gd name="T13" fmla="*/ 0 h 12"/>
                  <a:gd name="T14" fmla="*/ 0 60000 65536"/>
                  <a:gd name="T15" fmla="*/ 0 60000 65536"/>
                  <a:gd name="T16" fmla="*/ 0 60000 65536"/>
                  <a:gd name="T17" fmla="*/ 0 60000 65536"/>
                  <a:gd name="T18" fmla="*/ 0 60000 65536"/>
                  <a:gd name="T19" fmla="*/ 0 60000 65536"/>
                  <a:gd name="T20" fmla="*/ 0 60000 65536"/>
                  <a:gd name="T21" fmla="*/ 0 w 1588"/>
                  <a:gd name="T22" fmla="*/ 0 h 12"/>
                  <a:gd name="T23" fmla="*/ 1588 w 158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2">
                    <a:moveTo>
                      <a:pt x="0" y="0"/>
                    </a:moveTo>
                    <a:lnTo>
                      <a:pt x="0" y="0"/>
                    </a:lnTo>
                    <a:lnTo>
                      <a:pt x="0" y="12"/>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8" name="Freeform 365"/>
              <p:cNvSpPr>
                <a:spLocks/>
              </p:cNvSpPr>
              <p:nvPr/>
            </p:nvSpPr>
            <p:spPr bwMode="auto">
              <a:xfrm>
                <a:off x="3527425" y="4076700"/>
                <a:ext cx="11113" cy="9525"/>
              </a:xfrm>
              <a:custGeom>
                <a:avLst/>
                <a:gdLst>
                  <a:gd name="T0" fmla="*/ 11113 w 7"/>
                  <a:gd name="T1" fmla="*/ 9525 h 6"/>
                  <a:gd name="T2" fmla="*/ 11113 w 7"/>
                  <a:gd name="T3" fmla="*/ 9525 h 6"/>
                  <a:gd name="T4" fmla="*/ 0 w 7"/>
                  <a:gd name="T5" fmla="*/ 9525 h 6"/>
                  <a:gd name="T6" fmla="*/ 0 w 7"/>
                  <a:gd name="T7" fmla="*/ 9525 h 6"/>
                  <a:gd name="T8" fmla="*/ 0 w 7"/>
                  <a:gd name="T9" fmla="*/ 9525 h 6"/>
                  <a:gd name="T10" fmla="*/ 0 w 7"/>
                  <a:gd name="T11" fmla="*/ 9525 h 6"/>
                  <a:gd name="T12" fmla="*/ 0 w 7"/>
                  <a:gd name="T13" fmla="*/ 9525 h 6"/>
                  <a:gd name="T14" fmla="*/ 11113 w 7"/>
                  <a:gd name="T15" fmla="*/ 9525 h 6"/>
                  <a:gd name="T16" fmla="*/ 11113 w 7"/>
                  <a:gd name="T17" fmla="*/ 9525 h 6"/>
                  <a:gd name="T18" fmla="*/ 11113 w 7"/>
                  <a:gd name="T19" fmla="*/ 0 h 6"/>
                  <a:gd name="T20" fmla="*/ 11113 w 7"/>
                  <a:gd name="T21" fmla="*/ 0 h 6"/>
                  <a:gd name="T22" fmla="*/ 11113 w 7"/>
                  <a:gd name="T23" fmla="*/ 9525 h 6"/>
                  <a:gd name="T24" fmla="*/ 11113 w 7"/>
                  <a:gd name="T25" fmla="*/ 9525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6"/>
                  <a:gd name="T41" fmla="*/ 7 w 7"/>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6">
                    <a:moveTo>
                      <a:pt x="7" y="6"/>
                    </a:moveTo>
                    <a:lnTo>
                      <a:pt x="7" y="6"/>
                    </a:lnTo>
                    <a:lnTo>
                      <a:pt x="0" y="6"/>
                    </a:lnTo>
                    <a:lnTo>
                      <a:pt x="7" y="6"/>
                    </a:lnTo>
                    <a:lnTo>
                      <a:pt x="7" y="0"/>
                    </a:lnTo>
                    <a:lnTo>
                      <a:pt x="7"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69" name="Freeform 366"/>
              <p:cNvSpPr>
                <a:spLocks/>
              </p:cNvSpPr>
              <p:nvPr/>
            </p:nvSpPr>
            <p:spPr bwMode="auto">
              <a:xfrm>
                <a:off x="3587750" y="40767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0" name="Freeform 367"/>
              <p:cNvSpPr>
                <a:spLocks/>
              </p:cNvSpPr>
              <p:nvPr/>
            </p:nvSpPr>
            <p:spPr bwMode="auto">
              <a:xfrm>
                <a:off x="3587750" y="4076700"/>
                <a:ext cx="11113" cy="9525"/>
              </a:xfrm>
              <a:custGeom>
                <a:avLst/>
                <a:gdLst>
                  <a:gd name="T0" fmla="*/ 0 w 7"/>
                  <a:gd name="T1" fmla="*/ 0 h 6"/>
                  <a:gd name="T2" fmla="*/ 0 w 7"/>
                  <a:gd name="T3" fmla="*/ 0 h 6"/>
                  <a:gd name="T4" fmla="*/ 11113 w 7"/>
                  <a:gd name="T5" fmla="*/ 9525 h 6"/>
                  <a:gd name="T6" fmla="*/ 11113 w 7"/>
                  <a:gd name="T7" fmla="*/ 9525 h 6"/>
                  <a:gd name="T8" fmla="*/ 11113 w 7"/>
                  <a:gd name="T9" fmla="*/ 9525 h 6"/>
                  <a:gd name="T10" fmla="*/ 0 w 7"/>
                  <a:gd name="T11" fmla="*/ 0 h 6"/>
                  <a:gd name="T12" fmla="*/ 0 w 7"/>
                  <a:gd name="T13" fmla="*/ 0 h 6"/>
                  <a:gd name="T14" fmla="*/ 0 60000 65536"/>
                  <a:gd name="T15" fmla="*/ 0 60000 65536"/>
                  <a:gd name="T16" fmla="*/ 0 60000 65536"/>
                  <a:gd name="T17" fmla="*/ 0 60000 65536"/>
                  <a:gd name="T18" fmla="*/ 0 60000 65536"/>
                  <a:gd name="T19" fmla="*/ 0 60000 65536"/>
                  <a:gd name="T20" fmla="*/ 0 60000 65536"/>
                  <a:gd name="T21" fmla="*/ 0 w 7"/>
                  <a:gd name="T22" fmla="*/ 0 h 6"/>
                  <a:gd name="T23" fmla="*/ 7 w 7"/>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6">
                    <a:moveTo>
                      <a:pt x="0" y="0"/>
                    </a:moveTo>
                    <a:lnTo>
                      <a:pt x="0" y="0"/>
                    </a:lnTo>
                    <a:lnTo>
                      <a:pt x="7"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1" name="Freeform 368"/>
              <p:cNvSpPr>
                <a:spLocks/>
              </p:cNvSpPr>
              <p:nvPr/>
            </p:nvSpPr>
            <p:spPr bwMode="auto">
              <a:xfrm>
                <a:off x="3557588" y="408622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2" name="Freeform 369"/>
              <p:cNvSpPr>
                <a:spLocks/>
              </p:cNvSpPr>
              <p:nvPr/>
            </p:nvSpPr>
            <p:spPr bwMode="auto">
              <a:xfrm>
                <a:off x="3568700" y="408622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3" name="Freeform 370"/>
              <p:cNvSpPr>
                <a:spLocks/>
              </p:cNvSpPr>
              <p:nvPr/>
            </p:nvSpPr>
            <p:spPr bwMode="auto">
              <a:xfrm>
                <a:off x="3729038" y="408622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4" name="Oval 371"/>
              <p:cNvSpPr>
                <a:spLocks noChangeArrowheads="1"/>
              </p:cNvSpPr>
              <p:nvPr/>
            </p:nvSpPr>
            <p:spPr bwMode="auto">
              <a:xfrm>
                <a:off x="3538538" y="4086225"/>
                <a:ext cx="1587" cy="9525"/>
              </a:xfrm>
              <a:prstGeom prst="ellipse">
                <a:avLst/>
              </a:pr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5" name="Freeform 372"/>
              <p:cNvSpPr>
                <a:spLocks/>
              </p:cNvSpPr>
              <p:nvPr/>
            </p:nvSpPr>
            <p:spPr bwMode="auto">
              <a:xfrm>
                <a:off x="3729038" y="4095750"/>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6" name="Rectangle 373"/>
              <p:cNvSpPr>
                <a:spLocks noChangeArrowheads="1"/>
              </p:cNvSpPr>
              <p:nvPr/>
            </p:nvSpPr>
            <p:spPr bwMode="auto">
              <a:xfrm>
                <a:off x="3598863" y="4095750"/>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277" name="Freeform 380"/>
              <p:cNvSpPr>
                <a:spLocks/>
              </p:cNvSpPr>
              <p:nvPr/>
            </p:nvSpPr>
            <p:spPr bwMode="auto">
              <a:xfrm>
                <a:off x="4264025" y="3824288"/>
                <a:ext cx="261938" cy="331787"/>
              </a:xfrm>
              <a:custGeom>
                <a:avLst/>
                <a:gdLst>
                  <a:gd name="T0" fmla="*/ 141288 w 165"/>
                  <a:gd name="T1" fmla="*/ 9525 h 209"/>
                  <a:gd name="T2" fmla="*/ 141288 w 165"/>
                  <a:gd name="T3" fmla="*/ 9525 h 209"/>
                  <a:gd name="T4" fmla="*/ 100013 w 165"/>
                  <a:gd name="T5" fmla="*/ 0 h 209"/>
                  <a:gd name="T6" fmla="*/ 100013 w 165"/>
                  <a:gd name="T7" fmla="*/ 0 h 209"/>
                  <a:gd name="T8" fmla="*/ 90488 w 165"/>
                  <a:gd name="T9" fmla="*/ 9525 h 209"/>
                  <a:gd name="T10" fmla="*/ 80963 w 165"/>
                  <a:gd name="T11" fmla="*/ 20637 h 209"/>
                  <a:gd name="T12" fmla="*/ 80963 w 165"/>
                  <a:gd name="T13" fmla="*/ 20637 h 209"/>
                  <a:gd name="T14" fmla="*/ 50800 w 165"/>
                  <a:gd name="T15" fmla="*/ 60325 h 209"/>
                  <a:gd name="T16" fmla="*/ 39688 w 165"/>
                  <a:gd name="T17" fmla="*/ 111125 h 209"/>
                  <a:gd name="T18" fmla="*/ 39688 w 165"/>
                  <a:gd name="T19" fmla="*/ 111125 h 209"/>
                  <a:gd name="T20" fmla="*/ 39688 w 165"/>
                  <a:gd name="T21" fmla="*/ 160337 h 209"/>
                  <a:gd name="T22" fmla="*/ 30163 w 165"/>
                  <a:gd name="T23" fmla="*/ 211137 h 209"/>
                  <a:gd name="T24" fmla="*/ 30163 w 165"/>
                  <a:gd name="T25" fmla="*/ 211137 h 209"/>
                  <a:gd name="T26" fmla="*/ 9525 w 165"/>
                  <a:gd name="T27" fmla="*/ 252412 h 209"/>
                  <a:gd name="T28" fmla="*/ 0 w 165"/>
                  <a:gd name="T29" fmla="*/ 282575 h 209"/>
                  <a:gd name="T30" fmla="*/ 9525 w 165"/>
                  <a:gd name="T31" fmla="*/ 312737 h 209"/>
                  <a:gd name="T32" fmla="*/ 9525 w 165"/>
                  <a:gd name="T33" fmla="*/ 312737 h 209"/>
                  <a:gd name="T34" fmla="*/ 39688 w 165"/>
                  <a:gd name="T35" fmla="*/ 331787 h 209"/>
                  <a:gd name="T36" fmla="*/ 39688 w 165"/>
                  <a:gd name="T37" fmla="*/ 331787 h 209"/>
                  <a:gd name="T38" fmla="*/ 60325 w 165"/>
                  <a:gd name="T39" fmla="*/ 331787 h 209"/>
                  <a:gd name="T40" fmla="*/ 80963 w 165"/>
                  <a:gd name="T41" fmla="*/ 322262 h 209"/>
                  <a:gd name="T42" fmla="*/ 80963 w 165"/>
                  <a:gd name="T43" fmla="*/ 322262 h 209"/>
                  <a:gd name="T44" fmla="*/ 160338 w 165"/>
                  <a:gd name="T45" fmla="*/ 322262 h 209"/>
                  <a:gd name="T46" fmla="*/ 241300 w 165"/>
                  <a:gd name="T47" fmla="*/ 322262 h 209"/>
                  <a:gd name="T48" fmla="*/ 241300 w 165"/>
                  <a:gd name="T49" fmla="*/ 322262 h 209"/>
                  <a:gd name="T50" fmla="*/ 261938 w 165"/>
                  <a:gd name="T51" fmla="*/ 312737 h 209"/>
                  <a:gd name="T52" fmla="*/ 261938 w 165"/>
                  <a:gd name="T53" fmla="*/ 312737 h 209"/>
                  <a:gd name="T54" fmla="*/ 261938 w 165"/>
                  <a:gd name="T55" fmla="*/ 282575 h 209"/>
                  <a:gd name="T56" fmla="*/ 261938 w 165"/>
                  <a:gd name="T57" fmla="*/ 282575 h 209"/>
                  <a:gd name="T58" fmla="*/ 252413 w 165"/>
                  <a:gd name="T59" fmla="*/ 252412 h 209"/>
                  <a:gd name="T60" fmla="*/ 241300 w 165"/>
                  <a:gd name="T61" fmla="*/ 222250 h 209"/>
                  <a:gd name="T62" fmla="*/ 241300 w 165"/>
                  <a:gd name="T63" fmla="*/ 222250 h 209"/>
                  <a:gd name="T64" fmla="*/ 231775 w 165"/>
                  <a:gd name="T65" fmla="*/ 201612 h 209"/>
                  <a:gd name="T66" fmla="*/ 222250 w 165"/>
                  <a:gd name="T67" fmla="*/ 171450 h 209"/>
                  <a:gd name="T68" fmla="*/ 222250 w 165"/>
                  <a:gd name="T69" fmla="*/ 120650 h 209"/>
                  <a:gd name="T70" fmla="*/ 222250 w 165"/>
                  <a:gd name="T71" fmla="*/ 120650 h 209"/>
                  <a:gd name="T72" fmla="*/ 211138 w 165"/>
                  <a:gd name="T73" fmla="*/ 60325 h 209"/>
                  <a:gd name="T74" fmla="*/ 211138 w 165"/>
                  <a:gd name="T75" fmla="*/ 60325 h 209"/>
                  <a:gd name="T76" fmla="*/ 211138 w 165"/>
                  <a:gd name="T77" fmla="*/ 39687 h 209"/>
                  <a:gd name="T78" fmla="*/ 201613 w 165"/>
                  <a:gd name="T79" fmla="*/ 20637 h 209"/>
                  <a:gd name="T80" fmla="*/ 201613 w 165"/>
                  <a:gd name="T81" fmla="*/ 20637 h 209"/>
                  <a:gd name="T82" fmla="*/ 171450 w 165"/>
                  <a:gd name="T83" fmla="*/ 9525 h 209"/>
                  <a:gd name="T84" fmla="*/ 171450 w 165"/>
                  <a:gd name="T85" fmla="*/ 9525 h 209"/>
                  <a:gd name="T86" fmla="*/ 150813 w 165"/>
                  <a:gd name="T87" fmla="*/ 0 h 209"/>
                  <a:gd name="T88" fmla="*/ 141288 w 165"/>
                  <a:gd name="T89" fmla="*/ 0 h 209"/>
                  <a:gd name="T90" fmla="*/ 141288 w 165"/>
                  <a:gd name="T91" fmla="*/ 9525 h 20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5"/>
                  <a:gd name="T139" fmla="*/ 0 h 209"/>
                  <a:gd name="T140" fmla="*/ 165 w 165"/>
                  <a:gd name="T141" fmla="*/ 209 h 20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5" h="209">
                    <a:moveTo>
                      <a:pt x="89" y="6"/>
                    </a:moveTo>
                    <a:lnTo>
                      <a:pt x="89" y="6"/>
                    </a:lnTo>
                    <a:lnTo>
                      <a:pt x="63" y="0"/>
                    </a:lnTo>
                    <a:lnTo>
                      <a:pt x="57" y="6"/>
                    </a:lnTo>
                    <a:lnTo>
                      <a:pt x="51" y="13"/>
                    </a:lnTo>
                    <a:lnTo>
                      <a:pt x="32" y="38"/>
                    </a:lnTo>
                    <a:lnTo>
                      <a:pt x="25" y="70"/>
                    </a:lnTo>
                    <a:lnTo>
                      <a:pt x="25" y="101"/>
                    </a:lnTo>
                    <a:lnTo>
                      <a:pt x="19" y="133"/>
                    </a:lnTo>
                    <a:lnTo>
                      <a:pt x="6" y="159"/>
                    </a:lnTo>
                    <a:lnTo>
                      <a:pt x="0" y="178"/>
                    </a:lnTo>
                    <a:lnTo>
                      <a:pt x="6" y="197"/>
                    </a:lnTo>
                    <a:lnTo>
                      <a:pt x="25" y="209"/>
                    </a:lnTo>
                    <a:lnTo>
                      <a:pt x="38" y="209"/>
                    </a:lnTo>
                    <a:lnTo>
                      <a:pt x="51" y="203"/>
                    </a:lnTo>
                    <a:lnTo>
                      <a:pt x="101" y="203"/>
                    </a:lnTo>
                    <a:lnTo>
                      <a:pt x="152" y="203"/>
                    </a:lnTo>
                    <a:lnTo>
                      <a:pt x="165" y="197"/>
                    </a:lnTo>
                    <a:lnTo>
                      <a:pt x="165" y="178"/>
                    </a:lnTo>
                    <a:lnTo>
                      <a:pt x="159" y="159"/>
                    </a:lnTo>
                    <a:lnTo>
                      <a:pt x="152" y="140"/>
                    </a:lnTo>
                    <a:lnTo>
                      <a:pt x="146" y="127"/>
                    </a:lnTo>
                    <a:lnTo>
                      <a:pt x="140" y="108"/>
                    </a:lnTo>
                    <a:lnTo>
                      <a:pt x="140" y="76"/>
                    </a:lnTo>
                    <a:lnTo>
                      <a:pt x="133" y="38"/>
                    </a:lnTo>
                    <a:lnTo>
                      <a:pt x="133" y="25"/>
                    </a:lnTo>
                    <a:lnTo>
                      <a:pt x="127" y="13"/>
                    </a:lnTo>
                    <a:lnTo>
                      <a:pt x="108" y="6"/>
                    </a:lnTo>
                    <a:lnTo>
                      <a:pt x="95" y="0"/>
                    </a:lnTo>
                    <a:lnTo>
                      <a:pt x="89" y="0"/>
                    </a:lnTo>
                    <a:lnTo>
                      <a:pt x="89"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278" name="Freeform 381"/>
              <p:cNvSpPr>
                <a:spLocks/>
              </p:cNvSpPr>
              <p:nvPr/>
            </p:nvSpPr>
            <p:spPr bwMode="auto">
              <a:xfrm>
                <a:off x="3295650" y="3733800"/>
                <a:ext cx="1392238" cy="2287588"/>
              </a:xfrm>
              <a:custGeom>
                <a:avLst/>
                <a:gdLst>
                  <a:gd name="T0" fmla="*/ 161925 w 877"/>
                  <a:gd name="T1" fmla="*/ 211138 h 1441"/>
                  <a:gd name="T2" fmla="*/ 242888 w 877"/>
                  <a:gd name="T3" fmla="*/ 90488 h 1441"/>
                  <a:gd name="T4" fmla="*/ 333375 w 877"/>
                  <a:gd name="T5" fmla="*/ 201613 h 1441"/>
                  <a:gd name="T6" fmla="*/ 342900 w 877"/>
                  <a:gd name="T7" fmla="*/ 271463 h 1441"/>
                  <a:gd name="T8" fmla="*/ 463550 w 877"/>
                  <a:gd name="T9" fmla="*/ 422275 h 1441"/>
                  <a:gd name="T10" fmla="*/ 685800 w 877"/>
                  <a:gd name="T11" fmla="*/ 292100 h 1441"/>
                  <a:gd name="T12" fmla="*/ 685800 w 877"/>
                  <a:gd name="T13" fmla="*/ 141288 h 1441"/>
                  <a:gd name="T14" fmla="*/ 736600 w 877"/>
                  <a:gd name="T15" fmla="*/ 19050 h 1441"/>
                  <a:gd name="T16" fmla="*/ 847725 w 877"/>
                  <a:gd name="T17" fmla="*/ 19050 h 1441"/>
                  <a:gd name="T18" fmla="*/ 887413 w 877"/>
                  <a:gd name="T19" fmla="*/ 171450 h 1441"/>
                  <a:gd name="T20" fmla="*/ 836613 w 877"/>
                  <a:gd name="T21" fmla="*/ 301625 h 1441"/>
                  <a:gd name="T22" fmla="*/ 1049338 w 877"/>
                  <a:gd name="T23" fmla="*/ 331788 h 1441"/>
                  <a:gd name="T24" fmla="*/ 1028700 w 877"/>
                  <a:gd name="T25" fmla="*/ 282575 h 1441"/>
                  <a:gd name="T26" fmla="*/ 1049338 w 877"/>
                  <a:gd name="T27" fmla="*/ 120650 h 1441"/>
                  <a:gd name="T28" fmla="*/ 1179513 w 877"/>
                  <a:gd name="T29" fmla="*/ 211138 h 1441"/>
                  <a:gd name="T30" fmla="*/ 1169988 w 877"/>
                  <a:gd name="T31" fmla="*/ 312738 h 1441"/>
                  <a:gd name="T32" fmla="*/ 1160463 w 877"/>
                  <a:gd name="T33" fmla="*/ 342900 h 1441"/>
                  <a:gd name="T34" fmla="*/ 1320800 w 877"/>
                  <a:gd name="T35" fmla="*/ 433388 h 1441"/>
                  <a:gd name="T36" fmla="*/ 1290638 w 877"/>
                  <a:gd name="T37" fmla="*/ 584200 h 1441"/>
                  <a:gd name="T38" fmla="*/ 1281113 w 877"/>
                  <a:gd name="T39" fmla="*/ 1411288 h 1441"/>
                  <a:gd name="T40" fmla="*/ 1270000 w 877"/>
                  <a:gd name="T41" fmla="*/ 1522413 h 1441"/>
                  <a:gd name="T42" fmla="*/ 1350963 w 877"/>
                  <a:gd name="T43" fmla="*/ 1944688 h 1441"/>
                  <a:gd name="T44" fmla="*/ 1239838 w 877"/>
                  <a:gd name="T45" fmla="*/ 1955801 h 1441"/>
                  <a:gd name="T46" fmla="*/ 1160463 w 877"/>
                  <a:gd name="T47" fmla="*/ 1874838 h 1441"/>
                  <a:gd name="T48" fmla="*/ 1160463 w 877"/>
                  <a:gd name="T49" fmla="*/ 1511300 h 1441"/>
                  <a:gd name="T50" fmla="*/ 1058863 w 877"/>
                  <a:gd name="T51" fmla="*/ 1077913 h 1441"/>
                  <a:gd name="T52" fmla="*/ 1068388 w 877"/>
                  <a:gd name="T53" fmla="*/ 1450975 h 1441"/>
                  <a:gd name="T54" fmla="*/ 1139825 w 877"/>
                  <a:gd name="T55" fmla="*/ 1814513 h 1441"/>
                  <a:gd name="T56" fmla="*/ 1089025 w 877"/>
                  <a:gd name="T57" fmla="*/ 1865313 h 1441"/>
                  <a:gd name="T58" fmla="*/ 989013 w 877"/>
                  <a:gd name="T59" fmla="*/ 1874838 h 1441"/>
                  <a:gd name="T60" fmla="*/ 977900 w 877"/>
                  <a:gd name="T61" fmla="*/ 1592263 h 1441"/>
                  <a:gd name="T62" fmla="*/ 908050 w 877"/>
                  <a:gd name="T63" fmla="*/ 1784351 h 1441"/>
                  <a:gd name="T64" fmla="*/ 817563 w 877"/>
                  <a:gd name="T65" fmla="*/ 2046288 h 1441"/>
                  <a:gd name="T66" fmla="*/ 787400 w 877"/>
                  <a:gd name="T67" fmla="*/ 1965326 h 1441"/>
                  <a:gd name="T68" fmla="*/ 787400 w 877"/>
                  <a:gd name="T69" fmla="*/ 1712913 h 1441"/>
                  <a:gd name="T70" fmla="*/ 766763 w 877"/>
                  <a:gd name="T71" fmla="*/ 1279525 h 1441"/>
                  <a:gd name="T72" fmla="*/ 715963 w 877"/>
                  <a:gd name="T73" fmla="*/ 1481138 h 1441"/>
                  <a:gd name="T74" fmla="*/ 695325 w 877"/>
                  <a:gd name="T75" fmla="*/ 2016126 h 1441"/>
                  <a:gd name="T76" fmla="*/ 685800 w 877"/>
                  <a:gd name="T77" fmla="*/ 2097088 h 1441"/>
                  <a:gd name="T78" fmla="*/ 646113 w 877"/>
                  <a:gd name="T79" fmla="*/ 2206626 h 1441"/>
                  <a:gd name="T80" fmla="*/ 514350 w 877"/>
                  <a:gd name="T81" fmla="*/ 2278063 h 1441"/>
                  <a:gd name="T82" fmla="*/ 554038 w 877"/>
                  <a:gd name="T83" fmla="*/ 1925638 h 1441"/>
                  <a:gd name="T84" fmla="*/ 554038 w 877"/>
                  <a:gd name="T85" fmla="*/ 1370013 h 1441"/>
                  <a:gd name="T86" fmla="*/ 544513 w 877"/>
                  <a:gd name="T87" fmla="*/ 1089025 h 1441"/>
                  <a:gd name="T88" fmla="*/ 463550 w 877"/>
                  <a:gd name="T89" fmla="*/ 1179513 h 1441"/>
                  <a:gd name="T90" fmla="*/ 523875 w 877"/>
                  <a:gd name="T91" fmla="*/ 1733551 h 1441"/>
                  <a:gd name="T92" fmla="*/ 514350 w 877"/>
                  <a:gd name="T93" fmla="*/ 2025651 h 1441"/>
                  <a:gd name="T94" fmla="*/ 423863 w 877"/>
                  <a:gd name="T95" fmla="*/ 2076451 h 1441"/>
                  <a:gd name="T96" fmla="*/ 403225 w 877"/>
                  <a:gd name="T97" fmla="*/ 1884363 h 1441"/>
                  <a:gd name="T98" fmla="*/ 292100 w 877"/>
                  <a:gd name="T99" fmla="*/ 1309688 h 1441"/>
                  <a:gd name="T100" fmla="*/ 292100 w 877"/>
                  <a:gd name="T101" fmla="*/ 1582738 h 1441"/>
                  <a:gd name="T102" fmla="*/ 303213 w 877"/>
                  <a:gd name="T103" fmla="*/ 1895476 h 1441"/>
                  <a:gd name="T104" fmla="*/ 212725 w 877"/>
                  <a:gd name="T105" fmla="*/ 1974851 h 1441"/>
                  <a:gd name="T106" fmla="*/ 171450 w 877"/>
                  <a:gd name="T107" fmla="*/ 1874838 h 1441"/>
                  <a:gd name="T108" fmla="*/ 141288 w 877"/>
                  <a:gd name="T109" fmla="*/ 1622425 h 1441"/>
                  <a:gd name="T110" fmla="*/ 11113 w 877"/>
                  <a:gd name="T111" fmla="*/ 1098550 h 1441"/>
                  <a:gd name="T112" fmla="*/ 50800 w 877"/>
                  <a:gd name="T113" fmla="*/ 533400 h 14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77"/>
                  <a:gd name="T172" fmla="*/ 0 h 1441"/>
                  <a:gd name="T173" fmla="*/ 877 w 877"/>
                  <a:gd name="T174" fmla="*/ 1441 h 144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77" h="1441">
                    <a:moveTo>
                      <a:pt x="57" y="279"/>
                    </a:moveTo>
                    <a:lnTo>
                      <a:pt x="127" y="247"/>
                    </a:lnTo>
                    <a:lnTo>
                      <a:pt x="134" y="222"/>
                    </a:lnTo>
                    <a:lnTo>
                      <a:pt x="121" y="216"/>
                    </a:lnTo>
                    <a:lnTo>
                      <a:pt x="108" y="184"/>
                    </a:lnTo>
                    <a:lnTo>
                      <a:pt x="102" y="133"/>
                    </a:lnTo>
                    <a:lnTo>
                      <a:pt x="102" y="101"/>
                    </a:lnTo>
                    <a:lnTo>
                      <a:pt x="108" y="89"/>
                    </a:lnTo>
                    <a:lnTo>
                      <a:pt x="121" y="70"/>
                    </a:lnTo>
                    <a:lnTo>
                      <a:pt x="134" y="63"/>
                    </a:lnTo>
                    <a:lnTo>
                      <a:pt x="153" y="57"/>
                    </a:lnTo>
                    <a:lnTo>
                      <a:pt x="172" y="70"/>
                    </a:lnTo>
                    <a:lnTo>
                      <a:pt x="197" y="89"/>
                    </a:lnTo>
                    <a:lnTo>
                      <a:pt x="203" y="101"/>
                    </a:lnTo>
                    <a:lnTo>
                      <a:pt x="210" y="127"/>
                    </a:lnTo>
                    <a:lnTo>
                      <a:pt x="216" y="127"/>
                    </a:lnTo>
                    <a:lnTo>
                      <a:pt x="216" y="133"/>
                    </a:lnTo>
                    <a:lnTo>
                      <a:pt x="216" y="146"/>
                    </a:lnTo>
                    <a:lnTo>
                      <a:pt x="216" y="165"/>
                    </a:lnTo>
                    <a:lnTo>
                      <a:pt x="216" y="171"/>
                    </a:lnTo>
                    <a:lnTo>
                      <a:pt x="210" y="165"/>
                    </a:lnTo>
                    <a:lnTo>
                      <a:pt x="210" y="197"/>
                    </a:lnTo>
                    <a:lnTo>
                      <a:pt x="216" y="216"/>
                    </a:lnTo>
                    <a:lnTo>
                      <a:pt x="222" y="228"/>
                    </a:lnTo>
                    <a:lnTo>
                      <a:pt x="248" y="247"/>
                    </a:lnTo>
                    <a:lnTo>
                      <a:pt x="292" y="266"/>
                    </a:lnTo>
                    <a:lnTo>
                      <a:pt x="343" y="235"/>
                    </a:lnTo>
                    <a:lnTo>
                      <a:pt x="381" y="216"/>
                    </a:lnTo>
                    <a:lnTo>
                      <a:pt x="419" y="209"/>
                    </a:lnTo>
                    <a:lnTo>
                      <a:pt x="426" y="190"/>
                    </a:lnTo>
                    <a:lnTo>
                      <a:pt x="432" y="184"/>
                    </a:lnTo>
                    <a:lnTo>
                      <a:pt x="432" y="133"/>
                    </a:lnTo>
                    <a:lnTo>
                      <a:pt x="426" y="114"/>
                    </a:lnTo>
                    <a:lnTo>
                      <a:pt x="419" y="95"/>
                    </a:lnTo>
                    <a:lnTo>
                      <a:pt x="426" y="89"/>
                    </a:lnTo>
                    <a:lnTo>
                      <a:pt x="432" y="89"/>
                    </a:lnTo>
                    <a:lnTo>
                      <a:pt x="438" y="57"/>
                    </a:lnTo>
                    <a:lnTo>
                      <a:pt x="445" y="31"/>
                    </a:lnTo>
                    <a:lnTo>
                      <a:pt x="451" y="19"/>
                    </a:lnTo>
                    <a:lnTo>
                      <a:pt x="464" y="12"/>
                    </a:lnTo>
                    <a:lnTo>
                      <a:pt x="470" y="12"/>
                    </a:lnTo>
                    <a:lnTo>
                      <a:pt x="489" y="6"/>
                    </a:lnTo>
                    <a:lnTo>
                      <a:pt x="508" y="0"/>
                    </a:lnTo>
                    <a:lnTo>
                      <a:pt x="521" y="6"/>
                    </a:lnTo>
                    <a:lnTo>
                      <a:pt x="534" y="12"/>
                    </a:lnTo>
                    <a:lnTo>
                      <a:pt x="546" y="25"/>
                    </a:lnTo>
                    <a:lnTo>
                      <a:pt x="559" y="44"/>
                    </a:lnTo>
                    <a:lnTo>
                      <a:pt x="559" y="57"/>
                    </a:lnTo>
                    <a:lnTo>
                      <a:pt x="559" y="70"/>
                    </a:lnTo>
                    <a:lnTo>
                      <a:pt x="559" y="108"/>
                    </a:lnTo>
                    <a:lnTo>
                      <a:pt x="559" y="127"/>
                    </a:lnTo>
                    <a:lnTo>
                      <a:pt x="553" y="146"/>
                    </a:lnTo>
                    <a:lnTo>
                      <a:pt x="546" y="152"/>
                    </a:lnTo>
                    <a:lnTo>
                      <a:pt x="527" y="190"/>
                    </a:lnTo>
                    <a:lnTo>
                      <a:pt x="521" y="222"/>
                    </a:lnTo>
                    <a:lnTo>
                      <a:pt x="527" y="241"/>
                    </a:lnTo>
                    <a:lnTo>
                      <a:pt x="584" y="260"/>
                    </a:lnTo>
                    <a:lnTo>
                      <a:pt x="635" y="254"/>
                    </a:lnTo>
                    <a:lnTo>
                      <a:pt x="661" y="222"/>
                    </a:lnTo>
                    <a:lnTo>
                      <a:pt x="661" y="209"/>
                    </a:lnTo>
                    <a:lnTo>
                      <a:pt x="654" y="203"/>
                    </a:lnTo>
                    <a:lnTo>
                      <a:pt x="642" y="209"/>
                    </a:lnTo>
                    <a:lnTo>
                      <a:pt x="648" y="190"/>
                    </a:lnTo>
                    <a:lnTo>
                      <a:pt x="648" y="178"/>
                    </a:lnTo>
                    <a:lnTo>
                      <a:pt x="642" y="165"/>
                    </a:lnTo>
                    <a:lnTo>
                      <a:pt x="642" y="152"/>
                    </a:lnTo>
                    <a:lnTo>
                      <a:pt x="642" y="133"/>
                    </a:lnTo>
                    <a:lnTo>
                      <a:pt x="642" y="108"/>
                    </a:lnTo>
                    <a:lnTo>
                      <a:pt x="661" y="76"/>
                    </a:lnTo>
                    <a:lnTo>
                      <a:pt x="667" y="63"/>
                    </a:lnTo>
                    <a:lnTo>
                      <a:pt x="686" y="63"/>
                    </a:lnTo>
                    <a:lnTo>
                      <a:pt x="699" y="63"/>
                    </a:lnTo>
                    <a:lnTo>
                      <a:pt x="724" y="70"/>
                    </a:lnTo>
                    <a:lnTo>
                      <a:pt x="743" y="101"/>
                    </a:lnTo>
                    <a:lnTo>
                      <a:pt x="743" y="133"/>
                    </a:lnTo>
                    <a:lnTo>
                      <a:pt x="743" y="146"/>
                    </a:lnTo>
                    <a:lnTo>
                      <a:pt x="743" y="158"/>
                    </a:lnTo>
                    <a:lnTo>
                      <a:pt x="737" y="171"/>
                    </a:lnTo>
                    <a:lnTo>
                      <a:pt x="737" y="197"/>
                    </a:lnTo>
                    <a:lnTo>
                      <a:pt x="731" y="197"/>
                    </a:lnTo>
                    <a:lnTo>
                      <a:pt x="724" y="197"/>
                    </a:lnTo>
                    <a:lnTo>
                      <a:pt x="724" y="209"/>
                    </a:lnTo>
                    <a:lnTo>
                      <a:pt x="731" y="216"/>
                    </a:lnTo>
                    <a:lnTo>
                      <a:pt x="756" y="235"/>
                    </a:lnTo>
                    <a:lnTo>
                      <a:pt x="800" y="235"/>
                    </a:lnTo>
                    <a:lnTo>
                      <a:pt x="819" y="247"/>
                    </a:lnTo>
                    <a:lnTo>
                      <a:pt x="832" y="260"/>
                    </a:lnTo>
                    <a:lnTo>
                      <a:pt x="832" y="273"/>
                    </a:lnTo>
                    <a:lnTo>
                      <a:pt x="832" y="279"/>
                    </a:lnTo>
                    <a:lnTo>
                      <a:pt x="832" y="292"/>
                    </a:lnTo>
                    <a:lnTo>
                      <a:pt x="819" y="324"/>
                    </a:lnTo>
                    <a:lnTo>
                      <a:pt x="813" y="368"/>
                    </a:lnTo>
                    <a:lnTo>
                      <a:pt x="800" y="406"/>
                    </a:lnTo>
                    <a:lnTo>
                      <a:pt x="788" y="444"/>
                    </a:lnTo>
                    <a:lnTo>
                      <a:pt x="826" y="597"/>
                    </a:lnTo>
                    <a:lnTo>
                      <a:pt x="794" y="609"/>
                    </a:lnTo>
                    <a:lnTo>
                      <a:pt x="807" y="889"/>
                    </a:lnTo>
                    <a:lnTo>
                      <a:pt x="807" y="895"/>
                    </a:lnTo>
                    <a:lnTo>
                      <a:pt x="807" y="901"/>
                    </a:lnTo>
                    <a:lnTo>
                      <a:pt x="807" y="914"/>
                    </a:lnTo>
                    <a:lnTo>
                      <a:pt x="800" y="940"/>
                    </a:lnTo>
                    <a:lnTo>
                      <a:pt x="800" y="959"/>
                    </a:lnTo>
                    <a:lnTo>
                      <a:pt x="800" y="1009"/>
                    </a:lnTo>
                    <a:lnTo>
                      <a:pt x="794" y="1048"/>
                    </a:lnTo>
                    <a:lnTo>
                      <a:pt x="800" y="1111"/>
                    </a:lnTo>
                    <a:lnTo>
                      <a:pt x="807" y="1187"/>
                    </a:lnTo>
                    <a:lnTo>
                      <a:pt x="826" y="1206"/>
                    </a:lnTo>
                    <a:lnTo>
                      <a:pt x="851" y="1225"/>
                    </a:lnTo>
                    <a:lnTo>
                      <a:pt x="870" y="1238"/>
                    </a:lnTo>
                    <a:lnTo>
                      <a:pt x="877" y="1251"/>
                    </a:lnTo>
                    <a:lnTo>
                      <a:pt x="794" y="1238"/>
                    </a:lnTo>
                    <a:lnTo>
                      <a:pt x="788" y="1238"/>
                    </a:lnTo>
                    <a:lnTo>
                      <a:pt x="781" y="1232"/>
                    </a:lnTo>
                    <a:lnTo>
                      <a:pt x="775" y="1219"/>
                    </a:lnTo>
                    <a:lnTo>
                      <a:pt x="762" y="1200"/>
                    </a:lnTo>
                    <a:lnTo>
                      <a:pt x="743" y="1187"/>
                    </a:lnTo>
                    <a:lnTo>
                      <a:pt x="737" y="1213"/>
                    </a:lnTo>
                    <a:lnTo>
                      <a:pt x="731" y="1213"/>
                    </a:lnTo>
                    <a:lnTo>
                      <a:pt x="731" y="1181"/>
                    </a:lnTo>
                    <a:lnTo>
                      <a:pt x="724" y="1175"/>
                    </a:lnTo>
                    <a:lnTo>
                      <a:pt x="724" y="1117"/>
                    </a:lnTo>
                    <a:lnTo>
                      <a:pt x="731" y="1073"/>
                    </a:lnTo>
                    <a:lnTo>
                      <a:pt x="731" y="990"/>
                    </a:lnTo>
                    <a:lnTo>
                      <a:pt x="731" y="971"/>
                    </a:lnTo>
                    <a:lnTo>
                      <a:pt x="731" y="952"/>
                    </a:lnTo>
                    <a:lnTo>
                      <a:pt x="718" y="921"/>
                    </a:lnTo>
                    <a:lnTo>
                      <a:pt x="718" y="876"/>
                    </a:lnTo>
                    <a:lnTo>
                      <a:pt x="711" y="800"/>
                    </a:lnTo>
                    <a:lnTo>
                      <a:pt x="692" y="724"/>
                    </a:lnTo>
                    <a:lnTo>
                      <a:pt x="673" y="673"/>
                    </a:lnTo>
                    <a:lnTo>
                      <a:pt x="667" y="679"/>
                    </a:lnTo>
                    <a:lnTo>
                      <a:pt x="667" y="705"/>
                    </a:lnTo>
                    <a:lnTo>
                      <a:pt x="667" y="774"/>
                    </a:lnTo>
                    <a:lnTo>
                      <a:pt x="667" y="844"/>
                    </a:lnTo>
                    <a:lnTo>
                      <a:pt x="667" y="870"/>
                    </a:lnTo>
                    <a:lnTo>
                      <a:pt x="673" y="889"/>
                    </a:lnTo>
                    <a:lnTo>
                      <a:pt x="673" y="914"/>
                    </a:lnTo>
                    <a:lnTo>
                      <a:pt x="680" y="952"/>
                    </a:lnTo>
                    <a:lnTo>
                      <a:pt x="686" y="990"/>
                    </a:lnTo>
                    <a:lnTo>
                      <a:pt x="699" y="1028"/>
                    </a:lnTo>
                    <a:lnTo>
                      <a:pt x="705" y="1060"/>
                    </a:lnTo>
                    <a:lnTo>
                      <a:pt x="718" y="1098"/>
                    </a:lnTo>
                    <a:lnTo>
                      <a:pt x="718" y="1143"/>
                    </a:lnTo>
                    <a:lnTo>
                      <a:pt x="711" y="1143"/>
                    </a:lnTo>
                    <a:lnTo>
                      <a:pt x="705" y="1168"/>
                    </a:lnTo>
                    <a:lnTo>
                      <a:pt x="699" y="1175"/>
                    </a:lnTo>
                    <a:lnTo>
                      <a:pt x="692" y="1149"/>
                    </a:lnTo>
                    <a:lnTo>
                      <a:pt x="686" y="1175"/>
                    </a:lnTo>
                    <a:lnTo>
                      <a:pt x="680" y="1181"/>
                    </a:lnTo>
                    <a:lnTo>
                      <a:pt x="673" y="1194"/>
                    </a:lnTo>
                    <a:lnTo>
                      <a:pt x="661" y="1200"/>
                    </a:lnTo>
                    <a:lnTo>
                      <a:pt x="610" y="1213"/>
                    </a:lnTo>
                    <a:lnTo>
                      <a:pt x="604" y="1200"/>
                    </a:lnTo>
                    <a:lnTo>
                      <a:pt x="623" y="1181"/>
                    </a:lnTo>
                    <a:lnTo>
                      <a:pt x="629" y="1162"/>
                    </a:lnTo>
                    <a:lnTo>
                      <a:pt x="642" y="1149"/>
                    </a:lnTo>
                    <a:lnTo>
                      <a:pt x="648" y="1124"/>
                    </a:lnTo>
                    <a:lnTo>
                      <a:pt x="635" y="1086"/>
                    </a:lnTo>
                    <a:lnTo>
                      <a:pt x="629" y="1048"/>
                    </a:lnTo>
                    <a:lnTo>
                      <a:pt x="616" y="1003"/>
                    </a:lnTo>
                    <a:lnTo>
                      <a:pt x="610" y="952"/>
                    </a:lnTo>
                    <a:lnTo>
                      <a:pt x="604" y="908"/>
                    </a:lnTo>
                    <a:lnTo>
                      <a:pt x="597" y="844"/>
                    </a:lnTo>
                    <a:lnTo>
                      <a:pt x="578" y="959"/>
                    </a:lnTo>
                    <a:lnTo>
                      <a:pt x="572" y="1022"/>
                    </a:lnTo>
                    <a:lnTo>
                      <a:pt x="572" y="1124"/>
                    </a:lnTo>
                    <a:lnTo>
                      <a:pt x="546" y="1200"/>
                    </a:lnTo>
                    <a:lnTo>
                      <a:pt x="559" y="1244"/>
                    </a:lnTo>
                    <a:lnTo>
                      <a:pt x="578" y="1263"/>
                    </a:lnTo>
                    <a:lnTo>
                      <a:pt x="578" y="1308"/>
                    </a:lnTo>
                    <a:lnTo>
                      <a:pt x="540" y="1314"/>
                    </a:lnTo>
                    <a:lnTo>
                      <a:pt x="515" y="1289"/>
                    </a:lnTo>
                    <a:lnTo>
                      <a:pt x="508" y="1282"/>
                    </a:lnTo>
                    <a:lnTo>
                      <a:pt x="502" y="1276"/>
                    </a:lnTo>
                    <a:lnTo>
                      <a:pt x="502" y="1257"/>
                    </a:lnTo>
                    <a:lnTo>
                      <a:pt x="496" y="1238"/>
                    </a:lnTo>
                    <a:lnTo>
                      <a:pt x="477" y="1225"/>
                    </a:lnTo>
                    <a:lnTo>
                      <a:pt x="477" y="1206"/>
                    </a:lnTo>
                    <a:lnTo>
                      <a:pt x="483" y="1181"/>
                    </a:lnTo>
                    <a:lnTo>
                      <a:pt x="483" y="1143"/>
                    </a:lnTo>
                    <a:lnTo>
                      <a:pt x="483" y="1117"/>
                    </a:lnTo>
                    <a:lnTo>
                      <a:pt x="496" y="1079"/>
                    </a:lnTo>
                    <a:lnTo>
                      <a:pt x="496" y="1022"/>
                    </a:lnTo>
                    <a:lnTo>
                      <a:pt x="496" y="952"/>
                    </a:lnTo>
                    <a:lnTo>
                      <a:pt x="489" y="895"/>
                    </a:lnTo>
                    <a:lnTo>
                      <a:pt x="489" y="844"/>
                    </a:lnTo>
                    <a:lnTo>
                      <a:pt x="483" y="819"/>
                    </a:lnTo>
                    <a:lnTo>
                      <a:pt x="483" y="806"/>
                    </a:lnTo>
                    <a:lnTo>
                      <a:pt x="477" y="819"/>
                    </a:lnTo>
                    <a:lnTo>
                      <a:pt x="457" y="889"/>
                    </a:lnTo>
                    <a:lnTo>
                      <a:pt x="451" y="927"/>
                    </a:lnTo>
                    <a:lnTo>
                      <a:pt x="451" y="933"/>
                    </a:lnTo>
                    <a:lnTo>
                      <a:pt x="451" y="1003"/>
                    </a:lnTo>
                    <a:lnTo>
                      <a:pt x="451" y="1086"/>
                    </a:lnTo>
                    <a:lnTo>
                      <a:pt x="451" y="1155"/>
                    </a:lnTo>
                    <a:lnTo>
                      <a:pt x="445" y="1238"/>
                    </a:lnTo>
                    <a:lnTo>
                      <a:pt x="438" y="1270"/>
                    </a:lnTo>
                    <a:lnTo>
                      <a:pt x="432" y="1282"/>
                    </a:lnTo>
                    <a:lnTo>
                      <a:pt x="426" y="1289"/>
                    </a:lnTo>
                    <a:lnTo>
                      <a:pt x="432" y="1295"/>
                    </a:lnTo>
                    <a:lnTo>
                      <a:pt x="432" y="1314"/>
                    </a:lnTo>
                    <a:lnTo>
                      <a:pt x="432" y="1321"/>
                    </a:lnTo>
                    <a:lnTo>
                      <a:pt x="432" y="1327"/>
                    </a:lnTo>
                    <a:lnTo>
                      <a:pt x="419" y="1352"/>
                    </a:lnTo>
                    <a:lnTo>
                      <a:pt x="407" y="1352"/>
                    </a:lnTo>
                    <a:lnTo>
                      <a:pt x="407" y="1378"/>
                    </a:lnTo>
                    <a:lnTo>
                      <a:pt x="407" y="1390"/>
                    </a:lnTo>
                    <a:lnTo>
                      <a:pt x="400" y="1403"/>
                    </a:lnTo>
                    <a:lnTo>
                      <a:pt x="394" y="1416"/>
                    </a:lnTo>
                    <a:lnTo>
                      <a:pt x="375" y="1435"/>
                    </a:lnTo>
                    <a:lnTo>
                      <a:pt x="369" y="1441"/>
                    </a:lnTo>
                    <a:lnTo>
                      <a:pt x="324" y="1435"/>
                    </a:lnTo>
                    <a:lnTo>
                      <a:pt x="324" y="1390"/>
                    </a:lnTo>
                    <a:lnTo>
                      <a:pt x="330" y="1378"/>
                    </a:lnTo>
                    <a:lnTo>
                      <a:pt x="349" y="1327"/>
                    </a:lnTo>
                    <a:lnTo>
                      <a:pt x="356" y="1308"/>
                    </a:lnTo>
                    <a:lnTo>
                      <a:pt x="349" y="1270"/>
                    </a:lnTo>
                    <a:lnTo>
                      <a:pt x="349" y="1213"/>
                    </a:lnTo>
                    <a:lnTo>
                      <a:pt x="343" y="1143"/>
                    </a:lnTo>
                    <a:lnTo>
                      <a:pt x="349" y="1079"/>
                    </a:lnTo>
                    <a:lnTo>
                      <a:pt x="349" y="1016"/>
                    </a:lnTo>
                    <a:lnTo>
                      <a:pt x="356" y="946"/>
                    </a:lnTo>
                    <a:lnTo>
                      <a:pt x="349" y="908"/>
                    </a:lnTo>
                    <a:lnTo>
                      <a:pt x="349" y="863"/>
                    </a:lnTo>
                    <a:lnTo>
                      <a:pt x="349" y="781"/>
                    </a:lnTo>
                    <a:lnTo>
                      <a:pt x="356" y="736"/>
                    </a:lnTo>
                    <a:lnTo>
                      <a:pt x="362" y="698"/>
                    </a:lnTo>
                    <a:lnTo>
                      <a:pt x="362" y="692"/>
                    </a:lnTo>
                    <a:lnTo>
                      <a:pt x="356" y="686"/>
                    </a:lnTo>
                    <a:lnTo>
                      <a:pt x="343" y="686"/>
                    </a:lnTo>
                    <a:lnTo>
                      <a:pt x="337" y="679"/>
                    </a:lnTo>
                    <a:lnTo>
                      <a:pt x="330" y="667"/>
                    </a:lnTo>
                    <a:lnTo>
                      <a:pt x="305" y="698"/>
                    </a:lnTo>
                    <a:lnTo>
                      <a:pt x="299" y="698"/>
                    </a:lnTo>
                    <a:lnTo>
                      <a:pt x="299" y="717"/>
                    </a:lnTo>
                    <a:lnTo>
                      <a:pt x="292" y="743"/>
                    </a:lnTo>
                    <a:lnTo>
                      <a:pt x="292" y="876"/>
                    </a:lnTo>
                    <a:lnTo>
                      <a:pt x="305" y="914"/>
                    </a:lnTo>
                    <a:lnTo>
                      <a:pt x="311" y="952"/>
                    </a:lnTo>
                    <a:lnTo>
                      <a:pt x="311" y="997"/>
                    </a:lnTo>
                    <a:lnTo>
                      <a:pt x="324" y="1048"/>
                    </a:lnTo>
                    <a:lnTo>
                      <a:pt x="330" y="1092"/>
                    </a:lnTo>
                    <a:lnTo>
                      <a:pt x="337" y="1149"/>
                    </a:lnTo>
                    <a:lnTo>
                      <a:pt x="330" y="1162"/>
                    </a:lnTo>
                    <a:lnTo>
                      <a:pt x="337" y="1181"/>
                    </a:lnTo>
                    <a:lnTo>
                      <a:pt x="324" y="1206"/>
                    </a:lnTo>
                    <a:lnTo>
                      <a:pt x="324" y="1276"/>
                    </a:lnTo>
                    <a:lnTo>
                      <a:pt x="324" y="1282"/>
                    </a:lnTo>
                    <a:lnTo>
                      <a:pt x="318" y="1295"/>
                    </a:lnTo>
                    <a:lnTo>
                      <a:pt x="305" y="1302"/>
                    </a:lnTo>
                    <a:lnTo>
                      <a:pt x="280" y="1308"/>
                    </a:lnTo>
                    <a:lnTo>
                      <a:pt x="267" y="1308"/>
                    </a:lnTo>
                    <a:lnTo>
                      <a:pt x="254" y="1302"/>
                    </a:lnTo>
                    <a:lnTo>
                      <a:pt x="248" y="1282"/>
                    </a:lnTo>
                    <a:lnTo>
                      <a:pt x="254" y="1257"/>
                    </a:lnTo>
                    <a:lnTo>
                      <a:pt x="261" y="1238"/>
                    </a:lnTo>
                    <a:lnTo>
                      <a:pt x="267" y="1213"/>
                    </a:lnTo>
                    <a:lnTo>
                      <a:pt x="254" y="1187"/>
                    </a:lnTo>
                    <a:lnTo>
                      <a:pt x="261" y="1168"/>
                    </a:lnTo>
                    <a:lnTo>
                      <a:pt x="242" y="1130"/>
                    </a:lnTo>
                    <a:lnTo>
                      <a:pt x="222" y="1041"/>
                    </a:lnTo>
                    <a:lnTo>
                      <a:pt x="203" y="940"/>
                    </a:lnTo>
                    <a:lnTo>
                      <a:pt x="191" y="876"/>
                    </a:lnTo>
                    <a:lnTo>
                      <a:pt x="184" y="825"/>
                    </a:lnTo>
                    <a:lnTo>
                      <a:pt x="172" y="838"/>
                    </a:lnTo>
                    <a:lnTo>
                      <a:pt x="172" y="882"/>
                    </a:lnTo>
                    <a:lnTo>
                      <a:pt x="172" y="908"/>
                    </a:lnTo>
                    <a:lnTo>
                      <a:pt x="178" y="933"/>
                    </a:lnTo>
                    <a:lnTo>
                      <a:pt x="178" y="959"/>
                    </a:lnTo>
                    <a:lnTo>
                      <a:pt x="184" y="997"/>
                    </a:lnTo>
                    <a:lnTo>
                      <a:pt x="184" y="1054"/>
                    </a:lnTo>
                    <a:lnTo>
                      <a:pt x="191" y="1098"/>
                    </a:lnTo>
                    <a:lnTo>
                      <a:pt x="197" y="1111"/>
                    </a:lnTo>
                    <a:lnTo>
                      <a:pt x="203" y="1136"/>
                    </a:lnTo>
                    <a:lnTo>
                      <a:pt x="191" y="1155"/>
                    </a:lnTo>
                    <a:lnTo>
                      <a:pt x="191" y="1194"/>
                    </a:lnTo>
                    <a:lnTo>
                      <a:pt x="172" y="1206"/>
                    </a:lnTo>
                    <a:lnTo>
                      <a:pt x="165" y="1200"/>
                    </a:lnTo>
                    <a:lnTo>
                      <a:pt x="146" y="1225"/>
                    </a:lnTo>
                    <a:lnTo>
                      <a:pt x="140" y="1238"/>
                    </a:lnTo>
                    <a:lnTo>
                      <a:pt x="134" y="1244"/>
                    </a:lnTo>
                    <a:lnTo>
                      <a:pt x="121" y="1251"/>
                    </a:lnTo>
                    <a:lnTo>
                      <a:pt x="102" y="1251"/>
                    </a:lnTo>
                    <a:lnTo>
                      <a:pt x="76" y="1238"/>
                    </a:lnTo>
                    <a:lnTo>
                      <a:pt x="70" y="1225"/>
                    </a:lnTo>
                    <a:lnTo>
                      <a:pt x="89" y="1206"/>
                    </a:lnTo>
                    <a:lnTo>
                      <a:pt x="108" y="1181"/>
                    </a:lnTo>
                    <a:lnTo>
                      <a:pt x="121" y="1162"/>
                    </a:lnTo>
                    <a:lnTo>
                      <a:pt x="121" y="1136"/>
                    </a:lnTo>
                    <a:lnTo>
                      <a:pt x="102" y="1124"/>
                    </a:lnTo>
                    <a:lnTo>
                      <a:pt x="102" y="1111"/>
                    </a:lnTo>
                    <a:lnTo>
                      <a:pt x="95" y="1060"/>
                    </a:lnTo>
                    <a:lnTo>
                      <a:pt x="89" y="1022"/>
                    </a:lnTo>
                    <a:lnTo>
                      <a:pt x="83" y="965"/>
                    </a:lnTo>
                    <a:lnTo>
                      <a:pt x="64" y="889"/>
                    </a:lnTo>
                    <a:lnTo>
                      <a:pt x="51" y="819"/>
                    </a:lnTo>
                    <a:lnTo>
                      <a:pt x="38" y="749"/>
                    </a:lnTo>
                    <a:lnTo>
                      <a:pt x="32" y="730"/>
                    </a:lnTo>
                    <a:lnTo>
                      <a:pt x="7" y="692"/>
                    </a:lnTo>
                    <a:lnTo>
                      <a:pt x="0" y="654"/>
                    </a:lnTo>
                    <a:lnTo>
                      <a:pt x="7" y="597"/>
                    </a:lnTo>
                    <a:lnTo>
                      <a:pt x="7" y="520"/>
                    </a:lnTo>
                    <a:lnTo>
                      <a:pt x="19" y="470"/>
                    </a:lnTo>
                    <a:lnTo>
                      <a:pt x="26" y="406"/>
                    </a:lnTo>
                    <a:lnTo>
                      <a:pt x="32" y="336"/>
                    </a:lnTo>
                    <a:lnTo>
                      <a:pt x="38" y="298"/>
                    </a:lnTo>
                    <a:lnTo>
                      <a:pt x="38" y="292"/>
                    </a:lnTo>
                    <a:lnTo>
                      <a:pt x="57" y="27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grpSp>
        <p:sp>
          <p:nvSpPr>
            <p:cNvPr id="14397" name="Freeform 382"/>
            <p:cNvSpPr>
              <a:spLocks/>
            </p:cNvSpPr>
            <p:nvPr/>
          </p:nvSpPr>
          <p:spPr bwMode="auto">
            <a:xfrm>
              <a:off x="507474" y="1004876"/>
              <a:ext cx="758359" cy="2064115"/>
            </a:xfrm>
            <a:custGeom>
              <a:avLst/>
              <a:gdLst>
                <a:gd name="T0" fmla="*/ 2147483647 w 133"/>
                <a:gd name="T1" fmla="*/ 0 h 362"/>
                <a:gd name="T2" fmla="*/ 2147483647 w 133"/>
                <a:gd name="T3" fmla="*/ 2147483647 h 362"/>
                <a:gd name="T4" fmla="*/ 2147483647 w 133"/>
                <a:gd name="T5" fmla="*/ 2147483647 h 362"/>
                <a:gd name="T6" fmla="*/ 2147483647 w 133"/>
                <a:gd name="T7" fmla="*/ 2147483647 h 362"/>
                <a:gd name="T8" fmla="*/ 2147483647 w 133"/>
                <a:gd name="T9" fmla="*/ 2147483647 h 362"/>
                <a:gd name="T10" fmla="*/ 2147483647 w 133"/>
                <a:gd name="T11" fmla="*/ 2147483647 h 362"/>
                <a:gd name="T12" fmla="*/ 2147483647 w 133"/>
                <a:gd name="T13" fmla="*/ 2147483647 h 362"/>
                <a:gd name="T14" fmla="*/ 2147483647 w 133"/>
                <a:gd name="T15" fmla="*/ 2147483647 h 362"/>
                <a:gd name="T16" fmla="*/ 2147483647 w 133"/>
                <a:gd name="T17" fmla="*/ 2147483647 h 362"/>
                <a:gd name="T18" fmla="*/ 2147483647 w 133"/>
                <a:gd name="T19" fmla="*/ 2147483647 h 362"/>
                <a:gd name="T20" fmla="*/ 0 w 133"/>
                <a:gd name="T21" fmla="*/ 2147483647 h 362"/>
                <a:gd name="T22" fmla="*/ 2147483647 w 133"/>
                <a:gd name="T23" fmla="*/ 2147483647 h 362"/>
                <a:gd name="T24" fmla="*/ 2147483647 w 133"/>
                <a:gd name="T25" fmla="*/ 2147483647 h 362"/>
                <a:gd name="T26" fmla="*/ 2147483647 w 133"/>
                <a:gd name="T27" fmla="*/ 2147483647 h 362"/>
                <a:gd name="T28" fmla="*/ 2147483647 w 133"/>
                <a:gd name="T29" fmla="*/ 2147483647 h 362"/>
                <a:gd name="T30" fmla="*/ 2147483647 w 133"/>
                <a:gd name="T31" fmla="*/ 2147483647 h 362"/>
                <a:gd name="T32" fmla="*/ 2147483647 w 133"/>
                <a:gd name="T33" fmla="*/ 2147483647 h 362"/>
                <a:gd name="T34" fmla="*/ 2147483647 w 133"/>
                <a:gd name="T35" fmla="*/ 2147483647 h 362"/>
                <a:gd name="T36" fmla="*/ 2147483647 w 133"/>
                <a:gd name="T37" fmla="*/ 2147483647 h 362"/>
                <a:gd name="T38" fmla="*/ 2147483647 w 133"/>
                <a:gd name="T39" fmla="*/ 2147483647 h 362"/>
                <a:gd name="T40" fmla="*/ 2147483647 w 133"/>
                <a:gd name="T41" fmla="*/ 2147483647 h 362"/>
                <a:gd name="T42" fmla="*/ 2147483647 w 133"/>
                <a:gd name="T43" fmla="*/ 2147483647 h 362"/>
                <a:gd name="T44" fmla="*/ 2147483647 w 133"/>
                <a:gd name="T45" fmla="*/ 2147483647 h 362"/>
                <a:gd name="T46" fmla="*/ 2147483647 w 133"/>
                <a:gd name="T47" fmla="*/ 2147483647 h 362"/>
                <a:gd name="T48" fmla="*/ 2147483647 w 133"/>
                <a:gd name="T49" fmla="*/ 2147483647 h 362"/>
                <a:gd name="T50" fmla="*/ 2147483647 w 133"/>
                <a:gd name="T51" fmla="*/ 2147483647 h 362"/>
                <a:gd name="T52" fmla="*/ 2147483647 w 133"/>
                <a:gd name="T53" fmla="*/ 2147483647 h 362"/>
                <a:gd name="T54" fmla="*/ 2147483647 w 133"/>
                <a:gd name="T55" fmla="*/ 2147483647 h 362"/>
                <a:gd name="T56" fmla="*/ 2147483647 w 133"/>
                <a:gd name="T57" fmla="*/ 2147483647 h 362"/>
                <a:gd name="T58" fmla="*/ 2147483647 w 133"/>
                <a:gd name="T59" fmla="*/ 2147483647 h 362"/>
                <a:gd name="T60" fmla="*/ 2147483647 w 133"/>
                <a:gd name="T61" fmla="*/ 2147483647 h 362"/>
                <a:gd name="T62" fmla="*/ 2147483647 w 133"/>
                <a:gd name="T63" fmla="*/ 2147483647 h 362"/>
                <a:gd name="T64" fmla="*/ 2147483647 w 133"/>
                <a:gd name="T65" fmla="*/ 2147483647 h 362"/>
                <a:gd name="T66" fmla="*/ 2147483647 w 133"/>
                <a:gd name="T67" fmla="*/ 2147483647 h 362"/>
                <a:gd name="T68" fmla="*/ 2147483647 w 133"/>
                <a:gd name="T69" fmla="*/ 2147483647 h 362"/>
                <a:gd name="T70" fmla="*/ 2147483647 w 133"/>
                <a:gd name="T71" fmla="*/ 2147483647 h 362"/>
                <a:gd name="T72" fmla="*/ 2147483647 w 133"/>
                <a:gd name="T73" fmla="*/ 0 h 362"/>
                <a:gd name="T74" fmla="*/ 2147483647 w 133"/>
                <a:gd name="T75" fmla="*/ 0 h 3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3"/>
                <a:gd name="T115" fmla="*/ 0 h 362"/>
                <a:gd name="T116" fmla="*/ 133 w 133"/>
                <a:gd name="T117" fmla="*/ 362 h 3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3" h="362">
                  <a:moveTo>
                    <a:pt x="127" y="0"/>
                  </a:moveTo>
                  <a:lnTo>
                    <a:pt x="133" y="12"/>
                  </a:lnTo>
                  <a:lnTo>
                    <a:pt x="102" y="165"/>
                  </a:lnTo>
                  <a:lnTo>
                    <a:pt x="83" y="279"/>
                  </a:lnTo>
                  <a:lnTo>
                    <a:pt x="83" y="330"/>
                  </a:lnTo>
                  <a:lnTo>
                    <a:pt x="89" y="355"/>
                  </a:lnTo>
                  <a:lnTo>
                    <a:pt x="57" y="362"/>
                  </a:lnTo>
                  <a:lnTo>
                    <a:pt x="25" y="362"/>
                  </a:lnTo>
                  <a:lnTo>
                    <a:pt x="0" y="355"/>
                  </a:lnTo>
                  <a:lnTo>
                    <a:pt x="6" y="304"/>
                  </a:lnTo>
                  <a:lnTo>
                    <a:pt x="13" y="298"/>
                  </a:lnTo>
                  <a:lnTo>
                    <a:pt x="38" y="317"/>
                  </a:lnTo>
                  <a:lnTo>
                    <a:pt x="76" y="292"/>
                  </a:lnTo>
                  <a:lnTo>
                    <a:pt x="76" y="228"/>
                  </a:lnTo>
                  <a:lnTo>
                    <a:pt x="83" y="165"/>
                  </a:lnTo>
                  <a:lnTo>
                    <a:pt x="76" y="108"/>
                  </a:lnTo>
                  <a:lnTo>
                    <a:pt x="76" y="63"/>
                  </a:lnTo>
                  <a:lnTo>
                    <a:pt x="83" y="44"/>
                  </a:lnTo>
                  <a:lnTo>
                    <a:pt x="57" y="44"/>
                  </a:lnTo>
                  <a:lnTo>
                    <a:pt x="45" y="57"/>
                  </a:lnTo>
                  <a:lnTo>
                    <a:pt x="57" y="69"/>
                  </a:lnTo>
                  <a:lnTo>
                    <a:pt x="45" y="146"/>
                  </a:lnTo>
                  <a:lnTo>
                    <a:pt x="25" y="216"/>
                  </a:lnTo>
                  <a:lnTo>
                    <a:pt x="32" y="165"/>
                  </a:lnTo>
                  <a:lnTo>
                    <a:pt x="32" y="101"/>
                  </a:lnTo>
                  <a:lnTo>
                    <a:pt x="38" y="63"/>
                  </a:lnTo>
                  <a:lnTo>
                    <a:pt x="38" y="31"/>
                  </a:lnTo>
                  <a:lnTo>
                    <a:pt x="45" y="25"/>
                  </a:lnTo>
                  <a:lnTo>
                    <a:pt x="64" y="38"/>
                  </a:lnTo>
                  <a:lnTo>
                    <a:pt x="76" y="38"/>
                  </a:lnTo>
                  <a:lnTo>
                    <a:pt x="102" y="19"/>
                  </a:lnTo>
                  <a:lnTo>
                    <a:pt x="121" y="6"/>
                  </a:lnTo>
                  <a:lnTo>
                    <a:pt x="1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4398" name="Freeform 383"/>
            <p:cNvSpPr>
              <a:spLocks/>
            </p:cNvSpPr>
            <p:nvPr/>
          </p:nvSpPr>
          <p:spPr bwMode="auto">
            <a:xfrm>
              <a:off x="2605801" y="1147430"/>
              <a:ext cx="473259" cy="1699187"/>
            </a:xfrm>
            <a:custGeom>
              <a:avLst/>
              <a:gdLst>
                <a:gd name="T0" fmla="*/ 2147483647 w 83"/>
                <a:gd name="T1" fmla="*/ 0 h 298"/>
                <a:gd name="T2" fmla="*/ 2147483647 w 83"/>
                <a:gd name="T3" fmla="*/ 2147483647 h 298"/>
                <a:gd name="T4" fmla="*/ 2147483647 w 83"/>
                <a:gd name="T5" fmla="*/ 2147483647 h 298"/>
                <a:gd name="T6" fmla="*/ 2147483647 w 83"/>
                <a:gd name="T7" fmla="*/ 2147483647 h 298"/>
                <a:gd name="T8" fmla="*/ 2147483647 w 83"/>
                <a:gd name="T9" fmla="*/ 2147483647 h 298"/>
                <a:gd name="T10" fmla="*/ 2147483647 w 83"/>
                <a:gd name="T11" fmla="*/ 2147483647 h 298"/>
                <a:gd name="T12" fmla="*/ 2147483647 w 83"/>
                <a:gd name="T13" fmla="*/ 2147483647 h 298"/>
                <a:gd name="T14" fmla="*/ 2147483647 w 83"/>
                <a:gd name="T15" fmla="*/ 2147483647 h 298"/>
                <a:gd name="T16" fmla="*/ 2147483647 w 83"/>
                <a:gd name="T17" fmla="*/ 2147483647 h 298"/>
                <a:gd name="T18" fmla="*/ 2147483647 w 83"/>
                <a:gd name="T19" fmla="*/ 2147483647 h 298"/>
                <a:gd name="T20" fmla="*/ 2147483647 w 83"/>
                <a:gd name="T21" fmla="*/ 2147483647 h 298"/>
                <a:gd name="T22" fmla="*/ 2147483647 w 83"/>
                <a:gd name="T23" fmla="*/ 2147483647 h 298"/>
                <a:gd name="T24" fmla="*/ 2147483647 w 83"/>
                <a:gd name="T25" fmla="*/ 2147483647 h 298"/>
                <a:gd name="T26" fmla="*/ 2147483647 w 83"/>
                <a:gd name="T27" fmla="*/ 2147483647 h 298"/>
                <a:gd name="T28" fmla="*/ 2147483647 w 83"/>
                <a:gd name="T29" fmla="*/ 2147483647 h 298"/>
                <a:gd name="T30" fmla="*/ 2147483647 w 83"/>
                <a:gd name="T31" fmla="*/ 2147483647 h 298"/>
                <a:gd name="T32" fmla="*/ 0 w 83"/>
                <a:gd name="T33" fmla="*/ 2147483647 h 298"/>
                <a:gd name="T34" fmla="*/ 2147483647 w 83"/>
                <a:gd name="T35" fmla="*/ 0 h 2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3"/>
                <a:gd name="T55" fmla="*/ 0 h 298"/>
                <a:gd name="T56" fmla="*/ 83 w 83"/>
                <a:gd name="T57" fmla="*/ 298 h 2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3" h="298">
                  <a:moveTo>
                    <a:pt x="13" y="0"/>
                  </a:moveTo>
                  <a:lnTo>
                    <a:pt x="32" y="6"/>
                  </a:lnTo>
                  <a:lnTo>
                    <a:pt x="45" y="25"/>
                  </a:lnTo>
                  <a:lnTo>
                    <a:pt x="39" y="44"/>
                  </a:lnTo>
                  <a:lnTo>
                    <a:pt x="64" y="95"/>
                  </a:lnTo>
                  <a:lnTo>
                    <a:pt x="64" y="114"/>
                  </a:lnTo>
                  <a:lnTo>
                    <a:pt x="70" y="146"/>
                  </a:lnTo>
                  <a:lnTo>
                    <a:pt x="83" y="241"/>
                  </a:lnTo>
                  <a:lnTo>
                    <a:pt x="83" y="267"/>
                  </a:lnTo>
                  <a:lnTo>
                    <a:pt x="58" y="298"/>
                  </a:lnTo>
                  <a:lnTo>
                    <a:pt x="20" y="273"/>
                  </a:lnTo>
                  <a:lnTo>
                    <a:pt x="7" y="133"/>
                  </a:lnTo>
                  <a:lnTo>
                    <a:pt x="7" y="70"/>
                  </a:lnTo>
                  <a:lnTo>
                    <a:pt x="20" y="38"/>
                  </a:lnTo>
                  <a:lnTo>
                    <a:pt x="0" y="19"/>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4399" name="Freeform 384"/>
            <p:cNvSpPr>
              <a:spLocks/>
            </p:cNvSpPr>
            <p:nvPr/>
          </p:nvSpPr>
          <p:spPr bwMode="auto">
            <a:xfrm>
              <a:off x="3694877" y="1039092"/>
              <a:ext cx="473267" cy="650026"/>
            </a:xfrm>
            <a:custGeom>
              <a:avLst/>
              <a:gdLst>
                <a:gd name="T0" fmla="*/ 2147483647 w 83"/>
                <a:gd name="T1" fmla="*/ 2147483647 h 114"/>
                <a:gd name="T2" fmla="*/ 2147483647 w 83"/>
                <a:gd name="T3" fmla="*/ 2147483647 h 114"/>
                <a:gd name="T4" fmla="*/ 2147483647 w 83"/>
                <a:gd name="T5" fmla="*/ 2147483647 h 114"/>
                <a:gd name="T6" fmla="*/ 0 w 83"/>
                <a:gd name="T7" fmla="*/ 2147483647 h 114"/>
                <a:gd name="T8" fmla="*/ 2147483647 w 83"/>
                <a:gd name="T9" fmla="*/ 2147483647 h 114"/>
                <a:gd name="T10" fmla="*/ 2147483647 w 83"/>
                <a:gd name="T11" fmla="*/ 2147483647 h 114"/>
                <a:gd name="T12" fmla="*/ 2147483647 w 83"/>
                <a:gd name="T13" fmla="*/ 2147483647 h 114"/>
                <a:gd name="T14" fmla="*/ 2147483647 w 83"/>
                <a:gd name="T15" fmla="*/ 2147483647 h 114"/>
                <a:gd name="T16" fmla="*/ 2147483647 w 83"/>
                <a:gd name="T17" fmla="*/ 2147483647 h 114"/>
                <a:gd name="T18" fmla="*/ 2147483647 w 83"/>
                <a:gd name="T19" fmla="*/ 0 h 114"/>
                <a:gd name="T20" fmla="*/ 2147483647 w 83"/>
                <a:gd name="T21" fmla="*/ 2147483647 h 114"/>
                <a:gd name="T22" fmla="*/ 2147483647 w 83"/>
                <a:gd name="T23" fmla="*/ 2147483647 h 114"/>
                <a:gd name="T24" fmla="*/ 2147483647 w 83"/>
                <a:gd name="T25" fmla="*/ 2147483647 h 114"/>
                <a:gd name="T26" fmla="*/ 2147483647 w 83"/>
                <a:gd name="T27" fmla="*/ 2147483647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3"/>
                <a:gd name="T43" fmla="*/ 0 h 114"/>
                <a:gd name="T44" fmla="*/ 83 w 83"/>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3" h="114">
                  <a:moveTo>
                    <a:pt x="25" y="114"/>
                  </a:moveTo>
                  <a:lnTo>
                    <a:pt x="19" y="114"/>
                  </a:lnTo>
                  <a:lnTo>
                    <a:pt x="13" y="76"/>
                  </a:lnTo>
                  <a:lnTo>
                    <a:pt x="0" y="57"/>
                  </a:lnTo>
                  <a:lnTo>
                    <a:pt x="6" y="32"/>
                  </a:lnTo>
                  <a:lnTo>
                    <a:pt x="13" y="13"/>
                  </a:lnTo>
                  <a:lnTo>
                    <a:pt x="25" y="32"/>
                  </a:lnTo>
                  <a:lnTo>
                    <a:pt x="44" y="32"/>
                  </a:lnTo>
                  <a:lnTo>
                    <a:pt x="70" y="19"/>
                  </a:lnTo>
                  <a:lnTo>
                    <a:pt x="83" y="0"/>
                  </a:lnTo>
                  <a:lnTo>
                    <a:pt x="83" y="32"/>
                  </a:lnTo>
                  <a:lnTo>
                    <a:pt x="57" y="57"/>
                  </a:lnTo>
                  <a:lnTo>
                    <a:pt x="44" y="76"/>
                  </a:lnTo>
                  <a:lnTo>
                    <a:pt x="25"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nvGrpSpPr>
          <p:cNvPr id="279" name="Group 278"/>
          <p:cNvGrpSpPr/>
          <p:nvPr/>
        </p:nvGrpSpPr>
        <p:grpSpPr>
          <a:xfrm>
            <a:off x="2670209" y="2914105"/>
            <a:ext cx="660451" cy="729794"/>
            <a:chOff x="4699861" y="3091545"/>
            <a:chExt cx="409730" cy="452750"/>
          </a:xfrm>
          <a:solidFill>
            <a:schemeClr val="bg1">
              <a:lumMod val="85000"/>
            </a:schemeClr>
          </a:solidFill>
          <a:effectLst/>
        </p:grpSpPr>
        <p:sp>
          <p:nvSpPr>
            <p:cNvPr id="280" name="Freeform 88"/>
            <p:cNvSpPr>
              <a:spLocks/>
            </p:cNvSpPr>
            <p:nvPr/>
          </p:nvSpPr>
          <p:spPr bwMode="auto">
            <a:xfrm>
              <a:off x="4699861" y="3152727"/>
              <a:ext cx="409730" cy="391568"/>
            </a:xfrm>
            <a:custGeom>
              <a:avLst/>
              <a:gdLst>
                <a:gd name="T0" fmla="*/ 2147483647 w 268"/>
                <a:gd name="T1" fmla="*/ 0 h 256"/>
                <a:gd name="T2" fmla="*/ 2147483647 w 268"/>
                <a:gd name="T3" fmla="*/ 2147483647 h 256"/>
                <a:gd name="T4" fmla="*/ 2147483647 w 268"/>
                <a:gd name="T5" fmla="*/ 2147483647 h 256"/>
                <a:gd name="T6" fmla="*/ 0 w 268"/>
                <a:gd name="T7" fmla="*/ 2147483647 h 256"/>
                <a:gd name="T8" fmla="*/ 2147483647 w 268"/>
                <a:gd name="T9" fmla="*/ 0 h 256"/>
                <a:gd name="T10" fmla="*/ 0 60000 65536"/>
                <a:gd name="T11" fmla="*/ 0 60000 65536"/>
                <a:gd name="T12" fmla="*/ 0 60000 65536"/>
                <a:gd name="T13" fmla="*/ 0 60000 65536"/>
                <a:gd name="T14" fmla="*/ 0 60000 65536"/>
                <a:gd name="T15" fmla="*/ 0 w 268"/>
                <a:gd name="T16" fmla="*/ 0 h 256"/>
                <a:gd name="T17" fmla="*/ 268 w 268"/>
                <a:gd name="T18" fmla="*/ 256 h 256"/>
              </a:gdLst>
              <a:ahLst/>
              <a:cxnLst>
                <a:cxn ang="T10">
                  <a:pos x="T0" y="T1"/>
                </a:cxn>
                <a:cxn ang="T11">
                  <a:pos x="T2" y="T3"/>
                </a:cxn>
                <a:cxn ang="T12">
                  <a:pos x="T4" y="T5"/>
                </a:cxn>
                <a:cxn ang="T13">
                  <a:pos x="T6" y="T7"/>
                </a:cxn>
                <a:cxn ang="T14">
                  <a:pos x="T8" y="T9"/>
                </a:cxn>
              </a:cxnLst>
              <a:rect l="T15" t="T16" r="T17" b="T18"/>
              <a:pathLst>
                <a:path w="268" h="256">
                  <a:moveTo>
                    <a:pt x="68" y="0"/>
                  </a:moveTo>
                  <a:lnTo>
                    <a:pt x="268" y="6"/>
                  </a:lnTo>
                  <a:lnTo>
                    <a:pt x="232" y="256"/>
                  </a:lnTo>
                  <a:lnTo>
                    <a:pt x="0" y="246"/>
                  </a:lnTo>
                  <a:lnTo>
                    <a:pt x="68" y="0"/>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281" name="Freeform 89"/>
            <p:cNvSpPr>
              <a:spLocks noEditPoints="1"/>
            </p:cNvSpPr>
            <p:nvPr/>
          </p:nvSpPr>
          <p:spPr bwMode="auto">
            <a:xfrm>
              <a:off x="4745726" y="3186377"/>
              <a:ext cx="327172" cy="324268"/>
            </a:xfrm>
            <a:custGeom>
              <a:avLst/>
              <a:gdLst>
                <a:gd name="T0" fmla="*/ 2147483647 w 214"/>
                <a:gd name="T1" fmla="*/ 2147483647 h 212"/>
                <a:gd name="T2" fmla="*/ 2147483647 w 214"/>
                <a:gd name="T3" fmla="*/ 2147483647 h 212"/>
                <a:gd name="T4" fmla="*/ 2147483647 w 214"/>
                <a:gd name="T5" fmla="*/ 2147483647 h 212"/>
                <a:gd name="T6" fmla="*/ 2147483647 w 214"/>
                <a:gd name="T7" fmla="*/ 2147483647 h 212"/>
                <a:gd name="T8" fmla="*/ 2147483647 w 214"/>
                <a:gd name="T9" fmla="*/ 2147483647 h 212"/>
                <a:gd name="T10" fmla="*/ 2147483647 w 214"/>
                <a:gd name="T11" fmla="*/ 2147483647 h 212"/>
                <a:gd name="T12" fmla="*/ 2147483647 w 214"/>
                <a:gd name="T13" fmla="*/ 2147483647 h 212"/>
                <a:gd name="T14" fmla="*/ 2147483647 w 214"/>
                <a:gd name="T15" fmla="*/ 2147483647 h 212"/>
                <a:gd name="T16" fmla="*/ 2147483647 w 214"/>
                <a:gd name="T17" fmla="*/ 2147483647 h 212"/>
                <a:gd name="T18" fmla="*/ 2147483647 w 214"/>
                <a:gd name="T19" fmla="*/ 2147483647 h 212"/>
                <a:gd name="T20" fmla="*/ 2147483647 w 214"/>
                <a:gd name="T21" fmla="*/ 2147483647 h 212"/>
                <a:gd name="T22" fmla="*/ 2147483647 w 214"/>
                <a:gd name="T23" fmla="*/ 2147483647 h 212"/>
                <a:gd name="T24" fmla="*/ 2147483647 w 214"/>
                <a:gd name="T25" fmla="*/ 2147483647 h 212"/>
                <a:gd name="T26" fmla="*/ 2147483647 w 214"/>
                <a:gd name="T27" fmla="*/ 2147483647 h 212"/>
                <a:gd name="T28" fmla="*/ 2147483647 w 214"/>
                <a:gd name="T29" fmla="*/ 2147483647 h 212"/>
                <a:gd name="T30" fmla="*/ 2147483647 w 214"/>
                <a:gd name="T31" fmla="*/ 2147483647 h 212"/>
                <a:gd name="T32" fmla="*/ 2147483647 w 214"/>
                <a:gd name="T33" fmla="*/ 2147483647 h 212"/>
                <a:gd name="T34" fmla="*/ 2147483647 w 214"/>
                <a:gd name="T35" fmla="*/ 2147483647 h 212"/>
                <a:gd name="T36" fmla="*/ 2147483647 w 214"/>
                <a:gd name="T37" fmla="*/ 2147483647 h 212"/>
                <a:gd name="T38" fmla="*/ 2147483647 w 214"/>
                <a:gd name="T39" fmla="*/ 2147483647 h 212"/>
                <a:gd name="T40" fmla="*/ 2147483647 w 214"/>
                <a:gd name="T41" fmla="*/ 2147483647 h 212"/>
                <a:gd name="T42" fmla="*/ 2147483647 w 214"/>
                <a:gd name="T43" fmla="*/ 2147483647 h 212"/>
                <a:gd name="T44" fmla="*/ 2147483647 w 214"/>
                <a:gd name="T45" fmla="*/ 2147483647 h 212"/>
                <a:gd name="T46" fmla="*/ 2147483647 w 214"/>
                <a:gd name="T47" fmla="*/ 2147483647 h 212"/>
                <a:gd name="T48" fmla="*/ 2147483647 w 214"/>
                <a:gd name="T49" fmla="*/ 2147483647 h 212"/>
                <a:gd name="T50" fmla="*/ 2147483647 w 214"/>
                <a:gd name="T51" fmla="*/ 2147483647 h 212"/>
                <a:gd name="T52" fmla="*/ 2147483647 w 214"/>
                <a:gd name="T53" fmla="*/ 2147483647 h 212"/>
                <a:gd name="T54" fmla="*/ 2147483647 w 214"/>
                <a:gd name="T55" fmla="*/ 2147483647 h 212"/>
                <a:gd name="T56" fmla="*/ 2147483647 w 214"/>
                <a:gd name="T57" fmla="*/ 2147483647 h 212"/>
                <a:gd name="T58" fmla="*/ 2147483647 w 214"/>
                <a:gd name="T59" fmla="*/ 2147483647 h 212"/>
                <a:gd name="T60" fmla="*/ 2147483647 w 214"/>
                <a:gd name="T61" fmla="*/ 2147483647 h 212"/>
                <a:gd name="T62" fmla="*/ 2147483647 w 214"/>
                <a:gd name="T63" fmla="*/ 2147483647 h 212"/>
                <a:gd name="T64" fmla="*/ 2147483647 w 214"/>
                <a:gd name="T65" fmla="*/ 2147483647 h 212"/>
                <a:gd name="T66" fmla="*/ 0 w 214"/>
                <a:gd name="T67" fmla="*/ 2147483647 h 212"/>
                <a:gd name="T68" fmla="*/ 2147483647 w 214"/>
                <a:gd name="T69" fmla="*/ 2147483647 h 212"/>
                <a:gd name="T70" fmla="*/ 2147483647 w 214"/>
                <a:gd name="T71" fmla="*/ 2147483647 h 212"/>
                <a:gd name="T72" fmla="*/ 2147483647 w 214"/>
                <a:gd name="T73" fmla="*/ 0 h 212"/>
                <a:gd name="T74" fmla="*/ 2147483647 w 214"/>
                <a:gd name="T75" fmla="*/ 2147483647 h 212"/>
                <a:gd name="T76" fmla="*/ 2147483647 w 214"/>
                <a:gd name="T77" fmla="*/ 2147483647 h 212"/>
                <a:gd name="T78" fmla="*/ 2147483647 w 214"/>
                <a:gd name="T79" fmla="*/ 2147483647 h 212"/>
                <a:gd name="T80" fmla="*/ 2147483647 w 214"/>
                <a:gd name="T81" fmla="*/ 0 h 2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4"/>
                <a:gd name="T124" fmla="*/ 0 h 212"/>
                <a:gd name="T125" fmla="*/ 214 w 214"/>
                <a:gd name="T126" fmla="*/ 212 h 2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4" h="212">
                  <a:moveTo>
                    <a:pt x="44" y="32"/>
                  </a:moveTo>
                  <a:lnTo>
                    <a:pt x="208" y="38"/>
                  </a:lnTo>
                  <a:lnTo>
                    <a:pt x="206" y="50"/>
                  </a:lnTo>
                  <a:lnTo>
                    <a:pt x="40" y="44"/>
                  </a:lnTo>
                  <a:lnTo>
                    <a:pt x="44" y="32"/>
                  </a:lnTo>
                  <a:close/>
                  <a:moveTo>
                    <a:pt x="36" y="64"/>
                  </a:moveTo>
                  <a:lnTo>
                    <a:pt x="204" y="70"/>
                  </a:lnTo>
                  <a:lnTo>
                    <a:pt x="202" y="84"/>
                  </a:lnTo>
                  <a:lnTo>
                    <a:pt x="32" y="78"/>
                  </a:lnTo>
                  <a:lnTo>
                    <a:pt x="36" y="64"/>
                  </a:lnTo>
                  <a:close/>
                  <a:moveTo>
                    <a:pt x="28" y="96"/>
                  </a:moveTo>
                  <a:lnTo>
                    <a:pt x="198" y="102"/>
                  </a:lnTo>
                  <a:lnTo>
                    <a:pt x="196" y="116"/>
                  </a:lnTo>
                  <a:lnTo>
                    <a:pt x="24" y="108"/>
                  </a:lnTo>
                  <a:lnTo>
                    <a:pt x="28" y="96"/>
                  </a:lnTo>
                  <a:close/>
                  <a:moveTo>
                    <a:pt x="20" y="128"/>
                  </a:moveTo>
                  <a:lnTo>
                    <a:pt x="194" y="134"/>
                  </a:lnTo>
                  <a:lnTo>
                    <a:pt x="192" y="148"/>
                  </a:lnTo>
                  <a:lnTo>
                    <a:pt x="16" y="140"/>
                  </a:lnTo>
                  <a:lnTo>
                    <a:pt x="20" y="128"/>
                  </a:lnTo>
                  <a:close/>
                  <a:moveTo>
                    <a:pt x="10" y="160"/>
                  </a:moveTo>
                  <a:lnTo>
                    <a:pt x="188" y="166"/>
                  </a:lnTo>
                  <a:lnTo>
                    <a:pt x="186" y="180"/>
                  </a:lnTo>
                  <a:lnTo>
                    <a:pt x="6" y="172"/>
                  </a:lnTo>
                  <a:lnTo>
                    <a:pt x="10" y="160"/>
                  </a:lnTo>
                  <a:close/>
                  <a:moveTo>
                    <a:pt x="2" y="192"/>
                  </a:moveTo>
                  <a:lnTo>
                    <a:pt x="184" y="200"/>
                  </a:lnTo>
                  <a:lnTo>
                    <a:pt x="182" y="212"/>
                  </a:lnTo>
                  <a:lnTo>
                    <a:pt x="0" y="204"/>
                  </a:lnTo>
                  <a:lnTo>
                    <a:pt x="2" y="192"/>
                  </a:lnTo>
                  <a:close/>
                  <a:moveTo>
                    <a:pt x="52" y="0"/>
                  </a:moveTo>
                  <a:lnTo>
                    <a:pt x="214" y="6"/>
                  </a:lnTo>
                  <a:lnTo>
                    <a:pt x="212" y="18"/>
                  </a:lnTo>
                  <a:lnTo>
                    <a:pt x="50" y="12"/>
                  </a:lnTo>
                  <a:lnTo>
                    <a:pt x="52" y="0"/>
                  </a:lnTo>
                  <a:close/>
                </a:path>
              </a:pathLst>
            </a:custGeom>
            <a:grpFill/>
            <a:ln>
              <a:noFill/>
            </a:ln>
            <a:extLst/>
          </p:spPr>
          <p:txBody>
            <a:bodyPr/>
            <a:lstStyle/>
            <a:p>
              <a:pPr fontAlgn="auto">
                <a:spcBef>
                  <a:spcPts val="0"/>
                </a:spcBef>
                <a:spcAft>
                  <a:spcPts val="0"/>
                </a:spcAft>
                <a:defRPr/>
              </a:pPr>
              <a:endParaRPr lang="en-US">
                <a:latin typeface="+mn-lt"/>
                <a:ea typeface="+mn-ea"/>
              </a:endParaRPr>
            </a:p>
          </p:txBody>
        </p:sp>
        <p:sp>
          <p:nvSpPr>
            <p:cNvPr id="282" name="Freeform 90"/>
            <p:cNvSpPr>
              <a:spLocks/>
            </p:cNvSpPr>
            <p:nvPr/>
          </p:nvSpPr>
          <p:spPr bwMode="auto">
            <a:xfrm>
              <a:off x="4699865" y="3091545"/>
              <a:ext cx="379153" cy="437455"/>
            </a:xfrm>
            <a:custGeom>
              <a:avLst/>
              <a:gdLst>
                <a:gd name="T0" fmla="*/ 2147483647 w 248"/>
                <a:gd name="T1" fmla="*/ 2147483647 h 286"/>
                <a:gd name="T2" fmla="*/ 2147483647 w 248"/>
                <a:gd name="T3" fmla="*/ 2147483647 h 286"/>
                <a:gd name="T4" fmla="*/ 2147483647 w 248"/>
                <a:gd name="T5" fmla="*/ 2147483647 h 286"/>
                <a:gd name="T6" fmla="*/ 2147483647 w 248"/>
                <a:gd name="T7" fmla="*/ 2147483647 h 286"/>
                <a:gd name="T8" fmla="*/ 2147483647 w 248"/>
                <a:gd name="T9" fmla="*/ 2147483647 h 286"/>
                <a:gd name="T10" fmla="*/ 2147483647 w 248"/>
                <a:gd name="T11" fmla="*/ 0 h 286"/>
                <a:gd name="T12" fmla="*/ 2147483647 w 248"/>
                <a:gd name="T13" fmla="*/ 2147483647 h 286"/>
                <a:gd name="T14" fmla="*/ 2147483647 w 248"/>
                <a:gd name="T15" fmla="*/ 2147483647 h 286"/>
                <a:gd name="T16" fmla="*/ 2147483647 w 248"/>
                <a:gd name="T17" fmla="*/ 2147483647 h 286"/>
                <a:gd name="T18" fmla="*/ 2147483647 w 248"/>
                <a:gd name="T19" fmla="*/ 2147483647 h 286"/>
                <a:gd name="T20" fmla="*/ 2147483647 w 248"/>
                <a:gd name="T21" fmla="*/ 2147483647 h 286"/>
                <a:gd name="T22" fmla="*/ 0 w 248"/>
                <a:gd name="T23" fmla="*/ 2147483647 h 286"/>
                <a:gd name="T24" fmla="*/ 2147483647 w 248"/>
                <a:gd name="T25" fmla="*/ 2147483647 h 2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8"/>
                <a:gd name="T40" fmla="*/ 0 h 286"/>
                <a:gd name="T41" fmla="*/ 248 w 248"/>
                <a:gd name="T42" fmla="*/ 286 h 2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8" h="286">
                  <a:moveTo>
                    <a:pt x="68" y="40"/>
                  </a:moveTo>
                  <a:lnTo>
                    <a:pt x="68" y="40"/>
                  </a:lnTo>
                  <a:lnTo>
                    <a:pt x="114" y="36"/>
                  </a:lnTo>
                  <a:lnTo>
                    <a:pt x="160" y="28"/>
                  </a:lnTo>
                  <a:lnTo>
                    <a:pt x="204" y="16"/>
                  </a:lnTo>
                  <a:lnTo>
                    <a:pt x="248" y="0"/>
                  </a:lnTo>
                  <a:lnTo>
                    <a:pt x="196" y="244"/>
                  </a:lnTo>
                  <a:lnTo>
                    <a:pt x="148" y="260"/>
                  </a:lnTo>
                  <a:lnTo>
                    <a:pt x="100" y="274"/>
                  </a:lnTo>
                  <a:lnTo>
                    <a:pt x="50" y="282"/>
                  </a:lnTo>
                  <a:lnTo>
                    <a:pt x="0" y="286"/>
                  </a:lnTo>
                  <a:lnTo>
                    <a:pt x="68" y="40"/>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284" name="Freeform 92"/>
            <p:cNvSpPr>
              <a:spLocks/>
            </p:cNvSpPr>
            <p:nvPr/>
          </p:nvSpPr>
          <p:spPr bwMode="auto">
            <a:xfrm>
              <a:off x="4776308" y="3220026"/>
              <a:ext cx="128423" cy="131543"/>
            </a:xfrm>
            <a:custGeom>
              <a:avLst/>
              <a:gdLst>
                <a:gd name="T0" fmla="*/ 2147483647 w 84"/>
                <a:gd name="T1" fmla="*/ 2147483647 h 86"/>
                <a:gd name="T2" fmla="*/ 2147483647 w 84"/>
                <a:gd name="T3" fmla="*/ 2147483647 h 86"/>
                <a:gd name="T4" fmla="*/ 2147483647 w 84"/>
                <a:gd name="T5" fmla="*/ 2147483647 h 86"/>
                <a:gd name="T6" fmla="*/ 2147483647 w 84"/>
                <a:gd name="T7" fmla="*/ 0 h 86"/>
                <a:gd name="T8" fmla="*/ 2147483647 w 84"/>
                <a:gd name="T9" fmla="*/ 2147483647 h 86"/>
                <a:gd name="T10" fmla="*/ 2147483647 w 84"/>
                <a:gd name="T11" fmla="*/ 2147483647 h 86"/>
                <a:gd name="T12" fmla="*/ 2147483647 w 84"/>
                <a:gd name="T13" fmla="*/ 2147483647 h 86"/>
                <a:gd name="T14" fmla="*/ 0 w 84"/>
                <a:gd name="T15" fmla="*/ 2147483647 h 86"/>
                <a:gd name="T16" fmla="*/ 2147483647 w 84"/>
                <a:gd name="T17" fmla="*/ 2147483647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
                <a:gd name="T28" fmla="*/ 0 h 86"/>
                <a:gd name="T29" fmla="*/ 84 w 84"/>
                <a:gd name="T30" fmla="*/ 86 h 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 h="86">
                  <a:moveTo>
                    <a:pt x="22" y="10"/>
                  </a:moveTo>
                  <a:lnTo>
                    <a:pt x="22" y="10"/>
                  </a:lnTo>
                  <a:lnTo>
                    <a:pt x="52" y="6"/>
                  </a:lnTo>
                  <a:lnTo>
                    <a:pt x="84" y="0"/>
                  </a:lnTo>
                  <a:lnTo>
                    <a:pt x="64" y="78"/>
                  </a:lnTo>
                  <a:lnTo>
                    <a:pt x="32" y="82"/>
                  </a:lnTo>
                  <a:lnTo>
                    <a:pt x="0" y="86"/>
                  </a:lnTo>
                  <a:lnTo>
                    <a:pt x="22" y="10"/>
                  </a:lnTo>
                  <a:close/>
                </a:path>
              </a:pathLst>
            </a:custGeom>
            <a:grpFill/>
            <a:ln>
              <a:noFill/>
            </a:ln>
            <a:extLst/>
          </p:spPr>
          <p:txBody>
            <a:bodyPr/>
            <a:lstStyle/>
            <a:p>
              <a:pPr fontAlgn="auto">
                <a:spcBef>
                  <a:spcPts val="0"/>
                </a:spcBef>
                <a:spcAft>
                  <a:spcPts val="0"/>
                </a:spcAft>
                <a:defRPr/>
              </a:pPr>
              <a:endParaRPr lang="en-US">
                <a:latin typeface="+mn-lt"/>
                <a:ea typeface="+mn-ea"/>
              </a:endParaRPr>
            </a:p>
          </p:txBody>
        </p:sp>
      </p:grpSp>
      <p:grpSp>
        <p:nvGrpSpPr>
          <p:cNvPr id="14361" name="Group 287"/>
          <p:cNvGrpSpPr>
            <a:grpSpLocks/>
          </p:cNvGrpSpPr>
          <p:nvPr/>
        </p:nvGrpSpPr>
        <p:grpSpPr bwMode="auto">
          <a:xfrm>
            <a:off x="5676900" y="1547813"/>
            <a:ext cx="828675" cy="450850"/>
            <a:chOff x="5038125" y="4776246"/>
            <a:chExt cx="829402" cy="451390"/>
          </a:xfrm>
          <a:solidFill>
            <a:schemeClr val="bg1">
              <a:lumMod val="85000"/>
            </a:schemeClr>
          </a:solidFill>
        </p:grpSpPr>
        <p:sp>
          <p:nvSpPr>
            <p:cNvPr id="285" name="Freeform 284"/>
            <p:cNvSpPr>
              <a:spLocks/>
            </p:cNvSpPr>
            <p:nvPr/>
          </p:nvSpPr>
          <p:spPr bwMode="auto">
            <a:xfrm>
              <a:off x="5217670" y="4776246"/>
              <a:ext cx="475078" cy="451390"/>
            </a:xfrm>
            <a:custGeom>
              <a:avLst/>
              <a:gdLst>
                <a:gd name="T0" fmla="*/ 836 w 1482"/>
                <a:gd name="T1" fmla="*/ 11 h 1412"/>
                <a:gd name="T2" fmla="*/ 888 w 1482"/>
                <a:gd name="T3" fmla="*/ 35 h 1412"/>
                <a:gd name="T4" fmla="*/ 943 w 1482"/>
                <a:gd name="T5" fmla="*/ 89 h 1412"/>
                <a:gd name="T6" fmla="*/ 999 w 1482"/>
                <a:gd name="T7" fmla="*/ 170 h 1412"/>
                <a:gd name="T8" fmla="*/ 1027 w 1482"/>
                <a:gd name="T9" fmla="*/ 254 h 1412"/>
                <a:gd name="T10" fmla="*/ 1017 w 1482"/>
                <a:gd name="T11" fmla="*/ 402 h 1412"/>
                <a:gd name="T12" fmla="*/ 1024 w 1482"/>
                <a:gd name="T13" fmla="*/ 459 h 1412"/>
                <a:gd name="T14" fmla="*/ 1041 w 1482"/>
                <a:gd name="T15" fmla="*/ 464 h 1412"/>
                <a:gd name="T16" fmla="*/ 1038 w 1482"/>
                <a:gd name="T17" fmla="*/ 532 h 1412"/>
                <a:gd name="T18" fmla="*/ 1009 w 1482"/>
                <a:gd name="T19" fmla="*/ 669 h 1412"/>
                <a:gd name="T20" fmla="*/ 996 w 1482"/>
                <a:gd name="T21" fmla="*/ 681 h 1412"/>
                <a:gd name="T22" fmla="*/ 966 w 1482"/>
                <a:gd name="T23" fmla="*/ 748 h 1412"/>
                <a:gd name="T24" fmla="*/ 947 w 1482"/>
                <a:gd name="T25" fmla="*/ 796 h 1412"/>
                <a:gd name="T26" fmla="*/ 907 w 1482"/>
                <a:gd name="T27" fmla="*/ 867 h 1412"/>
                <a:gd name="T28" fmla="*/ 949 w 1482"/>
                <a:gd name="T29" fmla="*/ 896 h 1412"/>
                <a:gd name="T30" fmla="*/ 976 w 1482"/>
                <a:gd name="T31" fmla="*/ 933 h 1412"/>
                <a:gd name="T32" fmla="*/ 1092 w 1482"/>
                <a:gd name="T33" fmla="*/ 991 h 1412"/>
                <a:gd name="T34" fmla="*/ 1358 w 1482"/>
                <a:gd name="T35" fmla="*/ 1104 h 1412"/>
                <a:gd name="T36" fmla="*/ 1439 w 1482"/>
                <a:gd name="T37" fmla="*/ 1152 h 1412"/>
                <a:gd name="T38" fmla="*/ 1473 w 1482"/>
                <a:gd name="T39" fmla="*/ 1189 h 1412"/>
                <a:gd name="T40" fmla="*/ 1482 w 1482"/>
                <a:gd name="T41" fmla="*/ 1232 h 1412"/>
                <a:gd name="T42" fmla="*/ 1475 w 1482"/>
                <a:gd name="T43" fmla="*/ 1397 h 1412"/>
                <a:gd name="T44" fmla="*/ 828 w 1482"/>
                <a:gd name="T45" fmla="*/ 1224 h 1412"/>
                <a:gd name="T46" fmla="*/ 816 w 1482"/>
                <a:gd name="T47" fmla="*/ 1179 h 1412"/>
                <a:gd name="T48" fmla="*/ 874 w 1482"/>
                <a:gd name="T49" fmla="*/ 1106 h 1412"/>
                <a:gd name="T50" fmla="*/ 943 w 1482"/>
                <a:gd name="T51" fmla="*/ 989 h 1412"/>
                <a:gd name="T52" fmla="*/ 831 w 1482"/>
                <a:gd name="T53" fmla="*/ 1093 h 1412"/>
                <a:gd name="T54" fmla="*/ 742 w 1482"/>
                <a:gd name="T55" fmla="*/ 1125 h 1412"/>
                <a:gd name="T56" fmla="*/ 693 w 1482"/>
                <a:gd name="T57" fmla="*/ 1119 h 1412"/>
                <a:gd name="T58" fmla="*/ 601 w 1482"/>
                <a:gd name="T59" fmla="*/ 1052 h 1412"/>
                <a:gd name="T60" fmla="*/ 566 w 1482"/>
                <a:gd name="T61" fmla="*/ 1037 h 1412"/>
                <a:gd name="T62" fmla="*/ 653 w 1482"/>
                <a:gd name="T63" fmla="*/ 1145 h 1412"/>
                <a:gd name="T64" fmla="*/ 677 w 1482"/>
                <a:gd name="T65" fmla="*/ 1191 h 1412"/>
                <a:gd name="T66" fmla="*/ 676 w 1482"/>
                <a:gd name="T67" fmla="*/ 1232 h 1412"/>
                <a:gd name="T68" fmla="*/ 691 w 1482"/>
                <a:gd name="T69" fmla="*/ 1262 h 1412"/>
                <a:gd name="T70" fmla="*/ 689 w 1482"/>
                <a:gd name="T71" fmla="*/ 1377 h 1412"/>
                <a:gd name="T72" fmla="*/ 4 w 1482"/>
                <a:gd name="T73" fmla="*/ 1333 h 1412"/>
                <a:gd name="T74" fmla="*/ 1 w 1482"/>
                <a:gd name="T75" fmla="*/ 1213 h 1412"/>
                <a:gd name="T76" fmla="*/ 20 w 1482"/>
                <a:gd name="T77" fmla="*/ 1175 h 1412"/>
                <a:gd name="T78" fmla="*/ 67 w 1482"/>
                <a:gd name="T79" fmla="*/ 1135 h 1412"/>
                <a:gd name="T80" fmla="*/ 208 w 1482"/>
                <a:gd name="T81" fmla="*/ 1066 h 1412"/>
                <a:gd name="T82" fmla="*/ 473 w 1482"/>
                <a:gd name="T83" fmla="*/ 954 h 1412"/>
                <a:gd name="T84" fmla="*/ 521 w 1482"/>
                <a:gd name="T85" fmla="*/ 917 h 1412"/>
                <a:gd name="T86" fmla="*/ 539 w 1482"/>
                <a:gd name="T87" fmla="*/ 874 h 1412"/>
                <a:gd name="T88" fmla="*/ 569 w 1482"/>
                <a:gd name="T89" fmla="*/ 832 h 1412"/>
                <a:gd name="T90" fmla="*/ 528 w 1482"/>
                <a:gd name="T91" fmla="*/ 784 h 1412"/>
                <a:gd name="T92" fmla="*/ 507 w 1482"/>
                <a:gd name="T93" fmla="*/ 690 h 1412"/>
                <a:gd name="T94" fmla="*/ 481 w 1482"/>
                <a:gd name="T95" fmla="*/ 680 h 1412"/>
                <a:gd name="T96" fmla="*/ 462 w 1482"/>
                <a:gd name="T97" fmla="*/ 631 h 1412"/>
                <a:gd name="T98" fmla="*/ 438 w 1482"/>
                <a:gd name="T99" fmla="*/ 481 h 1412"/>
                <a:gd name="T100" fmla="*/ 442 w 1482"/>
                <a:gd name="T101" fmla="*/ 462 h 1412"/>
                <a:gd name="T102" fmla="*/ 461 w 1482"/>
                <a:gd name="T103" fmla="*/ 460 h 1412"/>
                <a:gd name="T104" fmla="*/ 455 w 1482"/>
                <a:gd name="T105" fmla="*/ 432 h 1412"/>
                <a:gd name="T106" fmla="*/ 438 w 1482"/>
                <a:gd name="T107" fmla="*/ 359 h 1412"/>
                <a:gd name="T108" fmla="*/ 440 w 1482"/>
                <a:gd name="T109" fmla="*/ 246 h 1412"/>
                <a:gd name="T110" fmla="*/ 459 w 1482"/>
                <a:gd name="T111" fmla="*/ 140 h 1412"/>
                <a:gd name="T112" fmla="*/ 485 w 1482"/>
                <a:gd name="T113" fmla="*/ 90 h 1412"/>
                <a:gd name="T114" fmla="*/ 510 w 1482"/>
                <a:gd name="T115" fmla="*/ 77 h 1412"/>
                <a:gd name="T116" fmla="*/ 557 w 1482"/>
                <a:gd name="T117" fmla="*/ 69 h 1412"/>
                <a:gd name="T118" fmla="*/ 604 w 1482"/>
                <a:gd name="T119" fmla="*/ 28 h 1412"/>
                <a:gd name="T120" fmla="*/ 670 w 1482"/>
                <a:gd name="T121" fmla="*/ 6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2" h="1412">
                  <a:moveTo>
                    <a:pt x="741" y="0"/>
                  </a:moveTo>
                  <a:lnTo>
                    <a:pt x="765" y="1"/>
                  </a:lnTo>
                  <a:lnTo>
                    <a:pt x="788" y="2"/>
                  </a:lnTo>
                  <a:lnTo>
                    <a:pt x="812" y="6"/>
                  </a:lnTo>
                  <a:lnTo>
                    <a:pt x="836" y="11"/>
                  </a:lnTo>
                  <a:lnTo>
                    <a:pt x="846" y="15"/>
                  </a:lnTo>
                  <a:lnTo>
                    <a:pt x="857" y="19"/>
                  </a:lnTo>
                  <a:lnTo>
                    <a:pt x="868" y="24"/>
                  </a:lnTo>
                  <a:lnTo>
                    <a:pt x="878" y="28"/>
                  </a:lnTo>
                  <a:lnTo>
                    <a:pt x="888" y="35"/>
                  </a:lnTo>
                  <a:lnTo>
                    <a:pt x="897" y="41"/>
                  </a:lnTo>
                  <a:lnTo>
                    <a:pt x="905" y="49"/>
                  </a:lnTo>
                  <a:lnTo>
                    <a:pt x="914" y="57"/>
                  </a:lnTo>
                  <a:lnTo>
                    <a:pt x="929" y="74"/>
                  </a:lnTo>
                  <a:lnTo>
                    <a:pt x="943" y="89"/>
                  </a:lnTo>
                  <a:lnTo>
                    <a:pt x="956" y="105"/>
                  </a:lnTo>
                  <a:lnTo>
                    <a:pt x="968" y="121"/>
                  </a:lnTo>
                  <a:lnTo>
                    <a:pt x="979" y="138"/>
                  </a:lnTo>
                  <a:lnTo>
                    <a:pt x="989" y="154"/>
                  </a:lnTo>
                  <a:lnTo>
                    <a:pt x="999" y="170"/>
                  </a:lnTo>
                  <a:lnTo>
                    <a:pt x="1006" y="185"/>
                  </a:lnTo>
                  <a:lnTo>
                    <a:pt x="1013" y="202"/>
                  </a:lnTo>
                  <a:lnTo>
                    <a:pt x="1019" y="219"/>
                  </a:lnTo>
                  <a:lnTo>
                    <a:pt x="1023" y="237"/>
                  </a:lnTo>
                  <a:lnTo>
                    <a:pt x="1027" y="254"/>
                  </a:lnTo>
                  <a:lnTo>
                    <a:pt x="1029" y="273"/>
                  </a:lnTo>
                  <a:lnTo>
                    <a:pt x="1029" y="293"/>
                  </a:lnTo>
                  <a:lnTo>
                    <a:pt x="1028" y="312"/>
                  </a:lnTo>
                  <a:lnTo>
                    <a:pt x="1027" y="333"/>
                  </a:lnTo>
                  <a:lnTo>
                    <a:pt x="1017" y="402"/>
                  </a:lnTo>
                  <a:lnTo>
                    <a:pt x="1009" y="444"/>
                  </a:lnTo>
                  <a:lnTo>
                    <a:pt x="1004" y="464"/>
                  </a:lnTo>
                  <a:lnTo>
                    <a:pt x="1003" y="470"/>
                  </a:lnTo>
                  <a:lnTo>
                    <a:pt x="1010" y="465"/>
                  </a:lnTo>
                  <a:lnTo>
                    <a:pt x="1024" y="459"/>
                  </a:lnTo>
                  <a:lnTo>
                    <a:pt x="1028" y="459"/>
                  </a:lnTo>
                  <a:lnTo>
                    <a:pt x="1032" y="459"/>
                  </a:lnTo>
                  <a:lnTo>
                    <a:pt x="1036" y="459"/>
                  </a:lnTo>
                  <a:lnTo>
                    <a:pt x="1039" y="461"/>
                  </a:lnTo>
                  <a:lnTo>
                    <a:pt x="1041" y="464"/>
                  </a:lnTo>
                  <a:lnTo>
                    <a:pt x="1044" y="468"/>
                  </a:lnTo>
                  <a:lnTo>
                    <a:pt x="1044" y="474"/>
                  </a:lnTo>
                  <a:lnTo>
                    <a:pt x="1044" y="481"/>
                  </a:lnTo>
                  <a:lnTo>
                    <a:pt x="1043" y="503"/>
                  </a:lnTo>
                  <a:lnTo>
                    <a:pt x="1038" y="532"/>
                  </a:lnTo>
                  <a:lnTo>
                    <a:pt x="1034" y="566"/>
                  </a:lnTo>
                  <a:lnTo>
                    <a:pt x="1027" y="600"/>
                  </a:lnTo>
                  <a:lnTo>
                    <a:pt x="1020" y="631"/>
                  </a:lnTo>
                  <a:lnTo>
                    <a:pt x="1012" y="659"/>
                  </a:lnTo>
                  <a:lnTo>
                    <a:pt x="1009" y="669"/>
                  </a:lnTo>
                  <a:lnTo>
                    <a:pt x="1004" y="676"/>
                  </a:lnTo>
                  <a:lnTo>
                    <a:pt x="1003" y="678"/>
                  </a:lnTo>
                  <a:lnTo>
                    <a:pt x="1001" y="680"/>
                  </a:lnTo>
                  <a:lnTo>
                    <a:pt x="999" y="681"/>
                  </a:lnTo>
                  <a:lnTo>
                    <a:pt x="996" y="681"/>
                  </a:lnTo>
                  <a:lnTo>
                    <a:pt x="978" y="676"/>
                  </a:lnTo>
                  <a:lnTo>
                    <a:pt x="976" y="674"/>
                  </a:lnTo>
                  <a:lnTo>
                    <a:pt x="975" y="690"/>
                  </a:lnTo>
                  <a:lnTo>
                    <a:pt x="970" y="726"/>
                  </a:lnTo>
                  <a:lnTo>
                    <a:pt x="966" y="748"/>
                  </a:lnTo>
                  <a:lnTo>
                    <a:pt x="961" y="767"/>
                  </a:lnTo>
                  <a:lnTo>
                    <a:pt x="958" y="776"/>
                  </a:lnTo>
                  <a:lnTo>
                    <a:pt x="954" y="784"/>
                  </a:lnTo>
                  <a:lnTo>
                    <a:pt x="950" y="791"/>
                  </a:lnTo>
                  <a:lnTo>
                    <a:pt x="947" y="796"/>
                  </a:lnTo>
                  <a:lnTo>
                    <a:pt x="931" y="812"/>
                  </a:lnTo>
                  <a:lnTo>
                    <a:pt x="919" y="825"/>
                  </a:lnTo>
                  <a:lnTo>
                    <a:pt x="913" y="832"/>
                  </a:lnTo>
                  <a:lnTo>
                    <a:pt x="910" y="835"/>
                  </a:lnTo>
                  <a:lnTo>
                    <a:pt x="907" y="867"/>
                  </a:lnTo>
                  <a:lnTo>
                    <a:pt x="943" y="865"/>
                  </a:lnTo>
                  <a:lnTo>
                    <a:pt x="943" y="867"/>
                  </a:lnTo>
                  <a:lnTo>
                    <a:pt x="943" y="874"/>
                  </a:lnTo>
                  <a:lnTo>
                    <a:pt x="945" y="883"/>
                  </a:lnTo>
                  <a:lnTo>
                    <a:pt x="949" y="896"/>
                  </a:lnTo>
                  <a:lnTo>
                    <a:pt x="952" y="903"/>
                  </a:lnTo>
                  <a:lnTo>
                    <a:pt x="957" y="910"/>
                  </a:lnTo>
                  <a:lnTo>
                    <a:pt x="961" y="917"/>
                  </a:lnTo>
                  <a:lnTo>
                    <a:pt x="968" y="925"/>
                  </a:lnTo>
                  <a:lnTo>
                    <a:pt x="976" y="933"/>
                  </a:lnTo>
                  <a:lnTo>
                    <a:pt x="985" y="940"/>
                  </a:lnTo>
                  <a:lnTo>
                    <a:pt x="996" y="947"/>
                  </a:lnTo>
                  <a:lnTo>
                    <a:pt x="1009" y="954"/>
                  </a:lnTo>
                  <a:lnTo>
                    <a:pt x="1044" y="970"/>
                  </a:lnTo>
                  <a:lnTo>
                    <a:pt x="1092" y="991"/>
                  </a:lnTo>
                  <a:lnTo>
                    <a:pt x="1150" y="1014"/>
                  </a:lnTo>
                  <a:lnTo>
                    <a:pt x="1212" y="1040"/>
                  </a:lnTo>
                  <a:lnTo>
                    <a:pt x="1274" y="1066"/>
                  </a:lnTo>
                  <a:lnTo>
                    <a:pt x="1332" y="1092"/>
                  </a:lnTo>
                  <a:lnTo>
                    <a:pt x="1358" y="1104"/>
                  </a:lnTo>
                  <a:lnTo>
                    <a:pt x="1380" y="1115"/>
                  </a:lnTo>
                  <a:lnTo>
                    <a:pt x="1401" y="1126"/>
                  </a:lnTo>
                  <a:lnTo>
                    <a:pt x="1415" y="1135"/>
                  </a:lnTo>
                  <a:lnTo>
                    <a:pt x="1428" y="1144"/>
                  </a:lnTo>
                  <a:lnTo>
                    <a:pt x="1439" y="1152"/>
                  </a:lnTo>
                  <a:lnTo>
                    <a:pt x="1448" y="1160"/>
                  </a:lnTo>
                  <a:lnTo>
                    <a:pt x="1456" y="1167"/>
                  </a:lnTo>
                  <a:lnTo>
                    <a:pt x="1463" y="1175"/>
                  </a:lnTo>
                  <a:lnTo>
                    <a:pt x="1468" y="1181"/>
                  </a:lnTo>
                  <a:lnTo>
                    <a:pt x="1473" y="1189"/>
                  </a:lnTo>
                  <a:lnTo>
                    <a:pt x="1476" y="1197"/>
                  </a:lnTo>
                  <a:lnTo>
                    <a:pt x="1478" y="1205"/>
                  </a:lnTo>
                  <a:lnTo>
                    <a:pt x="1481" y="1213"/>
                  </a:lnTo>
                  <a:lnTo>
                    <a:pt x="1482" y="1222"/>
                  </a:lnTo>
                  <a:lnTo>
                    <a:pt x="1482" y="1232"/>
                  </a:lnTo>
                  <a:lnTo>
                    <a:pt x="1482" y="1255"/>
                  </a:lnTo>
                  <a:lnTo>
                    <a:pt x="1481" y="1281"/>
                  </a:lnTo>
                  <a:lnTo>
                    <a:pt x="1478" y="1333"/>
                  </a:lnTo>
                  <a:lnTo>
                    <a:pt x="1477" y="1372"/>
                  </a:lnTo>
                  <a:lnTo>
                    <a:pt x="1475" y="1397"/>
                  </a:lnTo>
                  <a:lnTo>
                    <a:pt x="1475" y="1406"/>
                  </a:lnTo>
                  <a:lnTo>
                    <a:pt x="859" y="1412"/>
                  </a:lnTo>
                  <a:lnTo>
                    <a:pt x="822" y="1265"/>
                  </a:lnTo>
                  <a:lnTo>
                    <a:pt x="826" y="1242"/>
                  </a:lnTo>
                  <a:lnTo>
                    <a:pt x="828" y="1224"/>
                  </a:lnTo>
                  <a:lnTo>
                    <a:pt x="828" y="1210"/>
                  </a:lnTo>
                  <a:lnTo>
                    <a:pt x="827" y="1200"/>
                  </a:lnTo>
                  <a:lnTo>
                    <a:pt x="823" y="1191"/>
                  </a:lnTo>
                  <a:lnTo>
                    <a:pt x="820" y="1184"/>
                  </a:lnTo>
                  <a:lnTo>
                    <a:pt x="816" y="1179"/>
                  </a:lnTo>
                  <a:lnTo>
                    <a:pt x="810" y="1175"/>
                  </a:lnTo>
                  <a:lnTo>
                    <a:pt x="826" y="1158"/>
                  </a:lnTo>
                  <a:lnTo>
                    <a:pt x="842" y="1142"/>
                  </a:lnTo>
                  <a:lnTo>
                    <a:pt x="857" y="1125"/>
                  </a:lnTo>
                  <a:lnTo>
                    <a:pt x="874" y="1106"/>
                  </a:lnTo>
                  <a:lnTo>
                    <a:pt x="892" y="1083"/>
                  </a:lnTo>
                  <a:lnTo>
                    <a:pt x="914" y="1053"/>
                  </a:lnTo>
                  <a:lnTo>
                    <a:pt x="938" y="1015"/>
                  </a:lnTo>
                  <a:lnTo>
                    <a:pt x="966" y="968"/>
                  </a:lnTo>
                  <a:lnTo>
                    <a:pt x="943" y="989"/>
                  </a:lnTo>
                  <a:lnTo>
                    <a:pt x="921" y="1010"/>
                  </a:lnTo>
                  <a:lnTo>
                    <a:pt x="899" y="1030"/>
                  </a:lnTo>
                  <a:lnTo>
                    <a:pt x="877" y="1052"/>
                  </a:lnTo>
                  <a:lnTo>
                    <a:pt x="854" y="1072"/>
                  </a:lnTo>
                  <a:lnTo>
                    <a:pt x="831" y="1093"/>
                  </a:lnTo>
                  <a:lnTo>
                    <a:pt x="810" y="1114"/>
                  </a:lnTo>
                  <a:lnTo>
                    <a:pt x="787" y="1135"/>
                  </a:lnTo>
                  <a:lnTo>
                    <a:pt x="769" y="1130"/>
                  </a:lnTo>
                  <a:lnTo>
                    <a:pt x="751" y="1126"/>
                  </a:lnTo>
                  <a:lnTo>
                    <a:pt x="742" y="1125"/>
                  </a:lnTo>
                  <a:lnTo>
                    <a:pt x="733" y="1125"/>
                  </a:lnTo>
                  <a:lnTo>
                    <a:pt x="725" y="1126"/>
                  </a:lnTo>
                  <a:lnTo>
                    <a:pt x="716" y="1128"/>
                  </a:lnTo>
                  <a:lnTo>
                    <a:pt x="704" y="1125"/>
                  </a:lnTo>
                  <a:lnTo>
                    <a:pt x="693" y="1119"/>
                  </a:lnTo>
                  <a:lnTo>
                    <a:pt x="681" y="1114"/>
                  </a:lnTo>
                  <a:lnTo>
                    <a:pt x="670" y="1107"/>
                  </a:lnTo>
                  <a:lnTo>
                    <a:pt x="646" y="1091"/>
                  </a:lnTo>
                  <a:lnTo>
                    <a:pt x="624" y="1072"/>
                  </a:lnTo>
                  <a:lnTo>
                    <a:pt x="601" y="1052"/>
                  </a:lnTo>
                  <a:lnTo>
                    <a:pt x="577" y="1029"/>
                  </a:lnTo>
                  <a:lnTo>
                    <a:pt x="555" y="1005"/>
                  </a:lnTo>
                  <a:lnTo>
                    <a:pt x="531" y="980"/>
                  </a:lnTo>
                  <a:lnTo>
                    <a:pt x="549" y="1009"/>
                  </a:lnTo>
                  <a:lnTo>
                    <a:pt x="566" y="1037"/>
                  </a:lnTo>
                  <a:lnTo>
                    <a:pt x="584" y="1064"/>
                  </a:lnTo>
                  <a:lnTo>
                    <a:pt x="603" y="1090"/>
                  </a:lnTo>
                  <a:lnTo>
                    <a:pt x="623" y="1114"/>
                  </a:lnTo>
                  <a:lnTo>
                    <a:pt x="642" y="1136"/>
                  </a:lnTo>
                  <a:lnTo>
                    <a:pt x="653" y="1145"/>
                  </a:lnTo>
                  <a:lnTo>
                    <a:pt x="663" y="1154"/>
                  </a:lnTo>
                  <a:lnTo>
                    <a:pt x="674" y="1163"/>
                  </a:lnTo>
                  <a:lnTo>
                    <a:pt x="686" y="1170"/>
                  </a:lnTo>
                  <a:lnTo>
                    <a:pt x="681" y="1180"/>
                  </a:lnTo>
                  <a:lnTo>
                    <a:pt x="677" y="1191"/>
                  </a:lnTo>
                  <a:lnTo>
                    <a:pt x="674" y="1200"/>
                  </a:lnTo>
                  <a:lnTo>
                    <a:pt x="673" y="1209"/>
                  </a:lnTo>
                  <a:lnTo>
                    <a:pt x="673" y="1218"/>
                  </a:lnTo>
                  <a:lnTo>
                    <a:pt x="673" y="1226"/>
                  </a:lnTo>
                  <a:lnTo>
                    <a:pt x="676" y="1232"/>
                  </a:lnTo>
                  <a:lnTo>
                    <a:pt x="678" y="1239"/>
                  </a:lnTo>
                  <a:lnTo>
                    <a:pt x="680" y="1246"/>
                  </a:lnTo>
                  <a:lnTo>
                    <a:pt x="683" y="1251"/>
                  </a:lnTo>
                  <a:lnTo>
                    <a:pt x="688" y="1257"/>
                  </a:lnTo>
                  <a:lnTo>
                    <a:pt x="691" y="1262"/>
                  </a:lnTo>
                  <a:lnTo>
                    <a:pt x="700" y="1270"/>
                  </a:lnTo>
                  <a:lnTo>
                    <a:pt x="709" y="1275"/>
                  </a:lnTo>
                  <a:lnTo>
                    <a:pt x="702" y="1308"/>
                  </a:lnTo>
                  <a:lnTo>
                    <a:pt x="695" y="1342"/>
                  </a:lnTo>
                  <a:lnTo>
                    <a:pt x="689" y="1377"/>
                  </a:lnTo>
                  <a:lnTo>
                    <a:pt x="682" y="1412"/>
                  </a:lnTo>
                  <a:lnTo>
                    <a:pt x="7" y="1406"/>
                  </a:lnTo>
                  <a:lnTo>
                    <a:pt x="7" y="1397"/>
                  </a:lnTo>
                  <a:lnTo>
                    <a:pt x="6" y="1372"/>
                  </a:lnTo>
                  <a:lnTo>
                    <a:pt x="4" y="1333"/>
                  </a:lnTo>
                  <a:lnTo>
                    <a:pt x="1" y="1281"/>
                  </a:lnTo>
                  <a:lnTo>
                    <a:pt x="0" y="1255"/>
                  </a:lnTo>
                  <a:lnTo>
                    <a:pt x="0" y="1232"/>
                  </a:lnTo>
                  <a:lnTo>
                    <a:pt x="0" y="1222"/>
                  </a:lnTo>
                  <a:lnTo>
                    <a:pt x="1" y="1213"/>
                  </a:lnTo>
                  <a:lnTo>
                    <a:pt x="4" y="1205"/>
                  </a:lnTo>
                  <a:lnTo>
                    <a:pt x="6" y="1197"/>
                  </a:lnTo>
                  <a:lnTo>
                    <a:pt x="9" y="1189"/>
                  </a:lnTo>
                  <a:lnTo>
                    <a:pt x="14" y="1181"/>
                  </a:lnTo>
                  <a:lnTo>
                    <a:pt x="20" y="1175"/>
                  </a:lnTo>
                  <a:lnTo>
                    <a:pt x="26" y="1167"/>
                  </a:lnTo>
                  <a:lnTo>
                    <a:pt x="34" y="1160"/>
                  </a:lnTo>
                  <a:lnTo>
                    <a:pt x="43" y="1152"/>
                  </a:lnTo>
                  <a:lnTo>
                    <a:pt x="55" y="1144"/>
                  </a:lnTo>
                  <a:lnTo>
                    <a:pt x="67" y="1135"/>
                  </a:lnTo>
                  <a:lnTo>
                    <a:pt x="82" y="1126"/>
                  </a:lnTo>
                  <a:lnTo>
                    <a:pt x="102" y="1115"/>
                  </a:lnTo>
                  <a:lnTo>
                    <a:pt x="125" y="1104"/>
                  </a:lnTo>
                  <a:lnTo>
                    <a:pt x="150" y="1092"/>
                  </a:lnTo>
                  <a:lnTo>
                    <a:pt x="208" y="1066"/>
                  </a:lnTo>
                  <a:lnTo>
                    <a:pt x="270" y="1040"/>
                  </a:lnTo>
                  <a:lnTo>
                    <a:pt x="332" y="1014"/>
                  </a:lnTo>
                  <a:lnTo>
                    <a:pt x="390" y="991"/>
                  </a:lnTo>
                  <a:lnTo>
                    <a:pt x="438" y="970"/>
                  </a:lnTo>
                  <a:lnTo>
                    <a:pt x="473" y="954"/>
                  </a:lnTo>
                  <a:lnTo>
                    <a:pt x="486" y="947"/>
                  </a:lnTo>
                  <a:lnTo>
                    <a:pt x="497" y="940"/>
                  </a:lnTo>
                  <a:lnTo>
                    <a:pt x="506" y="933"/>
                  </a:lnTo>
                  <a:lnTo>
                    <a:pt x="514" y="925"/>
                  </a:lnTo>
                  <a:lnTo>
                    <a:pt x="521" y="917"/>
                  </a:lnTo>
                  <a:lnTo>
                    <a:pt x="525" y="910"/>
                  </a:lnTo>
                  <a:lnTo>
                    <a:pt x="530" y="903"/>
                  </a:lnTo>
                  <a:lnTo>
                    <a:pt x="533" y="896"/>
                  </a:lnTo>
                  <a:lnTo>
                    <a:pt x="537" y="883"/>
                  </a:lnTo>
                  <a:lnTo>
                    <a:pt x="539" y="874"/>
                  </a:lnTo>
                  <a:lnTo>
                    <a:pt x="539" y="867"/>
                  </a:lnTo>
                  <a:lnTo>
                    <a:pt x="539" y="865"/>
                  </a:lnTo>
                  <a:lnTo>
                    <a:pt x="575" y="867"/>
                  </a:lnTo>
                  <a:lnTo>
                    <a:pt x="572" y="835"/>
                  </a:lnTo>
                  <a:lnTo>
                    <a:pt x="569" y="832"/>
                  </a:lnTo>
                  <a:lnTo>
                    <a:pt x="563" y="825"/>
                  </a:lnTo>
                  <a:lnTo>
                    <a:pt x="551" y="812"/>
                  </a:lnTo>
                  <a:lnTo>
                    <a:pt x="537" y="796"/>
                  </a:lnTo>
                  <a:lnTo>
                    <a:pt x="532" y="791"/>
                  </a:lnTo>
                  <a:lnTo>
                    <a:pt x="528" y="784"/>
                  </a:lnTo>
                  <a:lnTo>
                    <a:pt x="524" y="776"/>
                  </a:lnTo>
                  <a:lnTo>
                    <a:pt x="521" y="767"/>
                  </a:lnTo>
                  <a:lnTo>
                    <a:pt x="516" y="748"/>
                  </a:lnTo>
                  <a:lnTo>
                    <a:pt x="512" y="726"/>
                  </a:lnTo>
                  <a:lnTo>
                    <a:pt x="507" y="690"/>
                  </a:lnTo>
                  <a:lnTo>
                    <a:pt x="506" y="674"/>
                  </a:lnTo>
                  <a:lnTo>
                    <a:pt x="504" y="676"/>
                  </a:lnTo>
                  <a:lnTo>
                    <a:pt x="486" y="681"/>
                  </a:lnTo>
                  <a:lnTo>
                    <a:pt x="484" y="681"/>
                  </a:lnTo>
                  <a:lnTo>
                    <a:pt x="481" y="680"/>
                  </a:lnTo>
                  <a:lnTo>
                    <a:pt x="479" y="678"/>
                  </a:lnTo>
                  <a:lnTo>
                    <a:pt x="478" y="676"/>
                  </a:lnTo>
                  <a:lnTo>
                    <a:pt x="473" y="669"/>
                  </a:lnTo>
                  <a:lnTo>
                    <a:pt x="470" y="659"/>
                  </a:lnTo>
                  <a:lnTo>
                    <a:pt x="462" y="631"/>
                  </a:lnTo>
                  <a:lnTo>
                    <a:pt x="455" y="600"/>
                  </a:lnTo>
                  <a:lnTo>
                    <a:pt x="449" y="566"/>
                  </a:lnTo>
                  <a:lnTo>
                    <a:pt x="444" y="532"/>
                  </a:lnTo>
                  <a:lnTo>
                    <a:pt x="440" y="503"/>
                  </a:lnTo>
                  <a:lnTo>
                    <a:pt x="438" y="481"/>
                  </a:lnTo>
                  <a:lnTo>
                    <a:pt x="438" y="476"/>
                  </a:lnTo>
                  <a:lnTo>
                    <a:pt x="438" y="471"/>
                  </a:lnTo>
                  <a:lnTo>
                    <a:pt x="440" y="468"/>
                  </a:lnTo>
                  <a:lnTo>
                    <a:pt x="441" y="464"/>
                  </a:lnTo>
                  <a:lnTo>
                    <a:pt x="442" y="462"/>
                  </a:lnTo>
                  <a:lnTo>
                    <a:pt x="444" y="460"/>
                  </a:lnTo>
                  <a:lnTo>
                    <a:pt x="446" y="459"/>
                  </a:lnTo>
                  <a:lnTo>
                    <a:pt x="450" y="459"/>
                  </a:lnTo>
                  <a:lnTo>
                    <a:pt x="455" y="459"/>
                  </a:lnTo>
                  <a:lnTo>
                    <a:pt x="461" y="460"/>
                  </a:lnTo>
                  <a:lnTo>
                    <a:pt x="467" y="462"/>
                  </a:lnTo>
                  <a:lnTo>
                    <a:pt x="471" y="464"/>
                  </a:lnTo>
                  <a:lnTo>
                    <a:pt x="467" y="454"/>
                  </a:lnTo>
                  <a:lnTo>
                    <a:pt x="461" y="444"/>
                  </a:lnTo>
                  <a:lnTo>
                    <a:pt x="455" y="432"/>
                  </a:lnTo>
                  <a:lnTo>
                    <a:pt x="450" y="419"/>
                  </a:lnTo>
                  <a:lnTo>
                    <a:pt x="446" y="408"/>
                  </a:lnTo>
                  <a:lnTo>
                    <a:pt x="443" y="394"/>
                  </a:lnTo>
                  <a:lnTo>
                    <a:pt x="440" y="377"/>
                  </a:lnTo>
                  <a:lnTo>
                    <a:pt x="438" y="359"/>
                  </a:lnTo>
                  <a:lnTo>
                    <a:pt x="437" y="338"/>
                  </a:lnTo>
                  <a:lnTo>
                    <a:pt x="436" y="316"/>
                  </a:lnTo>
                  <a:lnTo>
                    <a:pt x="437" y="294"/>
                  </a:lnTo>
                  <a:lnTo>
                    <a:pt x="438" y="270"/>
                  </a:lnTo>
                  <a:lnTo>
                    <a:pt x="440" y="246"/>
                  </a:lnTo>
                  <a:lnTo>
                    <a:pt x="442" y="224"/>
                  </a:lnTo>
                  <a:lnTo>
                    <a:pt x="445" y="200"/>
                  </a:lnTo>
                  <a:lnTo>
                    <a:pt x="449" y="179"/>
                  </a:lnTo>
                  <a:lnTo>
                    <a:pt x="453" y="158"/>
                  </a:lnTo>
                  <a:lnTo>
                    <a:pt x="459" y="140"/>
                  </a:lnTo>
                  <a:lnTo>
                    <a:pt x="464" y="123"/>
                  </a:lnTo>
                  <a:lnTo>
                    <a:pt x="471" y="110"/>
                  </a:lnTo>
                  <a:lnTo>
                    <a:pt x="476" y="103"/>
                  </a:lnTo>
                  <a:lnTo>
                    <a:pt x="480" y="96"/>
                  </a:lnTo>
                  <a:lnTo>
                    <a:pt x="485" y="90"/>
                  </a:lnTo>
                  <a:lnTo>
                    <a:pt x="489" y="86"/>
                  </a:lnTo>
                  <a:lnTo>
                    <a:pt x="495" y="83"/>
                  </a:lnTo>
                  <a:lnTo>
                    <a:pt x="499" y="80"/>
                  </a:lnTo>
                  <a:lnTo>
                    <a:pt x="505" y="78"/>
                  </a:lnTo>
                  <a:lnTo>
                    <a:pt x="510" y="77"/>
                  </a:lnTo>
                  <a:lnTo>
                    <a:pt x="520" y="76"/>
                  </a:lnTo>
                  <a:lnTo>
                    <a:pt x="529" y="77"/>
                  </a:lnTo>
                  <a:lnTo>
                    <a:pt x="538" y="79"/>
                  </a:lnTo>
                  <a:lnTo>
                    <a:pt x="546" y="81"/>
                  </a:lnTo>
                  <a:lnTo>
                    <a:pt x="557" y="69"/>
                  </a:lnTo>
                  <a:lnTo>
                    <a:pt x="568" y="57"/>
                  </a:lnTo>
                  <a:lnTo>
                    <a:pt x="577" y="49"/>
                  </a:lnTo>
                  <a:lnTo>
                    <a:pt x="585" y="41"/>
                  </a:lnTo>
                  <a:lnTo>
                    <a:pt x="594" y="35"/>
                  </a:lnTo>
                  <a:lnTo>
                    <a:pt x="604" y="28"/>
                  </a:lnTo>
                  <a:lnTo>
                    <a:pt x="615" y="24"/>
                  </a:lnTo>
                  <a:lnTo>
                    <a:pt x="625" y="19"/>
                  </a:lnTo>
                  <a:lnTo>
                    <a:pt x="636" y="15"/>
                  </a:lnTo>
                  <a:lnTo>
                    <a:pt x="647" y="11"/>
                  </a:lnTo>
                  <a:lnTo>
                    <a:pt x="670" y="6"/>
                  </a:lnTo>
                  <a:lnTo>
                    <a:pt x="694" y="2"/>
                  </a:lnTo>
                  <a:lnTo>
                    <a:pt x="717" y="1"/>
                  </a:lnTo>
                  <a:lnTo>
                    <a:pt x="741"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86" name="Freeform 285"/>
            <p:cNvSpPr>
              <a:spLocks/>
            </p:cNvSpPr>
            <p:nvPr/>
          </p:nvSpPr>
          <p:spPr bwMode="auto">
            <a:xfrm>
              <a:off x="5576760" y="4839822"/>
              <a:ext cx="290767" cy="324238"/>
            </a:xfrm>
            <a:custGeom>
              <a:avLst/>
              <a:gdLst>
                <a:gd name="T0" fmla="*/ 427 w 909"/>
                <a:gd name="T1" fmla="*/ 4 h 1016"/>
                <a:gd name="T2" fmla="*/ 481 w 909"/>
                <a:gd name="T3" fmla="*/ 25 h 1016"/>
                <a:gd name="T4" fmla="*/ 521 w 909"/>
                <a:gd name="T5" fmla="*/ 64 h 1016"/>
                <a:gd name="T6" fmla="*/ 561 w 909"/>
                <a:gd name="T7" fmla="*/ 122 h 1016"/>
                <a:gd name="T8" fmla="*/ 579 w 909"/>
                <a:gd name="T9" fmla="*/ 170 h 1016"/>
                <a:gd name="T10" fmla="*/ 583 w 909"/>
                <a:gd name="T11" fmla="*/ 225 h 1016"/>
                <a:gd name="T12" fmla="*/ 565 w 909"/>
                <a:gd name="T13" fmla="*/ 334 h 1016"/>
                <a:gd name="T14" fmla="*/ 583 w 909"/>
                <a:gd name="T15" fmla="*/ 330 h 1016"/>
                <a:gd name="T16" fmla="*/ 592 w 909"/>
                <a:gd name="T17" fmla="*/ 334 h 1016"/>
                <a:gd name="T18" fmla="*/ 590 w 909"/>
                <a:gd name="T19" fmla="*/ 383 h 1016"/>
                <a:gd name="T20" fmla="*/ 568 w 909"/>
                <a:gd name="T21" fmla="*/ 481 h 1016"/>
                <a:gd name="T22" fmla="*/ 547 w 909"/>
                <a:gd name="T23" fmla="*/ 487 h 1016"/>
                <a:gd name="T24" fmla="*/ 538 w 909"/>
                <a:gd name="T25" fmla="*/ 538 h 1016"/>
                <a:gd name="T26" fmla="*/ 526 w 909"/>
                <a:gd name="T27" fmla="*/ 570 h 1016"/>
                <a:gd name="T28" fmla="*/ 496 w 909"/>
                <a:gd name="T29" fmla="*/ 624 h 1016"/>
                <a:gd name="T30" fmla="*/ 527 w 909"/>
                <a:gd name="T31" fmla="*/ 650 h 1016"/>
                <a:gd name="T32" fmla="*/ 544 w 909"/>
                <a:gd name="T33" fmla="*/ 672 h 1016"/>
                <a:gd name="T34" fmla="*/ 594 w 909"/>
                <a:gd name="T35" fmla="*/ 699 h 1016"/>
                <a:gd name="T36" fmla="*/ 760 w 909"/>
                <a:gd name="T37" fmla="*/ 768 h 1016"/>
                <a:gd name="T38" fmla="*/ 850 w 909"/>
                <a:gd name="T39" fmla="*/ 811 h 1016"/>
                <a:gd name="T40" fmla="*/ 896 w 909"/>
                <a:gd name="T41" fmla="*/ 846 h 1016"/>
                <a:gd name="T42" fmla="*/ 908 w 909"/>
                <a:gd name="T43" fmla="*/ 874 h 1016"/>
                <a:gd name="T44" fmla="*/ 907 w 909"/>
                <a:gd name="T45" fmla="*/ 960 h 1016"/>
                <a:gd name="T46" fmla="*/ 455 w 909"/>
                <a:gd name="T47" fmla="*/ 1016 h 1016"/>
                <a:gd name="T48" fmla="*/ 447 w 909"/>
                <a:gd name="T49" fmla="*/ 954 h 1016"/>
                <a:gd name="T50" fmla="*/ 444 w 909"/>
                <a:gd name="T51" fmla="*/ 881 h 1016"/>
                <a:gd name="T52" fmla="*/ 438 w 909"/>
                <a:gd name="T53" fmla="*/ 852 h 1016"/>
                <a:gd name="T54" fmla="*/ 476 w 909"/>
                <a:gd name="T55" fmla="*/ 799 h 1016"/>
                <a:gd name="T56" fmla="*/ 538 w 909"/>
                <a:gd name="T57" fmla="*/ 706 h 1016"/>
                <a:gd name="T58" fmla="*/ 416 w 909"/>
                <a:gd name="T59" fmla="*/ 819 h 1016"/>
                <a:gd name="T60" fmla="*/ 380 w 909"/>
                <a:gd name="T61" fmla="*/ 813 h 1016"/>
                <a:gd name="T62" fmla="*/ 351 w 909"/>
                <a:gd name="T63" fmla="*/ 808 h 1016"/>
                <a:gd name="T64" fmla="*/ 304 w 909"/>
                <a:gd name="T65" fmla="*/ 777 h 1016"/>
                <a:gd name="T66" fmla="*/ 241 w 909"/>
                <a:gd name="T67" fmla="*/ 714 h 1016"/>
                <a:gd name="T68" fmla="*/ 290 w 909"/>
                <a:gd name="T69" fmla="*/ 788 h 1016"/>
                <a:gd name="T70" fmla="*/ 347 w 909"/>
                <a:gd name="T71" fmla="*/ 843 h 1016"/>
                <a:gd name="T72" fmla="*/ 338 w 909"/>
                <a:gd name="T73" fmla="*/ 869 h 1016"/>
                <a:gd name="T74" fmla="*/ 341 w 909"/>
                <a:gd name="T75" fmla="*/ 891 h 1016"/>
                <a:gd name="T76" fmla="*/ 363 w 909"/>
                <a:gd name="T77" fmla="*/ 915 h 1016"/>
                <a:gd name="T78" fmla="*/ 278 w 909"/>
                <a:gd name="T79" fmla="*/ 881 h 1016"/>
                <a:gd name="T80" fmla="*/ 78 w 909"/>
                <a:gd name="T81" fmla="*/ 797 h 1016"/>
                <a:gd name="T82" fmla="*/ 54 w 909"/>
                <a:gd name="T83" fmla="*/ 742 h 1016"/>
                <a:gd name="T84" fmla="*/ 151 w 909"/>
                <a:gd name="T85" fmla="*/ 701 h 1016"/>
                <a:gd name="T86" fmla="*/ 200 w 909"/>
                <a:gd name="T87" fmla="*/ 676 h 1016"/>
                <a:gd name="T88" fmla="*/ 220 w 909"/>
                <a:gd name="T89" fmla="*/ 655 h 1016"/>
                <a:gd name="T90" fmla="*/ 230 w 909"/>
                <a:gd name="T91" fmla="*/ 622 h 1016"/>
                <a:gd name="T92" fmla="*/ 228 w 909"/>
                <a:gd name="T93" fmla="*/ 574 h 1016"/>
                <a:gd name="T94" fmla="*/ 217 w 909"/>
                <a:gd name="T95" fmla="*/ 552 h 1016"/>
                <a:gd name="T96" fmla="*/ 207 w 909"/>
                <a:gd name="T97" fmla="*/ 485 h 1016"/>
                <a:gd name="T98" fmla="*/ 185 w 909"/>
                <a:gd name="T99" fmla="*/ 487 h 1016"/>
                <a:gd name="T100" fmla="*/ 170 w 909"/>
                <a:gd name="T101" fmla="*/ 432 h 1016"/>
                <a:gd name="T102" fmla="*/ 159 w 909"/>
                <a:gd name="T103" fmla="*/ 334 h 1016"/>
                <a:gd name="T104" fmla="*/ 174 w 909"/>
                <a:gd name="T105" fmla="*/ 331 h 1016"/>
                <a:gd name="T106" fmla="*/ 166 w 909"/>
                <a:gd name="T107" fmla="*/ 301 h 1016"/>
                <a:gd name="T108" fmla="*/ 157 w 909"/>
                <a:gd name="T109" fmla="*/ 258 h 1016"/>
                <a:gd name="T110" fmla="*/ 165 w 909"/>
                <a:gd name="T111" fmla="*/ 129 h 1016"/>
                <a:gd name="T112" fmla="*/ 181 w 909"/>
                <a:gd name="T113" fmla="*/ 79 h 1016"/>
                <a:gd name="T114" fmla="*/ 209 w 909"/>
                <a:gd name="T115" fmla="*/ 55 h 1016"/>
                <a:gd name="T116" fmla="*/ 235 w 909"/>
                <a:gd name="T117" fmla="*/ 59 h 1016"/>
                <a:gd name="T118" fmla="*/ 263 w 909"/>
                <a:gd name="T119" fmla="*/ 29 h 1016"/>
                <a:gd name="T120" fmla="*/ 307 w 909"/>
                <a:gd name="T121" fmla="*/ 8 h 1016"/>
                <a:gd name="T122" fmla="*/ 376 w 909"/>
                <a:gd name="T123"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9" h="1016">
                  <a:moveTo>
                    <a:pt x="376" y="0"/>
                  </a:moveTo>
                  <a:lnTo>
                    <a:pt x="393" y="0"/>
                  </a:lnTo>
                  <a:lnTo>
                    <a:pt x="410" y="1"/>
                  </a:lnTo>
                  <a:lnTo>
                    <a:pt x="427" y="4"/>
                  </a:lnTo>
                  <a:lnTo>
                    <a:pt x="444" y="8"/>
                  </a:lnTo>
                  <a:lnTo>
                    <a:pt x="460" y="13"/>
                  </a:lnTo>
                  <a:lnTo>
                    <a:pt x="474" y="20"/>
                  </a:lnTo>
                  <a:lnTo>
                    <a:pt x="481" y="25"/>
                  </a:lnTo>
                  <a:lnTo>
                    <a:pt x="488" y="29"/>
                  </a:lnTo>
                  <a:lnTo>
                    <a:pt x="494" y="35"/>
                  </a:lnTo>
                  <a:lnTo>
                    <a:pt x="500" y="40"/>
                  </a:lnTo>
                  <a:lnTo>
                    <a:pt x="521" y="64"/>
                  </a:lnTo>
                  <a:lnTo>
                    <a:pt x="540" y="87"/>
                  </a:lnTo>
                  <a:lnTo>
                    <a:pt x="548" y="98"/>
                  </a:lnTo>
                  <a:lnTo>
                    <a:pt x="555" y="110"/>
                  </a:lnTo>
                  <a:lnTo>
                    <a:pt x="561" y="122"/>
                  </a:lnTo>
                  <a:lnTo>
                    <a:pt x="567" y="133"/>
                  </a:lnTo>
                  <a:lnTo>
                    <a:pt x="572" y="145"/>
                  </a:lnTo>
                  <a:lnTo>
                    <a:pt x="576" y="158"/>
                  </a:lnTo>
                  <a:lnTo>
                    <a:pt x="579" y="170"/>
                  </a:lnTo>
                  <a:lnTo>
                    <a:pt x="582" y="183"/>
                  </a:lnTo>
                  <a:lnTo>
                    <a:pt x="583" y="196"/>
                  </a:lnTo>
                  <a:lnTo>
                    <a:pt x="583" y="210"/>
                  </a:lnTo>
                  <a:lnTo>
                    <a:pt x="583" y="225"/>
                  </a:lnTo>
                  <a:lnTo>
                    <a:pt x="582" y="239"/>
                  </a:lnTo>
                  <a:lnTo>
                    <a:pt x="574" y="289"/>
                  </a:lnTo>
                  <a:lnTo>
                    <a:pt x="568" y="319"/>
                  </a:lnTo>
                  <a:lnTo>
                    <a:pt x="565" y="334"/>
                  </a:lnTo>
                  <a:lnTo>
                    <a:pt x="564" y="337"/>
                  </a:lnTo>
                  <a:lnTo>
                    <a:pt x="569" y="335"/>
                  </a:lnTo>
                  <a:lnTo>
                    <a:pt x="579" y="330"/>
                  </a:lnTo>
                  <a:lnTo>
                    <a:pt x="583" y="330"/>
                  </a:lnTo>
                  <a:lnTo>
                    <a:pt x="585" y="330"/>
                  </a:lnTo>
                  <a:lnTo>
                    <a:pt x="588" y="331"/>
                  </a:lnTo>
                  <a:lnTo>
                    <a:pt x="591" y="332"/>
                  </a:lnTo>
                  <a:lnTo>
                    <a:pt x="592" y="334"/>
                  </a:lnTo>
                  <a:lnTo>
                    <a:pt x="593" y="336"/>
                  </a:lnTo>
                  <a:lnTo>
                    <a:pt x="594" y="341"/>
                  </a:lnTo>
                  <a:lnTo>
                    <a:pt x="594" y="346"/>
                  </a:lnTo>
                  <a:lnTo>
                    <a:pt x="590" y="383"/>
                  </a:lnTo>
                  <a:lnTo>
                    <a:pt x="582" y="432"/>
                  </a:lnTo>
                  <a:lnTo>
                    <a:pt x="577" y="455"/>
                  </a:lnTo>
                  <a:lnTo>
                    <a:pt x="572" y="474"/>
                  </a:lnTo>
                  <a:lnTo>
                    <a:pt x="568" y="481"/>
                  </a:lnTo>
                  <a:lnTo>
                    <a:pt x="566" y="487"/>
                  </a:lnTo>
                  <a:lnTo>
                    <a:pt x="562" y="489"/>
                  </a:lnTo>
                  <a:lnTo>
                    <a:pt x="560" y="490"/>
                  </a:lnTo>
                  <a:lnTo>
                    <a:pt x="547" y="487"/>
                  </a:lnTo>
                  <a:lnTo>
                    <a:pt x="544" y="485"/>
                  </a:lnTo>
                  <a:lnTo>
                    <a:pt x="543" y="497"/>
                  </a:lnTo>
                  <a:lnTo>
                    <a:pt x="541" y="523"/>
                  </a:lnTo>
                  <a:lnTo>
                    <a:pt x="538" y="538"/>
                  </a:lnTo>
                  <a:lnTo>
                    <a:pt x="534" y="552"/>
                  </a:lnTo>
                  <a:lnTo>
                    <a:pt x="532" y="559"/>
                  </a:lnTo>
                  <a:lnTo>
                    <a:pt x="530" y="564"/>
                  </a:lnTo>
                  <a:lnTo>
                    <a:pt x="526" y="570"/>
                  </a:lnTo>
                  <a:lnTo>
                    <a:pt x="523" y="574"/>
                  </a:lnTo>
                  <a:lnTo>
                    <a:pt x="504" y="594"/>
                  </a:lnTo>
                  <a:lnTo>
                    <a:pt x="498" y="602"/>
                  </a:lnTo>
                  <a:lnTo>
                    <a:pt x="496" y="624"/>
                  </a:lnTo>
                  <a:lnTo>
                    <a:pt x="521" y="622"/>
                  </a:lnTo>
                  <a:lnTo>
                    <a:pt x="522" y="629"/>
                  </a:lnTo>
                  <a:lnTo>
                    <a:pt x="525" y="645"/>
                  </a:lnTo>
                  <a:lnTo>
                    <a:pt x="527" y="650"/>
                  </a:lnTo>
                  <a:lnTo>
                    <a:pt x="531" y="655"/>
                  </a:lnTo>
                  <a:lnTo>
                    <a:pt x="534" y="660"/>
                  </a:lnTo>
                  <a:lnTo>
                    <a:pt x="539" y="666"/>
                  </a:lnTo>
                  <a:lnTo>
                    <a:pt x="544" y="672"/>
                  </a:lnTo>
                  <a:lnTo>
                    <a:pt x="551" y="676"/>
                  </a:lnTo>
                  <a:lnTo>
                    <a:pt x="559" y="682"/>
                  </a:lnTo>
                  <a:lnTo>
                    <a:pt x="568" y="686"/>
                  </a:lnTo>
                  <a:lnTo>
                    <a:pt x="594" y="699"/>
                  </a:lnTo>
                  <a:lnTo>
                    <a:pt x="629" y="714"/>
                  </a:lnTo>
                  <a:lnTo>
                    <a:pt x="670" y="730"/>
                  </a:lnTo>
                  <a:lnTo>
                    <a:pt x="715" y="749"/>
                  </a:lnTo>
                  <a:lnTo>
                    <a:pt x="760" y="768"/>
                  </a:lnTo>
                  <a:lnTo>
                    <a:pt x="802" y="786"/>
                  </a:lnTo>
                  <a:lnTo>
                    <a:pt x="820" y="795"/>
                  </a:lnTo>
                  <a:lnTo>
                    <a:pt x="837" y="803"/>
                  </a:lnTo>
                  <a:lnTo>
                    <a:pt x="850" y="811"/>
                  </a:lnTo>
                  <a:lnTo>
                    <a:pt x="862" y="817"/>
                  </a:lnTo>
                  <a:lnTo>
                    <a:pt x="879" y="830"/>
                  </a:lnTo>
                  <a:lnTo>
                    <a:pt x="891" y="840"/>
                  </a:lnTo>
                  <a:lnTo>
                    <a:pt x="896" y="846"/>
                  </a:lnTo>
                  <a:lnTo>
                    <a:pt x="900" y="851"/>
                  </a:lnTo>
                  <a:lnTo>
                    <a:pt x="902" y="856"/>
                  </a:lnTo>
                  <a:lnTo>
                    <a:pt x="906" y="861"/>
                  </a:lnTo>
                  <a:lnTo>
                    <a:pt x="908" y="874"/>
                  </a:lnTo>
                  <a:lnTo>
                    <a:pt x="909" y="887"/>
                  </a:lnTo>
                  <a:lnTo>
                    <a:pt x="909" y="903"/>
                  </a:lnTo>
                  <a:lnTo>
                    <a:pt x="909" y="922"/>
                  </a:lnTo>
                  <a:lnTo>
                    <a:pt x="907" y="960"/>
                  </a:lnTo>
                  <a:lnTo>
                    <a:pt x="906" y="988"/>
                  </a:lnTo>
                  <a:lnTo>
                    <a:pt x="905" y="1006"/>
                  </a:lnTo>
                  <a:lnTo>
                    <a:pt x="905" y="1013"/>
                  </a:lnTo>
                  <a:lnTo>
                    <a:pt x="455" y="1016"/>
                  </a:lnTo>
                  <a:lnTo>
                    <a:pt x="453" y="1005"/>
                  </a:lnTo>
                  <a:lnTo>
                    <a:pt x="450" y="995"/>
                  </a:lnTo>
                  <a:lnTo>
                    <a:pt x="448" y="974"/>
                  </a:lnTo>
                  <a:lnTo>
                    <a:pt x="447" y="954"/>
                  </a:lnTo>
                  <a:lnTo>
                    <a:pt x="445" y="933"/>
                  </a:lnTo>
                  <a:lnTo>
                    <a:pt x="441" y="908"/>
                  </a:lnTo>
                  <a:lnTo>
                    <a:pt x="443" y="893"/>
                  </a:lnTo>
                  <a:lnTo>
                    <a:pt x="444" y="881"/>
                  </a:lnTo>
                  <a:lnTo>
                    <a:pt x="444" y="871"/>
                  </a:lnTo>
                  <a:lnTo>
                    <a:pt x="443" y="863"/>
                  </a:lnTo>
                  <a:lnTo>
                    <a:pt x="441" y="857"/>
                  </a:lnTo>
                  <a:lnTo>
                    <a:pt x="438" y="852"/>
                  </a:lnTo>
                  <a:lnTo>
                    <a:pt x="435" y="849"/>
                  </a:lnTo>
                  <a:lnTo>
                    <a:pt x="431" y="846"/>
                  </a:lnTo>
                  <a:lnTo>
                    <a:pt x="453" y="824"/>
                  </a:lnTo>
                  <a:lnTo>
                    <a:pt x="476" y="799"/>
                  </a:lnTo>
                  <a:lnTo>
                    <a:pt x="488" y="784"/>
                  </a:lnTo>
                  <a:lnTo>
                    <a:pt x="503" y="763"/>
                  </a:lnTo>
                  <a:lnTo>
                    <a:pt x="518" y="737"/>
                  </a:lnTo>
                  <a:lnTo>
                    <a:pt x="538" y="706"/>
                  </a:lnTo>
                  <a:lnTo>
                    <a:pt x="507" y="734"/>
                  </a:lnTo>
                  <a:lnTo>
                    <a:pt x="477" y="762"/>
                  </a:lnTo>
                  <a:lnTo>
                    <a:pt x="446" y="790"/>
                  </a:lnTo>
                  <a:lnTo>
                    <a:pt x="416" y="819"/>
                  </a:lnTo>
                  <a:lnTo>
                    <a:pt x="403" y="815"/>
                  </a:lnTo>
                  <a:lnTo>
                    <a:pt x="391" y="813"/>
                  </a:lnTo>
                  <a:lnTo>
                    <a:pt x="385" y="813"/>
                  </a:lnTo>
                  <a:lnTo>
                    <a:pt x="380" y="813"/>
                  </a:lnTo>
                  <a:lnTo>
                    <a:pt x="373" y="813"/>
                  </a:lnTo>
                  <a:lnTo>
                    <a:pt x="367" y="815"/>
                  </a:lnTo>
                  <a:lnTo>
                    <a:pt x="359" y="812"/>
                  </a:lnTo>
                  <a:lnTo>
                    <a:pt x="351" y="808"/>
                  </a:lnTo>
                  <a:lnTo>
                    <a:pt x="343" y="805"/>
                  </a:lnTo>
                  <a:lnTo>
                    <a:pt x="336" y="801"/>
                  </a:lnTo>
                  <a:lnTo>
                    <a:pt x="320" y="789"/>
                  </a:lnTo>
                  <a:lnTo>
                    <a:pt x="304" y="777"/>
                  </a:lnTo>
                  <a:lnTo>
                    <a:pt x="288" y="762"/>
                  </a:lnTo>
                  <a:lnTo>
                    <a:pt x="272" y="746"/>
                  </a:lnTo>
                  <a:lnTo>
                    <a:pt x="256" y="730"/>
                  </a:lnTo>
                  <a:lnTo>
                    <a:pt x="241" y="714"/>
                  </a:lnTo>
                  <a:lnTo>
                    <a:pt x="253" y="733"/>
                  </a:lnTo>
                  <a:lnTo>
                    <a:pt x="265" y="752"/>
                  </a:lnTo>
                  <a:lnTo>
                    <a:pt x="277" y="771"/>
                  </a:lnTo>
                  <a:lnTo>
                    <a:pt x="290" y="788"/>
                  </a:lnTo>
                  <a:lnTo>
                    <a:pt x="303" y="805"/>
                  </a:lnTo>
                  <a:lnTo>
                    <a:pt x="316" y="820"/>
                  </a:lnTo>
                  <a:lnTo>
                    <a:pt x="331" y="832"/>
                  </a:lnTo>
                  <a:lnTo>
                    <a:pt x="347" y="843"/>
                  </a:lnTo>
                  <a:lnTo>
                    <a:pt x="343" y="850"/>
                  </a:lnTo>
                  <a:lnTo>
                    <a:pt x="340" y="857"/>
                  </a:lnTo>
                  <a:lnTo>
                    <a:pt x="339" y="864"/>
                  </a:lnTo>
                  <a:lnTo>
                    <a:pt x="338" y="869"/>
                  </a:lnTo>
                  <a:lnTo>
                    <a:pt x="338" y="875"/>
                  </a:lnTo>
                  <a:lnTo>
                    <a:pt x="338" y="881"/>
                  </a:lnTo>
                  <a:lnTo>
                    <a:pt x="339" y="885"/>
                  </a:lnTo>
                  <a:lnTo>
                    <a:pt x="341" y="891"/>
                  </a:lnTo>
                  <a:lnTo>
                    <a:pt x="346" y="899"/>
                  </a:lnTo>
                  <a:lnTo>
                    <a:pt x="350" y="906"/>
                  </a:lnTo>
                  <a:lnTo>
                    <a:pt x="357" y="911"/>
                  </a:lnTo>
                  <a:lnTo>
                    <a:pt x="363" y="915"/>
                  </a:lnTo>
                  <a:lnTo>
                    <a:pt x="361" y="918"/>
                  </a:lnTo>
                  <a:lnTo>
                    <a:pt x="361" y="920"/>
                  </a:lnTo>
                  <a:lnTo>
                    <a:pt x="323" y="901"/>
                  </a:lnTo>
                  <a:lnTo>
                    <a:pt x="278" y="881"/>
                  </a:lnTo>
                  <a:lnTo>
                    <a:pt x="228" y="859"/>
                  </a:lnTo>
                  <a:lnTo>
                    <a:pt x="177" y="838"/>
                  </a:lnTo>
                  <a:lnTo>
                    <a:pt x="125" y="816"/>
                  </a:lnTo>
                  <a:lnTo>
                    <a:pt x="78" y="797"/>
                  </a:lnTo>
                  <a:lnTo>
                    <a:pt x="35" y="779"/>
                  </a:lnTo>
                  <a:lnTo>
                    <a:pt x="0" y="764"/>
                  </a:lnTo>
                  <a:lnTo>
                    <a:pt x="27" y="753"/>
                  </a:lnTo>
                  <a:lnTo>
                    <a:pt x="54" y="742"/>
                  </a:lnTo>
                  <a:lnTo>
                    <a:pt x="81" y="730"/>
                  </a:lnTo>
                  <a:lnTo>
                    <a:pt x="106" y="720"/>
                  </a:lnTo>
                  <a:lnTo>
                    <a:pt x="130" y="710"/>
                  </a:lnTo>
                  <a:lnTo>
                    <a:pt x="151" y="701"/>
                  </a:lnTo>
                  <a:lnTo>
                    <a:pt x="170" y="693"/>
                  </a:lnTo>
                  <a:lnTo>
                    <a:pt x="183" y="686"/>
                  </a:lnTo>
                  <a:lnTo>
                    <a:pt x="192" y="682"/>
                  </a:lnTo>
                  <a:lnTo>
                    <a:pt x="200" y="676"/>
                  </a:lnTo>
                  <a:lnTo>
                    <a:pt x="207" y="672"/>
                  </a:lnTo>
                  <a:lnTo>
                    <a:pt x="212" y="666"/>
                  </a:lnTo>
                  <a:lnTo>
                    <a:pt x="217" y="660"/>
                  </a:lnTo>
                  <a:lnTo>
                    <a:pt x="220" y="655"/>
                  </a:lnTo>
                  <a:lnTo>
                    <a:pt x="224" y="650"/>
                  </a:lnTo>
                  <a:lnTo>
                    <a:pt x="226" y="645"/>
                  </a:lnTo>
                  <a:lnTo>
                    <a:pt x="230" y="629"/>
                  </a:lnTo>
                  <a:lnTo>
                    <a:pt x="230" y="622"/>
                  </a:lnTo>
                  <a:lnTo>
                    <a:pt x="255" y="624"/>
                  </a:lnTo>
                  <a:lnTo>
                    <a:pt x="254" y="602"/>
                  </a:lnTo>
                  <a:lnTo>
                    <a:pt x="247" y="594"/>
                  </a:lnTo>
                  <a:lnTo>
                    <a:pt x="228" y="574"/>
                  </a:lnTo>
                  <a:lnTo>
                    <a:pt x="225" y="570"/>
                  </a:lnTo>
                  <a:lnTo>
                    <a:pt x="223" y="564"/>
                  </a:lnTo>
                  <a:lnTo>
                    <a:pt x="219" y="559"/>
                  </a:lnTo>
                  <a:lnTo>
                    <a:pt x="217" y="552"/>
                  </a:lnTo>
                  <a:lnTo>
                    <a:pt x="214" y="538"/>
                  </a:lnTo>
                  <a:lnTo>
                    <a:pt x="211" y="523"/>
                  </a:lnTo>
                  <a:lnTo>
                    <a:pt x="208" y="497"/>
                  </a:lnTo>
                  <a:lnTo>
                    <a:pt x="207" y="485"/>
                  </a:lnTo>
                  <a:lnTo>
                    <a:pt x="205" y="487"/>
                  </a:lnTo>
                  <a:lnTo>
                    <a:pt x="192" y="490"/>
                  </a:lnTo>
                  <a:lnTo>
                    <a:pt x="189" y="489"/>
                  </a:lnTo>
                  <a:lnTo>
                    <a:pt x="185" y="487"/>
                  </a:lnTo>
                  <a:lnTo>
                    <a:pt x="183" y="481"/>
                  </a:lnTo>
                  <a:lnTo>
                    <a:pt x="180" y="474"/>
                  </a:lnTo>
                  <a:lnTo>
                    <a:pt x="175" y="455"/>
                  </a:lnTo>
                  <a:lnTo>
                    <a:pt x="170" y="432"/>
                  </a:lnTo>
                  <a:lnTo>
                    <a:pt x="162" y="383"/>
                  </a:lnTo>
                  <a:lnTo>
                    <a:pt x="157" y="346"/>
                  </a:lnTo>
                  <a:lnTo>
                    <a:pt x="157" y="339"/>
                  </a:lnTo>
                  <a:lnTo>
                    <a:pt x="159" y="334"/>
                  </a:lnTo>
                  <a:lnTo>
                    <a:pt x="162" y="331"/>
                  </a:lnTo>
                  <a:lnTo>
                    <a:pt x="165" y="330"/>
                  </a:lnTo>
                  <a:lnTo>
                    <a:pt x="170" y="330"/>
                  </a:lnTo>
                  <a:lnTo>
                    <a:pt x="174" y="331"/>
                  </a:lnTo>
                  <a:lnTo>
                    <a:pt x="177" y="332"/>
                  </a:lnTo>
                  <a:lnTo>
                    <a:pt x="182" y="334"/>
                  </a:lnTo>
                  <a:lnTo>
                    <a:pt x="174" y="319"/>
                  </a:lnTo>
                  <a:lnTo>
                    <a:pt x="166" y="301"/>
                  </a:lnTo>
                  <a:lnTo>
                    <a:pt x="163" y="293"/>
                  </a:lnTo>
                  <a:lnTo>
                    <a:pt x="160" y="283"/>
                  </a:lnTo>
                  <a:lnTo>
                    <a:pt x="158" y="272"/>
                  </a:lnTo>
                  <a:lnTo>
                    <a:pt x="157" y="258"/>
                  </a:lnTo>
                  <a:lnTo>
                    <a:pt x="156" y="228"/>
                  </a:lnTo>
                  <a:lnTo>
                    <a:pt x="157" y="194"/>
                  </a:lnTo>
                  <a:lnTo>
                    <a:pt x="160" y="160"/>
                  </a:lnTo>
                  <a:lnTo>
                    <a:pt x="165" y="129"/>
                  </a:lnTo>
                  <a:lnTo>
                    <a:pt x="168" y="114"/>
                  </a:lnTo>
                  <a:lnTo>
                    <a:pt x="172" y="100"/>
                  </a:lnTo>
                  <a:lnTo>
                    <a:pt x="176" y="89"/>
                  </a:lnTo>
                  <a:lnTo>
                    <a:pt x="181" y="79"/>
                  </a:lnTo>
                  <a:lnTo>
                    <a:pt x="188" y="69"/>
                  </a:lnTo>
                  <a:lnTo>
                    <a:pt x="194" y="62"/>
                  </a:lnTo>
                  <a:lnTo>
                    <a:pt x="202" y="57"/>
                  </a:lnTo>
                  <a:lnTo>
                    <a:pt x="209" y="55"/>
                  </a:lnTo>
                  <a:lnTo>
                    <a:pt x="216" y="54"/>
                  </a:lnTo>
                  <a:lnTo>
                    <a:pt x="223" y="55"/>
                  </a:lnTo>
                  <a:lnTo>
                    <a:pt x="229" y="56"/>
                  </a:lnTo>
                  <a:lnTo>
                    <a:pt x="235" y="59"/>
                  </a:lnTo>
                  <a:lnTo>
                    <a:pt x="243" y="49"/>
                  </a:lnTo>
                  <a:lnTo>
                    <a:pt x="252" y="40"/>
                  </a:lnTo>
                  <a:lnTo>
                    <a:pt x="258" y="35"/>
                  </a:lnTo>
                  <a:lnTo>
                    <a:pt x="263" y="29"/>
                  </a:lnTo>
                  <a:lnTo>
                    <a:pt x="270" y="25"/>
                  </a:lnTo>
                  <a:lnTo>
                    <a:pt x="277" y="20"/>
                  </a:lnTo>
                  <a:lnTo>
                    <a:pt x="291" y="13"/>
                  </a:lnTo>
                  <a:lnTo>
                    <a:pt x="307" y="8"/>
                  </a:lnTo>
                  <a:lnTo>
                    <a:pt x="324" y="4"/>
                  </a:lnTo>
                  <a:lnTo>
                    <a:pt x="341" y="1"/>
                  </a:lnTo>
                  <a:lnTo>
                    <a:pt x="358" y="0"/>
                  </a:lnTo>
                  <a:lnTo>
                    <a:pt x="37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87" name="Freeform 286"/>
            <p:cNvSpPr>
              <a:spLocks/>
            </p:cNvSpPr>
            <p:nvPr/>
          </p:nvSpPr>
          <p:spPr bwMode="auto">
            <a:xfrm>
              <a:off x="5038125" y="4839822"/>
              <a:ext cx="290768" cy="324238"/>
            </a:xfrm>
            <a:custGeom>
              <a:avLst/>
              <a:gdLst>
                <a:gd name="T0" fmla="*/ 483 w 909"/>
                <a:gd name="T1" fmla="*/ 4 h 1016"/>
                <a:gd name="T2" fmla="*/ 428 w 909"/>
                <a:gd name="T3" fmla="*/ 25 h 1016"/>
                <a:gd name="T4" fmla="*/ 389 w 909"/>
                <a:gd name="T5" fmla="*/ 64 h 1016"/>
                <a:gd name="T6" fmla="*/ 348 w 909"/>
                <a:gd name="T7" fmla="*/ 122 h 1016"/>
                <a:gd name="T8" fmla="*/ 330 w 909"/>
                <a:gd name="T9" fmla="*/ 170 h 1016"/>
                <a:gd name="T10" fmla="*/ 327 w 909"/>
                <a:gd name="T11" fmla="*/ 225 h 1016"/>
                <a:gd name="T12" fmla="*/ 345 w 909"/>
                <a:gd name="T13" fmla="*/ 334 h 1016"/>
                <a:gd name="T14" fmla="*/ 327 w 909"/>
                <a:gd name="T15" fmla="*/ 330 h 1016"/>
                <a:gd name="T16" fmla="*/ 318 w 909"/>
                <a:gd name="T17" fmla="*/ 334 h 1016"/>
                <a:gd name="T18" fmla="*/ 320 w 909"/>
                <a:gd name="T19" fmla="*/ 383 h 1016"/>
                <a:gd name="T20" fmla="*/ 341 w 909"/>
                <a:gd name="T21" fmla="*/ 481 h 1016"/>
                <a:gd name="T22" fmla="*/ 363 w 909"/>
                <a:gd name="T23" fmla="*/ 487 h 1016"/>
                <a:gd name="T24" fmla="*/ 372 w 909"/>
                <a:gd name="T25" fmla="*/ 538 h 1016"/>
                <a:gd name="T26" fmla="*/ 383 w 909"/>
                <a:gd name="T27" fmla="*/ 570 h 1016"/>
                <a:gd name="T28" fmla="*/ 414 w 909"/>
                <a:gd name="T29" fmla="*/ 624 h 1016"/>
                <a:gd name="T30" fmla="*/ 382 w 909"/>
                <a:gd name="T31" fmla="*/ 650 h 1016"/>
                <a:gd name="T32" fmla="*/ 365 w 909"/>
                <a:gd name="T33" fmla="*/ 672 h 1016"/>
                <a:gd name="T34" fmla="*/ 315 w 909"/>
                <a:gd name="T35" fmla="*/ 699 h 1016"/>
                <a:gd name="T36" fmla="*/ 149 w 909"/>
                <a:gd name="T37" fmla="*/ 768 h 1016"/>
                <a:gd name="T38" fmla="*/ 59 w 909"/>
                <a:gd name="T39" fmla="*/ 811 h 1016"/>
                <a:gd name="T40" fmla="*/ 14 w 909"/>
                <a:gd name="T41" fmla="*/ 846 h 1016"/>
                <a:gd name="T42" fmla="*/ 2 w 909"/>
                <a:gd name="T43" fmla="*/ 874 h 1016"/>
                <a:gd name="T44" fmla="*/ 3 w 909"/>
                <a:gd name="T45" fmla="*/ 960 h 1016"/>
                <a:gd name="T46" fmla="*/ 454 w 909"/>
                <a:gd name="T47" fmla="*/ 1016 h 1016"/>
                <a:gd name="T48" fmla="*/ 465 w 909"/>
                <a:gd name="T49" fmla="*/ 986 h 1016"/>
                <a:gd name="T50" fmla="*/ 492 w 909"/>
                <a:gd name="T51" fmla="*/ 956 h 1016"/>
                <a:gd name="T52" fmla="*/ 501 w 909"/>
                <a:gd name="T53" fmla="*/ 915 h 1016"/>
                <a:gd name="T54" fmla="*/ 479 w 909"/>
                <a:gd name="T55" fmla="*/ 891 h 1016"/>
                <a:gd name="T56" fmla="*/ 477 w 909"/>
                <a:gd name="T57" fmla="*/ 869 h 1016"/>
                <a:gd name="T58" fmla="*/ 485 w 909"/>
                <a:gd name="T59" fmla="*/ 843 h 1016"/>
                <a:gd name="T60" fmla="*/ 428 w 909"/>
                <a:gd name="T61" fmla="*/ 788 h 1016"/>
                <a:gd name="T62" fmla="*/ 380 w 909"/>
                <a:gd name="T63" fmla="*/ 714 h 1016"/>
                <a:gd name="T64" fmla="*/ 443 w 909"/>
                <a:gd name="T65" fmla="*/ 777 h 1016"/>
                <a:gd name="T66" fmla="*/ 489 w 909"/>
                <a:gd name="T67" fmla="*/ 808 h 1016"/>
                <a:gd name="T68" fmla="*/ 518 w 909"/>
                <a:gd name="T69" fmla="*/ 813 h 1016"/>
                <a:gd name="T70" fmla="*/ 554 w 909"/>
                <a:gd name="T71" fmla="*/ 819 h 1016"/>
                <a:gd name="T72" fmla="*/ 676 w 909"/>
                <a:gd name="T73" fmla="*/ 706 h 1016"/>
                <a:gd name="T74" fmla="*/ 614 w 909"/>
                <a:gd name="T75" fmla="*/ 799 h 1016"/>
                <a:gd name="T76" fmla="*/ 576 w 909"/>
                <a:gd name="T77" fmla="*/ 852 h 1016"/>
                <a:gd name="T78" fmla="*/ 582 w 909"/>
                <a:gd name="T79" fmla="*/ 878 h 1016"/>
                <a:gd name="T80" fmla="*/ 662 w 909"/>
                <a:gd name="T81" fmla="*/ 868 h 1016"/>
                <a:gd name="T82" fmla="*/ 842 w 909"/>
                <a:gd name="T83" fmla="*/ 793 h 1016"/>
                <a:gd name="T84" fmla="*/ 855 w 909"/>
                <a:gd name="T85" fmla="*/ 742 h 1016"/>
                <a:gd name="T86" fmla="*/ 758 w 909"/>
                <a:gd name="T87" fmla="*/ 701 h 1016"/>
                <a:gd name="T88" fmla="*/ 710 w 909"/>
                <a:gd name="T89" fmla="*/ 676 h 1016"/>
                <a:gd name="T90" fmla="*/ 689 w 909"/>
                <a:gd name="T91" fmla="*/ 655 h 1016"/>
                <a:gd name="T92" fmla="*/ 679 w 909"/>
                <a:gd name="T93" fmla="*/ 622 h 1016"/>
                <a:gd name="T94" fmla="*/ 681 w 909"/>
                <a:gd name="T95" fmla="*/ 574 h 1016"/>
                <a:gd name="T96" fmla="*/ 693 w 909"/>
                <a:gd name="T97" fmla="*/ 552 h 1016"/>
                <a:gd name="T98" fmla="*/ 703 w 909"/>
                <a:gd name="T99" fmla="*/ 485 h 1016"/>
                <a:gd name="T100" fmla="*/ 724 w 909"/>
                <a:gd name="T101" fmla="*/ 487 h 1016"/>
                <a:gd name="T102" fmla="*/ 740 w 909"/>
                <a:gd name="T103" fmla="*/ 432 h 1016"/>
                <a:gd name="T104" fmla="*/ 750 w 909"/>
                <a:gd name="T105" fmla="*/ 334 h 1016"/>
                <a:gd name="T106" fmla="*/ 736 w 909"/>
                <a:gd name="T107" fmla="*/ 331 h 1016"/>
                <a:gd name="T108" fmla="*/ 743 w 909"/>
                <a:gd name="T109" fmla="*/ 301 h 1016"/>
                <a:gd name="T110" fmla="*/ 752 w 909"/>
                <a:gd name="T111" fmla="*/ 258 h 1016"/>
                <a:gd name="T112" fmla="*/ 745 w 909"/>
                <a:gd name="T113" fmla="*/ 129 h 1016"/>
                <a:gd name="T114" fmla="*/ 729 w 909"/>
                <a:gd name="T115" fmla="*/ 79 h 1016"/>
                <a:gd name="T116" fmla="*/ 701 w 909"/>
                <a:gd name="T117" fmla="*/ 55 h 1016"/>
                <a:gd name="T118" fmla="*/ 675 w 909"/>
                <a:gd name="T119" fmla="*/ 59 h 1016"/>
                <a:gd name="T120" fmla="*/ 646 w 909"/>
                <a:gd name="T121" fmla="*/ 29 h 1016"/>
                <a:gd name="T122" fmla="*/ 602 w 909"/>
                <a:gd name="T123" fmla="*/ 8 h 1016"/>
                <a:gd name="T124" fmla="*/ 533 w 909"/>
                <a:gd name="T125"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9" h="1016">
                  <a:moveTo>
                    <a:pt x="533" y="0"/>
                  </a:moveTo>
                  <a:lnTo>
                    <a:pt x="516" y="0"/>
                  </a:lnTo>
                  <a:lnTo>
                    <a:pt x="500" y="1"/>
                  </a:lnTo>
                  <a:lnTo>
                    <a:pt x="483" y="4"/>
                  </a:lnTo>
                  <a:lnTo>
                    <a:pt x="466" y="8"/>
                  </a:lnTo>
                  <a:lnTo>
                    <a:pt x="450" y="13"/>
                  </a:lnTo>
                  <a:lnTo>
                    <a:pt x="435" y="20"/>
                  </a:lnTo>
                  <a:lnTo>
                    <a:pt x="428" y="25"/>
                  </a:lnTo>
                  <a:lnTo>
                    <a:pt x="422" y="29"/>
                  </a:lnTo>
                  <a:lnTo>
                    <a:pt x="416" y="35"/>
                  </a:lnTo>
                  <a:lnTo>
                    <a:pt x="409" y="40"/>
                  </a:lnTo>
                  <a:lnTo>
                    <a:pt x="389" y="64"/>
                  </a:lnTo>
                  <a:lnTo>
                    <a:pt x="370" y="87"/>
                  </a:lnTo>
                  <a:lnTo>
                    <a:pt x="362" y="98"/>
                  </a:lnTo>
                  <a:lnTo>
                    <a:pt x="355" y="110"/>
                  </a:lnTo>
                  <a:lnTo>
                    <a:pt x="348" y="122"/>
                  </a:lnTo>
                  <a:lnTo>
                    <a:pt x="343" y="133"/>
                  </a:lnTo>
                  <a:lnTo>
                    <a:pt x="338" y="145"/>
                  </a:lnTo>
                  <a:lnTo>
                    <a:pt x="334" y="158"/>
                  </a:lnTo>
                  <a:lnTo>
                    <a:pt x="330" y="170"/>
                  </a:lnTo>
                  <a:lnTo>
                    <a:pt x="328" y="183"/>
                  </a:lnTo>
                  <a:lnTo>
                    <a:pt x="327" y="196"/>
                  </a:lnTo>
                  <a:lnTo>
                    <a:pt x="327" y="210"/>
                  </a:lnTo>
                  <a:lnTo>
                    <a:pt x="327" y="225"/>
                  </a:lnTo>
                  <a:lnTo>
                    <a:pt x="328" y="239"/>
                  </a:lnTo>
                  <a:lnTo>
                    <a:pt x="336" y="289"/>
                  </a:lnTo>
                  <a:lnTo>
                    <a:pt x="341" y="319"/>
                  </a:lnTo>
                  <a:lnTo>
                    <a:pt x="345" y="334"/>
                  </a:lnTo>
                  <a:lnTo>
                    <a:pt x="346" y="337"/>
                  </a:lnTo>
                  <a:lnTo>
                    <a:pt x="340" y="335"/>
                  </a:lnTo>
                  <a:lnTo>
                    <a:pt x="330" y="330"/>
                  </a:lnTo>
                  <a:lnTo>
                    <a:pt x="327" y="330"/>
                  </a:lnTo>
                  <a:lnTo>
                    <a:pt x="325" y="330"/>
                  </a:lnTo>
                  <a:lnTo>
                    <a:pt x="321" y="331"/>
                  </a:lnTo>
                  <a:lnTo>
                    <a:pt x="319" y="332"/>
                  </a:lnTo>
                  <a:lnTo>
                    <a:pt x="318" y="334"/>
                  </a:lnTo>
                  <a:lnTo>
                    <a:pt x="317" y="336"/>
                  </a:lnTo>
                  <a:lnTo>
                    <a:pt x="315" y="341"/>
                  </a:lnTo>
                  <a:lnTo>
                    <a:pt x="315" y="346"/>
                  </a:lnTo>
                  <a:lnTo>
                    <a:pt x="320" y="383"/>
                  </a:lnTo>
                  <a:lnTo>
                    <a:pt x="328" y="432"/>
                  </a:lnTo>
                  <a:lnTo>
                    <a:pt x="332" y="455"/>
                  </a:lnTo>
                  <a:lnTo>
                    <a:pt x="338" y="474"/>
                  </a:lnTo>
                  <a:lnTo>
                    <a:pt x="341" y="481"/>
                  </a:lnTo>
                  <a:lnTo>
                    <a:pt x="344" y="487"/>
                  </a:lnTo>
                  <a:lnTo>
                    <a:pt x="347" y="489"/>
                  </a:lnTo>
                  <a:lnTo>
                    <a:pt x="349" y="490"/>
                  </a:lnTo>
                  <a:lnTo>
                    <a:pt x="363" y="487"/>
                  </a:lnTo>
                  <a:lnTo>
                    <a:pt x="365" y="485"/>
                  </a:lnTo>
                  <a:lnTo>
                    <a:pt x="366" y="497"/>
                  </a:lnTo>
                  <a:lnTo>
                    <a:pt x="369" y="523"/>
                  </a:lnTo>
                  <a:lnTo>
                    <a:pt x="372" y="538"/>
                  </a:lnTo>
                  <a:lnTo>
                    <a:pt x="375" y="552"/>
                  </a:lnTo>
                  <a:lnTo>
                    <a:pt x="378" y="559"/>
                  </a:lnTo>
                  <a:lnTo>
                    <a:pt x="380" y="564"/>
                  </a:lnTo>
                  <a:lnTo>
                    <a:pt x="383" y="570"/>
                  </a:lnTo>
                  <a:lnTo>
                    <a:pt x="387" y="574"/>
                  </a:lnTo>
                  <a:lnTo>
                    <a:pt x="406" y="594"/>
                  </a:lnTo>
                  <a:lnTo>
                    <a:pt x="411" y="602"/>
                  </a:lnTo>
                  <a:lnTo>
                    <a:pt x="414" y="624"/>
                  </a:lnTo>
                  <a:lnTo>
                    <a:pt x="389" y="622"/>
                  </a:lnTo>
                  <a:lnTo>
                    <a:pt x="388" y="629"/>
                  </a:lnTo>
                  <a:lnTo>
                    <a:pt x="384" y="645"/>
                  </a:lnTo>
                  <a:lnTo>
                    <a:pt x="382" y="650"/>
                  </a:lnTo>
                  <a:lnTo>
                    <a:pt x="379" y="655"/>
                  </a:lnTo>
                  <a:lnTo>
                    <a:pt x="375" y="660"/>
                  </a:lnTo>
                  <a:lnTo>
                    <a:pt x="371" y="666"/>
                  </a:lnTo>
                  <a:lnTo>
                    <a:pt x="365" y="672"/>
                  </a:lnTo>
                  <a:lnTo>
                    <a:pt x="358" y="676"/>
                  </a:lnTo>
                  <a:lnTo>
                    <a:pt x="350" y="682"/>
                  </a:lnTo>
                  <a:lnTo>
                    <a:pt x="341" y="686"/>
                  </a:lnTo>
                  <a:lnTo>
                    <a:pt x="315" y="699"/>
                  </a:lnTo>
                  <a:lnTo>
                    <a:pt x="280" y="714"/>
                  </a:lnTo>
                  <a:lnTo>
                    <a:pt x="240" y="730"/>
                  </a:lnTo>
                  <a:lnTo>
                    <a:pt x="195" y="749"/>
                  </a:lnTo>
                  <a:lnTo>
                    <a:pt x="149" y="768"/>
                  </a:lnTo>
                  <a:lnTo>
                    <a:pt x="108" y="786"/>
                  </a:lnTo>
                  <a:lnTo>
                    <a:pt x="90" y="795"/>
                  </a:lnTo>
                  <a:lnTo>
                    <a:pt x="73" y="803"/>
                  </a:lnTo>
                  <a:lnTo>
                    <a:pt x="59" y="811"/>
                  </a:lnTo>
                  <a:lnTo>
                    <a:pt x="48" y="817"/>
                  </a:lnTo>
                  <a:lnTo>
                    <a:pt x="31" y="830"/>
                  </a:lnTo>
                  <a:lnTo>
                    <a:pt x="19" y="840"/>
                  </a:lnTo>
                  <a:lnTo>
                    <a:pt x="14" y="846"/>
                  </a:lnTo>
                  <a:lnTo>
                    <a:pt x="9" y="851"/>
                  </a:lnTo>
                  <a:lnTo>
                    <a:pt x="7" y="856"/>
                  </a:lnTo>
                  <a:lnTo>
                    <a:pt x="4" y="861"/>
                  </a:lnTo>
                  <a:lnTo>
                    <a:pt x="2" y="874"/>
                  </a:lnTo>
                  <a:lnTo>
                    <a:pt x="0" y="887"/>
                  </a:lnTo>
                  <a:lnTo>
                    <a:pt x="0" y="903"/>
                  </a:lnTo>
                  <a:lnTo>
                    <a:pt x="0" y="922"/>
                  </a:lnTo>
                  <a:lnTo>
                    <a:pt x="3" y="960"/>
                  </a:lnTo>
                  <a:lnTo>
                    <a:pt x="4" y="988"/>
                  </a:lnTo>
                  <a:lnTo>
                    <a:pt x="5" y="1006"/>
                  </a:lnTo>
                  <a:lnTo>
                    <a:pt x="5" y="1013"/>
                  </a:lnTo>
                  <a:lnTo>
                    <a:pt x="454" y="1016"/>
                  </a:lnTo>
                  <a:lnTo>
                    <a:pt x="456" y="1008"/>
                  </a:lnTo>
                  <a:lnTo>
                    <a:pt x="458" y="1000"/>
                  </a:lnTo>
                  <a:lnTo>
                    <a:pt x="461" y="993"/>
                  </a:lnTo>
                  <a:lnTo>
                    <a:pt x="465" y="986"/>
                  </a:lnTo>
                  <a:lnTo>
                    <a:pt x="470" y="979"/>
                  </a:lnTo>
                  <a:lnTo>
                    <a:pt x="476" y="971"/>
                  </a:lnTo>
                  <a:lnTo>
                    <a:pt x="484" y="964"/>
                  </a:lnTo>
                  <a:lnTo>
                    <a:pt x="492" y="956"/>
                  </a:lnTo>
                  <a:lnTo>
                    <a:pt x="494" y="946"/>
                  </a:lnTo>
                  <a:lnTo>
                    <a:pt x="496" y="936"/>
                  </a:lnTo>
                  <a:lnTo>
                    <a:pt x="498" y="925"/>
                  </a:lnTo>
                  <a:lnTo>
                    <a:pt x="501" y="915"/>
                  </a:lnTo>
                  <a:lnTo>
                    <a:pt x="495" y="911"/>
                  </a:lnTo>
                  <a:lnTo>
                    <a:pt x="489" y="906"/>
                  </a:lnTo>
                  <a:lnTo>
                    <a:pt x="484" y="899"/>
                  </a:lnTo>
                  <a:lnTo>
                    <a:pt x="479" y="891"/>
                  </a:lnTo>
                  <a:lnTo>
                    <a:pt x="478" y="885"/>
                  </a:lnTo>
                  <a:lnTo>
                    <a:pt x="477" y="881"/>
                  </a:lnTo>
                  <a:lnTo>
                    <a:pt x="476" y="875"/>
                  </a:lnTo>
                  <a:lnTo>
                    <a:pt x="477" y="869"/>
                  </a:lnTo>
                  <a:lnTo>
                    <a:pt x="477" y="864"/>
                  </a:lnTo>
                  <a:lnTo>
                    <a:pt x="479" y="857"/>
                  </a:lnTo>
                  <a:lnTo>
                    <a:pt x="481" y="850"/>
                  </a:lnTo>
                  <a:lnTo>
                    <a:pt x="485" y="843"/>
                  </a:lnTo>
                  <a:lnTo>
                    <a:pt x="470" y="832"/>
                  </a:lnTo>
                  <a:lnTo>
                    <a:pt x="456" y="820"/>
                  </a:lnTo>
                  <a:lnTo>
                    <a:pt x="442" y="805"/>
                  </a:lnTo>
                  <a:lnTo>
                    <a:pt x="428" y="788"/>
                  </a:lnTo>
                  <a:lnTo>
                    <a:pt x="416" y="771"/>
                  </a:lnTo>
                  <a:lnTo>
                    <a:pt x="404" y="752"/>
                  </a:lnTo>
                  <a:lnTo>
                    <a:pt x="391" y="733"/>
                  </a:lnTo>
                  <a:lnTo>
                    <a:pt x="380" y="714"/>
                  </a:lnTo>
                  <a:lnTo>
                    <a:pt x="396" y="730"/>
                  </a:lnTo>
                  <a:lnTo>
                    <a:pt x="411" y="746"/>
                  </a:lnTo>
                  <a:lnTo>
                    <a:pt x="427" y="762"/>
                  </a:lnTo>
                  <a:lnTo>
                    <a:pt x="443" y="777"/>
                  </a:lnTo>
                  <a:lnTo>
                    <a:pt x="459" y="789"/>
                  </a:lnTo>
                  <a:lnTo>
                    <a:pt x="474" y="801"/>
                  </a:lnTo>
                  <a:lnTo>
                    <a:pt x="481" y="805"/>
                  </a:lnTo>
                  <a:lnTo>
                    <a:pt x="489" y="808"/>
                  </a:lnTo>
                  <a:lnTo>
                    <a:pt x="497" y="812"/>
                  </a:lnTo>
                  <a:lnTo>
                    <a:pt x="505" y="815"/>
                  </a:lnTo>
                  <a:lnTo>
                    <a:pt x="512" y="813"/>
                  </a:lnTo>
                  <a:lnTo>
                    <a:pt x="518" y="813"/>
                  </a:lnTo>
                  <a:lnTo>
                    <a:pt x="523" y="813"/>
                  </a:lnTo>
                  <a:lnTo>
                    <a:pt x="530" y="813"/>
                  </a:lnTo>
                  <a:lnTo>
                    <a:pt x="542" y="815"/>
                  </a:lnTo>
                  <a:lnTo>
                    <a:pt x="554" y="819"/>
                  </a:lnTo>
                  <a:lnTo>
                    <a:pt x="584" y="790"/>
                  </a:lnTo>
                  <a:lnTo>
                    <a:pt x="615" y="762"/>
                  </a:lnTo>
                  <a:lnTo>
                    <a:pt x="645" y="734"/>
                  </a:lnTo>
                  <a:lnTo>
                    <a:pt x="676" y="706"/>
                  </a:lnTo>
                  <a:lnTo>
                    <a:pt x="657" y="737"/>
                  </a:lnTo>
                  <a:lnTo>
                    <a:pt x="641" y="763"/>
                  </a:lnTo>
                  <a:lnTo>
                    <a:pt x="626" y="784"/>
                  </a:lnTo>
                  <a:lnTo>
                    <a:pt x="614" y="799"/>
                  </a:lnTo>
                  <a:lnTo>
                    <a:pt x="591" y="824"/>
                  </a:lnTo>
                  <a:lnTo>
                    <a:pt x="570" y="846"/>
                  </a:lnTo>
                  <a:lnTo>
                    <a:pt x="573" y="849"/>
                  </a:lnTo>
                  <a:lnTo>
                    <a:pt x="576" y="852"/>
                  </a:lnTo>
                  <a:lnTo>
                    <a:pt x="579" y="857"/>
                  </a:lnTo>
                  <a:lnTo>
                    <a:pt x="581" y="863"/>
                  </a:lnTo>
                  <a:lnTo>
                    <a:pt x="582" y="869"/>
                  </a:lnTo>
                  <a:lnTo>
                    <a:pt x="582" y="878"/>
                  </a:lnTo>
                  <a:lnTo>
                    <a:pt x="581" y="891"/>
                  </a:lnTo>
                  <a:lnTo>
                    <a:pt x="580" y="904"/>
                  </a:lnTo>
                  <a:lnTo>
                    <a:pt x="618" y="886"/>
                  </a:lnTo>
                  <a:lnTo>
                    <a:pt x="662" y="868"/>
                  </a:lnTo>
                  <a:lnTo>
                    <a:pt x="707" y="848"/>
                  </a:lnTo>
                  <a:lnTo>
                    <a:pt x="754" y="829"/>
                  </a:lnTo>
                  <a:lnTo>
                    <a:pt x="799" y="811"/>
                  </a:lnTo>
                  <a:lnTo>
                    <a:pt x="842" y="793"/>
                  </a:lnTo>
                  <a:lnTo>
                    <a:pt x="879" y="778"/>
                  </a:lnTo>
                  <a:lnTo>
                    <a:pt x="909" y="764"/>
                  </a:lnTo>
                  <a:lnTo>
                    <a:pt x="882" y="753"/>
                  </a:lnTo>
                  <a:lnTo>
                    <a:pt x="855" y="742"/>
                  </a:lnTo>
                  <a:lnTo>
                    <a:pt x="828" y="730"/>
                  </a:lnTo>
                  <a:lnTo>
                    <a:pt x="803" y="720"/>
                  </a:lnTo>
                  <a:lnTo>
                    <a:pt x="780" y="710"/>
                  </a:lnTo>
                  <a:lnTo>
                    <a:pt x="758" y="701"/>
                  </a:lnTo>
                  <a:lnTo>
                    <a:pt x="740" y="693"/>
                  </a:lnTo>
                  <a:lnTo>
                    <a:pt x="727" y="686"/>
                  </a:lnTo>
                  <a:lnTo>
                    <a:pt x="717" y="682"/>
                  </a:lnTo>
                  <a:lnTo>
                    <a:pt x="710" y="676"/>
                  </a:lnTo>
                  <a:lnTo>
                    <a:pt x="703" y="672"/>
                  </a:lnTo>
                  <a:lnTo>
                    <a:pt x="697" y="666"/>
                  </a:lnTo>
                  <a:lnTo>
                    <a:pt x="693" y="660"/>
                  </a:lnTo>
                  <a:lnTo>
                    <a:pt x="689" y="655"/>
                  </a:lnTo>
                  <a:lnTo>
                    <a:pt x="686" y="650"/>
                  </a:lnTo>
                  <a:lnTo>
                    <a:pt x="684" y="645"/>
                  </a:lnTo>
                  <a:lnTo>
                    <a:pt x="679" y="629"/>
                  </a:lnTo>
                  <a:lnTo>
                    <a:pt x="679" y="622"/>
                  </a:lnTo>
                  <a:lnTo>
                    <a:pt x="654" y="624"/>
                  </a:lnTo>
                  <a:lnTo>
                    <a:pt x="655" y="602"/>
                  </a:lnTo>
                  <a:lnTo>
                    <a:pt x="662" y="594"/>
                  </a:lnTo>
                  <a:lnTo>
                    <a:pt x="681" y="574"/>
                  </a:lnTo>
                  <a:lnTo>
                    <a:pt x="685" y="570"/>
                  </a:lnTo>
                  <a:lnTo>
                    <a:pt x="687" y="564"/>
                  </a:lnTo>
                  <a:lnTo>
                    <a:pt x="690" y="559"/>
                  </a:lnTo>
                  <a:lnTo>
                    <a:pt x="693" y="552"/>
                  </a:lnTo>
                  <a:lnTo>
                    <a:pt x="696" y="538"/>
                  </a:lnTo>
                  <a:lnTo>
                    <a:pt x="698" y="523"/>
                  </a:lnTo>
                  <a:lnTo>
                    <a:pt x="702" y="497"/>
                  </a:lnTo>
                  <a:lnTo>
                    <a:pt x="703" y="485"/>
                  </a:lnTo>
                  <a:lnTo>
                    <a:pt x="705" y="487"/>
                  </a:lnTo>
                  <a:lnTo>
                    <a:pt x="719" y="490"/>
                  </a:lnTo>
                  <a:lnTo>
                    <a:pt x="721" y="489"/>
                  </a:lnTo>
                  <a:lnTo>
                    <a:pt x="724" y="487"/>
                  </a:lnTo>
                  <a:lnTo>
                    <a:pt x="727" y="481"/>
                  </a:lnTo>
                  <a:lnTo>
                    <a:pt x="730" y="474"/>
                  </a:lnTo>
                  <a:lnTo>
                    <a:pt x="734" y="455"/>
                  </a:lnTo>
                  <a:lnTo>
                    <a:pt x="740" y="432"/>
                  </a:lnTo>
                  <a:lnTo>
                    <a:pt x="748" y="383"/>
                  </a:lnTo>
                  <a:lnTo>
                    <a:pt x="752" y="346"/>
                  </a:lnTo>
                  <a:lnTo>
                    <a:pt x="752" y="339"/>
                  </a:lnTo>
                  <a:lnTo>
                    <a:pt x="750" y="334"/>
                  </a:lnTo>
                  <a:lnTo>
                    <a:pt x="748" y="331"/>
                  </a:lnTo>
                  <a:lnTo>
                    <a:pt x="745" y="330"/>
                  </a:lnTo>
                  <a:lnTo>
                    <a:pt x="740" y="330"/>
                  </a:lnTo>
                  <a:lnTo>
                    <a:pt x="736" y="331"/>
                  </a:lnTo>
                  <a:lnTo>
                    <a:pt x="732" y="332"/>
                  </a:lnTo>
                  <a:lnTo>
                    <a:pt x="728" y="334"/>
                  </a:lnTo>
                  <a:lnTo>
                    <a:pt x="736" y="319"/>
                  </a:lnTo>
                  <a:lnTo>
                    <a:pt x="743" y="301"/>
                  </a:lnTo>
                  <a:lnTo>
                    <a:pt x="747" y="293"/>
                  </a:lnTo>
                  <a:lnTo>
                    <a:pt x="749" y="283"/>
                  </a:lnTo>
                  <a:lnTo>
                    <a:pt x="751" y="272"/>
                  </a:lnTo>
                  <a:lnTo>
                    <a:pt x="752" y="258"/>
                  </a:lnTo>
                  <a:lnTo>
                    <a:pt x="754" y="228"/>
                  </a:lnTo>
                  <a:lnTo>
                    <a:pt x="752" y="194"/>
                  </a:lnTo>
                  <a:lnTo>
                    <a:pt x="749" y="160"/>
                  </a:lnTo>
                  <a:lnTo>
                    <a:pt x="745" y="129"/>
                  </a:lnTo>
                  <a:lnTo>
                    <a:pt x="741" y="114"/>
                  </a:lnTo>
                  <a:lnTo>
                    <a:pt x="738" y="100"/>
                  </a:lnTo>
                  <a:lnTo>
                    <a:pt x="733" y="89"/>
                  </a:lnTo>
                  <a:lnTo>
                    <a:pt x="729" y="79"/>
                  </a:lnTo>
                  <a:lnTo>
                    <a:pt x="722" y="69"/>
                  </a:lnTo>
                  <a:lnTo>
                    <a:pt x="715" y="62"/>
                  </a:lnTo>
                  <a:lnTo>
                    <a:pt x="708" y="57"/>
                  </a:lnTo>
                  <a:lnTo>
                    <a:pt x="701" y="55"/>
                  </a:lnTo>
                  <a:lnTo>
                    <a:pt x="694" y="54"/>
                  </a:lnTo>
                  <a:lnTo>
                    <a:pt x="687" y="55"/>
                  </a:lnTo>
                  <a:lnTo>
                    <a:pt x="680" y="56"/>
                  </a:lnTo>
                  <a:lnTo>
                    <a:pt x="675" y="59"/>
                  </a:lnTo>
                  <a:lnTo>
                    <a:pt x="667" y="49"/>
                  </a:lnTo>
                  <a:lnTo>
                    <a:pt x="658" y="40"/>
                  </a:lnTo>
                  <a:lnTo>
                    <a:pt x="652" y="35"/>
                  </a:lnTo>
                  <a:lnTo>
                    <a:pt x="646" y="29"/>
                  </a:lnTo>
                  <a:lnTo>
                    <a:pt x="640" y="25"/>
                  </a:lnTo>
                  <a:lnTo>
                    <a:pt x="633" y="20"/>
                  </a:lnTo>
                  <a:lnTo>
                    <a:pt x="618" y="13"/>
                  </a:lnTo>
                  <a:lnTo>
                    <a:pt x="602" y="8"/>
                  </a:lnTo>
                  <a:lnTo>
                    <a:pt x="585" y="4"/>
                  </a:lnTo>
                  <a:lnTo>
                    <a:pt x="568" y="1"/>
                  </a:lnTo>
                  <a:lnTo>
                    <a:pt x="551" y="0"/>
                  </a:lnTo>
                  <a:lnTo>
                    <a:pt x="533"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cxnSp>
        <p:nvCxnSpPr>
          <p:cNvPr id="295" name="Straight Connector 294"/>
          <p:cNvCxnSpPr/>
          <p:nvPr/>
        </p:nvCxnSpPr>
        <p:spPr bwMode="auto">
          <a:xfrm flipH="1" flipV="1">
            <a:off x="6219825" y="3157538"/>
            <a:ext cx="0" cy="374650"/>
          </a:xfrm>
          <a:prstGeom prst="line">
            <a:avLst/>
          </a:prstGeom>
          <a:solidFill>
            <a:schemeClr val="accent1"/>
          </a:solidFill>
          <a:ln w="28575" cap="flat" cmpd="sng" algn="ctr">
            <a:solidFill>
              <a:schemeClr val="tx2">
                <a:lumMod val="75000"/>
              </a:schemeClr>
            </a:solidFill>
            <a:prstDash val="solid"/>
            <a:round/>
            <a:headEnd type="none" w="med" len="med"/>
            <a:tailEnd type="none" w="med" len="med"/>
          </a:ln>
          <a:effectLst/>
        </p:spPr>
      </p:cxnSp>
      <p:grpSp>
        <p:nvGrpSpPr>
          <p:cNvPr id="14363" name="Gruppe 956"/>
          <p:cNvGrpSpPr>
            <a:grpSpLocks/>
          </p:cNvGrpSpPr>
          <p:nvPr/>
        </p:nvGrpSpPr>
        <p:grpSpPr bwMode="auto">
          <a:xfrm>
            <a:off x="5794375" y="2840038"/>
            <a:ext cx="700088" cy="869950"/>
            <a:chOff x="215000" y="2687274"/>
            <a:chExt cx="2593295" cy="3223034"/>
          </a:xfrm>
          <a:solidFill>
            <a:schemeClr val="bg1">
              <a:lumMod val="85000"/>
            </a:schemeClr>
          </a:solidFill>
        </p:grpSpPr>
        <p:sp>
          <p:nvSpPr>
            <p:cNvPr id="163" name="Freeform 814"/>
            <p:cNvSpPr>
              <a:spLocks noEditPoints="1"/>
            </p:cNvSpPr>
            <p:nvPr/>
          </p:nvSpPr>
          <p:spPr bwMode="auto">
            <a:xfrm flipH="1">
              <a:off x="215000" y="2969584"/>
              <a:ext cx="993804" cy="2940724"/>
            </a:xfrm>
            <a:custGeom>
              <a:avLst/>
              <a:gdLst>
                <a:gd name="T0" fmla="*/ 2147483647 w 642"/>
                <a:gd name="T1" fmla="*/ 2147483647 h 1854"/>
                <a:gd name="T2" fmla="*/ 2147483647 w 642"/>
                <a:gd name="T3" fmla="*/ 2147483647 h 1854"/>
                <a:gd name="T4" fmla="*/ 2147483647 w 642"/>
                <a:gd name="T5" fmla="*/ 2147483647 h 1854"/>
                <a:gd name="T6" fmla="*/ 2147483647 w 642"/>
                <a:gd name="T7" fmla="*/ 2147483647 h 1854"/>
                <a:gd name="T8" fmla="*/ 2147483647 w 642"/>
                <a:gd name="T9" fmla="*/ 2147483647 h 1854"/>
                <a:gd name="T10" fmla="*/ 2147483647 w 642"/>
                <a:gd name="T11" fmla="*/ 2147483647 h 1854"/>
                <a:gd name="T12" fmla="*/ 2147483647 w 642"/>
                <a:gd name="T13" fmla="*/ 2147483647 h 1854"/>
                <a:gd name="T14" fmla="*/ 2147483647 w 642"/>
                <a:gd name="T15" fmla="*/ 2147483647 h 1854"/>
                <a:gd name="T16" fmla="*/ 2147483647 w 642"/>
                <a:gd name="T17" fmla="*/ 2147483647 h 1854"/>
                <a:gd name="T18" fmla="*/ 2147483647 w 642"/>
                <a:gd name="T19" fmla="*/ 2147483647 h 1854"/>
                <a:gd name="T20" fmla="*/ 2147483647 w 642"/>
                <a:gd name="T21" fmla="*/ 2147483647 h 1854"/>
                <a:gd name="T22" fmla="*/ 2147483647 w 642"/>
                <a:gd name="T23" fmla="*/ 2147483647 h 1854"/>
                <a:gd name="T24" fmla="*/ 2147483647 w 642"/>
                <a:gd name="T25" fmla="*/ 2147483647 h 1854"/>
                <a:gd name="T26" fmla="*/ 2147483647 w 642"/>
                <a:gd name="T27" fmla="*/ 2147483647 h 1854"/>
                <a:gd name="T28" fmla="*/ 2147483647 w 642"/>
                <a:gd name="T29" fmla="*/ 2147483647 h 1854"/>
                <a:gd name="T30" fmla="*/ 2147483647 w 642"/>
                <a:gd name="T31" fmla="*/ 2147483647 h 1854"/>
                <a:gd name="T32" fmla="*/ 2147483647 w 642"/>
                <a:gd name="T33" fmla="*/ 2147483647 h 1854"/>
                <a:gd name="T34" fmla="*/ 2147483647 w 642"/>
                <a:gd name="T35" fmla="*/ 2147483647 h 1854"/>
                <a:gd name="T36" fmla="*/ 2147483647 w 642"/>
                <a:gd name="T37" fmla="*/ 2147483647 h 1854"/>
                <a:gd name="T38" fmla="*/ 2147483647 w 642"/>
                <a:gd name="T39" fmla="*/ 2147483647 h 1854"/>
                <a:gd name="T40" fmla="*/ 2147483647 w 642"/>
                <a:gd name="T41" fmla="*/ 0 h 1854"/>
                <a:gd name="T42" fmla="*/ 2147483647 w 642"/>
                <a:gd name="T43" fmla="*/ 2147483647 h 1854"/>
                <a:gd name="T44" fmla="*/ 2147483647 w 642"/>
                <a:gd name="T45" fmla="*/ 2147483647 h 1854"/>
                <a:gd name="T46" fmla="*/ 2147483647 w 642"/>
                <a:gd name="T47" fmla="*/ 2147483647 h 1854"/>
                <a:gd name="T48" fmla="*/ 2147483647 w 642"/>
                <a:gd name="T49" fmla="*/ 2147483647 h 1854"/>
                <a:gd name="T50" fmla="*/ 2147483647 w 642"/>
                <a:gd name="T51" fmla="*/ 2147483647 h 1854"/>
                <a:gd name="T52" fmla="*/ 2147483647 w 642"/>
                <a:gd name="T53" fmla="*/ 2147483647 h 1854"/>
                <a:gd name="T54" fmla="*/ 2147483647 w 642"/>
                <a:gd name="T55" fmla="*/ 2147483647 h 1854"/>
                <a:gd name="T56" fmla="*/ 2147483647 w 642"/>
                <a:gd name="T57" fmla="*/ 2147483647 h 1854"/>
                <a:gd name="T58" fmla="*/ 2147483647 w 642"/>
                <a:gd name="T59" fmla="*/ 2147483647 h 1854"/>
                <a:gd name="T60" fmla="*/ 2147483647 w 642"/>
                <a:gd name="T61" fmla="*/ 2147483647 h 1854"/>
                <a:gd name="T62" fmla="*/ 2147483647 w 642"/>
                <a:gd name="T63" fmla="*/ 2147483647 h 1854"/>
                <a:gd name="T64" fmla="*/ 2147483647 w 642"/>
                <a:gd name="T65" fmla="*/ 2147483647 h 1854"/>
                <a:gd name="T66" fmla="*/ 0 w 642"/>
                <a:gd name="T67" fmla="*/ 2147483647 h 1854"/>
                <a:gd name="T68" fmla="*/ 2147483647 w 642"/>
                <a:gd name="T69" fmla="*/ 2147483647 h 1854"/>
                <a:gd name="T70" fmla="*/ 2147483647 w 642"/>
                <a:gd name="T71" fmla="*/ 2147483647 h 1854"/>
                <a:gd name="T72" fmla="*/ 2147483647 w 642"/>
                <a:gd name="T73" fmla="*/ 2147483647 h 1854"/>
                <a:gd name="T74" fmla="*/ 2147483647 w 642"/>
                <a:gd name="T75" fmla="*/ 2147483647 h 1854"/>
                <a:gd name="T76" fmla="*/ 2147483647 w 642"/>
                <a:gd name="T77" fmla="*/ 2147483647 h 1854"/>
                <a:gd name="T78" fmla="*/ 2147483647 w 642"/>
                <a:gd name="T79" fmla="*/ 2147483647 h 1854"/>
                <a:gd name="T80" fmla="*/ 2147483647 w 642"/>
                <a:gd name="T81" fmla="*/ 2147483647 h 1854"/>
                <a:gd name="T82" fmla="*/ 2147483647 w 642"/>
                <a:gd name="T83" fmla="*/ 2147483647 h 1854"/>
                <a:gd name="T84" fmla="*/ 2147483647 w 642"/>
                <a:gd name="T85" fmla="*/ 2147483647 h 1854"/>
                <a:gd name="T86" fmla="*/ 2147483647 w 642"/>
                <a:gd name="T87" fmla="*/ 2147483647 h 1854"/>
                <a:gd name="T88" fmla="*/ 2147483647 w 642"/>
                <a:gd name="T89" fmla="*/ 2147483647 h 1854"/>
                <a:gd name="T90" fmla="*/ 2147483647 w 642"/>
                <a:gd name="T91" fmla="*/ 2147483647 h 1854"/>
                <a:gd name="T92" fmla="*/ 2147483647 w 642"/>
                <a:gd name="T93" fmla="*/ 2147483647 h 1854"/>
                <a:gd name="T94" fmla="*/ 2147483647 w 642"/>
                <a:gd name="T95" fmla="*/ 2147483647 h 1854"/>
                <a:gd name="T96" fmla="*/ 2147483647 w 642"/>
                <a:gd name="T97" fmla="*/ 2147483647 h 1854"/>
                <a:gd name="T98" fmla="*/ 2147483647 w 642"/>
                <a:gd name="T99" fmla="*/ 2147483647 h 1854"/>
                <a:gd name="T100" fmla="*/ 2147483647 w 642"/>
                <a:gd name="T101" fmla="*/ 2147483647 h 1854"/>
                <a:gd name="T102" fmla="*/ 2147483647 w 642"/>
                <a:gd name="T103" fmla="*/ 2147483647 h 1854"/>
                <a:gd name="T104" fmla="*/ 2147483647 w 642"/>
                <a:gd name="T105" fmla="*/ 2147483647 h 1854"/>
                <a:gd name="T106" fmla="*/ 2147483647 w 642"/>
                <a:gd name="T107" fmla="*/ 2147483647 h 1854"/>
                <a:gd name="T108" fmla="*/ 2147483647 w 642"/>
                <a:gd name="T109" fmla="*/ 2147483647 h 1854"/>
                <a:gd name="T110" fmla="*/ 2147483647 w 642"/>
                <a:gd name="T111" fmla="*/ 2147483647 h 1854"/>
                <a:gd name="T112" fmla="*/ 2147483647 w 642"/>
                <a:gd name="T113" fmla="*/ 2147483647 h 1854"/>
                <a:gd name="T114" fmla="*/ 2147483647 w 642"/>
                <a:gd name="T115" fmla="*/ 2147483647 h 18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2"/>
                <a:gd name="T175" fmla="*/ 0 h 1854"/>
                <a:gd name="T176" fmla="*/ 642 w 642"/>
                <a:gd name="T177" fmla="*/ 1854 h 18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2" h="1854">
                  <a:moveTo>
                    <a:pt x="642" y="1559"/>
                  </a:moveTo>
                  <a:lnTo>
                    <a:pt x="638" y="1547"/>
                  </a:lnTo>
                  <a:lnTo>
                    <a:pt x="613" y="1535"/>
                  </a:lnTo>
                  <a:lnTo>
                    <a:pt x="593" y="1518"/>
                  </a:lnTo>
                  <a:lnTo>
                    <a:pt x="568" y="1493"/>
                  </a:lnTo>
                  <a:lnTo>
                    <a:pt x="564" y="1489"/>
                  </a:lnTo>
                  <a:lnTo>
                    <a:pt x="555" y="1489"/>
                  </a:lnTo>
                  <a:lnTo>
                    <a:pt x="535" y="1489"/>
                  </a:lnTo>
                  <a:lnTo>
                    <a:pt x="506" y="1493"/>
                  </a:lnTo>
                  <a:lnTo>
                    <a:pt x="481" y="1472"/>
                  </a:lnTo>
                  <a:lnTo>
                    <a:pt x="456" y="1447"/>
                  </a:lnTo>
                  <a:lnTo>
                    <a:pt x="423" y="1402"/>
                  </a:lnTo>
                  <a:lnTo>
                    <a:pt x="402" y="1365"/>
                  </a:lnTo>
                  <a:lnTo>
                    <a:pt x="398" y="1356"/>
                  </a:lnTo>
                  <a:lnTo>
                    <a:pt x="402" y="1356"/>
                  </a:lnTo>
                  <a:lnTo>
                    <a:pt x="406" y="1356"/>
                  </a:lnTo>
                  <a:lnTo>
                    <a:pt x="414" y="1352"/>
                  </a:lnTo>
                  <a:lnTo>
                    <a:pt x="431" y="1340"/>
                  </a:lnTo>
                  <a:lnTo>
                    <a:pt x="456" y="1311"/>
                  </a:lnTo>
                  <a:lnTo>
                    <a:pt x="456" y="1294"/>
                  </a:lnTo>
                  <a:lnTo>
                    <a:pt x="460" y="1244"/>
                  </a:lnTo>
                  <a:lnTo>
                    <a:pt x="464" y="1099"/>
                  </a:lnTo>
                  <a:lnTo>
                    <a:pt x="472" y="888"/>
                  </a:lnTo>
                  <a:lnTo>
                    <a:pt x="468" y="867"/>
                  </a:lnTo>
                  <a:lnTo>
                    <a:pt x="468" y="850"/>
                  </a:lnTo>
                  <a:lnTo>
                    <a:pt x="472" y="842"/>
                  </a:lnTo>
                  <a:lnTo>
                    <a:pt x="477" y="854"/>
                  </a:lnTo>
                  <a:lnTo>
                    <a:pt x="477" y="871"/>
                  </a:lnTo>
                  <a:lnTo>
                    <a:pt x="477" y="900"/>
                  </a:lnTo>
                  <a:lnTo>
                    <a:pt x="477" y="933"/>
                  </a:lnTo>
                  <a:lnTo>
                    <a:pt x="485" y="946"/>
                  </a:lnTo>
                  <a:lnTo>
                    <a:pt x="493" y="946"/>
                  </a:lnTo>
                  <a:lnTo>
                    <a:pt x="506" y="946"/>
                  </a:lnTo>
                  <a:lnTo>
                    <a:pt x="514" y="950"/>
                  </a:lnTo>
                  <a:lnTo>
                    <a:pt x="518" y="946"/>
                  </a:lnTo>
                  <a:lnTo>
                    <a:pt x="526" y="946"/>
                  </a:lnTo>
                  <a:lnTo>
                    <a:pt x="530" y="946"/>
                  </a:lnTo>
                  <a:lnTo>
                    <a:pt x="535" y="946"/>
                  </a:lnTo>
                  <a:lnTo>
                    <a:pt x="539" y="946"/>
                  </a:lnTo>
                  <a:lnTo>
                    <a:pt x="547" y="937"/>
                  </a:lnTo>
                  <a:lnTo>
                    <a:pt x="547" y="921"/>
                  </a:lnTo>
                  <a:lnTo>
                    <a:pt x="547" y="912"/>
                  </a:lnTo>
                  <a:lnTo>
                    <a:pt x="547" y="883"/>
                  </a:lnTo>
                  <a:lnTo>
                    <a:pt x="543" y="875"/>
                  </a:lnTo>
                  <a:lnTo>
                    <a:pt x="539" y="871"/>
                  </a:lnTo>
                  <a:lnTo>
                    <a:pt x="539" y="867"/>
                  </a:lnTo>
                  <a:lnTo>
                    <a:pt x="535" y="854"/>
                  </a:lnTo>
                  <a:lnTo>
                    <a:pt x="535" y="821"/>
                  </a:lnTo>
                  <a:lnTo>
                    <a:pt x="539" y="767"/>
                  </a:lnTo>
                  <a:lnTo>
                    <a:pt x="539" y="738"/>
                  </a:lnTo>
                  <a:lnTo>
                    <a:pt x="518" y="647"/>
                  </a:lnTo>
                  <a:lnTo>
                    <a:pt x="497" y="539"/>
                  </a:lnTo>
                  <a:lnTo>
                    <a:pt x="485" y="444"/>
                  </a:lnTo>
                  <a:lnTo>
                    <a:pt x="456" y="336"/>
                  </a:lnTo>
                  <a:lnTo>
                    <a:pt x="443" y="307"/>
                  </a:lnTo>
                  <a:lnTo>
                    <a:pt x="431" y="286"/>
                  </a:lnTo>
                  <a:lnTo>
                    <a:pt x="414" y="274"/>
                  </a:lnTo>
                  <a:lnTo>
                    <a:pt x="394" y="270"/>
                  </a:lnTo>
                  <a:lnTo>
                    <a:pt x="381" y="265"/>
                  </a:lnTo>
                  <a:lnTo>
                    <a:pt x="365" y="265"/>
                  </a:lnTo>
                  <a:lnTo>
                    <a:pt x="352" y="270"/>
                  </a:lnTo>
                  <a:lnTo>
                    <a:pt x="340" y="270"/>
                  </a:lnTo>
                  <a:lnTo>
                    <a:pt x="336" y="257"/>
                  </a:lnTo>
                  <a:lnTo>
                    <a:pt x="331" y="245"/>
                  </a:lnTo>
                  <a:lnTo>
                    <a:pt x="331" y="228"/>
                  </a:lnTo>
                  <a:lnTo>
                    <a:pt x="331" y="203"/>
                  </a:lnTo>
                  <a:lnTo>
                    <a:pt x="331" y="174"/>
                  </a:lnTo>
                  <a:lnTo>
                    <a:pt x="331" y="145"/>
                  </a:lnTo>
                  <a:lnTo>
                    <a:pt x="331" y="116"/>
                  </a:lnTo>
                  <a:lnTo>
                    <a:pt x="319" y="83"/>
                  </a:lnTo>
                  <a:lnTo>
                    <a:pt x="315" y="66"/>
                  </a:lnTo>
                  <a:lnTo>
                    <a:pt x="302" y="50"/>
                  </a:lnTo>
                  <a:lnTo>
                    <a:pt x="290" y="37"/>
                  </a:lnTo>
                  <a:lnTo>
                    <a:pt x="277" y="25"/>
                  </a:lnTo>
                  <a:lnTo>
                    <a:pt x="248" y="8"/>
                  </a:lnTo>
                  <a:lnTo>
                    <a:pt x="224" y="0"/>
                  </a:lnTo>
                  <a:lnTo>
                    <a:pt x="190" y="0"/>
                  </a:lnTo>
                  <a:lnTo>
                    <a:pt x="157" y="8"/>
                  </a:lnTo>
                  <a:lnTo>
                    <a:pt x="124" y="17"/>
                  </a:lnTo>
                  <a:lnTo>
                    <a:pt x="107" y="25"/>
                  </a:lnTo>
                  <a:lnTo>
                    <a:pt x="95" y="33"/>
                  </a:lnTo>
                  <a:lnTo>
                    <a:pt x="87" y="46"/>
                  </a:lnTo>
                  <a:lnTo>
                    <a:pt x="87" y="54"/>
                  </a:lnTo>
                  <a:lnTo>
                    <a:pt x="87" y="62"/>
                  </a:lnTo>
                  <a:lnTo>
                    <a:pt x="91" y="71"/>
                  </a:lnTo>
                  <a:lnTo>
                    <a:pt x="87" y="87"/>
                  </a:lnTo>
                  <a:lnTo>
                    <a:pt x="87" y="120"/>
                  </a:lnTo>
                  <a:lnTo>
                    <a:pt x="87" y="133"/>
                  </a:lnTo>
                  <a:lnTo>
                    <a:pt x="91" y="137"/>
                  </a:lnTo>
                  <a:lnTo>
                    <a:pt x="95" y="141"/>
                  </a:lnTo>
                  <a:lnTo>
                    <a:pt x="103" y="149"/>
                  </a:lnTo>
                  <a:lnTo>
                    <a:pt x="95" y="170"/>
                  </a:lnTo>
                  <a:lnTo>
                    <a:pt x="91" y="191"/>
                  </a:lnTo>
                  <a:lnTo>
                    <a:pt x="99" y="195"/>
                  </a:lnTo>
                  <a:lnTo>
                    <a:pt x="107" y="195"/>
                  </a:lnTo>
                  <a:lnTo>
                    <a:pt x="112" y="203"/>
                  </a:lnTo>
                  <a:lnTo>
                    <a:pt x="112" y="207"/>
                  </a:lnTo>
                  <a:lnTo>
                    <a:pt x="116" y="212"/>
                  </a:lnTo>
                  <a:lnTo>
                    <a:pt x="116" y="220"/>
                  </a:lnTo>
                  <a:lnTo>
                    <a:pt x="120" y="224"/>
                  </a:lnTo>
                  <a:lnTo>
                    <a:pt x="124" y="228"/>
                  </a:lnTo>
                  <a:lnTo>
                    <a:pt x="128" y="241"/>
                  </a:lnTo>
                  <a:lnTo>
                    <a:pt x="128" y="249"/>
                  </a:lnTo>
                  <a:lnTo>
                    <a:pt x="132" y="253"/>
                  </a:lnTo>
                  <a:lnTo>
                    <a:pt x="141" y="253"/>
                  </a:lnTo>
                  <a:lnTo>
                    <a:pt x="165" y="253"/>
                  </a:lnTo>
                  <a:lnTo>
                    <a:pt x="174" y="253"/>
                  </a:lnTo>
                  <a:lnTo>
                    <a:pt x="178" y="257"/>
                  </a:lnTo>
                  <a:lnTo>
                    <a:pt x="182" y="265"/>
                  </a:lnTo>
                  <a:lnTo>
                    <a:pt x="182" y="270"/>
                  </a:lnTo>
                  <a:lnTo>
                    <a:pt x="182" y="278"/>
                  </a:lnTo>
                  <a:lnTo>
                    <a:pt x="78" y="394"/>
                  </a:lnTo>
                  <a:lnTo>
                    <a:pt x="70" y="406"/>
                  </a:lnTo>
                  <a:lnTo>
                    <a:pt x="70" y="419"/>
                  </a:lnTo>
                  <a:lnTo>
                    <a:pt x="74" y="448"/>
                  </a:lnTo>
                  <a:lnTo>
                    <a:pt x="70" y="518"/>
                  </a:lnTo>
                  <a:lnTo>
                    <a:pt x="62" y="610"/>
                  </a:lnTo>
                  <a:lnTo>
                    <a:pt x="49" y="713"/>
                  </a:lnTo>
                  <a:lnTo>
                    <a:pt x="16" y="713"/>
                  </a:lnTo>
                  <a:lnTo>
                    <a:pt x="0" y="971"/>
                  </a:lnTo>
                  <a:lnTo>
                    <a:pt x="78" y="971"/>
                  </a:lnTo>
                  <a:lnTo>
                    <a:pt x="83" y="979"/>
                  </a:lnTo>
                  <a:lnTo>
                    <a:pt x="87" y="983"/>
                  </a:lnTo>
                  <a:lnTo>
                    <a:pt x="107" y="987"/>
                  </a:lnTo>
                  <a:lnTo>
                    <a:pt x="128" y="987"/>
                  </a:lnTo>
                  <a:lnTo>
                    <a:pt x="132" y="1016"/>
                  </a:lnTo>
                  <a:lnTo>
                    <a:pt x="136" y="1058"/>
                  </a:lnTo>
                  <a:lnTo>
                    <a:pt x="149" y="1165"/>
                  </a:lnTo>
                  <a:lnTo>
                    <a:pt x="157" y="1261"/>
                  </a:lnTo>
                  <a:lnTo>
                    <a:pt x="165" y="1356"/>
                  </a:lnTo>
                  <a:lnTo>
                    <a:pt x="211" y="1356"/>
                  </a:lnTo>
                  <a:lnTo>
                    <a:pt x="224" y="1373"/>
                  </a:lnTo>
                  <a:lnTo>
                    <a:pt x="257" y="1398"/>
                  </a:lnTo>
                  <a:lnTo>
                    <a:pt x="298" y="1439"/>
                  </a:lnTo>
                  <a:lnTo>
                    <a:pt x="302" y="1539"/>
                  </a:lnTo>
                  <a:lnTo>
                    <a:pt x="307" y="1613"/>
                  </a:lnTo>
                  <a:lnTo>
                    <a:pt x="307" y="1659"/>
                  </a:lnTo>
                  <a:lnTo>
                    <a:pt x="298" y="1688"/>
                  </a:lnTo>
                  <a:lnTo>
                    <a:pt x="294" y="1700"/>
                  </a:lnTo>
                  <a:lnTo>
                    <a:pt x="282" y="1734"/>
                  </a:lnTo>
                  <a:lnTo>
                    <a:pt x="265" y="1759"/>
                  </a:lnTo>
                  <a:lnTo>
                    <a:pt x="244" y="1788"/>
                  </a:lnTo>
                  <a:lnTo>
                    <a:pt x="232" y="1792"/>
                  </a:lnTo>
                  <a:lnTo>
                    <a:pt x="203" y="1804"/>
                  </a:lnTo>
                  <a:lnTo>
                    <a:pt x="174" y="1812"/>
                  </a:lnTo>
                  <a:lnTo>
                    <a:pt x="157" y="1821"/>
                  </a:lnTo>
                  <a:lnTo>
                    <a:pt x="153" y="1825"/>
                  </a:lnTo>
                  <a:lnTo>
                    <a:pt x="153" y="1829"/>
                  </a:lnTo>
                  <a:lnTo>
                    <a:pt x="157" y="1833"/>
                  </a:lnTo>
                  <a:lnTo>
                    <a:pt x="170" y="1841"/>
                  </a:lnTo>
                  <a:lnTo>
                    <a:pt x="178" y="1841"/>
                  </a:lnTo>
                  <a:lnTo>
                    <a:pt x="265" y="1850"/>
                  </a:lnTo>
                  <a:lnTo>
                    <a:pt x="286" y="1850"/>
                  </a:lnTo>
                  <a:lnTo>
                    <a:pt x="307" y="1833"/>
                  </a:lnTo>
                  <a:lnTo>
                    <a:pt x="331" y="1812"/>
                  </a:lnTo>
                  <a:lnTo>
                    <a:pt x="352" y="1796"/>
                  </a:lnTo>
                  <a:lnTo>
                    <a:pt x="356" y="1796"/>
                  </a:lnTo>
                  <a:lnTo>
                    <a:pt x="365" y="1796"/>
                  </a:lnTo>
                  <a:lnTo>
                    <a:pt x="369" y="1800"/>
                  </a:lnTo>
                  <a:lnTo>
                    <a:pt x="365" y="1854"/>
                  </a:lnTo>
                  <a:lnTo>
                    <a:pt x="369" y="1854"/>
                  </a:lnTo>
                  <a:lnTo>
                    <a:pt x="377" y="1854"/>
                  </a:lnTo>
                  <a:lnTo>
                    <a:pt x="381" y="1825"/>
                  </a:lnTo>
                  <a:lnTo>
                    <a:pt x="385" y="1800"/>
                  </a:lnTo>
                  <a:lnTo>
                    <a:pt x="394" y="1779"/>
                  </a:lnTo>
                  <a:lnTo>
                    <a:pt x="402" y="1763"/>
                  </a:lnTo>
                  <a:lnTo>
                    <a:pt x="398" y="1750"/>
                  </a:lnTo>
                  <a:lnTo>
                    <a:pt x="389" y="1734"/>
                  </a:lnTo>
                  <a:lnTo>
                    <a:pt x="381" y="1709"/>
                  </a:lnTo>
                  <a:lnTo>
                    <a:pt x="377" y="1676"/>
                  </a:lnTo>
                  <a:lnTo>
                    <a:pt x="377" y="1651"/>
                  </a:lnTo>
                  <a:lnTo>
                    <a:pt x="381" y="1626"/>
                  </a:lnTo>
                  <a:lnTo>
                    <a:pt x="385" y="1601"/>
                  </a:lnTo>
                  <a:lnTo>
                    <a:pt x="398" y="1547"/>
                  </a:lnTo>
                  <a:lnTo>
                    <a:pt x="402" y="1510"/>
                  </a:lnTo>
                  <a:lnTo>
                    <a:pt x="435" y="1530"/>
                  </a:lnTo>
                  <a:lnTo>
                    <a:pt x="468" y="1551"/>
                  </a:lnTo>
                  <a:lnTo>
                    <a:pt x="501" y="1584"/>
                  </a:lnTo>
                  <a:lnTo>
                    <a:pt x="547" y="1642"/>
                  </a:lnTo>
                  <a:lnTo>
                    <a:pt x="555" y="1647"/>
                  </a:lnTo>
                  <a:lnTo>
                    <a:pt x="564" y="1659"/>
                  </a:lnTo>
                  <a:lnTo>
                    <a:pt x="572" y="1688"/>
                  </a:lnTo>
                  <a:lnTo>
                    <a:pt x="576" y="1734"/>
                  </a:lnTo>
                  <a:lnTo>
                    <a:pt x="576" y="1767"/>
                  </a:lnTo>
                  <a:lnTo>
                    <a:pt x="580" y="1775"/>
                  </a:lnTo>
                  <a:lnTo>
                    <a:pt x="589" y="1775"/>
                  </a:lnTo>
                  <a:lnTo>
                    <a:pt x="589" y="1771"/>
                  </a:lnTo>
                  <a:lnTo>
                    <a:pt x="605" y="1746"/>
                  </a:lnTo>
                  <a:lnTo>
                    <a:pt x="626" y="1709"/>
                  </a:lnTo>
                  <a:lnTo>
                    <a:pt x="630" y="1692"/>
                  </a:lnTo>
                  <a:lnTo>
                    <a:pt x="634" y="1671"/>
                  </a:lnTo>
                  <a:lnTo>
                    <a:pt x="626" y="1647"/>
                  </a:lnTo>
                  <a:lnTo>
                    <a:pt x="613" y="1622"/>
                  </a:lnTo>
                  <a:lnTo>
                    <a:pt x="597" y="1593"/>
                  </a:lnTo>
                  <a:lnTo>
                    <a:pt x="589" y="1568"/>
                  </a:lnTo>
                  <a:lnTo>
                    <a:pt x="589" y="1543"/>
                  </a:lnTo>
                  <a:lnTo>
                    <a:pt x="642" y="1559"/>
                  </a:lnTo>
                  <a:close/>
                  <a:moveTo>
                    <a:pt x="373" y="635"/>
                  </a:moveTo>
                  <a:lnTo>
                    <a:pt x="373" y="635"/>
                  </a:lnTo>
                  <a:lnTo>
                    <a:pt x="381" y="614"/>
                  </a:lnTo>
                  <a:lnTo>
                    <a:pt x="389" y="597"/>
                  </a:lnTo>
                  <a:lnTo>
                    <a:pt x="394" y="597"/>
                  </a:lnTo>
                  <a:lnTo>
                    <a:pt x="398" y="610"/>
                  </a:lnTo>
                  <a:lnTo>
                    <a:pt x="406" y="630"/>
                  </a:lnTo>
                  <a:lnTo>
                    <a:pt x="414" y="676"/>
                  </a:lnTo>
                  <a:lnTo>
                    <a:pt x="414" y="701"/>
                  </a:lnTo>
                  <a:lnTo>
                    <a:pt x="394" y="668"/>
                  </a:lnTo>
                  <a:lnTo>
                    <a:pt x="373"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nvGrpSpPr>
            <p:cNvPr id="14389" name="Gruppe 955"/>
            <p:cNvGrpSpPr>
              <a:grpSpLocks/>
            </p:cNvGrpSpPr>
            <p:nvPr/>
          </p:nvGrpSpPr>
          <p:grpSpPr bwMode="auto">
            <a:xfrm>
              <a:off x="1397000" y="2687274"/>
              <a:ext cx="1411295" cy="3138853"/>
              <a:chOff x="1397000" y="2687274"/>
              <a:chExt cx="1411295" cy="3138852"/>
            </a:xfrm>
            <a:grpFill/>
          </p:grpSpPr>
          <p:sp>
            <p:nvSpPr>
              <p:cNvPr id="165" name="Freeform 810"/>
              <p:cNvSpPr>
                <a:spLocks/>
              </p:cNvSpPr>
              <p:nvPr/>
            </p:nvSpPr>
            <p:spPr bwMode="auto">
              <a:xfrm>
                <a:off x="1396978" y="2687274"/>
                <a:ext cx="1411317" cy="3140693"/>
              </a:xfrm>
              <a:custGeom>
                <a:avLst/>
                <a:gdLst>
                  <a:gd name="T0" fmla="*/ 2147483647 w 772"/>
                  <a:gd name="T1" fmla="*/ 2147483647 h 1717"/>
                  <a:gd name="T2" fmla="*/ 2147483647 w 772"/>
                  <a:gd name="T3" fmla="*/ 2147483647 h 1717"/>
                  <a:gd name="T4" fmla="*/ 2147483647 w 772"/>
                  <a:gd name="T5" fmla="*/ 2147483647 h 1717"/>
                  <a:gd name="T6" fmla="*/ 2147483647 w 772"/>
                  <a:gd name="T7" fmla="*/ 2147483647 h 1717"/>
                  <a:gd name="T8" fmla="*/ 2147483647 w 772"/>
                  <a:gd name="T9" fmla="*/ 2147483647 h 1717"/>
                  <a:gd name="T10" fmla="*/ 2147483647 w 772"/>
                  <a:gd name="T11" fmla="*/ 2147483647 h 1717"/>
                  <a:gd name="T12" fmla="*/ 2147483647 w 772"/>
                  <a:gd name="T13" fmla="*/ 2147483647 h 1717"/>
                  <a:gd name="T14" fmla="*/ 2147483647 w 772"/>
                  <a:gd name="T15" fmla="*/ 2147483647 h 1717"/>
                  <a:gd name="T16" fmla="*/ 2147483647 w 772"/>
                  <a:gd name="T17" fmla="*/ 2147483647 h 1717"/>
                  <a:gd name="T18" fmla="*/ 2147483647 w 772"/>
                  <a:gd name="T19" fmla="*/ 2147483647 h 1717"/>
                  <a:gd name="T20" fmla="*/ 2147483647 w 772"/>
                  <a:gd name="T21" fmla="*/ 2147483647 h 1717"/>
                  <a:gd name="T22" fmla="*/ 2147483647 w 772"/>
                  <a:gd name="T23" fmla="*/ 2147483647 h 1717"/>
                  <a:gd name="T24" fmla="*/ 2147483647 w 772"/>
                  <a:gd name="T25" fmla="*/ 2147483647 h 1717"/>
                  <a:gd name="T26" fmla="*/ 2147483647 w 772"/>
                  <a:gd name="T27" fmla="*/ 2147483647 h 1717"/>
                  <a:gd name="T28" fmla="*/ 2147483647 w 772"/>
                  <a:gd name="T29" fmla="*/ 2147483647 h 1717"/>
                  <a:gd name="T30" fmla="*/ 2147483647 w 772"/>
                  <a:gd name="T31" fmla="*/ 2147483647 h 1717"/>
                  <a:gd name="T32" fmla="*/ 2147483647 w 772"/>
                  <a:gd name="T33" fmla="*/ 2147483647 h 1717"/>
                  <a:gd name="T34" fmla="*/ 2147483647 w 772"/>
                  <a:gd name="T35" fmla="*/ 2147483647 h 1717"/>
                  <a:gd name="T36" fmla="*/ 2147483647 w 772"/>
                  <a:gd name="T37" fmla="*/ 2147483647 h 1717"/>
                  <a:gd name="T38" fmla="*/ 2147483647 w 772"/>
                  <a:gd name="T39" fmla="*/ 2147483647 h 1717"/>
                  <a:gd name="T40" fmla="*/ 2147483647 w 772"/>
                  <a:gd name="T41" fmla="*/ 2147483647 h 1717"/>
                  <a:gd name="T42" fmla="*/ 2147483647 w 772"/>
                  <a:gd name="T43" fmla="*/ 2147483647 h 1717"/>
                  <a:gd name="T44" fmla="*/ 2147483647 w 772"/>
                  <a:gd name="T45" fmla="*/ 2147483647 h 1717"/>
                  <a:gd name="T46" fmla="*/ 2147483647 w 772"/>
                  <a:gd name="T47" fmla="*/ 2147483647 h 1717"/>
                  <a:gd name="T48" fmla="*/ 2147483647 w 772"/>
                  <a:gd name="T49" fmla="*/ 2147483647 h 1717"/>
                  <a:gd name="T50" fmla="*/ 2147483647 w 772"/>
                  <a:gd name="T51" fmla="*/ 2147483647 h 1717"/>
                  <a:gd name="T52" fmla="*/ 2147483647 w 772"/>
                  <a:gd name="T53" fmla="*/ 2147483647 h 1717"/>
                  <a:gd name="T54" fmla="*/ 2147483647 w 772"/>
                  <a:gd name="T55" fmla="*/ 2147483647 h 1717"/>
                  <a:gd name="T56" fmla="*/ 2147483647 w 772"/>
                  <a:gd name="T57" fmla="*/ 2147483647 h 1717"/>
                  <a:gd name="T58" fmla="*/ 2147483647 w 772"/>
                  <a:gd name="T59" fmla="*/ 2147483647 h 1717"/>
                  <a:gd name="T60" fmla="*/ 2147483647 w 772"/>
                  <a:gd name="T61" fmla="*/ 2147483647 h 1717"/>
                  <a:gd name="T62" fmla="*/ 2147483647 w 772"/>
                  <a:gd name="T63" fmla="*/ 2147483647 h 1717"/>
                  <a:gd name="T64" fmla="*/ 2147483647 w 772"/>
                  <a:gd name="T65" fmla="*/ 2147483647 h 1717"/>
                  <a:gd name="T66" fmla="*/ 2147483647 w 772"/>
                  <a:gd name="T67" fmla="*/ 2147483647 h 1717"/>
                  <a:gd name="T68" fmla="*/ 2147483647 w 772"/>
                  <a:gd name="T69" fmla="*/ 2147483647 h 1717"/>
                  <a:gd name="T70" fmla="*/ 2147483647 w 772"/>
                  <a:gd name="T71" fmla="*/ 2147483647 h 1717"/>
                  <a:gd name="T72" fmla="*/ 2147483647 w 772"/>
                  <a:gd name="T73" fmla="*/ 2147483647 h 1717"/>
                  <a:gd name="T74" fmla="*/ 2147483647 w 772"/>
                  <a:gd name="T75" fmla="*/ 2147483647 h 1717"/>
                  <a:gd name="T76" fmla="*/ 2147483647 w 772"/>
                  <a:gd name="T77" fmla="*/ 2147483647 h 1717"/>
                  <a:gd name="T78" fmla="*/ 2147483647 w 772"/>
                  <a:gd name="T79" fmla="*/ 2147483647 h 1717"/>
                  <a:gd name="T80" fmla="*/ 2147483647 w 772"/>
                  <a:gd name="T81" fmla="*/ 2147483647 h 1717"/>
                  <a:gd name="T82" fmla="*/ 2147483647 w 772"/>
                  <a:gd name="T83" fmla="*/ 2147483647 h 1717"/>
                  <a:gd name="T84" fmla="*/ 2147483647 w 772"/>
                  <a:gd name="T85" fmla="*/ 2147483647 h 1717"/>
                  <a:gd name="T86" fmla="*/ 2147483647 w 772"/>
                  <a:gd name="T87" fmla="*/ 2147483647 h 1717"/>
                  <a:gd name="T88" fmla="*/ 2147483647 w 772"/>
                  <a:gd name="T89" fmla="*/ 2147483647 h 1717"/>
                  <a:gd name="T90" fmla="*/ 2147483647 w 772"/>
                  <a:gd name="T91" fmla="*/ 2147483647 h 1717"/>
                  <a:gd name="T92" fmla="*/ 2147483647 w 772"/>
                  <a:gd name="T93" fmla="*/ 2147483647 h 1717"/>
                  <a:gd name="T94" fmla="*/ 2147483647 w 772"/>
                  <a:gd name="T95" fmla="*/ 2147483647 h 1717"/>
                  <a:gd name="T96" fmla="*/ 2147483647 w 772"/>
                  <a:gd name="T97" fmla="*/ 2147483647 h 1717"/>
                  <a:gd name="T98" fmla="*/ 2147483647 w 772"/>
                  <a:gd name="T99" fmla="*/ 2147483647 h 1717"/>
                  <a:gd name="T100" fmla="*/ 2147483647 w 772"/>
                  <a:gd name="T101" fmla="*/ 2147483647 h 1717"/>
                  <a:gd name="T102" fmla="*/ 2147483647 w 772"/>
                  <a:gd name="T103" fmla="*/ 2147483647 h 1717"/>
                  <a:gd name="T104" fmla="*/ 2147483647 w 772"/>
                  <a:gd name="T105" fmla="*/ 2147483647 h 1717"/>
                  <a:gd name="T106" fmla="*/ 2147483647 w 772"/>
                  <a:gd name="T107" fmla="*/ 2147483647 h 17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2"/>
                  <a:gd name="T163" fmla="*/ 0 h 1717"/>
                  <a:gd name="T164" fmla="*/ 772 w 772"/>
                  <a:gd name="T165" fmla="*/ 1717 h 17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2" h="1717">
                    <a:moveTo>
                      <a:pt x="498" y="502"/>
                    </a:moveTo>
                    <a:lnTo>
                      <a:pt x="498" y="502"/>
                    </a:lnTo>
                    <a:lnTo>
                      <a:pt x="502" y="535"/>
                    </a:lnTo>
                    <a:lnTo>
                      <a:pt x="502" y="551"/>
                    </a:lnTo>
                    <a:lnTo>
                      <a:pt x="498" y="576"/>
                    </a:lnTo>
                    <a:lnTo>
                      <a:pt x="477" y="639"/>
                    </a:lnTo>
                    <a:lnTo>
                      <a:pt x="465" y="663"/>
                    </a:lnTo>
                    <a:lnTo>
                      <a:pt x="457" y="680"/>
                    </a:lnTo>
                    <a:lnTo>
                      <a:pt x="452" y="692"/>
                    </a:lnTo>
                    <a:lnTo>
                      <a:pt x="444" y="713"/>
                    </a:lnTo>
                    <a:lnTo>
                      <a:pt x="440" y="742"/>
                    </a:lnTo>
                    <a:lnTo>
                      <a:pt x="440" y="755"/>
                    </a:lnTo>
                    <a:lnTo>
                      <a:pt x="440" y="771"/>
                    </a:lnTo>
                    <a:lnTo>
                      <a:pt x="428" y="788"/>
                    </a:lnTo>
                    <a:lnTo>
                      <a:pt x="423" y="796"/>
                    </a:lnTo>
                    <a:lnTo>
                      <a:pt x="423" y="809"/>
                    </a:lnTo>
                    <a:lnTo>
                      <a:pt x="423" y="892"/>
                    </a:lnTo>
                    <a:lnTo>
                      <a:pt x="415" y="900"/>
                    </a:lnTo>
                    <a:lnTo>
                      <a:pt x="411" y="908"/>
                    </a:lnTo>
                    <a:lnTo>
                      <a:pt x="436" y="904"/>
                    </a:lnTo>
                    <a:lnTo>
                      <a:pt x="440" y="904"/>
                    </a:lnTo>
                    <a:lnTo>
                      <a:pt x="448" y="908"/>
                    </a:lnTo>
                    <a:lnTo>
                      <a:pt x="457" y="912"/>
                    </a:lnTo>
                    <a:lnTo>
                      <a:pt x="610" y="1099"/>
                    </a:lnTo>
                    <a:lnTo>
                      <a:pt x="614" y="1103"/>
                    </a:lnTo>
                    <a:lnTo>
                      <a:pt x="622" y="1120"/>
                    </a:lnTo>
                    <a:lnTo>
                      <a:pt x="627" y="1128"/>
                    </a:lnTo>
                    <a:lnTo>
                      <a:pt x="627" y="1140"/>
                    </a:lnTo>
                    <a:lnTo>
                      <a:pt x="627" y="1149"/>
                    </a:lnTo>
                    <a:lnTo>
                      <a:pt x="614" y="1161"/>
                    </a:lnTo>
                    <a:lnTo>
                      <a:pt x="552" y="1227"/>
                    </a:lnTo>
                    <a:lnTo>
                      <a:pt x="585" y="1269"/>
                    </a:lnTo>
                    <a:lnTo>
                      <a:pt x="618" y="1302"/>
                    </a:lnTo>
                    <a:lnTo>
                      <a:pt x="631" y="1315"/>
                    </a:lnTo>
                    <a:lnTo>
                      <a:pt x="647" y="1319"/>
                    </a:lnTo>
                    <a:lnTo>
                      <a:pt x="660" y="1327"/>
                    </a:lnTo>
                    <a:lnTo>
                      <a:pt x="668" y="1339"/>
                    </a:lnTo>
                    <a:lnTo>
                      <a:pt x="676" y="1348"/>
                    </a:lnTo>
                    <a:lnTo>
                      <a:pt x="681" y="1360"/>
                    </a:lnTo>
                    <a:lnTo>
                      <a:pt x="693" y="1360"/>
                    </a:lnTo>
                    <a:lnTo>
                      <a:pt x="701" y="1360"/>
                    </a:lnTo>
                    <a:lnTo>
                      <a:pt x="730" y="1364"/>
                    </a:lnTo>
                    <a:lnTo>
                      <a:pt x="747" y="1373"/>
                    </a:lnTo>
                    <a:lnTo>
                      <a:pt x="755" y="1381"/>
                    </a:lnTo>
                    <a:lnTo>
                      <a:pt x="755" y="1385"/>
                    </a:lnTo>
                    <a:lnTo>
                      <a:pt x="759" y="1422"/>
                    </a:lnTo>
                    <a:lnTo>
                      <a:pt x="764" y="1443"/>
                    </a:lnTo>
                    <a:lnTo>
                      <a:pt x="751" y="1443"/>
                    </a:lnTo>
                    <a:lnTo>
                      <a:pt x="755" y="1472"/>
                    </a:lnTo>
                    <a:lnTo>
                      <a:pt x="764" y="1497"/>
                    </a:lnTo>
                    <a:lnTo>
                      <a:pt x="768" y="1514"/>
                    </a:lnTo>
                    <a:lnTo>
                      <a:pt x="772" y="1534"/>
                    </a:lnTo>
                    <a:lnTo>
                      <a:pt x="768" y="1555"/>
                    </a:lnTo>
                    <a:lnTo>
                      <a:pt x="759" y="1597"/>
                    </a:lnTo>
                    <a:lnTo>
                      <a:pt x="747" y="1630"/>
                    </a:lnTo>
                    <a:lnTo>
                      <a:pt x="739" y="1646"/>
                    </a:lnTo>
                    <a:lnTo>
                      <a:pt x="739" y="1651"/>
                    </a:lnTo>
                    <a:lnTo>
                      <a:pt x="726" y="1663"/>
                    </a:lnTo>
                    <a:lnTo>
                      <a:pt x="722" y="1667"/>
                    </a:lnTo>
                    <a:lnTo>
                      <a:pt x="714" y="1671"/>
                    </a:lnTo>
                    <a:lnTo>
                      <a:pt x="701" y="1671"/>
                    </a:lnTo>
                    <a:lnTo>
                      <a:pt x="689" y="1671"/>
                    </a:lnTo>
                    <a:lnTo>
                      <a:pt x="681" y="1659"/>
                    </a:lnTo>
                    <a:lnTo>
                      <a:pt x="676" y="1642"/>
                    </a:lnTo>
                    <a:lnTo>
                      <a:pt x="672" y="1622"/>
                    </a:lnTo>
                    <a:lnTo>
                      <a:pt x="664" y="1580"/>
                    </a:lnTo>
                    <a:lnTo>
                      <a:pt x="660" y="1563"/>
                    </a:lnTo>
                    <a:lnTo>
                      <a:pt x="660" y="1551"/>
                    </a:lnTo>
                    <a:lnTo>
                      <a:pt x="656" y="1510"/>
                    </a:lnTo>
                    <a:lnTo>
                      <a:pt x="652" y="1501"/>
                    </a:lnTo>
                    <a:lnTo>
                      <a:pt x="647" y="1497"/>
                    </a:lnTo>
                    <a:lnTo>
                      <a:pt x="643" y="1493"/>
                    </a:lnTo>
                    <a:lnTo>
                      <a:pt x="635" y="1493"/>
                    </a:lnTo>
                    <a:lnTo>
                      <a:pt x="627" y="1493"/>
                    </a:lnTo>
                    <a:lnTo>
                      <a:pt x="614" y="1489"/>
                    </a:lnTo>
                    <a:lnTo>
                      <a:pt x="598" y="1472"/>
                    </a:lnTo>
                    <a:lnTo>
                      <a:pt x="548" y="1427"/>
                    </a:lnTo>
                    <a:lnTo>
                      <a:pt x="511" y="1398"/>
                    </a:lnTo>
                    <a:lnTo>
                      <a:pt x="432" y="1331"/>
                    </a:lnTo>
                    <a:lnTo>
                      <a:pt x="378" y="1393"/>
                    </a:lnTo>
                    <a:lnTo>
                      <a:pt x="369" y="1398"/>
                    </a:lnTo>
                    <a:lnTo>
                      <a:pt x="357" y="1402"/>
                    </a:lnTo>
                    <a:lnTo>
                      <a:pt x="349" y="1402"/>
                    </a:lnTo>
                    <a:lnTo>
                      <a:pt x="336" y="1398"/>
                    </a:lnTo>
                    <a:lnTo>
                      <a:pt x="324" y="1393"/>
                    </a:lnTo>
                    <a:lnTo>
                      <a:pt x="307" y="1381"/>
                    </a:lnTo>
                    <a:lnTo>
                      <a:pt x="274" y="1344"/>
                    </a:lnTo>
                    <a:lnTo>
                      <a:pt x="287" y="1451"/>
                    </a:lnTo>
                    <a:lnTo>
                      <a:pt x="295" y="1526"/>
                    </a:lnTo>
                    <a:lnTo>
                      <a:pt x="303" y="1563"/>
                    </a:lnTo>
                    <a:lnTo>
                      <a:pt x="307" y="1580"/>
                    </a:lnTo>
                    <a:lnTo>
                      <a:pt x="311" y="1609"/>
                    </a:lnTo>
                    <a:lnTo>
                      <a:pt x="316" y="1646"/>
                    </a:lnTo>
                    <a:lnTo>
                      <a:pt x="316" y="1713"/>
                    </a:lnTo>
                    <a:lnTo>
                      <a:pt x="237" y="1713"/>
                    </a:lnTo>
                    <a:lnTo>
                      <a:pt x="237" y="1696"/>
                    </a:lnTo>
                    <a:lnTo>
                      <a:pt x="224" y="1696"/>
                    </a:lnTo>
                    <a:lnTo>
                      <a:pt x="199" y="1700"/>
                    </a:lnTo>
                    <a:lnTo>
                      <a:pt x="183" y="1709"/>
                    </a:lnTo>
                    <a:lnTo>
                      <a:pt x="179" y="1713"/>
                    </a:lnTo>
                    <a:lnTo>
                      <a:pt x="170" y="1717"/>
                    </a:lnTo>
                    <a:lnTo>
                      <a:pt x="92" y="1717"/>
                    </a:lnTo>
                    <a:lnTo>
                      <a:pt x="38" y="1717"/>
                    </a:lnTo>
                    <a:lnTo>
                      <a:pt x="17" y="1717"/>
                    </a:lnTo>
                    <a:lnTo>
                      <a:pt x="9" y="1713"/>
                    </a:lnTo>
                    <a:lnTo>
                      <a:pt x="4" y="1709"/>
                    </a:lnTo>
                    <a:lnTo>
                      <a:pt x="0" y="1696"/>
                    </a:lnTo>
                    <a:lnTo>
                      <a:pt x="4" y="1684"/>
                    </a:lnTo>
                    <a:lnTo>
                      <a:pt x="9" y="1680"/>
                    </a:lnTo>
                    <a:lnTo>
                      <a:pt x="29" y="1675"/>
                    </a:lnTo>
                    <a:lnTo>
                      <a:pt x="58" y="1671"/>
                    </a:lnTo>
                    <a:lnTo>
                      <a:pt x="75" y="1667"/>
                    </a:lnTo>
                    <a:lnTo>
                      <a:pt x="104" y="1659"/>
                    </a:lnTo>
                    <a:lnTo>
                      <a:pt x="125" y="1646"/>
                    </a:lnTo>
                    <a:lnTo>
                      <a:pt x="133" y="1638"/>
                    </a:lnTo>
                    <a:lnTo>
                      <a:pt x="137" y="1630"/>
                    </a:lnTo>
                    <a:lnTo>
                      <a:pt x="137" y="1609"/>
                    </a:lnTo>
                    <a:lnTo>
                      <a:pt x="137" y="1588"/>
                    </a:lnTo>
                    <a:lnTo>
                      <a:pt x="133" y="1572"/>
                    </a:lnTo>
                    <a:lnTo>
                      <a:pt x="129" y="1480"/>
                    </a:lnTo>
                    <a:lnTo>
                      <a:pt x="125" y="1431"/>
                    </a:lnTo>
                    <a:lnTo>
                      <a:pt x="116" y="1406"/>
                    </a:lnTo>
                    <a:lnTo>
                      <a:pt x="108" y="1389"/>
                    </a:lnTo>
                    <a:lnTo>
                      <a:pt x="108" y="1381"/>
                    </a:lnTo>
                    <a:lnTo>
                      <a:pt x="104" y="1369"/>
                    </a:lnTo>
                    <a:lnTo>
                      <a:pt x="100" y="1335"/>
                    </a:lnTo>
                    <a:lnTo>
                      <a:pt x="100" y="1269"/>
                    </a:lnTo>
                    <a:lnTo>
                      <a:pt x="96" y="1232"/>
                    </a:lnTo>
                    <a:lnTo>
                      <a:pt x="96" y="1207"/>
                    </a:lnTo>
                    <a:lnTo>
                      <a:pt x="92" y="1132"/>
                    </a:lnTo>
                    <a:lnTo>
                      <a:pt x="92" y="1066"/>
                    </a:lnTo>
                    <a:lnTo>
                      <a:pt x="92" y="1033"/>
                    </a:lnTo>
                    <a:lnTo>
                      <a:pt x="96" y="995"/>
                    </a:lnTo>
                    <a:lnTo>
                      <a:pt x="100" y="970"/>
                    </a:lnTo>
                    <a:lnTo>
                      <a:pt x="100" y="954"/>
                    </a:lnTo>
                    <a:lnTo>
                      <a:pt x="96" y="945"/>
                    </a:lnTo>
                    <a:lnTo>
                      <a:pt x="87" y="937"/>
                    </a:lnTo>
                    <a:lnTo>
                      <a:pt x="79" y="933"/>
                    </a:lnTo>
                    <a:lnTo>
                      <a:pt x="87" y="871"/>
                    </a:lnTo>
                    <a:lnTo>
                      <a:pt x="100" y="821"/>
                    </a:lnTo>
                    <a:lnTo>
                      <a:pt x="112" y="775"/>
                    </a:lnTo>
                    <a:lnTo>
                      <a:pt x="116" y="759"/>
                    </a:lnTo>
                    <a:lnTo>
                      <a:pt x="121" y="738"/>
                    </a:lnTo>
                    <a:lnTo>
                      <a:pt x="125" y="697"/>
                    </a:lnTo>
                    <a:lnTo>
                      <a:pt x="125" y="643"/>
                    </a:lnTo>
                    <a:lnTo>
                      <a:pt x="129" y="572"/>
                    </a:lnTo>
                    <a:lnTo>
                      <a:pt x="112" y="493"/>
                    </a:lnTo>
                    <a:lnTo>
                      <a:pt x="100" y="406"/>
                    </a:lnTo>
                    <a:lnTo>
                      <a:pt x="104" y="398"/>
                    </a:lnTo>
                    <a:lnTo>
                      <a:pt x="112" y="386"/>
                    </a:lnTo>
                    <a:lnTo>
                      <a:pt x="146" y="348"/>
                    </a:lnTo>
                    <a:lnTo>
                      <a:pt x="187" y="298"/>
                    </a:lnTo>
                    <a:lnTo>
                      <a:pt x="179" y="265"/>
                    </a:lnTo>
                    <a:lnTo>
                      <a:pt x="170" y="245"/>
                    </a:lnTo>
                    <a:lnTo>
                      <a:pt x="166" y="236"/>
                    </a:lnTo>
                    <a:lnTo>
                      <a:pt x="150" y="240"/>
                    </a:lnTo>
                    <a:lnTo>
                      <a:pt x="141" y="240"/>
                    </a:lnTo>
                    <a:lnTo>
                      <a:pt x="133" y="240"/>
                    </a:lnTo>
                    <a:lnTo>
                      <a:pt x="129" y="232"/>
                    </a:lnTo>
                    <a:lnTo>
                      <a:pt x="108" y="199"/>
                    </a:lnTo>
                    <a:lnTo>
                      <a:pt x="96" y="166"/>
                    </a:lnTo>
                    <a:lnTo>
                      <a:pt x="92" y="157"/>
                    </a:lnTo>
                    <a:lnTo>
                      <a:pt x="92" y="137"/>
                    </a:lnTo>
                    <a:lnTo>
                      <a:pt x="87" y="128"/>
                    </a:lnTo>
                    <a:lnTo>
                      <a:pt x="87" y="124"/>
                    </a:lnTo>
                    <a:lnTo>
                      <a:pt x="79" y="116"/>
                    </a:lnTo>
                    <a:lnTo>
                      <a:pt x="79" y="91"/>
                    </a:lnTo>
                    <a:lnTo>
                      <a:pt x="79" y="70"/>
                    </a:lnTo>
                    <a:lnTo>
                      <a:pt x="79" y="58"/>
                    </a:lnTo>
                    <a:lnTo>
                      <a:pt x="87" y="41"/>
                    </a:lnTo>
                    <a:lnTo>
                      <a:pt x="87" y="37"/>
                    </a:lnTo>
                    <a:lnTo>
                      <a:pt x="92" y="25"/>
                    </a:lnTo>
                    <a:lnTo>
                      <a:pt x="96" y="21"/>
                    </a:lnTo>
                    <a:lnTo>
                      <a:pt x="104" y="12"/>
                    </a:lnTo>
                    <a:lnTo>
                      <a:pt x="112" y="8"/>
                    </a:lnTo>
                    <a:lnTo>
                      <a:pt x="129" y="4"/>
                    </a:lnTo>
                    <a:lnTo>
                      <a:pt x="154" y="0"/>
                    </a:lnTo>
                    <a:lnTo>
                      <a:pt x="191" y="0"/>
                    </a:lnTo>
                    <a:lnTo>
                      <a:pt x="208" y="0"/>
                    </a:lnTo>
                    <a:lnTo>
                      <a:pt x="224" y="8"/>
                    </a:lnTo>
                    <a:lnTo>
                      <a:pt x="237" y="16"/>
                    </a:lnTo>
                    <a:lnTo>
                      <a:pt x="249" y="33"/>
                    </a:lnTo>
                    <a:lnTo>
                      <a:pt x="262" y="62"/>
                    </a:lnTo>
                    <a:lnTo>
                      <a:pt x="270" y="91"/>
                    </a:lnTo>
                    <a:lnTo>
                      <a:pt x="274" y="112"/>
                    </a:lnTo>
                    <a:lnTo>
                      <a:pt x="270" y="124"/>
                    </a:lnTo>
                    <a:lnTo>
                      <a:pt x="266" y="137"/>
                    </a:lnTo>
                    <a:lnTo>
                      <a:pt x="262" y="157"/>
                    </a:lnTo>
                    <a:lnTo>
                      <a:pt x="262" y="178"/>
                    </a:lnTo>
                    <a:lnTo>
                      <a:pt x="266" y="186"/>
                    </a:lnTo>
                    <a:lnTo>
                      <a:pt x="274" y="195"/>
                    </a:lnTo>
                    <a:lnTo>
                      <a:pt x="287" y="203"/>
                    </a:lnTo>
                    <a:lnTo>
                      <a:pt x="299" y="211"/>
                    </a:lnTo>
                    <a:lnTo>
                      <a:pt x="311" y="220"/>
                    </a:lnTo>
                    <a:lnTo>
                      <a:pt x="361" y="228"/>
                    </a:lnTo>
                    <a:lnTo>
                      <a:pt x="382" y="232"/>
                    </a:lnTo>
                    <a:lnTo>
                      <a:pt x="399" y="236"/>
                    </a:lnTo>
                    <a:lnTo>
                      <a:pt x="415" y="249"/>
                    </a:lnTo>
                    <a:lnTo>
                      <a:pt x="428" y="269"/>
                    </a:lnTo>
                    <a:lnTo>
                      <a:pt x="440" y="294"/>
                    </a:lnTo>
                    <a:lnTo>
                      <a:pt x="452" y="319"/>
                    </a:lnTo>
                    <a:lnTo>
                      <a:pt x="457" y="340"/>
                    </a:lnTo>
                    <a:lnTo>
                      <a:pt x="461" y="365"/>
                    </a:lnTo>
                    <a:lnTo>
                      <a:pt x="469" y="402"/>
                    </a:lnTo>
                    <a:lnTo>
                      <a:pt x="486" y="448"/>
                    </a:lnTo>
                    <a:lnTo>
                      <a:pt x="498" y="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4391" name="Freeform 813"/>
              <p:cNvSpPr>
                <a:spLocks/>
              </p:cNvSpPr>
              <p:nvPr/>
            </p:nvSpPr>
            <p:spPr bwMode="auto">
              <a:xfrm>
                <a:off x="1660525" y="3389313"/>
                <a:ext cx="177800" cy="376238"/>
              </a:xfrm>
              <a:custGeom>
                <a:avLst/>
                <a:gdLst>
                  <a:gd name="T0" fmla="*/ 0 w 112"/>
                  <a:gd name="T1" fmla="*/ 2147483647 h 237"/>
                  <a:gd name="T2" fmla="*/ 0 w 112"/>
                  <a:gd name="T3" fmla="*/ 2147483647 h 237"/>
                  <a:gd name="T4" fmla="*/ 2147483647 w 112"/>
                  <a:gd name="T5" fmla="*/ 2147483647 h 237"/>
                  <a:gd name="T6" fmla="*/ 0 w 112"/>
                  <a:gd name="T7" fmla="*/ 2147483647 h 237"/>
                  <a:gd name="T8" fmla="*/ 0 w 112"/>
                  <a:gd name="T9" fmla="*/ 2147483647 h 237"/>
                  <a:gd name="T10" fmla="*/ 0 w 112"/>
                  <a:gd name="T11" fmla="*/ 2147483647 h 237"/>
                  <a:gd name="T12" fmla="*/ 2147483647 w 112"/>
                  <a:gd name="T13" fmla="*/ 2147483647 h 237"/>
                  <a:gd name="T14" fmla="*/ 2147483647 w 112"/>
                  <a:gd name="T15" fmla="*/ 2147483647 h 237"/>
                  <a:gd name="T16" fmla="*/ 2147483647 w 112"/>
                  <a:gd name="T17" fmla="*/ 2147483647 h 237"/>
                  <a:gd name="T18" fmla="*/ 2147483647 w 112"/>
                  <a:gd name="T19" fmla="*/ 2147483647 h 237"/>
                  <a:gd name="T20" fmla="*/ 2147483647 w 112"/>
                  <a:gd name="T21" fmla="*/ 0 h 237"/>
                  <a:gd name="T22" fmla="*/ 2147483647 w 112"/>
                  <a:gd name="T23" fmla="*/ 0 h 237"/>
                  <a:gd name="T24" fmla="*/ 2147483647 w 112"/>
                  <a:gd name="T25" fmla="*/ 2147483647 h 237"/>
                  <a:gd name="T26" fmla="*/ 2147483647 w 112"/>
                  <a:gd name="T27" fmla="*/ 2147483647 h 237"/>
                  <a:gd name="T28" fmla="*/ 2147483647 w 112"/>
                  <a:gd name="T29" fmla="*/ 2147483647 h 237"/>
                  <a:gd name="T30" fmla="*/ 2147483647 w 112"/>
                  <a:gd name="T31" fmla="*/ 2147483647 h 237"/>
                  <a:gd name="T32" fmla="*/ 2147483647 w 112"/>
                  <a:gd name="T33" fmla="*/ 2147483647 h 237"/>
                  <a:gd name="T34" fmla="*/ 2147483647 w 112"/>
                  <a:gd name="T35" fmla="*/ 2147483647 h 237"/>
                  <a:gd name="T36" fmla="*/ 0 w 112"/>
                  <a:gd name="T37" fmla="*/ 2147483647 h 237"/>
                  <a:gd name="T38" fmla="*/ 0 w 112"/>
                  <a:gd name="T39" fmla="*/ 2147483647 h 2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237"/>
                  <a:gd name="T62" fmla="*/ 112 w 112"/>
                  <a:gd name="T63" fmla="*/ 237 h 2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237">
                    <a:moveTo>
                      <a:pt x="0" y="71"/>
                    </a:moveTo>
                    <a:lnTo>
                      <a:pt x="0" y="71"/>
                    </a:lnTo>
                    <a:lnTo>
                      <a:pt x="4" y="112"/>
                    </a:lnTo>
                    <a:lnTo>
                      <a:pt x="0" y="166"/>
                    </a:lnTo>
                    <a:lnTo>
                      <a:pt x="0" y="237"/>
                    </a:lnTo>
                    <a:lnTo>
                      <a:pt x="42" y="141"/>
                    </a:lnTo>
                    <a:lnTo>
                      <a:pt x="79" y="67"/>
                    </a:lnTo>
                    <a:lnTo>
                      <a:pt x="96" y="34"/>
                    </a:lnTo>
                    <a:lnTo>
                      <a:pt x="112" y="17"/>
                    </a:lnTo>
                    <a:lnTo>
                      <a:pt x="104" y="0"/>
                    </a:lnTo>
                    <a:lnTo>
                      <a:pt x="67" y="34"/>
                    </a:lnTo>
                    <a:lnTo>
                      <a:pt x="42" y="54"/>
                    </a:lnTo>
                    <a:lnTo>
                      <a:pt x="25" y="67"/>
                    </a:lnTo>
                    <a:lnTo>
                      <a:pt x="17" y="67"/>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4392" name="Freeform 817"/>
              <p:cNvSpPr>
                <a:spLocks/>
              </p:cNvSpPr>
              <p:nvPr/>
            </p:nvSpPr>
            <p:spPr bwMode="auto">
              <a:xfrm>
                <a:off x="1641475" y="3502026"/>
                <a:ext cx="92075" cy="282575"/>
              </a:xfrm>
              <a:custGeom>
                <a:avLst/>
                <a:gdLst>
                  <a:gd name="T0" fmla="*/ 2147483647 w 58"/>
                  <a:gd name="T1" fmla="*/ 0 h 178"/>
                  <a:gd name="T2" fmla="*/ 2147483647 w 58"/>
                  <a:gd name="T3" fmla="*/ 2147483647 h 178"/>
                  <a:gd name="T4" fmla="*/ 2147483647 w 58"/>
                  <a:gd name="T5" fmla="*/ 2147483647 h 178"/>
                  <a:gd name="T6" fmla="*/ 0 w 58"/>
                  <a:gd name="T7" fmla="*/ 2147483647 h 178"/>
                  <a:gd name="T8" fmla="*/ 2147483647 w 58"/>
                  <a:gd name="T9" fmla="*/ 2147483647 h 178"/>
                  <a:gd name="T10" fmla="*/ 2147483647 w 58"/>
                  <a:gd name="T11" fmla="*/ 2147483647 h 178"/>
                  <a:gd name="T12" fmla="*/ 2147483647 w 58"/>
                  <a:gd name="T13" fmla="*/ 2147483647 h 178"/>
                  <a:gd name="T14" fmla="*/ 2147483647 w 58"/>
                  <a:gd name="T15" fmla="*/ 2147483647 h 178"/>
                  <a:gd name="T16" fmla="*/ 2147483647 w 58"/>
                  <a:gd name="T17" fmla="*/ 2147483647 h 178"/>
                  <a:gd name="T18" fmla="*/ 2147483647 w 58"/>
                  <a:gd name="T19" fmla="*/ 0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178"/>
                  <a:gd name="T32" fmla="*/ 58 w 5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178">
                    <a:moveTo>
                      <a:pt x="33" y="0"/>
                    </a:moveTo>
                    <a:lnTo>
                      <a:pt x="21" y="29"/>
                    </a:lnTo>
                    <a:lnTo>
                      <a:pt x="29" y="45"/>
                    </a:lnTo>
                    <a:lnTo>
                      <a:pt x="0" y="133"/>
                    </a:lnTo>
                    <a:lnTo>
                      <a:pt x="12" y="178"/>
                    </a:lnTo>
                    <a:lnTo>
                      <a:pt x="21" y="170"/>
                    </a:lnTo>
                    <a:lnTo>
                      <a:pt x="58" y="79"/>
                    </a:lnTo>
                    <a:lnTo>
                      <a:pt x="33" y="45"/>
                    </a:lnTo>
                    <a:lnTo>
                      <a:pt x="41" y="33"/>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grpSp>
        <p:nvGrpSpPr>
          <p:cNvPr id="14364" name="Group 7"/>
          <p:cNvGrpSpPr>
            <a:grpSpLocks/>
          </p:cNvGrpSpPr>
          <p:nvPr/>
        </p:nvGrpSpPr>
        <p:grpSpPr bwMode="auto">
          <a:xfrm>
            <a:off x="5715000" y="4430713"/>
            <a:ext cx="777875" cy="781050"/>
            <a:chOff x="820738" y="1870075"/>
            <a:chExt cx="3594100" cy="3609976"/>
          </a:xfrm>
          <a:solidFill>
            <a:schemeClr val="bg1">
              <a:lumMod val="85000"/>
            </a:schemeClr>
          </a:solidFill>
        </p:grpSpPr>
        <p:sp>
          <p:nvSpPr>
            <p:cNvPr id="14386" name="Freeform 353"/>
            <p:cNvSpPr>
              <a:spLocks/>
            </p:cNvSpPr>
            <p:nvPr/>
          </p:nvSpPr>
          <p:spPr bwMode="auto">
            <a:xfrm>
              <a:off x="820738" y="1870075"/>
              <a:ext cx="3594100" cy="3597274"/>
            </a:xfrm>
            <a:custGeom>
              <a:avLst/>
              <a:gdLst>
                <a:gd name="T0" fmla="*/ 2147483647 w 2264"/>
                <a:gd name="T1" fmla="*/ 2147483647 h 2266"/>
                <a:gd name="T2" fmla="*/ 2147483647 w 2264"/>
                <a:gd name="T3" fmla="*/ 2147483647 h 2266"/>
                <a:gd name="T4" fmla="*/ 2147483647 w 2264"/>
                <a:gd name="T5" fmla="*/ 2147483647 h 2266"/>
                <a:gd name="T6" fmla="*/ 2147483647 w 2264"/>
                <a:gd name="T7" fmla="*/ 2147483647 h 2266"/>
                <a:gd name="T8" fmla="*/ 2147483647 w 2264"/>
                <a:gd name="T9" fmla="*/ 2147483647 h 2266"/>
                <a:gd name="T10" fmla="*/ 2147483647 w 2264"/>
                <a:gd name="T11" fmla="*/ 2147483647 h 2266"/>
                <a:gd name="T12" fmla="*/ 2147483647 w 2264"/>
                <a:gd name="T13" fmla="*/ 2147483647 h 2266"/>
                <a:gd name="T14" fmla="*/ 2147483647 w 2264"/>
                <a:gd name="T15" fmla="*/ 2147483647 h 2266"/>
                <a:gd name="T16" fmla="*/ 2147483647 w 2264"/>
                <a:gd name="T17" fmla="*/ 2147483647 h 2266"/>
                <a:gd name="T18" fmla="*/ 2147483647 w 2264"/>
                <a:gd name="T19" fmla="*/ 2147483647 h 2266"/>
                <a:gd name="T20" fmla="*/ 2147483647 w 2264"/>
                <a:gd name="T21" fmla="*/ 2147483647 h 2266"/>
                <a:gd name="T22" fmla="*/ 2147483647 w 2264"/>
                <a:gd name="T23" fmla="*/ 2147483647 h 2266"/>
                <a:gd name="T24" fmla="*/ 2147483647 w 2264"/>
                <a:gd name="T25" fmla="*/ 2147483647 h 2266"/>
                <a:gd name="T26" fmla="*/ 2147483647 w 2264"/>
                <a:gd name="T27" fmla="*/ 2147483647 h 2266"/>
                <a:gd name="T28" fmla="*/ 2147483647 w 2264"/>
                <a:gd name="T29" fmla="*/ 2147483647 h 2266"/>
                <a:gd name="T30" fmla="*/ 2147483647 w 2264"/>
                <a:gd name="T31" fmla="*/ 2147483647 h 2266"/>
                <a:gd name="T32" fmla="*/ 2147483647 w 2264"/>
                <a:gd name="T33" fmla="*/ 2147483647 h 2266"/>
                <a:gd name="T34" fmla="*/ 2147483647 w 2264"/>
                <a:gd name="T35" fmla="*/ 2147483647 h 2266"/>
                <a:gd name="T36" fmla="*/ 2147483647 w 2264"/>
                <a:gd name="T37" fmla="*/ 2147483647 h 2266"/>
                <a:gd name="T38" fmla="*/ 2147483647 w 2264"/>
                <a:gd name="T39" fmla="*/ 2147483647 h 2266"/>
                <a:gd name="T40" fmla="*/ 2147483647 w 2264"/>
                <a:gd name="T41" fmla="*/ 2147483647 h 2266"/>
                <a:gd name="T42" fmla="*/ 0 w 2264"/>
                <a:gd name="T43" fmla="*/ 2147483647 h 2266"/>
                <a:gd name="T44" fmla="*/ 2147483647 w 2264"/>
                <a:gd name="T45" fmla="*/ 2147483647 h 2266"/>
                <a:gd name="T46" fmla="*/ 2147483647 w 2264"/>
                <a:gd name="T47" fmla="*/ 2147483647 h 2266"/>
                <a:gd name="T48" fmla="*/ 2147483647 w 2264"/>
                <a:gd name="T49" fmla="*/ 2147483647 h 2266"/>
                <a:gd name="T50" fmla="*/ 2147483647 w 2264"/>
                <a:gd name="T51" fmla="*/ 2147483647 h 2266"/>
                <a:gd name="T52" fmla="*/ 2147483647 w 2264"/>
                <a:gd name="T53" fmla="*/ 2147483647 h 2266"/>
                <a:gd name="T54" fmla="*/ 2147483647 w 2264"/>
                <a:gd name="T55" fmla="*/ 2147483647 h 2266"/>
                <a:gd name="T56" fmla="*/ 2147483647 w 2264"/>
                <a:gd name="T57" fmla="*/ 2147483647 h 2266"/>
                <a:gd name="T58" fmla="*/ 2147483647 w 2264"/>
                <a:gd name="T59" fmla="*/ 2147483647 h 2266"/>
                <a:gd name="T60" fmla="*/ 2147483647 w 2264"/>
                <a:gd name="T61" fmla="*/ 2147483647 h 2266"/>
                <a:gd name="T62" fmla="*/ 2147483647 w 2264"/>
                <a:gd name="T63" fmla="*/ 2147483647 h 2266"/>
                <a:gd name="T64" fmla="*/ 2147483647 w 2264"/>
                <a:gd name="T65" fmla="*/ 2147483647 h 2266"/>
                <a:gd name="T66" fmla="*/ 2147483647 w 2264"/>
                <a:gd name="T67" fmla="*/ 2147483647 h 2266"/>
                <a:gd name="T68" fmla="*/ 2147483647 w 2264"/>
                <a:gd name="T69" fmla="*/ 2147483647 h 2266"/>
                <a:gd name="T70" fmla="*/ 2147483647 w 2264"/>
                <a:gd name="T71" fmla="*/ 2147483647 h 2266"/>
                <a:gd name="T72" fmla="*/ 2147483647 w 2264"/>
                <a:gd name="T73" fmla="*/ 2147483647 h 2266"/>
                <a:gd name="T74" fmla="*/ 2147483647 w 2264"/>
                <a:gd name="T75" fmla="*/ 2147483647 h 2266"/>
                <a:gd name="T76" fmla="*/ 2147483647 w 2264"/>
                <a:gd name="T77" fmla="*/ 2147483647 h 2266"/>
                <a:gd name="T78" fmla="*/ 2147483647 w 2264"/>
                <a:gd name="T79" fmla="*/ 2147483647 h 2266"/>
                <a:gd name="T80" fmla="*/ 2147483647 w 2264"/>
                <a:gd name="T81" fmla="*/ 2147483647 h 2266"/>
                <a:gd name="T82" fmla="*/ 2147483647 w 2264"/>
                <a:gd name="T83" fmla="*/ 2147483647 h 2266"/>
                <a:gd name="T84" fmla="*/ 2147483647 w 2264"/>
                <a:gd name="T85" fmla="*/ 2147483647 h 22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64"/>
                <a:gd name="T130" fmla="*/ 0 h 2266"/>
                <a:gd name="T131" fmla="*/ 2264 w 2264"/>
                <a:gd name="T132" fmla="*/ 2266 h 22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64" h="2266">
                  <a:moveTo>
                    <a:pt x="2264" y="1133"/>
                  </a:moveTo>
                  <a:lnTo>
                    <a:pt x="2264" y="1191"/>
                  </a:lnTo>
                  <a:lnTo>
                    <a:pt x="2259" y="1249"/>
                  </a:lnTo>
                  <a:lnTo>
                    <a:pt x="2251" y="1304"/>
                  </a:lnTo>
                  <a:lnTo>
                    <a:pt x="2243" y="1360"/>
                  </a:lnTo>
                  <a:lnTo>
                    <a:pt x="2230" y="1415"/>
                  </a:lnTo>
                  <a:lnTo>
                    <a:pt x="2214" y="1468"/>
                  </a:lnTo>
                  <a:lnTo>
                    <a:pt x="2195" y="1521"/>
                  </a:lnTo>
                  <a:lnTo>
                    <a:pt x="2177" y="1574"/>
                  </a:lnTo>
                  <a:lnTo>
                    <a:pt x="2153" y="1624"/>
                  </a:lnTo>
                  <a:lnTo>
                    <a:pt x="2129" y="1672"/>
                  </a:lnTo>
                  <a:lnTo>
                    <a:pt x="2100" y="1719"/>
                  </a:lnTo>
                  <a:lnTo>
                    <a:pt x="2071" y="1767"/>
                  </a:lnTo>
                  <a:lnTo>
                    <a:pt x="2039" y="1809"/>
                  </a:lnTo>
                  <a:lnTo>
                    <a:pt x="2005" y="1854"/>
                  </a:lnTo>
                  <a:lnTo>
                    <a:pt x="1971" y="1893"/>
                  </a:lnTo>
                  <a:lnTo>
                    <a:pt x="1934" y="1933"/>
                  </a:lnTo>
                  <a:lnTo>
                    <a:pt x="1894" y="1970"/>
                  </a:lnTo>
                  <a:lnTo>
                    <a:pt x="1852" y="2007"/>
                  </a:lnTo>
                  <a:lnTo>
                    <a:pt x="1809" y="2041"/>
                  </a:lnTo>
                  <a:lnTo>
                    <a:pt x="1765" y="2073"/>
                  </a:lnTo>
                  <a:lnTo>
                    <a:pt x="1720" y="2102"/>
                  </a:lnTo>
                  <a:lnTo>
                    <a:pt x="1672" y="2128"/>
                  </a:lnTo>
                  <a:lnTo>
                    <a:pt x="1622" y="2152"/>
                  </a:lnTo>
                  <a:lnTo>
                    <a:pt x="1572" y="2176"/>
                  </a:lnTo>
                  <a:lnTo>
                    <a:pt x="1521" y="2197"/>
                  </a:lnTo>
                  <a:lnTo>
                    <a:pt x="1469" y="2213"/>
                  </a:lnTo>
                  <a:lnTo>
                    <a:pt x="1416" y="2229"/>
                  </a:lnTo>
                  <a:lnTo>
                    <a:pt x="1360" y="2242"/>
                  </a:lnTo>
                  <a:lnTo>
                    <a:pt x="1305" y="2253"/>
                  </a:lnTo>
                  <a:lnTo>
                    <a:pt x="1247" y="2260"/>
                  </a:lnTo>
                  <a:lnTo>
                    <a:pt x="1191" y="2263"/>
                  </a:lnTo>
                  <a:lnTo>
                    <a:pt x="1130" y="2266"/>
                  </a:lnTo>
                  <a:lnTo>
                    <a:pt x="1072" y="2263"/>
                  </a:lnTo>
                  <a:lnTo>
                    <a:pt x="1017" y="2260"/>
                  </a:lnTo>
                  <a:lnTo>
                    <a:pt x="959" y="2253"/>
                  </a:lnTo>
                  <a:lnTo>
                    <a:pt x="903" y="2242"/>
                  </a:lnTo>
                  <a:lnTo>
                    <a:pt x="848" y="2229"/>
                  </a:lnTo>
                  <a:lnTo>
                    <a:pt x="795" y="2213"/>
                  </a:lnTo>
                  <a:lnTo>
                    <a:pt x="742" y="2197"/>
                  </a:lnTo>
                  <a:lnTo>
                    <a:pt x="692" y="2176"/>
                  </a:lnTo>
                  <a:lnTo>
                    <a:pt x="642" y="2152"/>
                  </a:lnTo>
                  <a:lnTo>
                    <a:pt x="591" y="2128"/>
                  </a:lnTo>
                  <a:lnTo>
                    <a:pt x="544" y="2102"/>
                  </a:lnTo>
                  <a:lnTo>
                    <a:pt x="499" y="2073"/>
                  </a:lnTo>
                  <a:lnTo>
                    <a:pt x="454" y="2041"/>
                  </a:lnTo>
                  <a:lnTo>
                    <a:pt x="412" y="2007"/>
                  </a:lnTo>
                  <a:lnTo>
                    <a:pt x="369" y="1970"/>
                  </a:lnTo>
                  <a:lnTo>
                    <a:pt x="330" y="1933"/>
                  </a:lnTo>
                  <a:lnTo>
                    <a:pt x="293" y="1893"/>
                  </a:lnTo>
                  <a:lnTo>
                    <a:pt x="258" y="1854"/>
                  </a:lnTo>
                  <a:lnTo>
                    <a:pt x="224" y="1809"/>
                  </a:lnTo>
                  <a:lnTo>
                    <a:pt x="192" y="1767"/>
                  </a:lnTo>
                  <a:lnTo>
                    <a:pt x="163" y="1719"/>
                  </a:lnTo>
                  <a:lnTo>
                    <a:pt x="134" y="1672"/>
                  </a:lnTo>
                  <a:lnTo>
                    <a:pt x="111" y="1624"/>
                  </a:lnTo>
                  <a:lnTo>
                    <a:pt x="87" y="1574"/>
                  </a:lnTo>
                  <a:lnTo>
                    <a:pt x="68" y="1521"/>
                  </a:lnTo>
                  <a:lnTo>
                    <a:pt x="50" y="1468"/>
                  </a:lnTo>
                  <a:lnTo>
                    <a:pt x="34" y="1415"/>
                  </a:lnTo>
                  <a:lnTo>
                    <a:pt x="21" y="1360"/>
                  </a:lnTo>
                  <a:lnTo>
                    <a:pt x="13" y="1304"/>
                  </a:lnTo>
                  <a:lnTo>
                    <a:pt x="5" y="1249"/>
                  </a:lnTo>
                  <a:lnTo>
                    <a:pt x="0" y="1191"/>
                  </a:lnTo>
                  <a:lnTo>
                    <a:pt x="0" y="1133"/>
                  </a:lnTo>
                  <a:lnTo>
                    <a:pt x="0" y="1075"/>
                  </a:lnTo>
                  <a:lnTo>
                    <a:pt x="5" y="1017"/>
                  </a:lnTo>
                  <a:lnTo>
                    <a:pt x="13" y="961"/>
                  </a:lnTo>
                  <a:lnTo>
                    <a:pt x="21" y="903"/>
                  </a:lnTo>
                  <a:lnTo>
                    <a:pt x="34" y="850"/>
                  </a:lnTo>
                  <a:lnTo>
                    <a:pt x="50" y="795"/>
                  </a:lnTo>
                  <a:lnTo>
                    <a:pt x="68" y="742"/>
                  </a:lnTo>
                  <a:lnTo>
                    <a:pt x="87" y="692"/>
                  </a:lnTo>
                  <a:lnTo>
                    <a:pt x="111" y="642"/>
                  </a:lnTo>
                  <a:lnTo>
                    <a:pt x="134" y="591"/>
                  </a:lnTo>
                  <a:lnTo>
                    <a:pt x="163" y="544"/>
                  </a:lnTo>
                  <a:lnTo>
                    <a:pt x="192" y="499"/>
                  </a:lnTo>
                  <a:lnTo>
                    <a:pt x="224" y="454"/>
                  </a:lnTo>
                  <a:lnTo>
                    <a:pt x="258" y="412"/>
                  </a:lnTo>
                  <a:lnTo>
                    <a:pt x="293" y="370"/>
                  </a:lnTo>
                  <a:lnTo>
                    <a:pt x="330" y="333"/>
                  </a:lnTo>
                  <a:lnTo>
                    <a:pt x="369" y="293"/>
                  </a:lnTo>
                  <a:lnTo>
                    <a:pt x="412" y="259"/>
                  </a:lnTo>
                  <a:lnTo>
                    <a:pt x="454" y="224"/>
                  </a:lnTo>
                  <a:lnTo>
                    <a:pt x="499" y="193"/>
                  </a:lnTo>
                  <a:lnTo>
                    <a:pt x="544" y="164"/>
                  </a:lnTo>
                  <a:lnTo>
                    <a:pt x="591" y="137"/>
                  </a:lnTo>
                  <a:lnTo>
                    <a:pt x="642" y="111"/>
                  </a:lnTo>
                  <a:lnTo>
                    <a:pt x="692" y="90"/>
                  </a:lnTo>
                  <a:lnTo>
                    <a:pt x="742" y="69"/>
                  </a:lnTo>
                  <a:lnTo>
                    <a:pt x="795" y="50"/>
                  </a:lnTo>
                  <a:lnTo>
                    <a:pt x="848" y="34"/>
                  </a:lnTo>
                  <a:lnTo>
                    <a:pt x="903" y="24"/>
                  </a:lnTo>
                  <a:lnTo>
                    <a:pt x="959" y="13"/>
                  </a:lnTo>
                  <a:lnTo>
                    <a:pt x="1017" y="5"/>
                  </a:lnTo>
                  <a:lnTo>
                    <a:pt x="1072" y="3"/>
                  </a:lnTo>
                  <a:lnTo>
                    <a:pt x="1130" y="0"/>
                  </a:lnTo>
                  <a:lnTo>
                    <a:pt x="1191" y="3"/>
                  </a:lnTo>
                  <a:lnTo>
                    <a:pt x="1247" y="5"/>
                  </a:lnTo>
                  <a:lnTo>
                    <a:pt x="1305" y="13"/>
                  </a:lnTo>
                  <a:lnTo>
                    <a:pt x="1360" y="24"/>
                  </a:lnTo>
                  <a:lnTo>
                    <a:pt x="1416" y="34"/>
                  </a:lnTo>
                  <a:lnTo>
                    <a:pt x="1469" y="50"/>
                  </a:lnTo>
                  <a:lnTo>
                    <a:pt x="1521" y="69"/>
                  </a:lnTo>
                  <a:lnTo>
                    <a:pt x="1572" y="90"/>
                  </a:lnTo>
                  <a:lnTo>
                    <a:pt x="1622" y="111"/>
                  </a:lnTo>
                  <a:lnTo>
                    <a:pt x="1672" y="137"/>
                  </a:lnTo>
                  <a:lnTo>
                    <a:pt x="1720" y="164"/>
                  </a:lnTo>
                  <a:lnTo>
                    <a:pt x="1765" y="193"/>
                  </a:lnTo>
                  <a:lnTo>
                    <a:pt x="1809" y="224"/>
                  </a:lnTo>
                  <a:lnTo>
                    <a:pt x="1852" y="259"/>
                  </a:lnTo>
                  <a:lnTo>
                    <a:pt x="1894" y="293"/>
                  </a:lnTo>
                  <a:lnTo>
                    <a:pt x="1934" y="333"/>
                  </a:lnTo>
                  <a:lnTo>
                    <a:pt x="1971" y="370"/>
                  </a:lnTo>
                  <a:lnTo>
                    <a:pt x="2005" y="412"/>
                  </a:lnTo>
                  <a:lnTo>
                    <a:pt x="2039" y="454"/>
                  </a:lnTo>
                  <a:lnTo>
                    <a:pt x="2071" y="499"/>
                  </a:lnTo>
                  <a:lnTo>
                    <a:pt x="2100" y="544"/>
                  </a:lnTo>
                  <a:lnTo>
                    <a:pt x="2129" y="591"/>
                  </a:lnTo>
                  <a:lnTo>
                    <a:pt x="2153" y="642"/>
                  </a:lnTo>
                  <a:lnTo>
                    <a:pt x="2177" y="692"/>
                  </a:lnTo>
                  <a:lnTo>
                    <a:pt x="2195" y="742"/>
                  </a:lnTo>
                  <a:lnTo>
                    <a:pt x="2214" y="795"/>
                  </a:lnTo>
                  <a:lnTo>
                    <a:pt x="2230" y="850"/>
                  </a:lnTo>
                  <a:lnTo>
                    <a:pt x="2243" y="903"/>
                  </a:lnTo>
                  <a:lnTo>
                    <a:pt x="2251" y="961"/>
                  </a:lnTo>
                  <a:lnTo>
                    <a:pt x="2259" y="1017"/>
                  </a:lnTo>
                  <a:lnTo>
                    <a:pt x="2264" y="1075"/>
                  </a:lnTo>
                  <a:lnTo>
                    <a:pt x="2264" y="1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4387" name="Freeform 354"/>
            <p:cNvSpPr>
              <a:spLocks/>
            </p:cNvSpPr>
            <p:nvPr/>
          </p:nvSpPr>
          <p:spPr bwMode="auto">
            <a:xfrm>
              <a:off x="1508126" y="1941512"/>
              <a:ext cx="2620962" cy="3538539"/>
            </a:xfrm>
            <a:custGeom>
              <a:avLst/>
              <a:gdLst>
                <a:gd name="T0" fmla="*/ 2147483647 w 1651"/>
                <a:gd name="T1" fmla="*/ 2147483647 h 2229"/>
                <a:gd name="T2" fmla="*/ 2147483647 w 1651"/>
                <a:gd name="T3" fmla="*/ 2147483647 h 2229"/>
                <a:gd name="T4" fmla="*/ 2147483647 w 1651"/>
                <a:gd name="T5" fmla="*/ 2147483647 h 2229"/>
                <a:gd name="T6" fmla="*/ 2147483647 w 1651"/>
                <a:gd name="T7" fmla="*/ 2147483647 h 2229"/>
                <a:gd name="T8" fmla="*/ 2147483647 w 1651"/>
                <a:gd name="T9" fmla="*/ 2147483647 h 2229"/>
                <a:gd name="T10" fmla="*/ 2147483647 w 1651"/>
                <a:gd name="T11" fmla="*/ 2147483647 h 2229"/>
                <a:gd name="T12" fmla="*/ 2147483647 w 1651"/>
                <a:gd name="T13" fmla="*/ 2147483647 h 2229"/>
                <a:gd name="T14" fmla="*/ 2147483647 w 1651"/>
                <a:gd name="T15" fmla="*/ 2147483647 h 2229"/>
                <a:gd name="T16" fmla="*/ 2147483647 w 1651"/>
                <a:gd name="T17" fmla="*/ 2147483647 h 2229"/>
                <a:gd name="T18" fmla="*/ 2147483647 w 1651"/>
                <a:gd name="T19" fmla="*/ 2147483647 h 2229"/>
                <a:gd name="T20" fmla="*/ 2147483647 w 1651"/>
                <a:gd name="T21" fmla="*/ 2147483647 h 2229"/>
                <a:gd name="T22" fmla="*/ 2147483647 w 1651"/>
                <a:gd name="T23" fmla="*/ 2147483647 h 2229"/>
                <a:gd name="T24" fmla="*/ 2147483647 w 1651"/>
                <a:gd name="T25" fmla="*/ 2147483647 h 2229"/>
                <a:gd name="T26" fmla="*/ 2147483647 w 1651"/>
                <a:gd name="T27" fmla="*/ 2147483647 h 2229"/>
                <a:gd name="T28" fmla="*/ 2147483647 w 1651"/>
                <a:gd name="T29" fmla="*/ 2147483647 h 2229"/>
                <a:gd name="T30" fmla="*/ 2147483647 w 1651"/>
                <a:gd name="T31" fmla="*/ 2147483647 h 2229"/>
                <a:gd name="T32" fmla="*/ 2147483647 w 1651"/>
                <a:gd name="T33" fmla="*/ 2147483647 h 2229"/>
                <a:gd name="T34" fmla="*/ 2147483647 w 1651"/>
                <a:gd name="T35" fmla="*/ 2147483647 h 2229"/>
                <a:gd name="T36" fmla="*/ 2147483647 w 1651"/>
                <a:gd name="T37" fmla="*/ 2147483647 h 2229"/>
                <a:gd name="T38" fmla="*/ 2147483647 w 1651"/>
                <a:gd name="T39" fmla="*/ 2147483647 h 2229"/>
                <a:gd name="T40" fmla="*/ 2147483647 w 1651"/>
                <a:gd name="T41" fmla="*/ 2147483647 h 2229"/>
                <a:gd name="T42" fmla="*/ 2147483647 w 1651"/>
                <a:gd name="T43" fmla="*/ 2147483647 h 2229"/>
                <a:gd name="T44" fmla="*/ 2147483647 w 1651"/>
                <a:gd name="T45" fmla="*/ 2147483647 h 2229"/>
                <a:gd name="T46" fmla="*/ 2147483647 w 1651"/>
                <a:gd name="T47" fmla="*/ 2147483647 h 2229"/>
                <a:gd name="T48" fmla="*/ 2147483647 w 1651"/>
                <a:gd name="T49" fmla="*/ 2147483647 h 2229"/>
                <a:gd name="T50" fmla="*/ 2147483647 w 1651"/>
                <a:gd name="T51" fmla="*/ 2147483647 h 2229"/>
                <a:gd name="T52" fmla="*/ 2147483647 w 1651"/>
                <a:gd name="T53" fmla="*/ 2147483647 h 2229"/>
                <a:gd name="T54" fmla="*/ 2147483647 w 1651"/>
                <a:gd name="T55" fmla="*/ 2147483647 h 2229"/>
                <a:gd name="T56" fmla="*/ 2147483647 w 1651"/>
                <a:gd name="T57" fmla="*/ 2147483647 h 2229"/>
                <a:gd name="T58" fmla="*/ 2147483647 w 1651"/>
                <a:gd name="T59" fmla="*/ 2147483647 h 2229"/>
                <a:gd name="T60" fmla="*/ 2147483647 w 1651"/>
                <a:gd name="T61" fmla="*/ 2147483647 h 2229"/>
                <a:gd name="T62" fmla="*/ 2147483647 w 1651"/>
                <a:gd name="T63" fmla="*/ 2147483647 h 2229"/>
                <a:gd name="T64" fmla="*/ 2147483647 w 1651"/>
                <a:gd name="T65" fmla="*/ 2147483647 h 2229"/>
                <a:gd name="T66" fmla="*/ 2147483647 w 1651"/>
                <a:gd name="T67" fmla="*/ 2147483647 h 2229"/>
                <a:gd name="T68" fmla="*/ 2147483647 w 1651"/>
                <a:gd name="T69" fmla="*/ 2147483647 h 2229"/>
                <a:gd name="T70" fmla="*/ 2147483647 w 1651"/>
                <a:gd name="T71" fmla="*/ 2147483647 h 2229"/>
                <a:gd name="T72" fmla="*/ 0 w 1651"/>
                <a:gd name="T73" fmla="*/ 2147483647 h 2229"/>
                <a:gd name="T74" fmla="*/ 2147483647 w 1651"/>
                <a:gd name="T75" fmla="*/ 2147483647 h 2229"/>
                <a:gd name="T76" fmla="*/ 2147483647 w 1651"/>
                <a:gd name="T77" fmla="*/ 2147483647 h 2229"/>
                <a:gd name="T78" fmla="*/ 2147483647 w 1651"/>
                <a:gd name="T79" fmla="*/ 2147483647 h 2229"/>
                <a:gd name="T80" fmla="*/ 2147483647 w 1651"/>
                <a:gd name="T81" fmla="*/ 2147483647 h 2229"/>
                <a:gd name="T82" fmla="*/ 2147483647 w 1651"/>
                <a:gd name="T83" fmla="*/ 2147483647 h 2229"/>
                <a:gd name="T84" fmla="*/ 2147483647 w 1651"/>
                <a:gd name="T85" fmla="*/ 2147483647 h 2229"/>
                <a:gd name="T86" fmla="*/ 2147483647 w 1651"/>
                <a:gd name="T87" fmla="*/ 2147483647 h 2229"/>
                <a:gd name="T88" fmla="*/ 2147483647 w 1651"/>
                <a:gd name="T89" fmla="*/ 2147483647 h 2229"/>
                <a:gd name="T90" fmla="*/ 2147483647 w 1651"/>
                <a:gd name="T91" fmla="*/ 2147483647 h 2229"/>
                <a:gd name="T92" fmla="*/ 2147483647 w 1651"/>
                <a:gd name="T93" fmla="*/ 2147483647 h 2229"/>
                <a:gd name="T94" fmla="*/ 2147483647 w 1651"/>
                <a:gd name="T95" fmla="*/ 2147483647 h 2229"/>
                <a:gd name="T96" fmla="*/ 2147483647 w 1651"/>
                <a:gd name="T97" fmla="*/ 2147483647 h 2229"/>
                <a:gd name="T98" fmla="*/ 2147483647 w 1651"/>
                <a:gd name="T99" fmla="*/ 2147483647 h 2229"/>
                <a:gd name="T100" fmla="*/ 2147483647 w 1651"/>
                <a:gd name="T101" fmla="*/ 2147483647 h 2229"/>
                <a:gd name="T102" fmla="*/ 2147483647 w 1651"/>
                <a:gd name="T103" fmla="*/ 2147483647 h 2229"/>
                <a:gd name="T104" fmla="*/ 2147483647 w 1651"/>
                <a:gd name="T105" fmla="*/ 2147483647 h 2229"/>
                <a:gd name="T106" fmla="*/ 2147483647 w 1651"/>
                <a:gd name="T107" fmla="*/ 2147483647 h 2229"/>
                <a:gd name="T108" fmla="*/ 2147483647 w 1651"/>
                <a:gd name="T109" fmla="*/ 2147483647 h 2229"/>
                <a:gd name="T110" fmla="*/ 2147483647 w 1651"/>
                <a:gd name="T111" fmla="*/ 2147483647 h 2229"/>
                <a:gd name="T112" fmla="*/ 2147483647 w 1651"/>
                <a:gd name="T113" fmla="*/ 2147483647 h 2229"/>
                <a:gd name="T114" fmla="*/ 2147483647 w 1651"/>
                <a:gd name="T115" fmla="*/ 2147483647 h 2229"/>
                <a:gd name="T116" fmla="*/ 2147483647 w 1651"/>
                <a:gd name="T117" fmla="*/ 2147483647 h 2229"/>
                <a:gd name="T118" fmla="*/ 2147483647 w 1651"/>
                <a:gd name="T119" fmla="*/ 2147483647 h 2229"/>
                <a:gd name="T120" fmla="*/ 2147483647 w 1651"/>
                <a:gd name="T121" fmla="*/ 2147483647 h 2229"/>
                <a:gd name="T122" fmla="*/ 2147483647 w 1651"/>
                <a:gd name="T123" fmla="*/ 2147483647 h 22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1"/>
                <a:gd name="T187" fmla="*/ 0 h 2229"/>
                <a:gd name="T188" fmla="*/ 1651 w 1651"/>
                <a:gd name="T189" fmla="*/ 2229 h 22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1" h="2229">
                  <a:moveTo>
                    <a:pt x="716" y="877"/>
                  </a:moveTo>
                  <a:lnTo>
                    <a:pt x="719" y="869"/>
                  </a:lnTo>
                  <a:lnTo>
                    <a:pt x="719" y="863"/>
                  </a:lnTo>
                  <a:lnTo>
                    <a:pt x="713" y="863"/>
                  </a:lnTo>
                  <a:lnTo>
                    <a:pt x="711" y="863"/>
                  </a:lnTo>
                  <a:lnTo>
                    <a:pt x="708" y="863"/>
                  </a:lnTo>
                  <a:lnTo>
                    <a:pt x="700" y="848"/>
                  </a:lnTo>
                  <a:lnTo>
                    <a:pt x="700" y="840"/>
                  </a:lnTo>
                  <a:lnTo>
                    <a:pt x="700" y="834"/>
                  </a:lnTo>
                  <a:lnTo>
                    <a:pt x="697" y="826"/>
                  </a:lnTo>
                  <a:lnTo>
                    <a:pt x="695" y="816"/>
                  </a:lnTo>
                  <a:lnTo>
                    <a:pt x="689" y="811"/>
                  </a:lnTo>
                  <a:lnTo>
                    <a:pt x="684" y="808"/>
                  </a:lnTo>
                  <a:lnTo>
                    <a:pt x="674" y="808"/>
                  </a:lnTo>
                  <a:lnTo>
                    <a:pt x="660" y="813"/>
                  </a:lnTo>
                  <a:lnTo>
                    <a:pt x="650" y="818"/>
                  </a:lnTo>
                  <a:lnTo>
                    <a:pt x="642" y="818"/>
                  </a:lnTo>
                  <a:lnTo>
                    <a:pt x="639" y="816"/>
                  </a:lnTo>
                  <a:lnTo>
                    <a:pt x="639" y="811"/>
                  </a:lnTo>
                  <a:lnTo>
                    <a:pt x="639" y="797"/>
                  </a:lnTo>
                  <a:lnTo>
                    <a:pt x="642" y="789"/>
                  </a:lnTo>
                  <a:lnTo>
                    <a:pt x="642" y="784"/>
                  </a:lnTo>
                  <a:lnTo>
                    <a:pt x="637" y="782"/>
                  </a:lnTo>
                  <a:lnTo>
                    <a:pt x="626" y="779"/>
                  </a:lnTo>
                  <a:lnTo>
                    <a:pt x="600" y="784"/>
                  </a:lnTo>
                  <a:lnTo>
                    <a:pt x="563" y="792"/>
                  </a:lnTo>
                  <a:lnTo>
                    <a:pt x="568" y="797"/>
                  </a:lnTo>
                  <a:lnTo>
                    <a:pt x="576" y="808"/>
                  </a:lnTo>
                  <a:lnTo>
                    <a:pt x="581" y="816"/>
                  </a:lnTo>
                  <a:lnTo>
                    <a:pt x="581" y="821"/>
                  </a:lnTo>
                  <a:lnTo>
                    <a:pt x="578" y="826"/>
                  </a:lnTo>
                  <a:lnTo>
                    <a:pt x="571" y="829"/>
                  </a:lnTo>
                  <a:lnTo>
                    <a:pt x="557" y="829"/>
                  </a:lnTo>
                  <a:lnTo>
                    <a:pt x="544" y="824"/>
                  </a:lnTo>
                  <a:lnTo>
                    <a:pt x="542" y="824"/>
                  </a:lnTo>
                  <a:lnTo>
                    <a:pt x="542" y="821"/>
                  </a:lnTo>
                  <a:lnTo>
                    <a:pt x="542" y="818"/>
                  </a:lnTo>
                  <a:lnTo>
                    <a:pt x="528" y="816"/>
                  </a:lnTo>
                  <a:lnTo>
                    <a:pt x="518" y="816"/>
                  </a:lnTo>
                  <a:lnTo>
                    <a:pt x="518" y="813"/>
                  </a:lnTo>
                  <a:lnTo>
                    <a:pt x="518" y="811"/>
                  </a:lnTo>
                  <a:lnTo>
                    <a:pt x="520" y="808"/>
                  </a:lnTo>
                  <a:lnTo>
                    <a:pt x="510" y="800"/>
                  </a:lnTo>
                  <a:lnTo>
                    <a:pt x="505" y="797"/>
                  </a:lnTo>
                  <a:lnTo>
                    <a:pt x="494" y="795"/>
                  </a:lnTo>
                  <a:lnTo>
                    <a:pt x="475" y="800"/>
                  </a:lnTo>
                  <a:lnTo>
                    <a:pt x="452" y="805"/>
                  </a:lnTo>
                  <a:lnTo>
                    <a:pt x="431" y="813"/>
                  </a:lnTo>
                  <a:lnTo>
                    <a:pt x="428" y="816"/>
                  </a:lnTo>
                  <a:lnTo>
                    <a:pt x="428" y="821"/>
                  </a:lnTo>
                  <a:lnTo>
                    <a:pt x="420" y="821"/>
                  </a:lnTo>
                  <a:lnTo>
                    <a:pt x="415" y="821"/>
                  </a:lnTo>
                  <a:lnTo>
                    <a:pt x="404" y="826"/>
                  </a:lnTo>
                  <a:lnTo>
                    <a:pt x="399" y="834"/>
                  </a:lnTo>
                  <a:lnTo>
                    <a:pt x="399" y="848"/>
                  </a:lnTo>
                  <a:lnTo>
                    <a:pt x="399" y="861"/>
                  </a:lnTo>
                  <a:lnTo>
                    <a:pt x="399" y="877"/>
                  </a:lnTo>
                  <a:lnTo>
                    <a:pt x="396" y="892"/>
                  </a:lnTo>
                  <a:lnTo>
                    <a:pt x="394" y="903"/>
                  </a:lnTo>
                  <a:lnTo>
                    <a:pt x="391" y="914"/>
                  </a:lnTo>
                  <a:lnTo>
                    <a:pt x="388" y="914"/>
                  </a:lnTo>
                  <a:lnTo>
                    <a:pt x="386" y="911"/>
                  </a:lnTo>
                  <a:lnTo>
                    <a:pt x="383" y="914"/>
                  </a:lnTo>
                  <a:lnTo>
                    <a:pt x="378" y="921"/>
                  </a:lnTo>
                  <a:lnTo>
                    <a:pt x="372" y="935"/>
                  </a:lnTo>
                  <a:lnTo>
                    <a:pt x="372" y="937"/>
                  </a:lnTo>
                  <a:lnTo>
                    <a:pt x="372" y="943"/>
                  </a:lnTo>
                  <a:lnTo>
                    <a:pt x="375" y="953"/>
                  </a:lnTo>
                  <a:lnTo>
                    <a:pt x="372" y="956"/>
                  </a:lnTo>
                  <a:lnTo>
                    <a:pt x="367" y="961"/>
                  </a:lnTo>
                  <a:lnTo>
                    <a:pt x="367" y="982"/>
                  </a:lnTo>
                  <a:lnTo>
                    <a:pt x="370" y="1006"/>
                  </a:lnTo>
                  <a:lnTo>
                    <a:pt x="375" y="1027"/>
                  </a:lnTo>
                  <a:lnTo>
                    <a:pt x="386" y="1048"/>
                  </a:lnTo>
                  <a:lnTo>
                    <a:pt x="396" y="1067"/>
                  </a:lnTo>
                  <a:lnTo>
                    <a:pt x="409" y="1080"/>
                  </a:lnTo>
                  <a:lnTo>
                    <a:pt x="417" y="1085"/>
                  </a:lnTo>
                  <a:lnTo>
                    <a:pt x="428" y="1090"/>
                  </a:lnTo>
                  <a:lnTo>
                    <a:pt x="438" y="1090"/>
                  </a:lnTo>
                  <a:lnTo>
                    <a:pt x="449" y="1090"/>
                  </a:lnTo>
                  <a:lnTo>
                    <a:pt x="462" y="1088"/>
                  </a:lnTo>
                  <a:lnTo>
                    <a:pt x="489" y="1083"/>
                  </a:lnTo>
                  <a:lnTo>
                    <a:pt x="505" y="1075"/>
                  </a:lnTo>
                  <a:lnTo>
                    <a:pt x="518" y="1064"/>
                  </a:lnTo>
                  <a:lnTo>
                    <a:pt x="528" y="1054"/>
                  </a:lnTo>
                  <a:lnTo>
                    <a:pt x="531" y="1046"/>
                  </a:lnTo>
                  <a:lnTo>
                    <a:pt x="534" y="1038"/>
                  </a:lnTo>
                  <a:lnTo>
                    <a:pt x="534" y="1027"/>
                  </a:lnTo>
                  <a:lnTo>
                    <a:pt x="539" y="1022"/>
                  </a:lnTo>
                  <a:lnTo>
                    <a:pt x="544" y="1017"/>
                  </a:lnTo>
                  <a:lnTo>
                    <a:pt x="549" y="1011"/>
                  </a:lnTo>
                  <a:lnTo>
                    <a:pt x="565" y="1009"/>
                  </a:lnTo>
                  <a:lnTo>
                    <a:pt x="581" y="1009"/>
                  </a:lnTo>
                  <a:lnTo>
                    <a:pt x="592" y="1009"/>
                  </a:lnTo>
                  <a:lnTo>
                    <a:pt x="613" y="1011"/>
                  </a:lnTo>
                  <a:lnTo>
                    <a:pt x="610" y="1024"/>
                  </a:lnTo>
                  <a:lnTo>
                    <a:pt x="608" y="1027"/>
                  </a:lnTo>
                  <a:lnTo>
                    <a:pt x="605" y="1027"/>
                  </a:lnTo>
                  <a:lnTo>
                    <a:pt x="602" y="1027"/>
                  </a:lnTo>
                  <a:lnTo>
                    <a:pt x="600" y="1030"/>
                  </a:lnTo>
                  <a:lnTo>
                    <a:pt x="600" y="1040"/>
                  </a:lnTo>
                  <a:lnTo>
                    <a:pt x="600" y="1048"/>
                  </a:lnTo>
                  <a:lnTo>
                    <a:pt x="592" y="1056"/>
                  </a:lnTo>
                  <a:lnTo>
                    <a:pt x="592" y="1061"/>
                  </a:lnTo>
                  <a:lnTo>
                    <a:pt x="592" y="1067"/>
                  </a:lnTo>
                  <a:lnTo>
                    <a:pt x="586" y="1077"/>
                  </a:lnTo>
                  <a:lnTo>
                    <a:pt x="586" y="1088"/>
                  </a:lnTo>
                  <a:lnTo>
                    <a:pt x="589" y="1114"/>
                  </a:lnTo>
                  <a:lnTo>
                    <a:pt x="592" y="1117"/>
                  </a:lnTo>
                  <a:lnTo>
                    <a:pt x="597" y="1120"/>
                  </a:lnTo>
                  <a:lnTo>
                    <a:pt x="594" y="1125"/>
                  </a:lnTo>
                  <a:lnTo>
                    <a:pt x="592" y="1130"/>
                  </a:lnTo>
                  <a:lnTo>
                    <a:pt x="589" y="1141"/>
                  </a:lnTo>
                  <a:lnTo>
                    <a:pt x="586" y="1146"/>
                  </a:lnTo>
                  <a:lnTo>
                    <a:pt x="584" y="1149"/>
                  </a:lnTo>
                  <a:lnTo>
                    <a:pt x="613" y="1143"/>
                  </a:lnTo>
                  <a:lnTo>
                    <a:pt x="615" y="1146"/>
                  </a:lnTo>
                  <a:lnTo>
                    <a:pt x="615" y="1149"/>
                  </a:lnTo>
                  <a:lnTo>
                    <a:pt x="615" y="1151"/>
                  </a:lnTo>
                  <a:lnTo>
                    <a:pt x="626" y="1146"/>
                  </a:lnTo>
                  <a:lnTo>
                    <a:pt x="637" y="1143"/>
                  </a:lnTo>
                  <a:lnTo>
                    <a:pt x="639" y="1143"/>
                  </a:lnTo>
                  <a:lnTo>
                    <a:pt x="645" y="1146"/>
                  </a:lnTo>
                  <a:lnTo>
                    <a:pt x="652" y="1141"/>
                  </a:lnTo>
                  <a:lnTo>
                    <a:pt x="655" y="1138"/>
                  </a:lnTo>
                  <a:lnTo>
                    <a:pt x="658" y="1141"/>
                  </a:lnTo>
                  <a:lnTo>
                    <a:pt x="655" y="1146"/>
                  </a:lnTo>
                  <a:lnTo>
                    <a:pt x="658" y="1149"/>
                  </a:lnTo>
                  <a:lnTo>
                    <a:pt x="671" y="1151"/>
                  </a:lnTo>
                  <a:lnTo>
                    <a:pt x="684" y="1154"/>
                  </a:lnTo>
                  <a:lnTo>
                    <a:pt x="697" y="1159"/>
                  </a:lnTo>
                  <a:lnTo>
                    <a:pt x="705" y="1170"/>
                  </a:lnTo>
                  <a:lnTo>
                    <a:pt x="705" y="1175"/>
                  </a:lnTo>
                  <a:lnTo>
                    <a:pt x="708" y="1183"/>
                  </a:lnTo>
                  <a:lnTo>
                    <a:pt x="705" y="1201"/>
                  </a:lnTo>
                  <a:lnTo>
                    <a:pt x="703" y="1217"/>
                  </a:lnTo>
                  <a:lnTo>
                    <a:pt x="695" y="1236"/>
                  </a:lnTo>
                  <a:lnTo>
                    <a:pt x="692" y="1244"/>
                  </a:lnTo>
                  <a:lnTo>
                    <a:pt x="689" y="1252"/>
                  </a:lnTo>
                  <a:lnTo>
                    <a:pt x="689" y="1262"/>
                  </a:lnTo>
                  <a:lnTo>
                    <a:pt x="689" y="1278"/>
                  </a:lnTo>
                  <a:lnTo>
                    <a:pt x="705" y="1291"/>
                  </a:lnTo>
                  <a:lnTo>
                    <a:pt x="711" y="1302"/>
                  </a:lnTo>
                  <a:lnTo>
                    <a:pt x="719" y="1310"/>
                  </a:lnTo>
                  <a:lnTo>
                    <a:pt x="724" y="1312"/>
                  </a:lnTo>
                  <a:lnTo>
                    <a:pt x="729" y="1312"/>
                  </a:lnTo>
                  <a:lnTo>
                    <a:pt x="734" y="1323"/>
                  </a:lnTo>
                  <a:lnTo>
                    <a:pt x="740" y="1331"/>
                  </a:lnTo>
                  <a:lnTo>
                    <a:pt x="745" y="1331"/>
                  </a:lnTo>
                  <a:lnTo>
                    <a:pt x="748" y="1328"/>
                  </a:lnTo>
                  <a:lnTo>
                    <a:pt x="753" y="1323"/>
                  </a:lnTo>
                  <a:lnTo>
                    <a:pt x="758" y="1320"/>
                  </a:lnTo>
                  <a:lnTo>
                    <a:pt x="777" y="1307"/>
                  </a:lnTo>
                  <a:lnTo>
                    <a:pt x="787" y="1299"/>
                  </a:lnTo>
                  <a:lnTo>
                    <a:pt x="790" y="1302"/>
                  </a:lnTo>
                  <a:lnTo>
                    <a:pt x="795" y="1302"/>
                  </a:lnTo>
                  <a:lnTo>
                    <a:pt x="806" y="1299"/>
                  </a:lnTo>
                  <a:lnTo>
                    <a:pt x="816" y="1296"/>
                  </a:lnTo>
                  <a:lnTo>
                    <a:pt x="827" y="1299"/>
                  </a:lnTo>
                  <a:lnTo>
                    <a:pt x="840" y="1304"/>
                  </a:lnTo>
                  <a:lnTo>
                    <a:pt x="840" y="1312"/>
                  </a:lnTo>
                  <a:lnTo>
                    <a:pt x="840" y="1318"/>
                  </a:lnTo>
                  <a:lnTo>
                    <a:pt x="845" y="1320"/>
                  </a:lnTo>
                  <a:lnTo>
                    <a:pt x="848" y="1320"/>
                  </a:lnTo>
                  <a:lnTo>
                    <a:pt x="853" y="1320"/>
                  </a:lnTo>
                  <a:lnTo>
                    <a:pt x="856" y="1323"/>
                  </a:lnTo>
                  <a:lnTo>
                    <a:pt x="864" y="1315"/>
                  </a:lnTo>
                  <a:lnTo>
                    <a:pt x="872" y="1304"/>
                  </a:lnTo>
                  <a:lnTo>
                    <a:pt x="874" y="1302"/>
                  </a:lnTo>
                  <a:lnTo>
                    <a:pt x="903" y="1265"/>
                  </a:lnTo>
                  <a:lnTo>
                    <a:pt x="909" y="1259"/>
                  </a:lnTo>
                  <a:lnTo>
                    <a:pt x="919" y="1254"/>
                  </a:lnTo>
                  <a:lnTo>
                    <a:pt x="943" y="1244"/>
                  </a:lnTo>
                  <a:lnTo>
                    <a:pt x="967" y="1233"/>
                  </a:lnTo>
                  <a:lnTo>
                    <a:pt x="975" y="1228"/>
                  </a:lnTo>
                  <a:lnTo>
                    <a:pt x="983" y="1225"/>
                  </a:lnTo>
                  <a:lnTo>
                    <a:pt x="985" y="1228"/>
                  </a:lnTo>
                  <a:lnTo>
                    <a:pt x="993" y="1236"/>
                  </a:lnTo>
                  <a:lnTo>
                    <a:pt x="996" y="1241"/>
                  </a:lnTo>
                  <a:lnTo>
                    <a:pt x="996" y="1249"/>
                  </a:lnTo>
                  <a:lnTo>
                    <a:pt x="993" y="1257"/>
                  </a:lnTo>
                  <a:lnTo>
                    <a:pt x="985" y="1265"/>
                  </a:lnTo>
                  <a:lnTo>
                    <a:pt x="972" y="1283"/>
                  </a:lnTo>
                  <a:lnTo>
                    <a:pt x="964" y="1299"/>
                  </a:lnTo>
                  <a:lnTo>
                    <a:pt x="964" y="1307"/>
                  </a:lnTo>
                  <a:lnTo>
                    <a:pt x="964" y="1312"/>
                  </a:lnTo>
                  <a:lnTo>
                    <a:pt x="967" y="1315"/>
                  </a:lnTo>
                  <a:lnTo>
                    <a:pt x="972" y="1315"/>
                  </a:lnTo>
                  <a:lnTo>
                    <a:pt x="980" y="1312"/>
                  </a:lnTo>
                  <a:lnTo>
                    <a:pt x="985" y="1304"/>
                  </a:lnTo>
                  <a:lnTo>
                    <a:pt x="999" y="1283"/>
                  </a:lnTo>
                  <a:lnTo>
                    <a:pt x="1020" y="1236"/>
                  </a:lnTo>
                  <a:lnTo>
                    <a:pt x="1025" y="1228"/>
                  </a:lnTo>
                  <a:lnTo>
                    <a:pt x="1030" y="1225"/>
                  </a:lnTo>
                  <a:lnTo>
                    <a:pt x="1036" y="1228"/>
                  </a:lnTo>
                  <a:lnTo>
                    <a:pt x="1041" y="1230"/>
                  </a:lnTo>
                  <a:lnTo>
                    <a:pt x="1049" y="1236"/>
                  </a:lnTo>
                  <a:lnTo>
                    <a:pt x="1065" y="1257"/>
                  </a:lnTo>
                  <a:lnTo>
                    <a:pt x="1073" y="1265"/>
                  </a:lnTo>
                  <a:lnTo>
                    <a:pt x="1078" y="1270"/>
                  </a:lnTo>
                  <a:lnTo>
                    <a:pt x="1086" y="1273"/>
                  </a:lnTo>
                  <a:lnTo>
                    <a:pt x="1094" y="1275"/>
                  </a:lnTo>
                  <a:lnTo>
                    <a:pt x="1110" y="1273"/>
                  </a:lnTo>
                  <a:lnTo>
                    <a:pt x="1123" y="1267"/>
                  </a:lnTo>
                  <a:lnTo>
                    <a:pt x="1128" y="1267"/>
                  </a:lnTo>
                  <a:lnTo>
                    <a:pt x="1136" y="1267"/>
                  </a:lnTo>
                  <a:lnTo>
                    <a:pt x="1147" y="1270"/>
                  </a:lnTo>
                  <a:lnTo>
                    <a:pt x="1144" y="1262"/>
                  </a:lnTo>
                  <a:lnTo>
                    <a:pt x="1147" y="1257"/>
                  </a:lnTo>
                  <a:lnTo>
                    <a:pt x="1152" y="1252"/>
                  </a:lnTo>
                  <a:lnTo>
                    <a:pt x="1154" y="1252"/>
                  </a:lnTo>
                  <a:lnTo>
                    <a:pt x="1162" y="1254"/>
                  </a:lnTo>
                  <a:lnTo>
                    <a:pt x="1168" y="1254"/>
                  </a:lnTo>
                  <a:lnTo>
                    <a:pt x="1173" y="1254"/>
                  </a:lnTo>
                  <a:lnTo>
                    <a:pt x="1194" y="1246"/>
                  </a:lnTo>
                  <a:lnTo>
                    <a:pt x="1202" y="1244"/>
                  </a:lnTo>
                  <a:lnTo>
                    <a:pt x="1210" y="1244"/>
                  </a:lnTo>
                  <a:lnTo>
                    <a:pt x="1236" y="1262"/>
                  </a:lnTo>
                  <a:lnTo>
                    <a:pt x="1271" y="1289"/>
                  </a:lnTo>
                  <a:lnTo>
                    <a:pt x="1276" y="1291"/>
                  </a:lnTo>
                  <a:lnTo>
                    <a:pt x="1287" y="1291"/>
                  </a:lnTo>
                  <a:lnTo>
                    <a:pt x="1295" y="1291"/>
                  </a:lnTo>
                  <a:lnTo>
                    <a:pt x="1300" y="1294"/>
                  </a:lnTo>
                  <a:lnTo>
                    <a:pt x="1300" y="1296"/>
                  </a:lnTo>
                  <a:lnTo>
                    <a:pt x="1297" y="1302"/>
                  </a:lnTo>
                  <a:lnTo>
                    <a:pt x="1295" y="1304"/>
                  </a:lnTo>
                  <a:lnTo>
                    <a:pt x="1295" y="1307"/>
                  </a:lnTo>
                  <a:lnTo>
                    <a:pt x="1313" y="1323"/>
                  </a:lnTo>
                  <a:lnTo>
                    <a:pt x="1326" y="1323"/>
                  </a:lnTo>
                  <a:lnTo>
                    <a:pt x="1355" y="1320"/>
                  </a:lnTo>
                  <a:lnTo>
                    <a:pt x="1387" y="1320"/>
                  </a:lnTo>
                  <a:lnTo>
                    <a:pt x="1398" y="1323"/>
                  </a:lnTo>
                  <a:lnTo>
                    <a:pt x="1400" y="1326"/>
                  </a:lnTo>
                  <a:lnTo>
                    <a:pt x="1403" y="1328"/>
                  </a:lnTo>
                  <a:lnTo>
                    <a:pt x="1405" y="1344"/>
                  </a:lnTo>
                  <a:lnTo>
                    <a:pt x="1408" y="1344"/>
                  </a:lnTo>
                  <a:lnTo>
                    <a:pt x="1413" y="1347"/>
                  </a:lnTo>
                  <a:lnTo>
                    <a:pt x="1416" y="1352"/>
                  </a:lnTo>
                  <a:lnTo>
                    <a:pt x="1419" y="1357"/>
                  </a:lnTo>
                  <a:lnTo>
                    <a:pt x="1421" y="1365"/>
                  </a:lnTo>
                  <a:lnTo>
                    <a:pt x="1421" y="1378"/>
                  </a:lnTo>
                  <a:lnTo>
                    <a:pt x="1427" y="1378"/>
                  </a:lnTo>
                  <a:lnTo>
                    <a:pt x="1432" y="1378"/>
                  </a:lnTo>
                  <a:lnTo>
                    <a:pt x="1437" y="1381"/>
                  </a:lnTo>
                  <a:lnTo>
                    <a:pt x="1445" y="1386"/>
                  </a:lnTo>
                  <a:lnTo>
                    <a:pt x="1448" y="1394"/>
                  </a:lnTo>
                  <a:lnTo>
                    <a:pt x="1450" y="1407"/>
                  </a:lnTo>
                  <a:lnTo>
                    <a:pt x="1450" y="1423"/>
                  </a:lnTo>
                  <a:lnTo>
                    <a:pt x="1456" y="1421"/>
                  </a:lnTo>
                  <a:lnTo>
                    <a:pt x="1461" y="1418"/>
                  </a:lnTo>
                  <a:lnTo>
                    <a:pt x="1472" y="1418"/>
                  </a:lnTo>
                  <a:lnTo>
                    <a:pt x="1474" y="1421"/>
                  </a:lnTo>
                  <a:lnTo>
                    <a:pt x="1477" y="1423"/>
                  </a:lnTo>
                  <a:lnTo>
                    <a:pt x="1477" y="1426"/>
                  </a:lnTo>
                  <a:lnTo>
                    <a:pt x="1479" y="1428"/>
                  </a:lnTo>
                  <a:lnTo>
                    <a:pt x="1495" y="1436"/>
                  </a:lnTo>
                  <a:lnTo>
                    <a:pt x="1511" y="1442"/>
                  </a:lnTo>
                  <a:lnTo>
                    <a:pt x="1519" y="1442"/>
                  </a:lnTo>
                  <a:lnTo>
                    <a:pt x="1524" y="1436"/>
                  </a:lnTo>
                  <a:lnTo>
                    <a:pt x="1527" y="1434"/>
                  </a:lnTo>
                  <a:lnTo>
                    <a:pt x="1530" y="1431"/>
                  </a:lnTo>
                  <a:lnTo>
                    <a:pt x="1546" y="1439"/>
                  </a:lnTo>
                  <a:lnTo>
                    <a:pt x="1567" y="1450"/>
                  </a:lnTo>
                  <a:lnTo>
                    <a:pt x="1588" y="1455"/>
                  </a:lnTo>
                  <a:lnTo>
                    <a:pt x="1598" y="1455"/>
                  </a:lnTo>
                  <a:lnTo>
                    <a:pt x="1606" y="1452"/>
                  </a:lnTo>
                  <a:lnTo>
                    <a:pt x="1612" y="1452"/>
                  </a:lnTo>
                  <a:lnTo>
                    <a:pt x="1620" y="1452"/>
                  </a:lnTo>
                  <a:lnTo>
                    <a:pt x="1635" y="1460"/>
                  </a:lnTo>
                  <a:lnTo>
                    <a:pt x="1646" y="1468"/>
                  </a:lnTo>
                  <a:lnTo>
                    <a:pt x="1651" y="1473"/>
                  </a:lnTo>
                  <a:lnTo>
                    <a:pt x="1641" y="1505"/>
                  </a:lnTo>
                  <a:lnTo>
                    <a:pt x="1630" y="1537"/>
                  </a:lnTo>
                  <a:lnTo>
                    <a:pt x="1617" y="1576"/>
                  </a:lnTo>
                  <a:lnTo>
                    <a:pt x="1604" y="1598"/>
                  </a:lnTo>
                  <a:lnTo>
                    <a:pt x="1590" y="1621"/>
                  </a:lnTo>
                  <a:lnTo>
                    <a:pt x="1588" y="1629"/>
                  </a:lnTo>
                  <a:lnTo>
                    <a:pt x="1585" y="1637"/>
                  </a:lnTo>
                  <a:lnTo>
                    <a:pt x="1575" y="1653"/>
                  </a:lnTo>
                  <a:lnTo>
                    <a:pt x="1572" y="1653"/>
                  </a:lnTo>
                  <a:lnTo>
                    <a:pt x="1569" y="1650"/>
                  </a:lnTo>
                  <a:lnTo>
                    <a:pt x="1564" y="1664"/>
                  </a:lnTo>
                  <a:lnTo>
                    <a:pt x="1559" y="1674"/>
                  </a:lnTo>
                  <a:lnTo>
                    <a:pt x="1561" y="1685"/>
                  </a:lnTo>
                  <a:lnTo>
                    <a:pt x="1561" y="1695"/>
                  </a:lnTo>
                  <a:lnTo>
                    <a:pt x="1556" y="1714"/>
                  </a:lnTo>
                  <a:lnTo>
                    <a:pt x="1553" y="1714"/>
                  </a:lnTo>
                  <a:lnTo>
                    <a:pt x="1551" y="1711"/>
                  </a:lnTo>
                  <a:lnTo>
                    <a:pt x="1548" y="1714"/>
                  </a:lnTo>
                  <a:lnTo>
                    <a:pt x="1548" y="1727"/>
                  </a:lnTo>
                  <a:lnTo>
                    <a:pt x="1546" y="1740"/>
                  </a:lnTo>
                  <a:lnTo>
                    <a:pt x="1543" y="1745"/>
                  </a:lnTo>
                  <a:lnTo>
                    <a:pt x="1540" y="1753"/>
                  </a:lnTo>
                  <a:lnTo>
                    <a:pt x="1532" y="1764"/>
                  </a:lnTo>
                  <a:lnTo>
                    <a:pt x="1522" y="1772"/>
                  </a:lnTo>
                  <a:lnTo>
                    <a:pt x="1490" y="1811"/>
                  </a:lnTo>
                  <a:lnTo>
                    <a:pt x="1466" y="1835"/>
                  </a:lnTo>
                  <a:lnTo>
                    <a:pt x="1448" y="1848"/>
                  </a:lnTo>
                  <a:lnTo>
                    <a:pt x="1440" y="1854"/>
                  </a:lnTo>
                  <a:lnTo>
                    <a:pt x="1432" y="1856"/>
                  </a:lnTo>
                  <a:lnTo>
                    <a:pt x="1419" y="1859"/>
                  </a:lnTo>
                  <a:lnTo>
                    <a:pt x="1405" y="1864"/>
                  </a:lnTo>
                  <a:lnTo>
                    <a:pt x="1390" y="1872"/>
                  </a:lnTo>
                  <a:lnTo>
                    <a:pt x="1374" y="1883"/>
                  </a:lnTo>
                  <a:lnTo>
                    <a:pt x="1358" y="1896"/>
                  </a:lnTo>
                  <a:lnTo>
                    <a:pt x="1345" y="1912"/>
                  </a:lnTo>
                  <a:lnTo>
                    <a:pt x="1334" y="1925"/>
                  </a:lnTo>
                  <a:lnTo>
                    <a:pt x="1326" y="1943"/>
                  </a:lnTo>
                  <a:lnTo>
                    <a:pt x="1321" y="1957"/>
                  </a:lnTo>
                  <a:lnTo>
                    <a:pt x="1318" y="1957"/>
                  </a:lnTo>
                  <a:lnTo>
                    <a:pt x="1316" y="1957"/>
                  </a:lnTo>
                  <a:lnTo>
                    <a:pt x="1316" y="1954"/>
                  </a:lnTo>
                  <a:lnTo>
                    <a:pt x="1313" y="1954"/>
                  </a:lnTo>
                  <a:lnTo>
                    <a:pt x="1310" y="1970"/>
                  </a:lnTo>
                  <a:lnTo>
                    <a:pt x="1287" y="1994"/>
                  </a:lnTo>
                  <a:lnTo>
                    <a:pt x="1276" y="2004"/>
                  </a:lnTo>
                  <a:lnTo>
                    <a:pt x="1265" y="2015"/>
                  </a:lnTo>
                  <a:lnTo>
                    <a:pt x="1255" y="2017"/>
                  </a:lnTo>
                  <a:lnTo>
                    <a:pt x="1247" y="2020"/>
                  </a:lnTo>
                  <a:lnTo>
                    <a:pt x="1242" y="2025"/>
                  </a:lnTo>
                  <a:lnTo>
                    <a:pt x="1234" y="2033"/>
                  </a:lnTo>
                  <a:lnTo>
                    <a:pt x="1228" y="2036"/>
                  </a:lnTo>
                  <a:lnTo>
                    <a:pt x="1226" y="2036"/>
                  </a:lnTo>
                  <a:lnTo>
                    <a:pt x="1223" y="2033"/>
                  </a:lnTo>
                  <a:lnTo>
                    <a:pt x="1221" y="2033"/>
                  </a:lnTo>
                  <a:lnTo>
                    <a:pt x="1218" y="2036"/>
                  </a:lnTo>
                  <a:lnTo>
                    <a:pt x="1213" y="2041"/>
                  </a:lnTo>
                  <a:lnTo>
                    <a:pt x="1197" y="2052"/>
                  </a:lnTo>
                  <a:lnTo>
                    <a:pt x="1149" y="2052"/>
                  </a:lnTo>
                  <a:lnTo>
                    <a:pt x="1149" y="2054"/>
                  </a:lnTo>
                  <a:lnTo>
                    <a:pt x="1147" y="2068"/>
                  </a:lnTo>
                  <a:lnTo>
                    <a:pt x="1144" y="2078"/>
                  </a:lnTo>
                  <a:lnTo>
                    <a:pt x="1139" y="2083"/>
                  </a:lnTo>
                  <a:lnTo>
                    <a:pt x="1131" y="2089"/>
                  </a:lnTo>
                  <a:lnTo>
                    <a:pt x="1110" y="2099"/>
                  </a:lnTo>
                  <a:lnTo>
                    <a:pt x="1078" y="2118"/>
                  </a:lnTo>
                  <a:lnTo>
                    <a:pt x="1012" y="2155"/>
                  </a:lnTo>
                  <a:lnTo>
                    <a:pt x="980" y="2171"/>
                  </a:lnTo>
                  <a:lnTo>
                    <a:pt x="954" y="2186"/>
                  </a:lnTo>
                  <a:lnTo>
                    <a:pt x="927" y="2205"/>
                  </a:lnTo>
                  <a:lnTo>
                    <a:pt x="898" y="2215"/>
                  </a:lnTo>
                  <a:lnTo>
                    <a:pt x="795" y="2229"/>
                  </a:lnTo>
                  <a:lnTo>
                    <a:pt x="885" y="2160"/>
                  </a:lnTo>
                  <a:lnTo>
                    <a:pt x="896" y="2149"/>
                  </a:lnTo>
                  <a:lnTo>
                    <a:pt x="919" y="2126"/>
                  </a:lnTo>
                  <a:lnTo>
                    <a:pt x="930" y="2110"/>
                  </a:lnTo>
                  <a:lnTo>
                    <a:pt x="940" y="2094"/>
                  </a:lnTo>
                  <a:lnTo>
                    <a:pt x="946" y="2078"/>
                  </a:lnTo>
                  <a:lnTo>
                    <a:pt x="948" y="2062"/>
                  </a:lnTo>
                  <a:lnTo>
                    <a:pt x="948" y="2049"/>
                  </a:lnTo>
                  <a:lnTo>
                    <a:pt x="954" y="2033"/>
                  </a:lnTo>
                  <a:lnTo>
                    <a:pt x="959" y="2017"/>
                  </a:lnTo>
                  <a:lnTo>
                    <a:pt x="967" y="2002"/>
                  </a:lnTo>
                  <a:lnTo>
                    <a:pt x="983" y="1978"/>
                  </a:lnTo>
                  <a:lnTo>
                    <a:pt x="991" y="1967"/>
                  </a:lnTo>
                  <a:lnTo>
                    <a:pt x="1001" y="1938"/>
                  </a:lnTo>
                  <a:lnTo>
                    <a:pt x="1004" y="1936"/>
                  </a:lnTo>
                  <a:lnTo>
                    <a:pt x="1012" y="1930"/>
                  </a:lnTo>
                  <a:lnTo>
                    <a:pt x="1020" y="1928"/>
                  </a:lnTo>
                  <a:lnTo>
                    <a:pt x="1022" y="1922"/>
                  </a:lnTo>
                  <a:lnTo>
                    <a:pt x="1020" y="1920"/>
                  </a:lnTo>
                  <a:lnTo>
                    <a:pt x="1014" y="1917"/>
                  </a:lnTo>
                  <a:lnTo>
                    <a:pt x="1012" y="1917"/>
                  </a:lnTo>
                  <a:lnTo>
                    <a:pt x="1009" y="1914"/>
                  </a:lnTo>
                  <a:lnTo>
                    <a:pt x="1014" y="1891"/>
                  </a:lnTo>
                  <a:lnTo>
                    <a:pt x="1014" y="1872"/>
                  </a:lnTo>
                  <a:lnTo>
                    <a:pt x="1014" y="1862"/>
                  </a:lnTo>
                  <a:lnTo>
                    <a:pt x="1012" y="1856"/>
                  </a:lnTo>
                  <a:lnTo>
                    <a:pt x="1007" y="1851"/>
                  </a:lnTo>
                  <a:lnTo>
                    <a:pt x="999" y="1848"/>
                  </a:lnTo>
                  <a:lnTo>
                    <a:pt x="985" y="1851"/>
                  </a:lnTo>
                  <a:lnTo>
                    <a:pt x="977" y="1851"/>
                  </a:lnTo>
                  <a:lnTo>
                    <a:pt x="970" y="1851"/>
                  </a:lnTo>
                  <a:lnTo>
                    <a:pt x="967" y="1848"/>
                  </a:lnTo>
                  <a:lnTo>
                    <a:pt x="962" y="1843"/>
                  </a:lnTo>
                  <a:lnTo>
                    <a:pt x="954" y="1838"/>
                  </a:lnTo>
                  <a:lnTo>
                    <a:pt x="948" y="1838"/>
                  </a:lnTo>
                  <a:lnTo>
                    <a:pt x="946" y="1838"/>
                  </a:lnTo>
                  <a:lnTo>
                    <a:pt x="943" y="1840"/>
                  </a:lnTo>
                  <a:lnTo>
                    <a:pt x="940" y="1840"/>
                  </a:lnTo>
                  <a:lnTo>
                    <a:pt x="919" y="1830"/>
                  </a:lnTo>
                  <a:lnTo>
                    <a:pt x="898" y="1819"/>
                  </a:lnTo>
                  <a:lnTo>
                    <a:pt x="882" y="1806"/>
                  </a:lnTo>
                  <a:lnTo>
                    <a:pt x="861" y="1764"/>
                  </a:lnTo>
                  <a:lnTo>
                    <a:pt x="845" y="1748"/>
                  </a:lnTo>
                  <a:lnTo>
                    <a:pt x="843" y="1719"/>
                  </a:lnTo>
                  <a:lnTo>
                    <a:pt x="827" y="1727"/>
                  </a:lnTo>
                  <a:lnTo>
                    <a:pt x="766" y="1661"/>
                  </a:lnTo>
                  <a:lnTo>
                    <a:pt x="763" y="1653"/>
                  </a:lnTo>
                  <a:lnTo>
                    <a:pt x="761" y="1640"/>
                  </a:lnTo>
                  <a:lnTo>
                    <a:pt x="761" y="1632"/>
                  </a:lnTo>
                  <a:lnTo>
                    <a:pt x="763" y="1621"/>
                  </a:lnTo>
                  <a:lnTo>
                    <a:pt x="771" y="1613"/>
                  </a:lnTo>
                  <a:lnTo>
                    <a:pt x="782" y="1605"/>
                  </a:lnTo>
                  <a:lnTo>
                    <a:pt x="782" y="1590"/>
                  </a:lnTo>
                  <a:lnTo>
                    <a:pt x="779" y="1579"/>
                  </a:lnTo>
                  <a:lnTo>
                    <a:pt x="777" y="1574"/>
                  </a:lnTo>
                  <a:lnTo>
                    <a:pt x="774" y="1568"/>
                  </a:lnTo>
                  <a:lnTo>
                    <a:pt x="769" y="1563"/>
                  </a:lnTo>
                  <a:lnTo>
                    <a:pt x="766" y="1555"/>
                  </a:lnTo>
                  <a:lnTo>
                    <a:pt x="769" y="1553"/>
                  </a:lnTo>
                  <a:lnTo>
                    <a:pt x="771" y="1547"/>
                  </a:lnTo>
                  <a:lnTo>
                    <a:pt x="779" y="1542"/>
                  </a:lnTo>
                  <a:lnTo>
                    <a:pt x="777" y="1539"/>
                  </a:lnTo>
                  <a:lnTo>
                    <a:pt x="771" y="1537"/>
                  </a:lnTo>
                  <a:lnTo>
                    <a:pt x="766" y="1534"/>
                  </a:lnTo>
                  <a:lnTo>
                    <a:pt x="766" y="1531"/>
                  </a:lnTo>
                  <a:lnTo>
                    <a:pt x="769" y="1521"/>
                  </a:lnTo>
                  <a:lnTo>
                    <a:pt x="774" y="1508"/>
                  </a:lnTo>
                  <a:lnTo>
                    <a:pt x="785" y="1497"/>
                  </a:lnTo>
                  <a:lnTo>
                    <a:pt x="790" y="1495"/>
                  </a:lnTo>
                  <a:lnTo>
                    <a:pt x="795" y="1492"/>
                  </a:lnTo>
                  <a:lnTo>
                    <a:pt x="800" y="1492"/>
                  </a:lnTo>
                  <a:lnTo>
                    <a:pt x="803" y="1492"/>
                  </a:lnTo>
                  <a:lnTo>
                    <a:pt x="806" y="1495"/>
                  </a:lnTo>
                  <a:lnTo>
                    <a:pt x="808" y="1492"/>
                  </a:lnTo>
                  <a:lnTo>
                    <a:pt x="822" y="1489"/>
                  </a:lnTo>
                  <a:lnTo>
                    <a:pt x="837" y="1481"/>
                  </a:lnTo>
                  <a:lnTo>
                    <a:pt x="837" y="1479"/>
                  </a:lnTo>
                  <a:lnTo>
                    <a:pt x="835" y="1479"/>
                  </a:lnTo>
                  <a:lnTo>
                    <a:pt x="832" y="1476"/>
                  </a:lnTo>
                  <a:lnTo>
                    <a:pt x="832" y="1473"/>
                  </a:lnTo>
                  <a:lnTo>
                    <a:pt x="845" y="1452"/>
                  </a:lnTo>
                  <a:lnTo>
                    <a:pt x="853" y="1431"/>
                  </a:lnTo>
                  <a:lnTo>
                    <a:pt x="856" y="1407"/>
                  </a:lnTo>
                  <a:lnTo>
                    <a:pt x="856" y="1397"/>
                  </a:lnTo>
                  <a:lnTo>
                    <a:pt x="853" y="1386"/>
                  </a:lnTo>
                  <a:lnTo>
                    <a:pt x="851" y="1378"/>
                  </a:lnTo>
                  <a:lnTo>
                    <a:pt x="845" y="1357"/>
                  </a:lnTo>
                  <a:lnTo>
                    <a:pt x="843" y="1357"/>
                  </a:lnTo>
                  <a:lnTo>
                    <a:pt x="840" y="1357"/>
                  </a:lnTo>
                  <a:lnTo>
                    <a:pt x="837" y="1352"/>
                  </a:lnTo>
                  <a:lnTo>
                    <a:pt x="840" y="1344"/>
                  </a:lnTo>
                  <a:lnTo>
                    <a:pt x="840" y="1339"/>
                  </a:lnTo>
                  <a:lnTo>
                    <a:pt x="837" y="1339"/>
                  </a:lnTo>
                  <a:lnTo>
                    <a:pt x="835" y="1339"/>
                  </a:lnTo>
                  <a:lnTo>
                    <a:pt x="832" y="1339"/>
                  </a:lnTo>
                  <a:lnTo>
                    <a:pt x="822" y="1323"/>
                  </a:lnTo>
                  <a:lnTo>
                    <a:pt x="816" y="1318"/>
                  </a:lnTo>
                  <a:lnTo>
                    <a:pt x="811" y="1318"/>
                  </a:lnTo>
                  <a:lnTo>
                    <a:pt x="803" y="1318"/>
                  </a:lnTo>
                  <a:lnTo>
                    <a:pt x="798" y="1318"/>
                  </a:lnTo>
                  <a:lnTo>
                    <a:pt x="795" y="1320"/>
                  </a:lnTo>
                  <a:lnTo>
                    <a:pt x="795" y="1328"/>
                  </a:lnTo>
                  <a:lnTo>
                    <a:pt x="795" y="1336"/>
                  </a:lnTo>
                  <a:lnTo>
                    <a:pt x="793" y="1339"/>
                  </a:lnTo>
                  <a:lnTo>
                    <a:pt x="790" y="1339"/>
                  </a:lnTo>
                  <a:lnTo>
                    <a:pt x="790" y="1341"/>
                  </a:lnTo>
                  <a:lnTo>
                    <a:pt x="790" y="1349"/>
                  </a:lnTo>
                  <a:lnTo>
                    <a:pt x="790" y="1357"/>
                  </a:lnTo>
                  <a:lnTo>
                    <a:pt x="787" y="1362"/>
                  </a:lnTo>
                  <a:lnTo>
                    <a:pt x="785" y="1368"/>
                  </a:lnTo>
                  <a:lnTo>
                    <a:pt x="779" y="1373"/>
                  </a:lnTo>
                  <a:lnTo>
                    <a:pt x="774" y="1373"/>
                  </a:lnTo>
                  <a:lnTo>
                    <a:pt x="763" y="1373"/>
                  </a:lnTo>
                  <a:lnTo>
                    <a:pt x="756" y="1370"/>
                  </a:lnTo>
                  <a:lnTo>
                    <a:pt x="742" y="1360"/>
                  </a:lnTo>
                  <a:lnTo>
                    <a:pt x="732" y="1349"/>
                  </a:lnTo>
                  <a:lnTo>
                    <a:pt x="729" y="1344"/>
                  </a:lnTo>
                  <a:lnTo>
                    <a:pt x="721" y="1339"/>
                  </a:lnTo>
                  <a:lnTo>
                    <a:pt x="705" y="1323"/>
                  </a:lnTo>
                  <a:lnTo>
                    <a:pt x="684" y="1310"/>
                  </a:lnTo>
                  <a:lnTo>
                    <a:pt x="674" y="1304"/>
                  </a:lnTo>
                  <a:lnTo>
                    <a:pt x="660" y="1302"/>
                  </a:lnTo>
                  <a:lnTo>
                    <a:pt x="652" y="1302"/>
                  </a:lnTo>
                  <a:lnTo>
                    <a:pt x="645" y="1299"/>
                  </a:lnTo>
                  <a:lnTo>
                    <a:pt x="639" y="1294"/>
                  </a:lnTo>
                  <a:lnTo>
                    <a:pt x="637" y="1286"/>
                  </a:lnTo>
                  <a:lnTo>
                    <a:pt x="634" y="1273"/>
                  </a:lnTo>
                  <a:lnTo>
                    <a:pt x="637" y="1262"/>
                  </a:lnTo>
                  <a:lnTo>
                    <a:pt x="637" y="1257"/>
                  </a:lnTo>
                  <a:lnTo>
                    <a:pt x="631" y="1249"/>
                  </a:lnTo>
                  <a:lnTo>
                    <a:pt x="615" y="1233"/>
                  </a:lnTo>
                  <a:lnTo>
                    <a:pt x="592" y="1217"/>
                  </a:lnTo>
                  <a:lnTo>
                    <a:pt x="581" y="1212"/>
                  </a:lnTo>
                  <a:lnTo>
                    <a:pt x="571" y="1212"/>
                  </a:lnTo>
                  <a:lnTo>
                    <a:pt x="549" y="1212"/>
                  </a:lnTo>
                  <a:lnTo>
                    <a:pt x="539" y="1209"/>
                  </a:lnTo>
                  <a:lnTo>
                    <a:pt x="526" y="1204"/>
                  </a:lnTo>
                  <a:lnTo>
                    <a:pt x="512" y="1196"/>
                  </a:lnTo>
                  <a:lnTo>
                    <a:pt x="499" y="1188"/>
                  </a:lnTo>
                  <a:lnTo>
                    <a:pt x="483" y="1172"/>
                  </a:lnTo>
                  <a:lnTo>
                    <a:pt x="468" y="1154"/>
                  </a:lnTo>
                  <a:lnTo>
                    <a:pt x="465" y="1149"/>
                  </a:lnTo>
                  <a:lnTo>
                    <a:pt x="460" y="1143"/>
                  </a:lnTo>
                  <a:lnTo>
                    <a:pt x="454" y="1138"/>
                  </a:lnTo>
                  <a:lnTo>
                    <a:pt x="449" y="1135"/>
                  </a:lnTo>
                  <a:lnTo>
                    <a:pt x="441" y="1135"/>
                  </a:lnTo>
                  <a:lnTo>
                    <a:pt x="431" y="1138"/>
                  </a:lnTo>
                  <a:lnTo>
                    <a:pt x="417" y="1146"/>
                  </a:lnTo>
                  <a:lnTo>
                    <a:pt x="412" y="1146"/>
                  </a:lnTo>
                  <a:lnTo>
                    <a:pt x="394" y="1146"/>
                  </a:lnTo>
                  <a:lnTo>
                    <a:pt x="378" y="1141"/>
                  </a:lnTo>
                  <a:lnTo>
                    <a:pt x="357" y="1135"/>
                  </a:lnTo>
                  <a:lnTo>
                    <a:pt x="330" y="1125"/>
                  </a:lnTo>
                  <a:lnTo>
                    <a:pt x="296" y="1109"/>
                  </a:lnTo>
                  <a:lnTo>
                    <a:pt x="291" y="1101"/>
                  </a:lnTo>
                  <a:lnTo>
                    <a:pt x="275" y="1085"/>
                  </a:lnTo>
                  <a:lnTo>
                    <a:pt x="251" y="1069"/>
                  </a:lnTo>
                  <a:lnTo>
                    <a:pt x="240" y="1064"/>
                  </a:lnTo>
                  <a:lnTo>
                    <a:pt x="230" y="1061"/>
                  </a:lnTo>
                  <a:lnTo>
                    <a:pt x="219" y="1061"/>
                  </a:lnTo>
                  <a:lnTo>
                    <a:pt x="209" y="1056"/>
                  </a:lnTo>
                  <a:lnTo>
                    <a:pt x="201" y="1051"/>
                  </a:lnTo>
                  <a:lnTo>
                    <a:pt x="193" y="1046"/>
                  </a:lnTo>
                  <a:lnTo>
                    <a:pt x="190" y="1035"/>
                  </a:lnTo>
                  <a:lnTo>
                    <a:pt x="187" y="1027"/>
                  </a:lnTo>
                  <a:lnTo>
                    <a:pt x="190" y="1017"/>
                  </a:lnTo>
                  <a:lnTo>
                    <a:pt x="195" y="1009"/>
                  </a:lnTo>
                  <a:lnTo>
                    <a:pt x="203" y="998"/>
                  </a:lnTo>
                  <a:lnTo>
                    <a:pt x="209" y="990"/>
                  </a:lnTo>
                  <a:lnTo>
                    <a:pt x="209" y="982"/>
                  </a:lnTo>
                  <a:lnTo>
                    <a:pt x="209" y="974"/>
                  </a:lnTo>
                  <a:lnTo>
                    <a:pt x="206" y="964"/>
                  </a:lnTo>
                  <a:lnTo>
                    <a:pt x="198" y="953"/>
                  </a:lnTo>
                  <a:lnTo>
                    <a:pt x="174" y="921"/>
                  </a:lnTo>
                  <a:lnTo>
                    <a:pt x="150" y="887"/>
                  </a:lnTo>
                  <a:lnTo>
                    <a:pt x="135" y="863"/>
                  </a:lnTo>
                  <a:lnTo>
                    <a:pt x="127" y="845"/>
                  </a:lnTo>
                  <a:lnTo>
                    <a:pt x="119" y="837"/>
                  </a:lnTo>
                  <a:lnTo>
                    <a:pt x="106" y="818"/>
                  </a:lnTo>
                  <a:lnTo>
                    <a:pt x="100" y="808"/>
                  </a:lnTo>
                  <a:lnTo>
                    <a:pt x="98" y="795"/>
                  </a:lnTo>
                  <a:lnTo>
                    <a:pt x="98" y="784"/>
                  </a:lnTo>
                  <a:lnTo>
                    <a:pt x="100" y="776"/>
                  </a:lnTo>
                  <a:lnTo>
                    <a:pt x="103" y="766"/>
                  </a:lnTo>
                  <a:lnTo>
                    <a:pt x="103" y="758"/>
                  </a:lnTo>
                  <a:lnTo>
                    <a:pt x="98" y="747"/>
                  </a:lnTo>
                  <a:lnTo>
                    <a:pt x="92" y="739"/>
                  </a:lnTo>
                  <a:lnTo>
                    <a:pt x="84" y="731"/>
                  </a:lnTo>
                  <a:lnTo>
                    <a:pt x="79" y="729"/>
                  </a:lnTo>
                  <a:lnTo>
                    <a:pt x="74" y="729"/>
                  </a:lnTo>
                  <a:lnTo>
                    <a:pt x="71" y="734"/>
                  </a:lnTo>
                  <a:lnTo>
                    <a:pt x="74" y="758"/>
                  </a:lnTo>
                  <a:lnTo>
                    <a:pt x="79" y="792"/>
                  </a:lnTo>
                  <a:lnTo>
                    <a:pt x="87" y="834"/>
                  </a:lnTo>
                  <a:lnTo>
                    <a:pt x="98" y="850"/>
                  </a:lnTo>
                  <a:lnTo>
                    <a:pt x="103" y="866"/>
                  </a:lnTo>
                  <a:lnTo>
                    <a:pt x="106" y="874"/>
                  </a:lnTo>
                  <a:lnTo>
                    <a:pt x="106" y="884"/>
                  </a:lnTo>
                  <a:lnTo>
                    <a:pt x="106" y="892"/>
                  </a:lnTo>
                  <a:lnTo>
                    <a:pt x="108" y="900"/>
                  </a:lnTo>
                  <a:lnTo>
                    <a:pt x="119" y="911"/>
                  </a:lnTo>
                  <a:lnTo>
                    <a:pt x="129" y="921"/>
                  </a:lnTo>
                  <a:lnTo>
                    <a:pt x="135" y="927"/>
                  </a:lnTo>
                  <a:lnTo>
                    <a:pt x="135" y="932"/>
                  </a:lnTo>
                  <a:lnTo>
                    <a:pt x="129" y="943"/>
                  </a:lnTo>
                  <a:lnTo>
                    <a:pt x="127" y="945"/>
                  </a:lnTo>
                  <a:lnTo>
                    <a:pt x="121" y="945"/>
                  </a:lnTo>
                  <a:lnTo>
                    <a:pt x="113" y="940"/>
                  </a:lnTo>
                  <a:lnTo>
                    <a:pt x="106" y="929"/>
                  </a:lnTo>
                  <a:lnTo>
                    <a:pt x="100" y="921"/>
                  </a:lnTo>
                  <a:lnTo>
                    <a:pt x="92" y="916"/>
                  </a:lnTo>
                  <a:lnTo>
                    <a:pt x="79" y="908"/>
                  </a:lnTo>
                  <a:lnTo>
                    <a:pt x="74" y="903"/>
                  </a:lnTo>
                  <a:lnTo>
                    <a:pt x="71" y="898"/>
                  </a:lnTo>
                  <a:lnTo>
                    <a:pt x="71" y="892"/>
                  </a:lnTo>
                  <a:lnTo>
                    <a:pt x="76" y="884"/>
                  </a:lnTo>
                  <a:lnTo>
                    <a:pt x="79" y="877"/>
                  </a:lnTo>
                  <a:lnTo>
                    <a:pt x="82" y="869"/>
                  </a:lnTo>
                  <a:lnTo>
                    <a:pt x="82" y="866"/>
                  </a:lnTo>
                  <a:lnTo>
                    <a:pt x="79" y="861"/>
                  </a:lnTo>
                  <a:lnTo>
                    <a:pt x="69" y="853"/>
                  </a:lnTo>
                  <a:lnTo>
                    <a:pt x="58" y="842"/>
                  </a:lnTo>
                  <a:lnTo>
                    <a:pt x="39" y="813"/>
                  </a:lnTo>
                  <a:lnTo>
                    <a:pt x="37" y="808"/>
                  </a:lnTo>
                  <a:lnTo>
                    <a:pt x="37" y="805"/>
                  </a:lnTo>
                  <a:lnTo>
                    <a:pt x="39" y="805"/>
                  </a:lnTo>
                  <a:lnTo>
                    <a:pt x="47" y="805"/>
                  </a:lnTo>
                  <a:lnTo>
                    <a:pt x="53" y="805"/>
                  </a:lnTo>
                  <a:lnTo>
                    <a:pt x="61" y="803"/>
                  </a:lnTo>
                  <a:lnTo>
                    <a:pt x="66" y="797"/>
                  </a:lnTo>
                  <a:lnTo>
                    <a:pt x="69" y="792"/>
                  </a:lnTo>
                  <a:lnTo>
                    <a:pt x="69" y="787"/>
                  </a:lnTo>
                  <a:lnTo>
                    <a:pt x="69" y="782"/>
                  </a:lnTo>
                  <a:lnTo>
                    <a:pt x="66" y="779"/>
                  </a:lnTo>
                  <a:lnTo>
                    <a:pt x="58" y="776"/>
                  </a:lnTo>
                  <a:lnTo>
                    <a:pt x="53" y="774"/>
                  </a:lnTo>
                  <a:lnTo>
                    <a:pt x="47" y="768"/>
                  </a:lnTo>
                  <a:lnTo>
                    <a:pt x="39" y="758"/>
                  </a:lnTo>
                  <a:lnTo>
                    <a:pt x="39" y="747"/>
                  </a:lnTo>
                  <a:lnTo>
                    <a:pt x="37" y="742"/>
                  </a:lnTo>
                  <a:lnTo>
                    <a:pt x="34" y="671"/>
                  </a:lnTo>
                  <a:lnTo>
                    <a:pt x="29" y="671"/>
                  </a:lnTo>
                  <a:lnTo>
                    <a:pt x="16" y="665"/>
                  </a:lnTo>
                  <a:lnTo>
                    <a:pt x="10" y="660"/>
                  </a:lnTo>
                  <a:lnTo>
                    <a:pt x="5" y="655"/>
                  </a:lnTo>
                  <a:lnTo>
                    <a:pt x="0" y="649"/>
                  </a:lnTo>
                  <a:lnTo>
                    <a:pt x="0" y="642"/>
                  </a:lnTo>
                  <a:lnTo>
                    <a:pt x="3" y="618"/>
                  </a:lnTo>
                  <a:lnTo>
                    <a:pt x="3" y="581"/>
                  </a:lnTo>
                  <a:lnTo>
                    <a:pt x="0" y="533"/>
                  </a:lnTo>
                  <a:lnTo>
                    <a:pt x="32" y="483"/>
                  </a:lnTo>
                  <a:lnTo>
                    <a:pt x="55" y="441"/>
                  </a:lnTo>
                  <a:lnTo>
                    <a:pt x="76" y="409"/>
                  </a:lnTo>
                  <a:lnTo>
                    <a:pt x="87" y="391"/>
                  </a:lnTo>
                  <a:lnTo>
                    <a:pt x="92" y="372"/>
                  </a:lnTo>
                  <a:lnTo>
                    <a:pt x="92" y="356"/>
                  </a:lnTo>
                  <a:lnTo>
                    <a:pt x="87" y="343"/>
                  </a:lnTo>
                  <a:lnTo>
                    <a:pt x="87" y="338"/>
                  </a:lnTo>
                  <a:lnTo>
                    <a:pt x="87" y="330"/>
                  </a:lnTo>
                  <a:lnTo>
                    <a:pt x="90" y="319"/>
                  </a:lnTo>
                  <a:lnTo>
                    <a:pt x="95" y="309"/>
                  </a:lnTo>
                  <a:lnTo>
                    <a:pt x="95" y="301"/>
                  </a:lnTo>
                  <a:lnTo>
                    <a:pt x="92" y="280"/>
                  </a:lnTo>
                  <a:lnTo>
                    <a:pt x="92" y="269"/>
                  </a:lnTo>
                  <a:lnTo>
                    <a:pt x="95" y="259"/>
                  </a:lnTo>
                  <a:lnTo>
                    <a:pt x="98" y="251"/>
                  </a:lnTo>
                  <a:lnTo>
                    <a:pt x="106" y="248"/>
                  </a:lnTo>
                  <a:lnTo>
                    <a:pt x="108" y="248"/>
                  </a:lnTo>
                  <a:lnTo>
                    <a:pt x="95" y="253"/>
                  </a:lnTo>
                  <a:lnTo>
                    <a:pt x="87" y="259"/>
                  </a:lnTo>
                  <a:lnTo>
                    <a:pt x="76" y="267"/>
                  </a:lnTo>
                  <a:lnTo>
                    <a:pt x="71" y="274"/>
                  </a:lnTo>
                  <a:lnTo>
                    <a:pt x="66" y="285"/>
                  </a:lnTo>
                  <a:lnTo>
                    <a:pt x="66" y="293"/>
                  </a:lnTo>
                  <a:lnTo>
                    <a:pt x="63" y="293"/>
                  </a:lnTo>
                  <a:lnTo>
                    <a:pt x="63" y="290"/>
                  </a:lnTo>
                  <a:lnTo>
                    <a:pt x="63" y="282"/>
                  </a:lnTo>
                  <a:lnTo>
                    <a:pt x="66" y="272"/>
                  </a:lnTo>
                  <a:lnTo>
                    <a:pt x="71" y="259"/>
                  </a:lnTo>
                  <a:lnTo>
                    <a:pt x="82" y="243"/>
                  </a:lnTo>
                  <a:lnTo>
                    <a:pt x="95" y="227"/>
                  </a:lnTo>
                  <a:lnTo>
                    <a:pt x="111" y="211"/>
                  </a:lnTo>
                  <a:lnTo>
                    <a:pt x="119" y="195"/>
                  </a:lnTo>
                  <a:lnTo>
                    <a:pt x="124" y="179"/>
                  </a:lnTo>
                  <a:lnTo>
                    <a:pt x="124" y="164"/>
                  </a:lnTo>
                  <a:lnTo>
                    <a:pt x="119" y="153"/>
                  </a:lnTo>
                  <a:lnTo>
                    <a:pt x="111" y="145"/>
                  </a:lnTo>
                  <a:lnTo>
                    <a:pt x="100" y="140"/>
                  </a:lnTo>
                  <a:lnTo>
                    <a:pt x="87" y="140"/>
                  </a:lnTo>
                  <a:lnTo>
                    <a:pt x="76" y="142"/>
                  </a:lnTo>
                  <a:lnTo>
                    <a:pt x="66" y="148"/>
                  </a:lnTo>
                  <a:lnTo>
                    <a:pt x="50" y="161"/>
                  </a:lnTo>
                  <a:lnTo>
                    <a:pt x="34" y="171"/>
                  </a:lnTo>
                  <a:lnTo>
                    <a:pt x="26" y="174"/>
                  </a:lnTo>
                  <a:lnTo>
                    <a:pt x="13" y="177"/>
                  </a:lnTo>
                  <a:lnTo>
                    <a:pt x="69" y="132"/>
                  </a:lnTo>
                  <a:lnTo>
                    <a:pt x="90" y="119"/>
                  </a:lnTo>
                  <a:lnTo>
                    <a:pt x="143" y="90"/>
                  </a:lnTo>
                  <a:lnTo>
                    <a:pt x="214" y="50"/>
                  </a:lnTo>
                  <a:lnTo>
                    <a:pt x="251" y="34"/>
                  </a:lnTo>
                  <a:lnTo>
                    <a:pt x="288" y="18"/>
                  </a:lnTo>
                  <a:lnTo>
                    <a:pt x="291" y="32"/>
                  </a:lnTo>
                  <a:lnTo>
                    <a:pt x="296" y="42"/>
                  </a:lnTo>
                  <a:lnTo>
                    <a:pt x="301" y="45"/>
                  </a:lnTo>
                  <a:lnTo>
                    <a:pt x="304" y="47"/>
                  </a:lnTo>
                  <a:lnTo>
                    <a:pt x="320" y="50"/>
                  </a:lnTo>
                  <a:lnTo>
                    <a:pt x="346" y="50"/>
                  </a:lnTo>
                  <a:lnTo>
                    <a:pt x="370" y="50"/>
                  </a:lnTo>
                  <a:lnTo>
                    <a:pt x="380" y="53"/>
                  </a:lnTo>
                  <a:lnTo>
                    <a:pt x="388" y="55"/>
                  </a:lnTo>
                  <a:lnTo>
                    <a:pt x="401" y="68"/>
                  </a:lnTo>
                  <a:lnTo>
                    <a:pt x="417" y="79"/>
                  </a:lnTo>
                  <a:lnTo>
                    <a:pt x="423" y="79"/>
                  </a:lnTo>
                  <a:lnTo>
                    <a:pt x="428" y="84"/>
                  </a:lnTo>
                  <a:lnTo>
                    <a:pt x="431" y="82"/>
                  </a:lnTo>
                  <a:lnTo>
                    <a:pt x="436" y="84"/>
                  </a:lnTo>
                  <a:lnTo>
                    <a:pt x="441" y="82"/>
                  </a:lnTo>
                  <a:lnTo>
                    <a:pt x="444" y="79"/>
                  </a:lnTo>
                  <a:lnTo>
                    <a:pt x="441" y="76"/>
                  </a:lnTo>
                  <a:lnTo>
                    <a:pt x="441" y="74"/>
                  </a:lnTo>
                  <a:lnTo>
                    <a:pt x="438" y="74"/>
                  </a:lnTo>
                  <a:lnTo>
                    <a:pt x="438" y="71"/>
                  </a:lnTo>
                  <a:lnTo>
                    <a:pt x="436" y="71"/>
                  </a:lnTo>
                  <a:lnTo>
                    <a:pt x="428" y="63"/>
                  </a:lnTo>
                  <a:lnTo>
                    <a:pt x="423" y="61"/>
                  </a:lnTo>
                  <a:lnTo>
                    <a:pt x="423" y="55"/>
                  </a:lnTo>
                  <a:lnTo>
                    <a:pt x="425" y="53"/>
                  </a:lnTo>
                  <a:lnTo>
                    <a:pt x="425" y="50"/>
                  </a:lnTo>
                  <a:lnTo>
                    <a:pt x="428" y="47"/>
                  </a:lnTo>
                  <a:lnTo>
                    <a:pt x="428" y="45"/>
                  </a:lnTo>
                  <a:lnTo>
                    <a:pt x="425" y="45"/>
                  </a:lnTo>
                  <a:lnTo>
                    <a:pt x="412" y="34"/>
                  </a:lnTo>
                  <a:lnTo>
                    <a:pt x="412" y="37"/>
                  </a:lnTo>
                  <a:lnTo>
                    <a:pt x="409" y="37"/>
                  </a:lnTo>
                  <a:lnTo>
                    <a:pt x="407" y="34"/>
                  </a:lnTo>
                  <a:lnTo>
                    <a:pt x="404" y="34"/>
                  </a:lnTo>
                  <a:lnTo>
                    <a:pt x="401" y="29"/>
                  </a:lnTo>
                  <a:lnTo>
                    <a:pt x="399" y="26"/>
                  </a:lnTo>
                  <a:lnTo>
                    <a:pt x="399" y="21"/>
                  </a:lnTo>
                  <a:lnTo>
                    <a:pt x="404" y="18"/>
                  </a:lnTo>
                  <a:lnTo>
                    <a:pt x="420" y="13"/>
                  </a:lnTo>
                  <a:lnTo>
                    <a:pt x="423" y="13"/>
                  </a:lnTo>
                  <a:lnTo>
                    <a:pt x="425" y="16"/>
                  </a:lnTo>
                  <a:lnTo>
                    <a:pt x="428" y="13"/>
                  </a:lnTo>
                  <a:lnTo>
                    <a:pt x="428" y="10"/>
                  </a:lnTo>
                  <a:lnTo>
                    <a:pt x="441" y="10"/>
                  </a:lnTo>
                  <a:lnTo>
                    <a:pt x="454" y="10"/>
                  </a:lnTo>
                  <a:lnTo>
                    <a:pt x="454" y="8"/>
                  </a:lnTo>
                  <a:lnTo>
                    <a:pt x="452" y="5"/>
                  </a:lnTo>
                  <a:lnTo>
                    <a:pt x="452" y="2"/>
                  </a:lnTo>
                  <a:lnTo>
                    <a:pt x="465" y="0"/>
                  </a:lnTo>
                  <a:lnTo>
                    <a:pt x="475" y="0"/>
                  </a:lnTo>
                  <a:lnTo>
                    <a:pt x="483" y="2"/>
                  </a:lnTo>
                  <a:lnTo>
                    <a:pt x="486" y="8"/>
                  </a:lnTo>
                  <a:lnTo>
                    <a:pt x="486" y="16"/>
                  </a:lnTo>
                  <a:lnTo>
                    <a:pt x="489" y="18"/>
                  </a:lnTo>
                  <a:lnTo>
                    <a:pt x="491" y="21"/>
                  </a:lnTo>
                  <a:lnTo>
                    <a:pt x="489" y="21"/>
                  </a:lnTo>
                  <a:lnTo>
                    <a:pt x="491" y="24"/>
                  </a:lnTo>
                  <a:lnTo>
                    <a:pt x="491" y="26"/>
                  </a:lnTo>
                  <a:lnTo>
                    <a:pt x="494" y="26"/>
                  </a:lnTo>
                  <a:lnTo>
                    <a:pt x="502" y="26"/>
                  </a:lnTo>
                  <a:lnTo>
                    <a:pt x="523" y="45"/>
                  </a:lnTo>
                  <a:lnTo>
                    <a:pt x="526" y="47"/>
                  </a:lnTo>
                  <a:lnTo>
                    <a:pt x="528" y="47"/>
                  </a:lnTo>
                  <a:lnTo>
                    <a:pt x="531" y="53"/>
                  </a:lnTo>
                  <a:lnTo>
                    <a:pt x="528" y="61"/>
                  </a:lnTo>
                  <a:lnTo>
                    <a:pt x="526" y="63"/>
                  </a:lnTo>
                  <a:lnTo>
                    <a:pt x="520" y="66"/>
                  </a:lnTo>
                  <a:lnTo>
                    <a:pt x="512" y="68"/>
                  </a:lnTo>
                  <a:lnTo>
                    <a:pt x="505" y="68"/>
                  </a:lnTo>
                  <a:lnTo>
                    <a:pt x="499" y="71"/>
                  </a:lnTo>
                  <a:lnTo>
                    <a:pt x="497" y="68"/>
                  </a:lnTo>
                  <a:lnTo>
                    <a:pt x="494" y="68"/>
                  </a:lnTo>
                  <a:lnTo>
                    <a:pt x="489" y="71"/>
                  </a:lnTo>
                  <a:lnTo>
                    <a:pt x="478" y="74"/>
                  </a:lnTo>
                  <a:lnTo>
                    <a:pt x="473" y="79"/>
                  </a:lnTo>
                  <a:lnTo>
                    <a:pt x="470" y="82"/>
                  </a:lnTo>
                  <a:lnTo>
                    <a:pt x="473" y="84"/>
                  </a:lnTo>
                  <a:lnTo>
                    <a:pt x="478" y="84"/>
                  </a:lnTo>
                  <a:lnTo>
                    <a:pt x="518" y="82"/>
                  </a:lnTo>
                  <a:lnTo>
                    <a:pt x="523" y="84"/>
                  </a:lnTo>
                  <a:lnTo>
                    <a:pt x="523" y="82"/>
                  </a:lnTo>
                  <a:lnTo>
                    <a:pt x="534" y="82"/>
                  </a:lnTo>
                  <a:lnTo>
                    <a:pt x="536" y="82"/>
                  </a:lnTo>
                  <a:lnTo>
                    <a:pt x="565" y="76"/>
                  </a:lnTo>
                  <a:lnTo>
                    <a:pt x="568" y="66"/>
                  </a:lnTo>
                  <a:lnTo>
                    <a:pt x="571" y="63"/>
                  </a:lnTo>
                  <a:lnTo>
                    <a:pt x="571" y="61"/>
                  </a:lnTo>
                  <a:lnTo>
                    <a:pt x="573" y="55"/>
                  </a:lnTo>
                  <a:lnTo>
                    <a:pt x="571" y="55"/>
                  </a:lnTo>
                  <a:lnTo>
                    <a:pt x="573" y="45"/>
                  </a:lnTo>
                  <a:lnTo>
                    <a:pt x="584" y="45"/>
                  </a:lnTo>
                  <a:lnTo>
                    <a:pt x="584" y="47"/>
                  </a:lnTo>
                  <a:lnTo>
                    <a:pt x="584" y="50"/>
                  </a:lnTo>
                  <a:lnTo>
                    <a:pt x="586" y="53"/>
                  </a:lnTo>
                  <a:lnTo>
                    <a:pt x="589" y="50"/>
                  </a:lnTo>
                  <a:lnTo>
                    <a:pt x="592" y="47"/>
                  </a:lnTo>
                  <a:lnTo>
                    <a:pt x="597" y="53"/>
                  </a:lnTo>
                  <a:lnTo>
                    <a:pt x="602" y="47"/>
                  </a:lnTo>
                  <a:lnTo>
                    <a:pt x="608" y="63"/>
                  </a:lnTo>
                  <a:lnTo>
                    <a:pt x="608" y="66"/>
                  </a:lnTo>
                  <a:lnTo>
                    <a:pt x="610" y="68"/>
                  </a:lnTo>
                  <a:lnTo>
                    <a:pt x="618" y="82"/>
                  </a:lnTo>
                  <a:lnTo>
                    <a:pt x="623" y="90"/>
                  </a:lnTo>
                  <a:lnTo>
                    <a:pt x="631" y="98"/>
                  </a:lnTo>
                  <a:lnTo>
                    <a:pt x="637" y="103"/>
                  </a:lnTo>
                  <a:lnTo>
                    <a:pt x="637" y="111"/>
                  </a:lnTo>
                  <a:lnTo>
                    <a:pt x="631" y="119"/>
                  </a:lnTo>
                  <a:lnTo>
                    <a:pt x="621" y="124"/>
                  </a:lnTo>
                  <a:lnTo>
                    <a:pt x="618" y="129"/>
                  </a:lnTo>
                  <a:lnTo>
                    <a:pt x="615" y="127"/>
                  </a:lnTo>
                  <a:lnTo>
                    <a:pt x="613" y="129"/>
                  </a:lnTo>
                  <a:lnTo>
                    <a:pt x="610" y="129"/>
                  </a:lnTo>
                  <a:lnTo>
                    <a:pt x="608" y="129"/>
                  </a:lnTo>
                  <a:lnTo>
                    <a:pt x="602" y="135"/>
                  </a:lnTo>
                  <a:lnTo>
                    <a:pt x="594" y="135"/>
                  </a:lnTo>
                  <a:lnTo>
                    <a:pt x="584" y="135"/>
                  </a:lnTo>
                  <a:lnTo>
                    <a:pt x="586" y="137"/>
                  </a:lnTo>
                  <a:lnTo>
                    <a:pt x="586" y="140"/>
                  </a:lnTo>
                  <a:lnTo>
                    <a:pt x="584" y="142"/>
                  </a:lnTo>
                  <a:lnTo>
                    <a:pt x="565" y="153"/>
                  </a:lnTo>
                  <a:lnTo>
                    <a:pt x="547" y="166"/>
                  </a:lnTo>
                  <a:lnTo>
                    <a:pt x="542" y="177"/>
                  </a:lnTo>
                  <a:lnTo>
                    <a:pt x="536" y="185"/>
                  </a:lnTo>
                  <a:lnTo>
                    <a:pt x="536" y="195"/>
                  </a:lnTo>
                  <a:lnTo>
                    <a:pt x="536" y="208"/>
                  </a:lnTo>
                  <a:lnTo>
                    <a:pt x="539" y="211"/>
                  </a:lnTo>
                  <a:lnTo>
                    <a:pt x="552" y="219"/>
                  </a:lnTo>
                  <a:lnTo>
                    <a:pt x="578" y="232"/>
                  </a:lnTo>
                  <a:lnTo>
                    <a:pt x="615" y="248"/>
                  </a:lnTo>
                  <a:lnTo>
                    <a:pt x="652" y="261"/>
                  </a:lnTo>
                  <a:lnTo>
                    <a:pt x="674" y="272"/>
                  </a:lnTo>
                  <a:lnTo>
                    <a:pt x="679" y="274"/>
                  </a:lnTo>
                  <a:lnTo>
                    <a:pt x="684" y="280"/>
                  </a:lnTo>
                  <a:lnTo>
                    <a:pt x="687" y="293"/>
                  </a:lnTo>
                  <a:lnTo>
                    <a:pt x="695" y="311"/>
                  </a:lnTo>
                  <a:lnTo>
                    <a:pt x="703" y="330"/>
                  </a:lnTo>
                  <a:lnTo>
                    <a:pt x="711" y="335"/>
                  </a:lnTo>
                  <a:lnTo>
                    <a:pt x="716" y="340"/>
                  </a:lnTo>
                  <a:lnTo>
                    <a:pt x="724" y="343"/>
                  </a:lnTo>
                  <a:lnTo>
                    <a:pt x="732" y="338"/>
                  </a:lnTo>
                  <a:lnTo>
                    <a:pt x="737" y="335"/>
                  </a:lnTo>
                  <a:lnTo>
                    <a:pt x="742" y="327"/>
                  </a:lnTo>
                  <a:lnTo>
                    <a:pt x="745" y="322"/>
                  </a:lnTo>
                  <a:lnTo>
                    <a:pt x="745" y="314"/>
                  </a:lnTo>
                  <a:lnTo>
                    <a:pt x="745" y="306"/>
                  </a:lnTo>
                  <a:lnTo>
                    <a:pt x="742" y="296"/>
                  </a:lnTo>
                  <a:lnTo>
                    <a:pt x="734" y="280"/>
                  </a:lnTo>
                  <a:lnTo>
                    <a:pt x="734" y="272"/>
                  </a:lnTo>
                  <a:lnTo>
                    <a:pt x="737" y="267"/>
                  </a:lnTo>
                  <a:lnTo>
                    <a:pt x="740" y="264"/>
                  </a:lnTo>
                  <a:lnTo>
                    <a:pt x="745" y="261"/>
                  </a:lnTo>
                  <a:lnTo>
                    <a:pt x="756" y="259"/>
                  </a:lnTo>
                  <a:lnTo>
                    <a:pt x="758" y="256"/>
                  </a:lnTo>
                  <a:lnTo>
                    <a:pt x="766" y="251"/>
                  </a:lnTo>
                  <a:lnTo>
                    <a:pt x="769" y="248"/>
                  </a:lnTo>
                  <a:lnTo>
                    <a:pt x="771" y="243"/>
                  </a:lnTo>
                  <a:lnTo>
                    <a:pt x="771" y="235"/>
                  </a:lnTo>
                  <a:lnTo>
                    <a:pt x="769" y="230"/>
                  </a:lnTo>
                  <a:lnTo>
                    <a:pt x="753" y="219"/>
                  </a:lnTo>
                  <a:lnTo>
                    <a:pt x="745" y="208"/>
                  </a:lnTo>
                  <a:lnTo>
                    <a:pt x="740" y="203"/>
                  </a:lnTo>
                  <a:lnTo>
                    <a:pt x="740" y="201"/>
                  </a:lnTo>
                  <a:lnTo>
                    <a:pt x="740" y="195"/>
                  </a:lnTo>
                  <a:lnTo>
                    <a:pt x="742" y="190"/>
                  </a:lnTo>
                  <a:lnTo>
                    <a:pt x="742" y="182"/>
                  </a:lnTo>
                  <a:lnTo>
                    <a:pt x="740" y="179"/>
                  </a:lnTo>
                  <a:lnTo>
                    <a:pt x="734" y="177"/>
                  </a:lnTo>
                  <a:lnTo>
                    <a:pt x="734" y="166"/>
                  </a:lnTo>
                  <a:lnTo>
                    <a:pt x="737" y="164"/>
                  </a:lnTo>
                  <a:lnTo>
                    <a:pt x="740" y="161"/>
                  </a:lnTo>
                  <a:lnTo>
                    <a:pt x="753" y="153"/>
                  </a:lnTo>
                  <a:lnTo>
                    <a:pt x="761" y="150"/>
                  </a:lnTo>
                  <a:lnTo>
                    <a:pt x="766" y="150"/>
                  </a:lnTo>
                  <a:lnTo>
                    <a:pt x="774" y="153"/>
                  </a:lnTo>
                  <a:lnTo>
                    <a:pt x="785" y="156"/>
                  </a:lnTo>
                  <a:lnTo>
                    <a:pt x="787" y="156"/>
                  </a:lnTo>
                  <a:lnTo>
                    <a:pt x="790" y="153"/>
                  </a:lnTo>
                  <a:lnTo>
                    <a:pt x="793" y="153"/>
                  </a:lnTo>
                  <a:lnTo>
                    <a:pt x="803" y="156"/>
                  </a:lnTo>
                  <a:lnTo>
                    <a:pt x="814" y="161"/>
                  </a:lnTo>
                  <a:lnTo>
                    <a:pt x="824" y="169"/>
                  </a:lnTo>
                  <a:lnTo>
                    <a:pt x="830" y="179"/>
                  </a:lnTo>
                  <a:lnTo>
                    <a:pt x="832" y="187"/>
                  </a:lnTo>
                  <a:lnTo>
                    <a:pt x="840" y="201"/>
                  </a:lnTo>
                  <a:lnTo>
                    <a:pt x="845" y="208"/>
                  </a:lnTo>
                  <a:lnTo>
                    <a:pt x="851" y="211"/>
                  </a:lnTo>
                  <a:lnTo>
                    <a:pt x="859" y="214"/>
                  </a:lnTo>
                  <a:lnTo>
                    <a:pt x="866" y="211"/>
                  </a:lnTo>
                  <a:lnTo>
                    <a:pt x="880" y="195"/>
                  </a:lnTo>
                  <a:lnTo>
                    <a:pt x="885" y="182"/>
                  </a:lnTo>
                  <a:lnTo>
                    <a:pt x="888" y="177"/>
                  </a:lnTo>
                  <a:lnTo>
                    <a:pt x="885" y="174"/>
                  </a:lnTo>
                  <a:lnTo>
                    <a:pt x="888" y="174"/>
                  </a:lnTo>
                  <a:lnTo>
                    <a:pt x="893" y="174"/>
                  </a:lnTo>
                  <a:lnTo>
                    <a:pt x="903" y="182"/>
                  </a:lnTo>
                  <a:lnTo>
                    <a:pt x="917" y="195"/>
                  </a:lnTo>
                  <a:lnTo>
                    <a:pt x="927" y="206"/>
                  </a:lnTo>
                  <a:lnTo>
                    <a:pt x="940" y="214"/>
                  </a:lnTo>
                  <a:lnTo>
                    <a:pt x="940" y="216"/>
                  </a:lnTo>
                  <a:lnTo>
                    <a:pt x="940" y="219"/>
                  </a:lnTo>
                  <a:lnTo>
                    <a:pt x="940" y="222"/>
                  </a:lnTo>
                  <a:lnTo>
                    <a:pt x="954" y="224"/>
                  </a:lnTo>
                  <a:lnTo>
                    <a:pt x="964" y="227"/>
                  </a:lnTo>
                  <a:lnTo>
                    <a:pt x="1025" y="253"/>
                  </a:lnTo>
                  <a:lnTo>
                    <a:pt x="1036" y="259"/>
                  </a:lnTo>
                  <a:lnTo>
                    <a:pt x="1054" y="272"/>
                  </a:lnTo>
                  <a:lnTo>
                    <a:pt x="1059" y="277"/>
                  </a:lnTo>
                  <a:lnTo>
                    <a:pt x="1062" y="282"/>
                  </a:lnTo>
                  <a:lnTo>
                    <a:pt x="1067" y="304"/>
                  </a:lnTo>
                  <a:lnTo>
                    <a:pt x="1073" y="319"/>
                  </a:lnTo>
                  <a:lnTo>
                    <a:pt x="1083" y="335"/>
                  </a:lnTo>
                  <a:lnTo>
                    <a:pt x="1107" y="343"/>
                  </a:lnTo>
                  <a:lnTo>
                    <a:pt x="1125" y="354"/>
                  </a:lnTo>
                  <a:lnTo>
                    <a:pt x="1131" y="359"/>
                  </a:lnTo>
                  <a:lnTo>
                    <a:pt x="1136" y="364"/>
                  </a:lnTo>
                  <a:lnTo>
                    <a:pt x="1139" y="375"/>
                  </a:lnTo>
                  <a:lnTo>
                    <a:pt x="1136" y="388"/>
                  </a:lnTo>
                  <a:lnTo>
                    <a:pt x="1136" y="393"/>
                  </a:lnTo>
                  <a:lnTo>
                    <a:pt x="1131" y="396"/>
                  </a:lnTo>
                  <a:lnTo>
                    <a:pt x="1125" y="399"/>
                  </a:lnTo>
                  <a:lnTo>
                    <a:pt x="1117" y="399"/>
                  </a:lnTo>
                  <a:lnTo>
                    <a:pt x="1102" y="396"/>
                  </a:lnTo>
                  <a:lnTo>
                    <a:pt x="1086" y="391"/>
                  </a:lnTo>
                  <a:lnTo>
                    <a:pt x="1083" y="385"/>
                  </a:lnTo>
                  <a:lnTo>
                    <a:pt x="1081" y="380"/>
                  </a:lnTo>
                  <a:lnTo>
                    <a:pt x="1078" y="383"/>
                  </a:lnTo>
                  <a:lnTo>
                    <a:pt x="1073" y="385"/>
                  </a:lnTo>
                  <a:lnTo>
                    <a:pt x="1059" y="380"/>
                  </a:lnTo>
                  <a:lnTo>
                    <a:pt x="1054" y="375"/>
                  </a:lnTo>
                  <a:lnTo>
                    <a:pt x="1057" y="354"/>
                  </a:lnTo>
                  <a:lnTo>
                    <a:pt x="1057" y="335"/>
                  </a:lnTo>
                  <a:lnTo>
                    <a:pt x="1057" y="327"/>
                  </a:lnTo>
                  <a:lnTo>
                    <a:pt x="1057" y="317"/>
                  </a:lnTo>
                  <a:lnTo>
                    <a:pt x="1054" y="311"/>
                  </a:lnTo>
                  <a:lnTo>
                    <a:pt x="1051" y="311"/>
                  </a:lnTo>
                  <a:lnTo>
                    <a:pt x="1046" y="314"/>
                  </a:lnTo>
                  <a:lnTo>
                    <a:pt x="1036" y="322"/>
                  </a:lnTo>
                  <a:lnTo>
                    <a:pt x="1038" y="325"/>
                  </a:lnTo>
                  <a:lnTo>
                    <a:pt x="1041" y="333"/>
                  </a:lnTo>
                  <a:lnTo>
                    <a:pt x="1041" y="335"/>
                  </a:lnTo>
                  <a:lnTo>
                    <a:pt x="1036" y="340"/>
                  </a:lnTo>
                  <a:lnTo>
                    <a:pt x="1028" y="343"/>
                  </a:lnTo>
                  <a:lnTo>
                    <a:pt x="1017" y="343"/>
                  </a:lnTo>
                  <a:lnTo>
                    <a:pt x="1004" y="343"/>
                  </a:lnTo>
                  <a:lnTo>
                    <a:pt x="991" y="338"/>
                  </a:lnTo>
                  <a:lnTo>
                    <a:pt x="967" y="333"/>
                  </a:lnTo>
                  <a:lnTo>
                    <a:pt x="956" y="330"/>
                  </a:lnTo>
                  <a:lnTo>
                    <a:pt x="946" y="333"/>
                  </a:lnTo>
                  <a:lnTo>
                    <a:pt x="935" y="338"/>
                  </a:lnTo>
                  <a:lnTo>
                    <a:pt x="927" y="348"/>
                  </a:lnTo>
                  <a:lnTo>
                    <a:pt x="906" y="388"/>
                  </a:lnTo>
                  <a:lnTo>
                    <a:pt x="917" y="383"/>
                  </a:lnTo>
                  <a:lnTo>
                    <a:pt x="938" y="370"/>
                  </a:lnTo>
                  <a:lnTo>
                    <a:pt x="948" y="367"/>
                  </a:lnTo>
                  <a:lnTo>
                    <a:pt x="959" y="364"/>
                  </a:lnTo>
                  <a:lnTo>
                    <a:pt x="967" y="364"/>
                  </a:lnTo>
                  <a:lnTo>
                    <a:pt x="970" y="367"/>
                  </a:lnTo>
                  <a:lnTo>
                    <a:pt x="972" y="370"/>
                  </a:lnTo>
                  <a:lnTo>
                    <a:pt x="970" y="383"/>
                  </a:lnTo>
                  <a:lnTo>
                    <a:pt x="970" y="396"/>
                  </a:lnTo>
                  <a:lnTo>
                    <a:pt x="972" y="404"/>
                  </a:lnTo>
                  <a:lnTo>
                    <a:pt x="975" y="407"/>
                  </a:lnTo>
                  <a:lnTo>
                    <a:pt x="985" y="409"/>
                  </a:lnTo>
                  <a:lnTo>
                    <a:pt x="1001" y="407"/>
                  </a:lnTo>
                  <a:lnTo>
                    <a:pt x="1012" y="407"/>
                  </a:lnTo>
                  <a:lnTo>
                    <a:pt x="1017" y="409"/>
                  </a:lnTo>
                  <a:lnTo>
                    <a:pt x="1017" y="414"/>
                  </a:lnTo>
                  <a:lnTo>
                    <a:pt x="1025" y="407"/>
                  </a:lnTo>
                  <a:lnTo>
                    <a:pt x="1033" y="401"/>
                  </a:lnTo>
                  <a:lnTo>
                    <a:pt x="1038" y="399"/>
                  </a:lnTo>
                  <a:lnTo>
                    <a:pt x="1041" y="401"/>
                  </a:lnTo>
                  <a:lnTo>
                    <a:pt x="1044" y="407"/>
                  </a:lnTo>
                  <a:lnTo>
                    <a:pt x="1046" y="407"/>
                  </a:lnTo>
                  <a:lnTo>
                    <a:pt x="1049" y="404"/>
                  </a:lnTo>
                  <a:lnTo>
                    <a:pt x="1051" y="414"/>
                  </a:lnTo>
                  <a:lnTo>
                    <a:pt x="1059" y="420"/>
                  </a:lnTo>
                  <a:lnTo>
                    <a:pt x="1062" y="420"/>
                  </a:lnTo>
                  <a:lnTo>
                    <a:pt x="1044" y="438"/>
                  </a:lnTo>
                  <a:lnTo>
                    <a:pt x="1004" y="473"/>
                  </a:lnTo>
                  <a:lnTo>
                    <a:pt x="996" y="478"/>
                  </a:lnTo>
                  <a:lnTo>
                    <a:pt x="991" y="478"/>
                  </a:lnTo>
                  <a:lnTo>
                    <a:pt x="988" y="475"/>
                  </a:lnTo>
                  <a:lnTo>
                    <a:pt x="988" y="467"/>
                  </a:lnTo>
                  <a:lnTo>
                    <a:pt x="991" y="451"/>
                  </a:lnTo>
                  <a:lnTo>
                    <a:pt x="993" y="436"/>
                  </a:lnTo>
                  <a:lnTo>
                    <a:pt x="991" y="433"/>
                  </a:lnTo>
                  <a:lnTo>
                    <a:pt x="991" y="430"/>
                  </a:lnTo>
                  <a:lnTo>
                    <a:pt x="983" y="436"/>
                  </a:lnTo>
                  <a:lnTo>
                    <a:pt x="970" y="443"/>
                  </a:lnTo>
                  <a:lnTo>
                    <a:pt x="948" y="462"/>
                  </a:lnTo>
                  <a:lnTo>
                    <a:pt x="927" y="475"/>
                  </a:lnTo>
                  <a:lnTo>
                    <a:pt x="903" y="488"/>
                  </a:lnTo>
                  <a:lnTo>
                    <a:pt x="909" y="510"/>
                  </a:lnTo>
                  <a:lnTo>
                    <a:pt x="909" y="523"/>
                  </a:lnTo>
                  <a:lnTo>
                    <a:pt x="906" y="528"/>
                  </a:lnTo>
                  <a:lnTo>
                    <a:pt x="903" y="533"/>
                  </a:lnTo>
                  <a:lnTo>
                    <a:pt x="896" y="539"/>
                  </a:lnTo>
                  <a:lnTo>
                    <a:pt x="890" y="539"/>
                  </a:lnTo>
                  <a:lnTo>
                    <a:pt x="888" y="541"/>
                  </a:lnTo>
                  <a:lnTo>
                    <a:pt x="885" y="544"/>
                  </a:lnTo>
                  <a:lnTo>
                    <a:pt x="874" y="544"/>
                  </a:lnTo>
                  <a:lnTo>
                    <a:pt x="866" y="546"/>
                  </a:lnTo>
                  <a:lnTo>
                    <a:pt x="861" y="549"/>
                  </a:lnTo>
                  <a:lnTo>
                    <a:pt x="861" y="552"/>
                  </a:lnTo>
                  <a:lnTo>
                    <a:pt x="859" y="554"/>
                  </a:lnTo>
                  <a:lnTo>
                    <a:pt x="837" y="570"/>
                  </a:lnTo>
                  <a:lnTo>
                    <a:pt x="840" y="573"/>
                  </a:lnTo>
                  <a:lnTo>
                    <a:pt x="843" y="576"/>
                  </a:lnTo>
                  <a:lnTo>
                    <a:pt x="830" y="597"/>
                  </a:lnTo>
                  <a:lnTo>
                    <a:pt x="830" y="607"/>
                  </a:lnTo>
                  <a:lnTo>
                    <a:pt x="832" y="620"/>
                  </a:lnTo>
                  <a:lnTo>
                    <a:pt x="835" y="636"/>
                  </a:lnTo>
                  <a:lnTo>
                    <a:pt x="837" y="644"/>
                  </a:lnTo>
                  <a:lnTo>
                    <a:pt x="837" y="652"/>
                  </a:lnTo>
                  <a:lnTo>
                    <a:pt x="830" y="671"/>
                  </a:lnTo>
                  <a:lnTo>
                    <a:pt x="824" y="673"/>
                  </a:lnTo>
                  <a:lnTo>
                    <a:pt x="822" y="681"/>
                  </a:lnTo>
                  <a:lnTo>
                    <a:pt x="816" y="689"/>
                  </a:lnTo>
                  <a:lnTo>
                    <a:pt x="814" y="689"/>
                  </a:lnTo>
                  <a:lnTo>
                    <a:pt x="811" y="686"/>
                  </a:lnTo>
                  <a:lnTo>
                    <a:pt x="811" y="692"/>
                  </a:lnTo>
                  <a:lnTo>
                    <a:pt x="808" y="697"/>
                  </a:lnTo>
                  <a:lnTo>
                    <a:pt x="806" y="700"/>
                  </a:lnTo>
                  <a:lnTo>
                    <a:pt x="806" y="702"/>
                  </a:lnTo>
                  <a:lnTo>
                    <a:pt x="795" y="705"/>
                  </a:lnTo>
                  <a:lnTo>
                    <a:pt x="782" y="708"/>
                  </a:lnTo>
                  <a:lnTo>
                    <a:pt x="777" y="705"/>
                  </a:lnTo>
                  <a:lnTo>
                    <a:pt x="774" y="705"/>
                  </a:lnTo>
                  <a:lnTo>
                    <a:pt x="771" y="710"/>
                  </a:lnTo>
                  <a:lnTo>
                    <a:pt x="771" y="718"/>
                  </a:lnTo>
                  <a:lnTo>
                    <a:pt x="769" y="726"/>
                  </a:lnTo>
                  <a:lnTo>
                    <a:pt x="766" y="726"/>
                  </a:lnTo>
                  <a:lnTo>
                    <a:pt x="763" y="723"/>
                  </a:lnTo>
                  <a:lnTo>
                    <a:pt x="761" y="721"/>
                  </a:lnTo>
                  <a:lnTo>
                    <a:pt x="758" y="721"/>
                  </a:lnTo>
                  <a:lnTo>
                    <a:pt x="748" y="731"/>
                  </a:lnTo>
                  <a:lnTo>
                    <a:pt x="742" y="745"/>
                  </a:lnTo>
                  <a:lnTo>
                    <a:pt x="740" y="747"/>
                  </a:lnTo>
                  <a:lnTo>
                    <a:pt x="737" y="747"/>
                  </a:lnTo>
                  <a:lnTo>
                    <a:pt x="737" y="755"/>
                  </a:lnTo>
                  <a:lnTo>
                    <a:pt x="734" y="766"/>
                  </a:lnTo>
                  <a:lnTo>
                    <a:pt x="732" y="776"/>
                  </a:lnTo>
                  <a:lnTo>
                    <a:pt x="734" y="789"/>
                  </a:lnTo>
                  <a:lnTo>
                    <a:pt x="740" y="803"/>
                  </a:lnTo>
                  <a:lnTo>
                    <a:pt x="748" y="821"/>
                  </a:lnTo>
                  <a:lnTo>
                    <a:pt x="750" y="832"/>
                  </a:lnTo>
                  <a:lnTo>
                    <a:pt x="753" y="845"/>
                  </a:lnTo>
                  <a:lnTo>
                    <a:pt x="756" y="848"/>
                  </a:lnTo>
                  <a:lnTo>
                    <a:pt x="758" y="848"/>
                  </a:lnTo>
                  <a:lnTo>
                    <a:pt x="763" y="871"/>
                  </a:lnTo>
                  <a:lnTo>
                    <a:pt x="769" y="892"/>
                  </a:lnTo>
                  <a:lnTo>
                    <a:pt x="769" y="911"/>
                  </a:lnTo>
                  <a:lnTo>
                    <a:pt x="766" y="916"/>
                  </a:lnTo>
                  <a:lnTo>
                    <a:pt x="761" y="919"/>
                  </a:lnTo>
                  <a:lnTo>
                    <a:pt x="753" y="921"/>
                  </a:lnTo>
                  <a:lnTo>
                    <a:pt x="748" y="919"/>
                  </a:lnTo>
                  <a:lnTo>
                    <a:pt x="734" y="911"/>
                  </a:lnTo>
                  <a:lnTo>
                    <a:pt x="726" y="898"/>
                  </a:lnTo>
                  <a:lnTo>
                    <a:pt x="724" y="890"/>
                  </a:lnTo>
                  <a:lnTo>
                    <a:pt x="721" y="884"/>
                  </a:lnTo>
                  <a:lnTo>
                    <a:pt x="716" y="8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sp>
        <p:nvSpPr>
          <p:cNvPr id="298" name="TextBox 297"/>
          <p:cNvSpPr txBox="1"/>
          <p:nvPr/>
        </p:nvSpPr>
        <p:spPr>
          <a:xfrm>
            <a:off x="5308600" y="3856038"/>
            <a:ext cx="1552575"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Customer Satisfaction</a:t>
            </a:r>
          </a:p>
        </p:txBody>
      </p:sp>
      <p:sp>
        <p:nvSpPr>
          <p:cNvPr id="299" name="TextBox 298"/>
          <p:cNvSpPr txBox="1"/>
          <p:nvPr/>
        </p:nvSpPr>
        <p:spPr>
          <a:xfrm>
            <a:off x="1054100" y="3856038"/>
            <a:ext cx="868363"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Leadership</a:t>
            </a:r>
          </a:p>
        </p:txBody>
      </p:sp>
      <p:sp>
        <p:nvSpPr>
          <p:cNvPr id="300" name="TextBox 299"/>
          <p:cNvSpPr txBox="1"/>
          <p:nvPr/>
        </p:nvSpPr>
        <p:spPr>
          <a:xfrm>
            <a:off x="2395538" y="3856038"/>
            <a:ext cx="1249362"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Policy &amp; Strategy</a:t>
            </a:r>
          </a:p>
        </p:txBody>
      </p:sp>
      <p:sp>
        <p:nvSpPr>
          <p:cNvPr id="301" name="TextBox 300"/>
          <p:cNvSpPr txBox="1"/>
          <p:nvPr/>
        </p:nvSpPr>
        <p:spPr>
          <a:xfrm>
            <a:off x="5448300" y="5395913"/>
            <a:ext cx="1274763" cy="276225"/>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Impact of Society</a:t>
            </a:r>
          </a:p>
        </p:txBody>
      </p:sp>
      <p:sp>
        <p:nvSpPr>
          <p:cNvPr id="302" name="TextBox 301"/>
          <p:cNvSpPr txBox="1"/>
          <p:nvPr/>
        </p:nvSpPr>
        <p:spPr>
          <a:xfrm>
            <a:off x="2606675" y="5395913"/>
            <a:ext cx="825500" cy="276225"/>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Resources</a:t>
            </a:r>
          </a:p>
        </p:txBody>
      </p:sp>
      <p:sp>
        <p:nvSpPr>
          <p:cNvPr id="303" name="TextBox 302"/>
          <p:cNvSpPr txBox="1"/>
          <p:nvPr/>
        </p:nvSpPr>
        <p:spPr>
          <a:xfrm>
            <a:off x="5399088" y="2347913"/>
            <a:ext cx="1373187"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People Satisfaction</a:t>
            </a:r>
          </a:p>
        </p:txBody>
      </p:sp>
      <p:sp>
        <p:nvSpPr>
          <p:cNvPr id="304" name="TextBox 303"/>
          <p:cNvSpPr txBox="1"/>
          <p:nvPr/>
        </p:nvSpPr>
        <p:spPr>
          <a:xfrm>
            <a:off x="2273300" y="2347913"/>
            <a:ext cx="1492250"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People Management</a:t>
            </a:r>
          </a:p>
        </p:txBody>
      </p:sp>
      <p:sp>
        <p:nvSpPr>
          <p:cNvPr id="305" name="TextBox 304"/>
          <p:cNvSpPr txBox="1"/>
          <p:nvPr/>
        </p:nvSpPr>
        <p:spPr>
          <a:xfrm>
            <a:off x="7069138" y="3856038"/>
            <a:ext cx="1147762" cy="279400"/>
          </a:xfrm>
          <a:prstGeom prst="rect">
            <a:avLst/>
          </a:prstGeom>
          <a:noFill/>
          <a:effectLst/>
        </p:spPr>
        <p:txBody>
          <a:bodyPr wrap="none">
            <a:spAutoFit/>
          </a:bodyPr>
          <a:lstStyle/>
          <a:p>
            <a:pPr algn="ctr" fontAlgn="auto">
              <a:spcBef>
                <a:spcPts val="0"/>
              </a:spcBef>
              <a:spcAft>
                <a:spcPts val="0"/>
              </a:spcAft>
              <a:defRPr/>
            </a:pPr>
            <a:r>
              <a:rPr lang="en-US" sz="1200" dirty="0">
                <a:solidFill>
                  <a:schemeClr val="tx1">
                    <a:lumMod val="75000"/>
                    <a:lumOff val="25000"/>
                  </a:schemeClr>
                </a:solidFill>
                <a:latin typeface="+mn-lt"/>
                <a:ea typeface="+mn-ea"/>
              </a:rPr>
              <a:t>Business Result</a:t>
            </a:r>
          </a:p>
        </p:txBody>
      </p:sp>
      <p:grpSp>
        <p:nvGrpSpPr>
          <p:cNvPr id="14373" name="Group 9"/>
          <p:cNvGrpSpPr>
            <a:grpSpLocks/>
          </p:cNvGrpSpPr>
          <p:nvPr/>
        </p:nvGrpSpPr>
        <p:grpSpPr bwMode="auto">
          <a:xfrm>
            <a:off x="2665413" y="4497388"/>
            <a:ext cx="730250" cy="628650"/>
            <a:chOff x="2606754" y="4566276"/>
            <a:chExt cx="802127" cy="688236"/>
          </a:xfrm>
          <a:solidFill>
            <a:schemeClr val="bg1">
              <a:lumMod val="85000"/>
            </a:schemeClr>
          </a:solidFill>
        </p:grpSpPr>
        <p:grpSp>
          <p:nvGrpSpPr>
            <p:cNvPr id="14380" name="Group 8"/>
            <p:cNvGrpSpPr>
              <a:grpSpLocks/>
            </p:cNvGrpSpPr>
            <p:nvPr/>
          </p:nvGrpSpPr>
          <p:grpSpPr bwMode="auto">
            <a:xfrm>
              <a:off x="2606754" y="4566276"/>
              <a:ext cx="741523" cy="496821"/>
              <a:chOff x="7035800" y="1363644"/>
              <a:chExt cx="706893" cy="473618"/>
            </a:xfrm>
            <a:grpFill/>
          </p:grpSpPr>
          <p:sp>
            <p:nvSpPr>
              <p:cNvPr id="4" name="Oval Callout 3"/>
              <p:cNvSpPr/>
              <p:nvPr/>
            </p:nvSpPr>
            <p:spPr>
              <a:xfrm>
                <a:off x="7035800" y="1363644"/>
                <a:ext cx="706485" cy="473846"/>
              </a:xfrm>
              <a:prstGeom prst="wedgeEllipseCallou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5-Point Star 4"/>
              <p:cNvSpPr/>
              <p:nvPr/>
            </p:nvSpPr>
            <p:spPr>
              <a:xfrm>
                <a:off x="7238603" y="1438200"/>
                <a:ext cx="299217" cy="301538"/>
              </a:xfrm>
              <a:prstGeom prst="star5">
                <a:avLst>
                  <a:gd name="adj" fmla="val 26194"/>
                  <a:gd name="hf" fmla="val 105146"/>
                  <a:gd name="vf" fmla="val 11055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nvGrpSpPr>
            <p:cNvPr id="14381" name="Group 305"/>
            <p:cNvGrpSpPr>
              <a:grpSpLocks/>
            </p:cNvGrpSpPr>
            <p:nvPr/>
          </p:nvGrpSpPr>
          <p:grpSpPr bwMode="auto">
            <a:xfrm>
              <a:off x="2995133" y="4977301"/>
              <a:ext cx="413748" cy="277211"/>
              <a:chOff x="7035800" y="1363644"/>
              <a:chExt cx="706893" cy="473618"/>
            </a:xfrm>
            <a:grpFill/>
          </p:grpSpPr>
          <p:sp>
            <p:nvSpPr>
              <p:cNvPr id="307" name="Oval Callout 306"/>
              <p:cNvSpPr/>
              <p:nvPr/>
            </p:nvSpPr>
            <p:spPr>
              <a:xfrm>
                <a:off x="7036616" y="1362168"/>
                <a:ext cx="706077" cy="475094"/>
              </a:xfrm>
              <a:prstGeom prst="wedgeEllipseCallout">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08" name="5-Point Star 307"/>
              <p:cNvSpPr/>
              <p:nvPr/>
            </p:nvSpPr>
            <p:spPr>
              <a:xfrm>
                <a:off x="7239203" y="1436401"/>
                <a:ext cx="300902" cy="302872"/>
              </a:xfrm>
              <a:prstGeom prst="star5">
                <a:avLst>
                  <a:gd name="adj" fmla="val 26194"/>
                  <a:gd name="hf" fmla="val 105146"/>
                  <a:gd name="vf" fmla="val 11055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sp>
        <p:nvSpPr>
          <p:cNvPr id="309" name="Oval 308"/>
          <p:cNvSpPr/>
          <p:nvPr/>
        </p:nvSpPr>
        <p:spPr>
          <a:xfrm>
            <a:off x="3933825" y="2706688"/>
            <a:ext cx="1216025" cy="12160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0" name="Circular Arrow 309"/>
          <p:cNvSpPr/>
          <p:nvPr/>
        </p:nvSpPr>
        <p:spPr>
          <a:xfrm>
            <a:off x="4113213" y="2894013"/>
            <a:ext cx="854075" cy="854075"/>
          </a:xfrm>
          <a:prstGeom prst="circularArrow">
            <a:avLst>
              <a:gd name="adj1" fmla="val 12500"/>
              <a:gd name="adj2" fmla="val 1142319"/>
              <a:gd name="adj3" fmla="val 20457681"/>
              <a:gd name="adj4" fmla="val 1085162"/>
              <a:gd name="adj5" fmla="val 12500"/>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grpSp>
        <p:nvGrpSpPr>
          <p:cNvPr id="14376" name="Group 2"/>
          <p:cNvGrpSpPr>
            <a:grpSpLocks/>
          </p:cNvGrpSpPr>
          <p:nvPr/>
        </p:nvGrpSpPr>
        <p:grpSpPr bwMode="auto">
          <a:xfrm>
            <a:off x="7310438" y="3005138"/>
            <a:ext cx="688975" cy="530225"/>
            <a:chOff x="7215188" y="1"/>
            <a:chExt cx="2387921" cy="1837262"/>
          </a:xfrm>
          <a:solidFill>
            <a:schemeClr val="bg1">
              <a:lumMod val="85000"/>
            </a:schemeClr>
          </a:solidFill>
        </p:grpSpPr>
        <p:sp>
          <p:nvSpPr>
            <p:cNvPr id="2" name="Rectangle 1"/>
            <p:cNvSpPr/>
            <p:nvPr/>
          </p:nvSpPr>
          <p:spPr>
            <a:xfrm>
              <a:off x="7215188" y="715103"/>
              <a:ext cx="764793" cy="112216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83" name="Rectangle 282"/>
            <p:cNvSpPr/>
            <p:nvPr/>
          </p:nvSpPr>
          <p:spPr>
            <a:xfrm>
              <a:off x="8029502" y="1"/>
              <a:ext cx="764793" cy="183726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88" name="Rectangle 287"/>
            <p:cNvSpPr/>
            <p:nvPr/>
          </p:nvSpPr>
          <p:spPr>
            <a:xfrm>
              <a:off x="8838312" y="1144164"/>
              <a:ext cx="764797" cy="6930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
        <p:nvSpPr>
          <p:cNvPr id="3" name="TextBox 2"/>
          <p:cNvSpPr txBox="1"/>
          <p:nvPr/>
        </p:nvSpPr>
        <p:spPr>
          <a:xfrm>
            <a:off x="2589213" y="1412875"/>
            <a:ext cx="892175" cy="708025"/>
          </a:xfrm>
          <a:prstGeom prst="rect">
            <a:avLst/>
          </a:prstGeom>
          <a:noFill/>
        </p:spPr>
        <p:txBody>
          <a:bodyPr wrap="none">
            <a:spAutoFit/>
          </a:bodyPr>
          <a:lstStyle/>
          <a:p>
            <a:pPr>
              <a:defRPr/>
            </a:pPr>
            <a:r>
              <a:rPr lang="en-US" sz="4000" b="1" dirty="0">
                <a:solidFill>
                  <a:schemeClr val="tx2">
                    <a:lumMod val="75000"/>
                  </a:schemeClr>
                </a:solidFill>
                <a:latin typeface="Calibri" charset="0"/>
                <a:ea typeface="ＭＳ Ｐゴシック" charset="0"/>
                <a:cs typeface="ＭＳ Ｐゴシック" charset="0"/>
              </a:rPr>
              <a:t>10</a:t>
            </a:r>
            <a:r>
              <a:rPr lang="en-US" sz="3000" b="1" baseline="30000" dirty="0">
                <a:solidFill>
                  <a:schemeClr val="tx2">
                    <a:lumMod val="75000"/>
                  </a:schemeClr>
                </a:solidFill>
                <a:latin typeface="Calibri" charset="0"/>
                <a:ea typeface="ＭＳ Ｐゴシック" charset="0"/>
                <a:cs typeface="ＭＳ Ｐゴシック" charset="0"/>
              </a:rPr>
              <a:t>%</a:t>
            </a:r>
          </a:p>
        </p:txBody>
      </p:sp>
      <p:sp>
        <p:nvSpPr>
          <p:cNvPr id="290" name="TextBox 289"/>
          <p:cNvSpPr txBox="1"/>
          <p:nvPr/>
        </p:nvSpPr>
        <p:spPr>
          <a:xfrm>
            <a:off x="2589213" y="2895600"/>
            <a:ext cx="892175" cy="708025"/>
          </a:xfrm>
          <a:prstGeom prst="rect">
            <a:avLst/>
          </a:prstGeom>
          <a:noFill/>
        </p:spPr>
        <p:txBody>
          <a:bodyPr wrap="none">
            <a:spAutoFit/>
          </a:bodyPr>
          <a:lstStyle/>
          <a:p>
            <a:pPr>
              <a:defRPr/>
            </a:pPr>
            <a:r>
              <a:rPr lang="en-US" sz="4000" b="1" dirty="0">
                <a:solidFill>
                  <a:schemeClr val="tx2">
                    <a:lumMod val="75000"/>
                  </a:schemeClr>
                </a:solidFill>
                <a:latin typeface="Calibri" charset="0"/>
                <a:ea typeface="ＭＳ Ｐゴシック" charset="0"/>
                <a:cs typeface="ＭＳ Ｐゴシック" charset="0"/>
              </a:rPr>
              <a:t>20</a:t>
            </a:r>
            <a:r>
              <a:rPr lang="en-US" sz="3000" b="1" baseline="30000" dirty="0">
                <a:solidFill>
                  <a:schemeClr val="tx2">
                    <a:lumMod val="75000"/>
                  </a:schemeClr>
                </a:solidFill>
                <a:latin typeface="Calibri" charset="0"/>
                <a:ea typeface="ＭＳ Ｐゴシック" charset="0"/>
                <a:cs typeface="ＭＳ Ｐゴシック" charset="0"/>
              </a:rPr>
              <a:t>%</a:t>
            </a:r>
          </a:p>
        </p:txBody>
      </p:sp>
      <p:sp>
        <p:nvSpPr>
          <p:cNvPr id="291" name="TextBox 290"/>
          <p:cNvSpPr txBox="1"/>
          <p:nvPr/>
        </p:nvSpPr>
        <p:spPr>
          <a:xfrm>
            <a:off x="5811838" y="1441450"/>
            <a:ext cx="631825" cy="708025"/>
          </a:xfrm>
          <a:prstGeom prst="rect">
            <a:avLst/>
          </a:prstGeom>
          <a:noFill/>
        </p:spPr>
        <p:txBody>
          <a:bodyPr wrap="none">
            <a:spAutoFit/>
          </a:bodyPr>
          <a:lstStyle/>
          <a:p>
            <a:pPr>
              <a:defRPr/>
            </a:pPr>
            <a:r>
              <a:rPr lang="en-US" sz="4000" b="1" dirty="0">
                <a:solidFill>
                  <a:schemeClr val="tx2">
                    <a:lumMod val="75000"/>
                  </a:schemeClr>
                </a:solidFill>
                <a:latin typeface="Calibri" charset="0"/>
                <a:ea typeface="ＭＳ Ｐゴシック" charset="0"/>
                <a:cs typeface="ＭＳ Ｐゴシック" charset="0"/>
              </a:rPr>
              <a:t>5</a:t>
            </a:r>
            <a:r>
              <a:rPr lang="en-US" sz="3000" b="1" baseline="30000" dirty="0">
                <a:solidFill>
                  <a:schemeClr val="tx2">
                    <a:lumMod val="75000"/>
                  </a:schemeClr>
                </a:solidFill>
                <a:latin typeface="Calibri" charset="0"/>
                <a:ea typeface="ＭＳ Ｐゴシック" charset="0"/>
                <a:cs typeface="ＭＳ Ｐゴシック" charset="0"/>
              </a:rPr>
              <a:t>%</a:t>
            </a:r>
          </a:p>
        </p:txBody>
      </p:sp>
      <p:sp>
        <p:nvSpPr>
          <p:cNvPr id="292" name="TextBox 291"/>
          <p:cNvSpPr txBox="1"/>
          <p:nvPr/>
        </p:nvSpPr>
        <p:spPr>
          <a:xfrm>
            <a:off x="5681663" y="2924175"/>
            <a:ext cx="890587" cy="708025"/>
          </a:xfrm>
          <a:prstGeom prst="rect">
            <a:avLst/>
          </a:prstGeom>
          <a:noFill/>
        </p:spPr>
        <p:txBody>
          <a:bodyPr wrap="none">
            <a:spAutoFit/>
          </a:bodyPr>
          <a:lstStyle/>
          <a:p>
            <a:pPr>
              <a:defRPr/>
            </a:pPr>
            <a:r>
              <a:rPr lang="en-US" sz="4000" b="1" dirty="0">
                <a:solidFill>
                  <a:schemeClr val="tx2">
                    <a:lumMod val="75000"/>
                  </a:schemeClr>
                </a:solidFill>
                <a:latin typeface="Calibri" charset="0"/>
                <a:ea typeface="ＭＳ Ｐゴシック" charset="0"/>
                <a:cs typeface="ＭＳ Ｐゴシック" charset="0"/>
              </a:rPr>
              <a:t>10</a:t>
            </a:r>
            <a:r>
              <a:rPr lang="en-US" sz="3000" b="1" baseline="30000" dirty="0">
                <a:solidFill>
                  <a:schemeClr val="tx2">
                    <a:lumMod val="75000"/>
                  </a:schemeClr>
                </a:solidFill>
                <a:latin typeface="Calibri" charset="0"/>
                <a:ea typeface="ＭＳ Ｐゴシック" charset="0"/>
                <a:cs typeface="ＭＳ Ｐゴシック" charset="0"/>
              </a:rPr>
              <a:t>%</a:t>
            </a:r>
          </a:p>
        </p:txBody>
      </p:sp>
      <p:sp>
        <p:nvSpPr>
          <p:cNvPr id="293" name="TextBox 292"/>
          <p:cNvSpPr txBox="1"/>
          <p:nvPr/>
        </p:nvSpPr>
        <p:spPr>
          <a:xfrm>
            <a:off x="1057275" y="2895600"/>
            <a:ext cx="892175" cy="708025"/>
          </a:xfrm>
          <a:prstGeom prst="rect">
            <a:avLst/>
          </a:prstGeom>
          <a:noFill/>
        </p:spPr>
        <p:txBody>
          <a:bodyPr wrap="none">
            <a:spAutoFit/>
          </a:bodyPr>
          <a:lstStyle/>
          <a:p>
            <a:pPr>
              <a:defRPr/>
            </a:pPr>
            <a:r>
              <a:rPr lang="en-US" sz="4000" b="1" dirty="0">
                <a:solidFill>
                  <a:schemeClr val="tx2">
                    <a:lumMod val="75000"/>
                  </a:schemeClr>
                </a:solidFill>
                <a:latin typeface="Calibri" charset="0"/>
                <a:ea typeface="ＭＳ Ｐゴシック" charset="0"/>
                <a:cs typeface="ＭＳ Ｐゴシック" charset="0"/>
              </a:rPr>
              <a:t>15</a:t>
            </a:r>
            <a:r>
              <a:rPr lang="en-US" sz="3000" b="1" baseline="30000" dirty="0">
                <a:solidFill>
                  <a:schemeClr val="tx2">
                    <a:lumMod val="75000"/>
                  </a:schemeClr>
                </a:solidFill>
                <a:latin typeface="Calibri" charset="0"/>
                <a:ea typeface="ＭＳ Ｐゴシック" charset="0"/>
                <a:cs typeface="ＭＳ Ｐゴシック" charset="0"/>
              </a:rPr>
              <a:t>%</a:t>
            </a:r>
          </a:p>
        </p:txBody>
      </p:sp>
      <p:sp>
        <p:nvSpPr>
          <p:cNvPr id="294" name="TextBox 293"/>
          <p:cNvSpPr txBox="1"/>
          <p:nvPr/>
        </p:nvSpPr>
        <p:spPr>
          <a:xfrm>
            <a:off x="7235825" y="2924175"/>
            <a:ext cx="892175" cy="708025"/>
          </a:xfrm>
          <a:prstGeom prst="rect">
            <a:avLst/>
          </a:prstGeom>
          <a:noFill/>
        </p:spPr>
        <p:txBody>
          <a:bodyPr wrap="none">
            <a:spAutoFit/>
          </a:bodyPr>
          <a:lstStyle/>
          <a:p>
            <a:pPr>
              <a:defRPr/>
            </a:pPr>
            <a:r>
              <a:rPr lang="en-US" sz="4000" b="1" dirty="0">
                <a:solidFill>
                  <a:schemeClr val="tx2">
                    <a:lumMod val="75000"/>
                  </a:schemeClr>
                </a:solidFill>
                <a:latin typeface="Calibri" charset="0"/>
                <a:ea typeface="ＭＳ Ｐゴシック" charset="0"/>
                <a:cs typeface="ＭＳ Ｐゴシック" charset="0"/>
              </a:rPr>
              <a:t>10</a:t>
            </a:r>
            <a:r>
              <a:rPr lang="en-US" sz="3000" b="1" baseline="30000" dirty="0">
                <a:solidFill>
                  <a:schemeClr val="tx2">
                    <a:lumMod val="75000"/>
                  </a:schemeClr>
                </a:solidFill>
                <a:latin typeface="Calibri" charset="0"/>
                <a:ea typeface="ＭＳ Ｐゴシック" charset="0"/>
                <a:cs typeface="ＭＳ Ｐゴシック" charset="0"/>
              </a:rPr>
              <a:t>%</a:t>
            </a:r>
          </a:p>
        </p:txBody>
      </p:sp>
      <p:sp>
        <p:nvSpPr>
          <p:cNvPr id="296" name="TextBox 295"/>
          <p:cNvSpPr txBox="1"/>
          <p:nvPr/>
        </p:nvSpPr>
        <p:spPr>
          <a:xfrm>
            <a:off x="2703513" y="4451350"/>
            <a:ext cx="631825" cy="708025"/>
          </a:xfrm>
          <a:prstGeom prst="rect">
            <a:avLst/>
          </a:prstGeom>
          <a:noFill/>
        </p:spPr>
        <p:txBody>
          <a:bodyPr wrap="none">
            <a:spAutoFit/>
          </a:bodyPr>
          <a:lstStyle/>
          <a:p>
            <a:pPr>
              <a:defRPr/>
            </a:pPr>
            <a:r>
              <a:rPr lang="en-US" sz="4000" b="1" dirty="0">
                <a:solidFill>
                  <a:schemeClr val="tx2">
                    <a:lumMod val="75000"/>
                  </a:schemeClr>
                </a:solidFill>
                <a:latin typeface="Calibri" charset="0"/>
                <a:ea typeface="ＭＳ Ｐゴシック" charset="0"/>
                <a:cs typeface="ＭＳ Ｐゴシック" charset="0"/>
              </a:rPr>
              <a:t>5</a:t>
            </a:r>
            <a:r>
              <a:rPr lang="en-US" sz="3000" b="1" baseline="30000" dirty="0">
                <a:solidFill>
                  <a:schemeClr val="tx2">
                    <a:lumMod val="75000"/>
                  </a:schemeClr>
                </a:solidFill>
                <a:latin typeface="Calibri" charset="0"/>
                <a:ea typeface="ＭＳ Ｐゴシック" charset="0"/>
                <a:cs typeface="ＭＳ Ｐゴシック" charset="0"/>
              </a:rPr>
              <a:t>%</a:t>
            </a:r>
          </a:p>
        </p:txBody>
      </p:sp>
      <p:sp>
        <p:nvSpPr>
          <p:cNvPr id="297" name="TextBox 296"/>
          <p:cNvSpPr txBox="1"/>
          <p:nvPr/>
        </p:nvSpPr>
        <p:spPr>
          <a:xfrm>
            <a:off x="5681663" y="4479925"/>
            <a:ext cx="890587" cy="708025"/>
          </a:xfrm>
          <a:prstGeom prst="rect">
            <a:avLst/>
          </a:prstGeom>
          <a:noFill/>
        </p:spPr>
        <p:txBody>
          <a:bodyPr wrap="none">
            <a:spAutoFit/>
          </a:bodyPr>
          <a:lstStyle/>
          <a:p>
            <a:pPr>
              <a:defRPr/>
            </a:pPr>
            <a:r>
              <a:rPr lang="en-US" sz="4000" b="1" dirty="0">
                <a:solidFill>
                  <a:schemeClr val="tx2">
                    <a:lumMod val="75000"/>
                  </a:schemeClr>
                </a:solidFill>
                <a:latin typeface="Calibri" charset="0"/>
                <a:ea typeface="ＭＳ Ｐゴシック" charset="0"/>
                <a:cs typeface="ＭＳ Ｐゴシック" charset="0"/>
              </a:rPr>
              <a:t>25</a:t>
            </a:r>
            <a:r>
              <a:rPr lang="en-US" sz="3000" b="1" baseline="30000" dirty="0">
                <a:solidFill>
                  <a:schemeClr val="tx2">
                    <a:lumMod val="75000"/>
                  </a:schemeClr>
                </a:solidFill>
                <a:latin typeface="Calibri" charset="0"/>
                <a:ea typeface="ＭＳ Ｐゴシック" charset="0"/>
                <a:cs typeface="ＭＳ Ｐゴシック" charset="0"/>
              </a:rPr>
              <a:t>%</a:t>
            </a:r>
          </a:p>
        </p:txBody>
      </p:sp>
      <p:sp>
        <p:nvSpPr>
          <p:cNvPr id="7" name="TextBox 6"/>
          <p:cNvSpPr txBox="1"/>
          <p:nvPr/>
        </p:nvSpPr>
        <p:spPr>
          <a:xfrm>
            <a:off x="7023100" y="1112838"/>
            <a:ext cx="1446213" cy="368300"/>
          </a:xfrm>
          <a:prstGeom prst="rect">
            <a:avLst/>
          </a:prstGeom>
          <a:noFill/>
        </p:spPr>
        <p:txBody>
          <a:bodyPr wrap="none">
            <a:spAutoFit/>
          </a:bodyPr>
          <a:lstStyle/>
          <a:p>
            <a:pPr>
              <a:defRPr/>
            </a:pPr>
            <a:r>
              <a:rPr lang="en-US" dirty="0">
                <a:solidFill>
                  <a:schemeClr val="bg1">
                    <a:lumMod val="50000"/>
                  </a:schemeClr>
                </a:solidFill>
                <a:latin typeface="Calibri" charset="0"/>
                <a:ea typeface="ＭＳ Ｐゴシック" charset="0"/>
                <a:cs typeface="ＭＳ Ｐゴシック" charset="0"/>
              </a:rPr>
              <a:t>RESULTS </a:t>
            </a:r>
            <a:r>
              <a:rPr lang="en-US" b="1" dirty="0">
                <a:solidFill>
                  <a:schemeClr val="bg1">
                    <a:lumMod val="50000"/>
                  </a:schemeClr>
                </a:solidFill>
                <a:latin typeface="Calibri" charset="0"/>
                <a:ea typeface="ＭＳ Ｐゴシック" charset="0"/>
                <a:cs typeface="ＭＳ Ｐゴシック" charset="0"/>
              </a:rPr>
              <a:t>50%</a:t>
            </a:r>
          </a:p>
        </p:txBody>
      </p:sp>
      <p:sp>
        <p:nvSpPr>
          <p:cNvPr id="311" name="TextBox 310"/>
          <p:cNvSpPr txBox="1"/>
          <p:nvPr/>
        </p:nvSpPr>
        <p:spPr>
          <a:xfrm>
            <a:off x="554038" y="1112838"/>
            <a:ext cx="1601787" cy="368300"/>
          </a:xfrm>
          <a:prstGeom prst="rect">
            <a:avLst/>
          </a:prstGeom>
          <a:noFill/>
        </p:spPr>
        <p:txBody>
          <a:bodyPr wrap="none">
            <a:spAutoFit/>
          </a:bodyPr>
          <a:lstStyle/>
          <a:p>
            <a:pPr>
              <a:defRPr/>
            </a:pPr>
            <a:r>
              <a:rPr lang="en-US" dirty="0">
                <a:solidFill>
                  <a:schemeClr val="bg1">
                    <a:lumMod val="50000"/>
                  </a:schemeClr>
                </a:solidFill>
                <a:latin typeface="Calibri" charset="0"/>
                <a:ea typeface="ＭＳ Ｐゴシック" charset="0"/>
                <a:cs typeface="ＭＳ Ｐゴシック" charset="0"/>
              </a:rPr>
              <a:t>ENABLERS </a:t>
            </a:r>
            <a:r>
              <a:rPr lang="en-US" b="1" dirty="0">
                <a:solidFill>
                  <a:schemeClr val="bg1">
                    <a:lumMod val="50000"/>
                  </a:schemeClr>
                </a:solidFill>
                <a:latin typeface="Calibri" charset="0"/>
                <a:ea typeface="ＭＳ Ｐゴシック" charset="0"/>
                <a:cs typeface="ＭＳ Ｐゴシック" charset="0"/>
              </a:rPr>
              <a:t>50%</a:t>
            </a:r>
          </a:p>
        </p:txBody>
      </p:sp>
    </p:spTree>
    <p:extLst>
      <p:ext uri="{BB962C8B-B14F-4D97-AF65-F5344CB8AC3E}">
        <p14:creationId xmlns:p14="http://schemas.microsoft.com/office/powerpoint/2010/main" val="32180827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extBox 3"/>
          <p:cNvSpPr txBox="1">
            <a:spLocks noChangeArrowheads="1"/>
          </p:cNvSpPr>
          <p:nvPr/>
        </p:nvSpPr>
        <p:spPr bwMode="auto">
          <a:xfrm>
            <a:off x="296863" y="227013"/>
            <a:ext cx="307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800" b="1">
                <a:solidFill>
                  <a:srgbClr val="404040"/>
                </a:solidFill>
              </a:rPr>
              <a:t>BUSINESS EXCELLENCE </a:t>
            </a:r>
            <a:r>
              <a:rPr lang="en-US" sz="1800">
                <a:solidFill>
                  <a:srgbClr val="404040"/>
                </a:solidFill>
              </a:rPr>
              <a:t>MODEL</a:t>
            </a:r>
          </a:p>
        </p:txBody>
      </p:sp>
      <p:sp>
        <p:nvSpPr>
          <p:cNvPr id="9" name="Pentagon 8"/>
          <p:cNvSpPr/>
          <p:nvPr/>
        </p:nvSpPr>
        <p:spPr>
          <a:xfrm>
            <a:off x="1111250" y="1173163"/>
            <a:ext cx="6921500" cy="4219575"/>
          </a:xfrm>
          <a:prstGeom prst="homePlate">
            <a:avLst>
              <a:gd name="adj" fmla="val 16897"/>
            </a:avLst>
          </a:prstGeom>
          <a:solidFill>
            <a:schemeClr val="bg1">
              <a:alpha val="42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9" name="Freeform 18"/>
          <p:cNvSpPr/>
          <p:nvPr/>
        </p:nvSpPr>
        <p:spPr>
          <a:xfrm>
            <a:off x="5054600" y="1166813"/>
            <a:ext cx="727075" cy="4233862"/>
          </a:xfrm>
          <a:custGeom>
            <a:avLst/>
            <a:gdLst>
              <a:gd name="connsiteX0" fmla="*/ 0 w 799562"/>
              <a:gd name="connsiteY0" fmla="*/ 0 h 4656932"/>
              <a:gd name="connsiteX1" fmla="*/ 799562 w 799562"/>
              <a:gd name="connsiteY1" fmla="*/ 2320626 h 4656932"/>
              <a:gd name="connsiteX2" fmla="*/ 47033 w 799562"/>
              <a:gd name="connsiteY2" fmla="*/ 4656932 h 4656932"/>
              <a:gd name="connsiteX3" fmla="*/ 47033 w 799562"/>
              <a:gd name="connsiteY3" fmla="*/ 4656932 h 4656932"/>
            </a:gdLst>
            <a:ahLst/>
            <a:cxnLst>
              <a:cxn ang="0">
                <a:pos x="connsiteX0" y="connsiteY0"/>
              </a:cxn>
              <a:cxn ang="0">
                <a:pos x="connsiteX1" y="connsiteY1"/>
              </a:cxn>
              <a:cxn ang="0">
                <a:pos x="connsiteX2" y="connsiteY2"/>
              </a:cxn>
              <a:cxn ang="0">
                <a:pos x="connsiteX3" y="connsiteY3"/>
              </a:cxn>
            </a:cxnLst>
            <a:rect l="l" t="t" r="r" b="b"/>
            <a:pathLst>
              <a:path w="799562" h="4656932">
                <a:moveTo>
                  <a:pt x="0" y="0"/>
                </a:moveTo>
                <a:lnTo>
                  <a:pt x="799562" y="2320626"/>
                </a:lnTo>
                <a:lnTo>
                  <a:pt x="47033" y="4656932"/>
                </a:lnTo>
                <a:lnTo>
                  <a:pt x="47033" y="4656932"/>
                </a:lnTo>
              </a:path>
            </a:pathLst>
          </a:custGeom>
          <a:ln w="3175" cmpd="sng">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20" name="Freeform 19"/>
          <p:cNvSpPr/>
          <p:nvPr/>
        </p:nvSpPr>
        <p:spPr>
          <a:xfrm>
            <a:off x="3937000" y="1166813"/>
            <a:ext cx="727075" cy="4233862"/>
          </a:xfrm>
          <a:custGeom>
            <a:avLst/>
            <a:gdLst>
              <a:gd name="connsiteX0" fmla="*/ 0 w 799562"/>
              <a:gd name="connsiteY0" fmla="*/ 0 h 4656932"/>
              <a:gd name="connsiteX1" fmla="*/ 799562 w 799562"/>
              <a:gd name="connsiteY1" fmla="*/ 2320626 h 4656932"/>
              <a:gd name="connsiteX2" fmla="*/ 47033 w 799562"/>
              <a:gd name="connsiteY2" fmla="*/ 4656932 h 4656932"/>
              <a:gd name="connsiteX3" fmla="*/ 47033 w 799562"/>
              <a:gd name="connsiteY3" fmla="*/ 4656932 h 4656932"/>
            </a:gdLst>
            <a:ahLst/>
            <a:cxnLst>
              <a:cxn ang="0">
                <a:pos x="connsiteX0" y="connsiteY0"/>
              </a:cxn>
              <a:cxn ang="0">
                <a:pos x="connsiteX1" y="connsiteY1"/>
              </a:cxn>
              <a:cxn ang="0">
                <a:pos x="connsiteX2" y="connsiteY2"/>
              </a:cxn>
              <a:cxn ang="0">
                <a:pos x="connsiteX3" y="connsiteY3"/>
              </a:cxn>
            </a:cxnLst>
            <a:rect l="l" t="t" r="r" b="b"/>
            <a:pathLst>
              <a:path w="799562" h="4656932">
                <a:moveTo>
                  <a:pt x="0" y="0"/>
                </a:moveTo>
                <a:lnTo>
                  <a:pt x="799562" y="2320626"/>
                </a:lnTo>
                <a:lnTo>
                  <a:pt x="47033" y="4656932"/>
                </a:lnTo>
                <a:lnTo>
                  <a:pt x="47033" y="4656932"/>
                </a:lnTo>
              </a:path>
            </a:pathLst>
          </a:custGeom>
          <a:ln w="3175" cmpd="sng">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21" name="Freeform 20"/>
          <p:cNvSpPr/>
          <p:nvPr/>
        </p:nvSpPr>
        <p:spPr>
          <a:xfrm>
            <a:off x="2811463" y="1166813"/>
            <a:ext cx="727075" cy="4233862"/>
          </a:xfrm>
          <a:custGeom>
            <a:avLst/>
            <a:gdLst>
              <a:gd name="connsiteX0" fmla="*/ 0 w 799562"/>
              <a:gd name="connsiteY0" fmla="*/ 0 h 4656932"/>
              <a:gd name="connsiteX1" fmla="*/ 799562 w 799562"/>
              <a:gd name="connsiteY1" fmla="*/ 2320626 h 4656932"/>
              <a:gd name="connsiteX2" fmla="*/ 47033 w 799562"/>
              <a:gd name="connsiteY2" fmla="*/ 4656932 h 4656932"/>
              <a:gd name="connsiteX3" fmla="*/ 47033 w 799562"/>
              <a:gd name="connsiteY3" fmla="*/ 4656932 h 4656932"/>
            </a:gdLst>
            <a:ahLst/>
            <a:cxnLst>
              <a:cxn ang="0">
                <a:pos x="connsiteX0" y="connsiteY0"/>
              </a:cxn>
              <a:cxn ang="0">
                <a:pos x="connsiteX1" y="connsiteY1"/>
              </a:cxn>
              <a:cxn ang="0">
                <a:pos x="connsiteX2" y="connsiteY2"/>
              </a:cxn>
              <a:cxn ang="0">
                <a:pos x="connsiteX3" y="connsiteY3"/>
              </a:cxn>
            </a:cxnLst>
            <a:rect l="l" t="t" r="r" b="b"/>
            <a:pathLst>
              <a:path w="799562" h="4656932">
                <a:moveTo>
                  <a:pt x="0" y="0"/>
                </a:moveTo>
                <a:lnTo>
                  <a:pt x="799562" y="2320626"/>
                </a:lnTo>
                <a:lnTo>
                  <a:pt x="47033" y="4656932"/>
                </a:lnTo>
                <a:lnTo>
                  <a:pt x="47033" y="4656932"/>
                </a:lnTo>
              </a:path>
            </a:pathLst>
          </a:custGeom>
          <a:ln w="3175" cmpd="sng">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6" name="TextBox 35"/>
          <p:cNvSpPr txBox="1"/>
          <p:nvPr/>
        </p:nvSpPr>
        <p:spPr>
          <a:xfrm>
            <a:off x="2236788" y="1789113"/>
            <a:ext cx="620712" cy="460375"/>
          </a:xfrm>
          <a:prstGeom prst="rect">
            <a:avLst/>
          </a:prstGeom>
          <a:noFill/>
          <a:effectLst/>
        </p:spPr>
        <p:txBody>
          <a:bodyPr wrap="none">
            <a:spAutoFit/>
          </a:bodyPr>
          <a:lstStyle/>
          <a:p>
            <a:pPr algn="ctr" fontAlgn="auto">
              <a:spcBef>
                <a:spcPts val="0"/>
              </a:spcBef>
              <a:spcAft>
                <a:spcPts val="0"/>
              </a:spcAft>
              <a:defRPr/>
            </a:pPr>
            <a:r>
              <a:rPr lang="en-US" sz="1200" b="1" dirty="0">
                <a:solidFill>
                  <a:schemeClr val="tx1">
                    <a:lumMod val="75000"/>
                    <a:lumOff val="25000"/>
                  </a:schemeClr>
                </a:solidFill>
                <a:latin typeface="+mn-lt"/>
                <a:ea typeface="+mn-ea"/>
              </a:rPr>
              <a:t>People</a:t>
            </a:r>
          </a:p>
          <a:p>
            <a:pPr algn="ctr" fontAlgn="auto">
              <a:spcBef>
                <a:spcPts val="0"/>
              </a:spcBef>
              <a:spcAft>
                <a:spcPts val="0"/>
              </a:spcAft>
              <a:defRPr/>
            </a:pPr>
            <a:r>
              <a:rPr lang="en-US" sz="1200" b="1" dirty="0">
                <a:solidFill>
                  <a:schemeClr val="tx1">
                    <a:lumMod val="75000"/>
                    <a:lumOff val="25000"/>
                  </a:schemeClr>
                </a:solidFill>
                <a:latin typeface="+mn-lt"/>
                <a:ea typeface="+mn-ea"/>
              </a:rPr>
              <a:t>Values</a:t>
            </a:r>
          </a:p>
        </p:txBody>
      </p:sp>
      <p:sp>
        <p:nvSpPr>
          <p:cNvPr id="37" name="TextBox 36"/>
          <p:cNvSpPr txBox="1"/>
          <p:nvPr/>
        </p:nvSpPr>
        <p:spPr>
          <a:xfrm>
            <a:off x="2214563" y="4291013"/>
            <a:ext cx="665162" cy="461962"/>
          </a:xfrm>
          <a:prstGeom prst="rect">
            <a:avLst/>
          </a:prstGeom>
          <a:noFill/>
          <a:effectLst/>
        </p:spPr>
        <p:txBody>
          <a:bodyPr wrap="none">
            <a:spAutoFit/>
          </a:bodyPr>
          <a:lstStyle/>
          <a:p>
            <a:pPr algn="ctr" fontAlgn="auto">
              <a:spcBef>
                <a:spcPts val="0"/>
              </a:spcBef>
              <a:spcAft>
                <a:spcPts val="0"/>
              </a:spcAft>
              <a:defRPr/>
            </a:pPr>
            <a:r>
              <a:rPr lang="en-US" sz="1200" b="1" dirty="0">
                <a:solidFill>
                  <a:schemeClr val="tx1">
                    <a:lumMod val="75000"/>
                    <a:lumOff val="25000"/>
                  </a:schemeClr>
                </a:solidFill>
                <a:latin typeface="+mn-lt"/>
                <a:ea typeface="+mn-ea"/>
              </a:rPr>
              <a:t>Partner</a:t>
            </a:r>
          </a:p>
          <a:p>
            <a:pPr algn="ctr" fontAlgn="auto">
              <a:spcBef>
                <a:spcPts val="0"/>
              </a:spcBef>
              <a:spcAft>
                <a:spcPts val="0"/>
              </a:spcAft>
              <a:defRPr/>
            </a:pPr>
            <a:r>
              <a:rPr lang="en-US" sz="1200" b="1" dirty="0">
                <a:solidFill>
                  <a:schemeClr val="tx1">
                    <a:lumMod val="75000"/>
                    <a:lumOff val="25000"/>
                  </a:schemeClr>
                </a:solidFill>
                <a:latin typeface="+mn-lt"/>
                <a:ea typeface="+mn-ea"/>
              </a:rPr>
              <a:t>Values</a:t>
            </a:r>
          </a:p>
        </p:txBody>
      </p:sp>
      <p:sp>
        <p:nvSpPr>
          <p:cNvPr id="38" name="TextBox 37"/>
          <p:cNvSpPr txBox="1"/>
          <p:nvPr/>
        </p:nvSpPr>
        <p:spPr>
          <a:xfrm>
            <a:off x="2489200" y="3067050"/>
            <a:ext cx="782638" cy="461963"/>
          </a:xfrm>
          <a:prstGeom prst="rect">
            <a:avLst/>
          </a:prstGeom>
          <a:noFill/>
          <a:effectLst/>
        </p:spPr>
        <p:txBody>
          <a:bodyPr wrap="none">
            <a:spAutoFit/>
          </a:bodyPr>
          <a:lstStyle/>
          <a:p>
            <a:pPr algn="ctr" fontAlgn="auto">
              <a:spcBef>
                <a:spcPts val="0"/>
              </a:spcBef>
              <a:spcAft>
                <a:spcPts val="0"/>
              </a:spcAft>
              <a:defRPr/>
            </a:pPr>
            <a:r>
              <a:rPr lang="en-US" sz="1200" b="1" dirty="0" err="1">
                <a:solidFill>
                  <a:schemeClr val="tx1">
                    <a:lumMod val="75000"/>
                    <a:lumOff val="25000"/>
                  </a:schemeClr>
                </a:solidFill>
                <a:latin typeface="+mn-lt"/>
                <a:ea typeface="+mn-ea"/>
              </a:rPr>
              <a:t>Strategyc</a:t>
            </a:r>
            <a:endParaRPr lang="en-US" sz="1200" b="1" dirty="0">
              <a:solidFill>
                <a:schemeClr val="tx1">
                  <a:lumMod val="75000"/>
                  <a:lumOff val="25000"/>
                </a:schemeClr>
              </a:solidFill>
              <a:latin typeface="+mn-lt"/>
              <a:ea typeface="+mn-ea"/>
            </a:endParaRPr>
          </a:p>
          <a:p>
            <a:pPr algn="ctr" fontAlgn="auto">
              <a:spcBef>
                <a:spcPts val="0"/>
              </a:spcBef>
              <a:spcAft>
                <a:spcPts val="0"/>
              </a:spcAft>
              <a:defRPr/>
            </a:pPr>
            <a:r>
              <a:rPr lang="en-US" sz="1200" b="1" dirty="0">
                <a:solidFill>
                  <a:schemeClr val="tx1">
                    <a:lumMod val="75000"/>
                    <a:lumOff val="25000"/>
                  </a:schemeClr>
                </a:solidFill>
                <a:latin typeface="+mn-lt"/>
                <a:ea typeface="+mn-ea"/>
              </a:rPr>
              <a:t>Planning</a:t>
            </a:r>
          </a:p>
        </p:txBody>
      </p:sp>
      <p:cxnSp>
        <p:nvCxnSpPr>
          <p:cNvPr id="14339" name="Straight Connector 14338"/>
          <p:cNvCxnSpPr/>
          <p:nvPr/>
        </p:nvCxnSpPr>
        <p:spPr>
          <a:xfrm>
            <a:off x="2100263" y="2424113"/>
            <a:ext cx="1171575" cy="0"/>
          </a:xfrm>
          <a:prstGeom prst="line">
            <a:avLst/>
          </a:prstGeom>
          <a:ln w="3175" cmpd="sng">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2100263" y="4148138"/>
            <a:ext cx="1171575" cy="0"/>
          </a:xfrm>
          <a:prstGeom prst="line">
            <a:avLst/>
          </a:prstGeom>
          <a:ln w="3175" cmpd="sng">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4343" name="Rectangle 14342"/>
          <p:cNvSpPr/>
          <p:nvPr/>
        </p:nvSpPr>
        <p:spPr>
          <a:xfrm>
            <a:off x="1111250" y="5145088"/>
            <a:ext cx="6194425" cy="255587"/>
          </a:xfrm>
          <a:prstGeom prst="rect">
            <a:avLst/>
          </a:prstGeom>
          <a:solidFill>
            <a:schemeClr val="tx1">
              <a:lumMod val="50000"/>
              <a:lumOff val="50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100" b="1" dirty="0">
                <a:solidFill>
                  <a:schemeClr val="bg1"/>
                </a:solidFill>
              </a:rPr>
              <a:t>values and process flow</a:t>
            </a:r>
          </a:p>
        </p:txBody>
      </p:sp>
      <p:sp>
        <p:nvSpPr>
          <p:cNvPr id="46" name="Rectangle 45"/>
          <p:cNvSpPr/>
          <p:nvPr/>
        </p:nvSpPr>
        <p:spPr>
          <a:xfrm>
            <a:off x="1111250" y="5435600"/>
            <a:ext cx="6194425" cy="255588"/>
          </a:xfrm>
          <a:prstGeom prst="rect">
            <a:avLst/>
          </a:prstGeom>
          <a:solidFill>
            <a:schemeClr val="tx1">
              <a:lumMod val="75000"/>
              <a:lumOff val="2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100" b="1" dirty="0">
                <a:solidFill>
                  <a:schemeClr val="bg1"/>
                </a:solidFill>
              </a:rPr>
              <a:t>external environment</a:t>
            </a:r>
          </a:p>
        </p:txBody>
      </p:sp>
      <p:sp>
        <p:nvSpPr>
          <p:cNvPr id="49" name="Pentagon 48"/>
          <p:cNvSpPr/>
          <p:nvPr/>
        </p:nvSpPr>
        <p:spPr>
          <a:xfrm>
            <a:off x="1111250" y="1173163"/>
            <a:ext cx="1274763" cy="4219575"/>
          </a:xfrm>
          <a:prstGeom prst="homePlate">
            <a:avLst>
              <a:gd name="adj" fmla="val 53420"/>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0" name="Chevron 49"/>
          <p:cNvSpPr/>
          <p:nvPr/>
        </p:nvSpPr>
        <p:spPr>
          <a:xfrm>
            <a:off x="6149975" y="1173163"/>
            <a:ext cx="1882775" cy="4219575"/>
          </a:xfrm>
          <a:prstGeom prst="chevron">
            <a:avLst>
              <a:gd name="adj" fmla="val 38095"/>
            </a:avLst>
          </a:prstGeom>
          <a:solidFill>
            <a:srgbClr val="77933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52" name="TextBox 51"/>
          <p:cNvSpPr txBox="1"/>
          <p:nvPr/>
        </p:nvSpPr>
        <p:spPr>
          <a:xfrm rot="17283079">
            <a:off x="927100" y="4086225"/>
            <a:ext cx="1497013" cy="404813"/>
          </a:xfrm>
          <a:prstGeom prst="rect">
            <a:avLst/>
          </a:prstGeom>
          <a:noFill/>
        </p:spPr>
        <p:txBody>
          <a:bodyPr wrap="none">
            <a:spAutoFit/>
          </a:bodyPr>
          <a:lstStyle/>
          <a:p>
            <a:pPr>
              <a:defRPr/>
            </a:pPr>
            <a:r>
              <a:rPr lang="en-US" b="1" dirty="0">
                <a:solidFill>
                  <a:schemeClr val="accent1">
                    <a:lumMod val="60000"/>
                    <a:lumOff val="40000"/>
                  </a:schemeClr>
                </a:solidFill>
                <a:latin typeface="Calibri" charset="0"/>
                <a:ea typeface="ＭＳ Ｐゴシック" charset="0"/>
                <a:cs typeface="ＭＳ Ｐゴシック" charset="0"/>
              </a:rPr>
              <a:t>LEADERSHIP</a:t>
            </a:r>
          </a:p>
        </p:txBody>
      </p:sp>
      <p:sp>
        <p:nvSpPr>
          <p:cNvPr id="53" name="TextBox 52"/>
          <p:cNvSpPr txBox="1"/>
          <p:nvPr/>
        </p:nvSpPr>
        <p:spPr>
          <a:xfrm rot="17283079">
            <a:off x="2703513" y="3760787"/>
            <a:ext cx="2287588" cy="404813"/>
          </a:xfrm>
          <a:prstGeom prst="rect">
            <a:avLst/>
          </a:prstGeom>
          <a:noFill/>
        </p:spPr>
        <p:txBody>
          <a:bodyPr wrap="none">
            <a:spAutoFit/>
          </a:bodyPr>
          <a:lstStyle/>
          <a:p>
            <a:pPr>
              <a:defRPr/>
            </a:pPr>
            <a:r>
              <a:rPr lang="en-US" b="1" dirty="0">
                <a:solidFill>
                  <a:schemeClr val="tx1">
                    <a:lumMod val="75000"/>
                    <a:lumOff val="25000"/>
                  </a:schemeClr>
                </a:solidFill>
                <a:latin typeface="Calibri" charset="0"/>
                <a:ea typeface="ＭＳ Ｐゴシック" charset="0"/>
                <a:cs typeface="ＭＳ Ｐゴシック" charset="0"/>
              </a:rPr>
              <a:t>CUSTOMER VALUES</a:t>
            </a:r>
          </a:p>
        </p:txBody>
      </p:sp>
      <p:sp>
        <p:nvSpPr>
          <p:cNvPr id="54" name="TextBox 53"/>
          <p:cNvSpPr txBox="1"/>
          <p:nvPr/>
        </p:nvSpPr>
        <p:spPr>
          <a:xfrm rot="17283079">
            <a:off x="3707606" y="3586957"/>
            <a:ext cx="2646363" cy="406400"/>
          </a:xfrm>
          <a:prstGeom prst="rect">
            <a:avLst/>
          </a:prstGeom>
          <a:noFill/>
        </p:spPr>
        <p:txBody>
          <a:bodyPr wrap="none">
            <a:spAutoFit/>
          </a:bodyPr>
          <a:lstStyle/>
          <a:p>
            <a:pPr>
              <a:defRPr/>
            </a:pPr>
            <a:r>
              <a:rPr lang="en-US" b="1" dirty="0">
                <a:solidFill>
                  <a:schemeClr val="tx1">
                    <a:lumMod val="75000"/>
                    <a:lumOff val="25000"/>
                  </a:schemeClr>
                </a:solidFill>
                <a:latin typeface="Calibri" charset="0"/>
                <a:ea typeface="ＭＳ Ｐゴシック" charset="0"/>
                <a:cs typeface="ＭＳ Ｐゴシック" charset="0"/>
              </a:rPr>
              <a:t>KEY BUSNIESS RESULTS</a:t>
            </a:r>
          </a:p>
        </p:txBody>
      </p:sp>
      <p:sp>
        <p:nvSpPr>
          <p:cNvPr id="55" name="TextBox 54"/>
          <p:cNvSpPr txBox="1"/>
          <p:nvPr/>
        </p:nvSpPr>
        <p:spPr>
          <a:xfrm rot="17283079">
            <a:off x="4781550" y="3524250"/>
            <a:ext cx="2768600" cy="406400"/>
          </a:xfrm>
          <a:prstGeom prst="rect">
            <a:avLst/>
          </a:prstGeom>
          <a:noFill/>
        </p:spPr>
        <p:txBody>
          <a:bodyPr wrap="none">
            <a:spAutoFit/>
          </a:bodyPr>
          <a:lstStyle/>
          <a:p>
            <a:pPr>
              <a:defRPr/>
            </a:pPr>
            <a:r>
              <a:rPr lang="en-US" b="1" dirty="0">
                <a:solidFill>
                  <a:schemeClr val="tx1">
                    <a:lumMod val="75000"/>
                    <a:lumOff val="25000"/>
                  </a:schemeClr>
                </a:solidFill>
                <a:latin typeface="Calibri" charset="0"/>
                <a:ea typeface="ＭＳ Ｐゴシック" charset="0"/>
                <a:cs typeface="ＭＳ Ｐゴシック" charset="0"/>
              </a:rPr>
              <a:t>UNIVERSAL WELL-BEING</a:t>
            </a:r>
          </a:p>
        </p:txBody>
      </p:sp>
      <p:sp>
        <p:nvSpPr>
          <p:cNvPr id="56" name="TextBox 55"/>
          <p:cNvSpPr txBox="1"/>
          <p:nvPr/>
        </p:nvSpPr>
        <p:spPr>
          <a:xfrm rot="17283079">
            <a:off x="5941218" y="3571082"/>
            <a:ext cx="2627313" cy="406400"/>
          </a:xfrm>
          <a:prstGeom prst="rect">
            <a:avLst/>
          </a:prstGeom>
          <a:noFill/>
        </p:spPr>
        <p:txBody>
          <a:bodyPr wrap="none">
            <a:spAutoFit/>
          </a:bodyPr>
          <a:lstStyle/>
          <a:p>
            <a:pPr>
              <a:defRPr/>
            </a:pPr>
            <a:r>
              <a:rPr lang="en-US" b="1" dirty="0">
                <a:solidFill>
                  <a:schemeClr val="accent3">
                    <a:lumMod val="40000"/>
                    <a:lumOff val="60000"/>
                  </a:schemeClr>
                </a:solidFill>
                <a:latin typeface="Calibri" charset="0"/>
                <a:ea typeface="ＭＳ Ｐゴシック" charset="0"/>
                <a:cs typeface="ＭＳ Ｐゴシック" charset="0"/>
              </a:rPr>
              <a:t>SUSTAINABLE SUCCESS</a:t>
            </a:r>
          </a:p>
        </p:txBody>
      </p:sp>
      <p:grpSp>
        <p:nvGrpSpPr>
          <p:cNvPr id="58" name="Gruppe 956"/>
          <p:cNvGrpSpPr>
            <a:grpSpLocks/>
          </p:cNvGrpSpPr>
          <p:nvPr/>
        </p:nvGrpSpPr>
        <p:grpSpPr bwMode="auto">
          <a:xfrm>
            <a:off x="3523441" y="1617748"/>
            <a:ext cx="385815" cy="479425"/>
            <a:chOff x="215000" y="2687274"/>
            <a:chExt cx="2593295" cy="3223034"/>
          </a:xfrm>
          <a:solidFill>
            <a:schemeClr val="tx1">
              <a:lumMod val="50000"/>
              <a:lumOff val="50000"/>
            </a:schemeClr>
          </a:solidFill>
        </p:grpSpPr>
        <p:sp>
          <p:nvSpPr>
            <p:cNvPr id="59" name="Freeform 814"/>
            <p:cNvSpPr>
              <a:spLocks noEditPoints="1"/>
            </p:cNvSpPr>
            <p:nvPr/>
          </p:nvSpPr>
          <p:spPr bwMode="auto">
            <a:xfrm flipH="1">
              <a:off x="215000" y="2969584"/>
              <a:ext cx="993804" cy="2940724"/>
            </a:xfrm>
            <a:custGeom>
              <a:avLst/>
              <a:gdLst>
                <a:gd name="T0" fmla="*/ 2147483647 w 642"/>
                <a:gd name="T1" fmla="*/ 2147483647 h 1854"/>
                <a:gd name="T2" fmla="*/ 2147483647 w 642"/>
                <a:gd name="T3" fmla="*/ 2147483647 h 1854"/>
                <a:gd name="T4" fmla="*/ 2147483647 w 642"/>
                <a:gd name="T5" fmla="*/ 2147483647 h 1854"/>
                <a:gd name="T6" fmla="*/ 2147483647 w 642"/>
                <a:gd name="T7" fmla="*/ 2147483647 h 1854"/>
                <a:gd name="T8" fmla="*/ 2147483647 w 642"/>
                <a:gd name="T9" fmla="*/ 2147483647 h 1854"/>
                <a:gd name="T10" fmla="*/ 2147483647 w 642"/>
                <a:gd name="T11" fmla="*/ 2147483647 h 1854"/>
                <a:gd name="T12" fmla="*/ 2147483647 w 642"/>
                <a:gd name="T13" fmla="*/ 2147483647 h 1854"/>
                <a:gd name="T14" fmla="*/ 2147483647 w 642"/>
                <a:gd name="T15" fmla="*/ 2147483647 h 1854"/>
                <a:gd name="T16" fmla="*/ 2147483647 w 642"/>
                <a:gd name="T17" fmla="*/ 2147483647 h 1854"/>
                <a:gd name="T18" fmla="*/ 2147483647 w 642"/>
                <a:gd name="T19" fmla="*/ 2147483647 h 1854"/>
                <a:gd name="T20" fmla="*/ 2147483647 w 642"/>
                <a:gd name="T21" fmla="*/ 2147483647 h 1854"/>
                <a:gd name="T22" fmla="*/ 2147483647 w 642"/>
                <a:gd name="T23" fmla="*/ 2147483647 h 1854"/>
                <a:gd name="T24" fmla="*/ 2147483647 w 642"/>
                <a:gd name="T25" fmla="*/ 2147483647 h 1854"/>
                <a:gd name="T26" fmla="*/ 2147483647 w 642"/>
                <a:gd name="T27" fmla="*/ 2147483647 h 1854"/>
                <a:gd name="T28" fmla="*/ 2147483647 w 642"/>
                <a:gd name="T29" fmla="*/ 2147483647 h 1854"/>
                <a:gd name="T30" fmla="*/ 2147483647 w 642"/>
                <a:gd name="T31" fmla="*/ 2147483647 h 1854"/>
                <a:gd name="T32" fmla="*/ 2147483647 w 642"/>
                <a:gd name="T33" fmla="*/ 2147483647 h 1854"/>
                <a:gd name="T34" fmla="*/ 2147483647 w 642"/>
                <a:gd name="T35" fmla="*/ 2147483647 h 1854"/>
                <a:gd name="T36" fmla="*/ 2147483647 w 642"/>
                <a:gd name="T37" fmla="*/ 2147483647 h 1854"/>
                <a:gd name="T38" fmla="*/ 2147483647 w 642"/>
                <a:gd name="T39" fmla="*/ 2147483647 h 1854"/>
                <a:gd name="T40" fmla="*/ 2147483647 w 642"/>
                <a:gd name="T41" fmla="*/ 0 h 1854"/>
                <a:gd name="T42" fmla="*/ 2147483647 w 642"/>
                <a:gd name="T43" fmla="*/ 2147483647 h 1854"/>
                <a:gd name="T44" fmla="*/ 2147483647 w 642"/>
                <a:gd name="T45" fmla="*/ 2147483647 h 1854"/>
                <a:gd name="T46" fmla="*/ 2147483647 w 642"/>
                <a:gd name="T47" fmla="*/ 2147483647 h 1854"/>
                <a:gd name="T48" fmla="*/ 2147483647 w 642"/>
                <a:gd name="T49" fmla="*/ 2147483647 h 1854"/>
                <a:gd name="T50" fmla="*/ 2147483647 w 642"/>
                <a:gd name="T51" fmla="*/ 2147483647 h 1854"/>
                <a:gd name="T52" fmla="*/ 2147483647 w 642"/>
                <a:gd name="T53" fmla="*/ 2147483647 h 1854"/>
                <a:gd name="T54" fmla="*/ 2147483647 w 642"/>
                <a:gd name="T55" fmla="*/ 2147483647 h 1854"/>
                <a:gd name="T56" fmla="*/ 2147483647 w 642"/>
                <a:gd name="T57" fmla="*/ 2147483647 h 1854"/>
                <a:gd name="T58" fmla="*/ 2147483647 w 642"/>
                <a:gd name="T59" fmla="*/ 2147483647 h 1854"/>
                <a:gd name="T60" fmla="*/ 2147483647 w 642"/>
                <a:gd name="T61" fmla="*/ 2147483647 h 1854"/>
                <a:gd name="T62" fmla="*/ 2147483647 w 642"/>
                <a:gd name="T63" fmla="*/ 2147483647 h 1854"/>
                <a:gd name="T64" fmla="*/ 2147483647 w 642"/>
                <a:gd name="T65" fmla="*/ 2147483647 h 1854"/>
                <a:gd name="T66" fmla="*/ 0 w 642"/>
                <a:gd name="T67" fmla="*/ 2147483647 h 1854"/>
                <a:gd name="T68" fmla="*/ 2147483647 w 642"/>
                <a:gd name="T69" fmla="*/ 2147483647 h 1854"/>
                <a:gd name="T70" fmla="*/ 2147483647 w 642"/>
                <a:gd name="T71" fmla="*/ 2147483647 h 1854"/>
                <a:gd name="T72" fmla="*/ 2147483647 w 642"/>
                <a:gd name="T73" fmla="*/ 2147483647 h 1854"/>
                <a:gd name="T74" fmla="*/ 2147483647 w 642"/>
                <a:gd name="T75" fmla="*/ 2147483647 h 1854"/>
                <a:gd name="T76" fmla="*/ 2147483647 w 642"/>
                <a:gd name="T77" fmla="*/ 2147483647 h 1854"/>
                <a:gd name="T78" fmla="*/ 2147483647 w 642"/>
                <a:gd name="T79" fmla="*/ 2147483647 h 1854"/>
                <a:gd name="T80" fmla="*/ 2147483647 w 642"/>
                <a:gd name="T81" fmla="*/ 2147483647 h 1854"/>
                <a:gd name="T82" fmla="*/ 2147483647 w 642"/>
                <a:gd name="T83" fmla="*/ 2147483647 h 1854"/>
                <a:gd name="T84" fmla="*/ 2147483647 w 642"/>
                <a:gd name="T85" fmla="*/ 2147483647 h 1854"/>
                <a:gd name="T86" fmla="*/ 2147483647 w 642"/>
                <a:gd name="T87" fmla="*/ 2147483647 h 1854"/>
                <a:gd name="T88" fmla="*/ 2147483647 w 642"/>
                <a:gd name="T89" fmla="*/ 2147483647 h 1854"/>
                <a:gd name="T90" fmla="*/ 2147483647 w 642"/>
                <a:gd name="T91" fmla="*/ 2147483647 h 1854"/>
                <a:gd name="T92" fmla="*/ 2147483647 w 642"/>
                <a:gd name="T93" fmla="*/ 2147483647 h 1854"/>
                <a:gd name="T94" fmla="*/ 2147483647 w 642"/>
                <a:gd name="T95" fmla="*/ 2147483647 h 1854"/>
                <a:gd name="T96" fmla="*/ 2147483647 w 642"/>
                <a:gd name="T97" fmla="*/ 2147483647 h 1854"/>
                <a:gd name="T98" fmla="*/ 2147483647 w 642"/>
                <a:gd name="T99" fmla="*/ 2147483647 h 1854"/>
                <a:gd name="T100" fmla="*/ 2147483647 w 642"/>
                <a:gd name="T101" fmla="*/ 2147483647 h 1854"/>
                <a:gd name="T102" fmla="*/ 2147483647 w 642"/>
                <a:gd name="T103" fmla="*/ 2147483647 h 1854"/>
                <a:gd name="T104" fmla="*/ 2147483647 w 642"/>
                <a:gd name="T105" fmla="*/ 2147483647 h 1854"/>
                <a:gd name="T106" fmla="*/ 2147483647 w 642"/>
                <a:gd name="T107" fmla="*/ 2147483647 h 1854"/>
                <a:gd name="T108" fmla="*/ 2147483647 w 642"/>
                <a:gd name="T109" fmla="*/ 2147483647 h 1854"/>
                <a:gd name="T110" fmla="*/ 2147483647 w 642"/>
                <a:gd name="T111" fmla="*/ 2147483647 h 1854"/>
                <a:gd name="T112" fmla="*/ 2147483647 w 642"/>
                <a:gd name="T113" fmla="*/ 2147483647 h 1854"/>
                <a:gd name="T114" fmla="*/ 2147483647 w 642"/>
                <a:gd name="T115" fmla="*/ 2147483647 h 18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2"/>
                <a:gd name="T175" fmla="*/ 0 h 1854"/>
                <a:gd name="T176" fmla="*/ 642 w 642"/>
                <a:gd name="T177" fmla="*/ 1854 h 18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2" h="1854">
                  <a:moveTo>
                    <a:pt x="642" y="1559"/>
                  </a:moveTo>
                  <a:lnTo>
                    <a:pt x="638" y="1547"/>
                  </a:lnTo>
                  <a:lnTo>
                    <a:pt x="613" y="1535"/>
                  </a:lnTo>
                  <a:lnTo>
                    <a:pt x="593" y="1518"/>
                  </a:lnTo>
                  <a:lnTo>
                    <a:pt x="568" y="1493"/>
                  </a:lnTo>
                  <a:lnTo>
                    <a:pt x="564" y="1489"/>
                  </a:lnTo>
                  <a:lnTo>
                    <a:pt x="555" y="1489"/>
                  </a:lnTo>
                  <a:lnTo>
                    <a:pt x="535" y="1489"/>
                  </a:lnTo>
                  <a:lnTo>
                    <a:pt x="506" y="1493"/>
                  </a:lnTo>
                  <a:lnTo>
                    <a:pt x="481" y="1472"/>
                  </a:lnTo>
                  <a:lnTo>
                    <a:pt x="456" y="1447"/>
                  </a:lnTo>
                  <a:lnTo>
                    <a:pt x="423" y="1402"/>
                  </a:lnTo>
                  <a:lnTo>
                    <a:pt x="402" y="1365"/>
                  </a:lnTo>
                  <a:lnTo>
                    <a:pt x="398" y="1356"/>
                  </a:lnTo>
                  <a:lnTo>
                    <a:pt x="402" y="1356"/>
                  </a:lnTo>
                  <a:lnTo>
                    <a:pt x="406" y="1356"/>
                  </a:lnTo>
                  <a:lnTo>
                    <a:pt x="414" y="1352"/>
                  </a:lnTo>
                  <a:lnTo>
                    <a:pt x="431" y="1340"/>
                  </a:lnTo>
                  <a:lnTo>
                    <a:pt x="456" y="1311"/>
                  </a:lnTo>
                  <a:lnTo>
                    <a:pt x="456" y="1294"/>
                  </a:lnTo>
                  <a:lnTo>
                    <a:pt x="460" y="1244"/>
                  </a:lnTo>
                  <a:lnTo>
                    <a:pt x="464" y="1099"/>
                  </a:lnTo>
                  <a:lnTo>
                    <a:pt x="472" y="888"/>
                  </a:lnTo>
                  <a:lnTo>
                    <a:pt x="468" y="867"/>
                  </a:lnTo>
                  <a:lnTo>
                    <a:pt x="468" y="850"/>
                  </a:lnTo>
                  <a:lnTo>
                    <a:pt x="472" y="842"/>
                  </a:lnTo>
                  <a:lnTo>
                    <a:pt x="477" y="854"/>
                  </a:lnTo>
                  <a:lnTo>
                    <a:pt x="477" y="871"/>
                  </a:lnTo>
                  <a:lnTo>
                    <a:pt x="477" y="900"/>
                  </a:lnTo>
                  <a:lnTo>
                    <a:pt x="477" y="933"/>
                  </a:lnTo>
                  <a:lnTo>
                    <a:pt x="485" y="946"/>
                  </a:lnTo>
                  <a:lnTo>
                    <a:pt x="493" y="946"/>
                  </a:lnTo>
                  <a:lnTo>
                    <a:pt x="506" y="946"/>
                  </a:lnTo>
                  <a:lnTo>
                    <a:pt x="514" y="950"/>
                  </a:lnTo>
                  <a:lnTo>
                    <a:pt x="518" y="946"/>
                  </a:lnTo>
                  <a:lnTo>
                    <a:pt x="526" y="946"/>
                  </a:lnTo>
                  <a:lnTo>
                    <a:pt x="530" y="946"/>
                  </a:lnTo>
                  <a:lnTo>
                    <a:pt x="535" y="946"/>
                  </a:lnTo>
                  <a:lnTo>
                    <a:pt x="539" y="946"/>
                  </a:lnTo>
                  <a:lnTo>
                    <a:pt x="547" y="937"/>
                  </a:lnTo>
                  <a:lnTo>
                    <a:pt x="547" y="921"/>
                  </a:lnTo>
                  <a:lnTo>
                    <a:pt x="547" y="912"/>
                  </a:lnTo>
                  <a:lnTo>
                    <a:pt x="547" y="883"/>
                  </a:lnTo>
                  <a:lnTo>
                    <a:pt x="543" y="875"/>
                  </a:lnTo>
                  <a:lnTo>
                    <a:pt x="539" y="871"/>
                  </a:lnTo>
                  <a:lnTo>
                    <a:pt x="539" y="867"/>
                  </a:lnTo>
                  <a:lnTo>
                    <a:pt x="535" y="854"/>
                  </a:lnTo>
                  <a:lnTo>
                    <a:pt x="535" y="821"/>
                  </a:lnTo>
                  <a:lnTo>
                    <a:pt x="539" y="767"/>
                  </a:lnTo>
                  <a:lnTo>
                    <a:pt x="539" y="738"/>
                  </a:lnTo>
                  <a:lnTo>
                    <a:pt x="518" y="647"/>
                  </a:lnTo>
                  <a:lnTo>
                    <a:pt x="497" y="539"/>
                  </a:lnTo>
                  <a:lnTo>
                    <a:pt x="485" y="444"/>
                  </a:lnTo>
                  <a:lnTo>
                    <a:pt x="456" y="336"/>
                  </a:lnTo>
                  <a:lnTo>
                    <a:pt x="443" y="307"/>
                  </a:lnTo>
                  <a:lnTo>
                    <a:pt x="431" y="286"/>
                  </a:lnTo>
                  <a:lnTo>
                    <a:pt x="414" y="274"/>
                  </a:lnTo>
                  <a:lnTo>
                    <a:pt x="394" y="270"/>
                  </a:lnTo>
                  <a:lnTo>
                    <a:pt x="381" y="265"/>
                  </a:lnTo>
                  <a:lnTo>
                    <a:pt x="365" y="265"/>
                  </a:lnTo>
                  <a:lnTo>
                    <a:pt x="352" y="270"/>
                  </a:lnTo>
                  <a:lnTo>
                    <a:pt x="340" y="270"/>
                  </a:lnTo>
                  <a:lnTo>
                    <a:pt x="336" y="257"/>
                  </a:lnTo>
                  <a:lnTo>
                    <a:pt x="331" y="245"/>
                  </a:lnTo>
                  <a:lnTo>
                    <a:pt x="331" y="228"/>
                  </a:lnTo>
                  <a:lnTo>
                    <a:pt x="331" y="203"/>
                  </a:lnTo>
                  <a:lnTo>
                    <a:pt x="331" y="174"/>
                  </a:lnTo>
                  <a:lnTo>
                    <a:pt x="331" y="145"/>
                  </a:lnTo>
                  <a:lnTo>
                    <a:pt x="331" y="116"/>
                  </a:lnTo>
                  <a:lnTo>
                    <a:pt x="319" y="83"/>
                  </a:lnTo>
                  <a:lnTo>
                    <a:pt x="315" y="66"/>
                  </a:lnTo>
                  <a:lnTo>
                    <a:pt x="302" y="50"/>
                  </a:lnTo>
                  <a:lnTo>
                    <a:pt x="290" y="37"/>
                  </a:lnTo>
                  <a:lnTo>
                    <a:pt x="277" y="25"/>
                  </a:lnTo>
                  <a:lnTo>
                    <a:pt x="248" y="8"/>
                  </a:lnTo>
                  <a:lnTo>
                    <a:pt x="224" y="0"/>
                  </a:lnTo>
                  <a:lnTo>
                    <a:pt x="190" y="0"/>
                  </a:lnTo>
                  <a:lnTo>
                    <a:pt x="157" y="8"/>
                  </a:lnTo>
                  <a:lnTo>
                    <a:pt x="124" y="17"/>
                  </a:lnTo>
                  <a:lnTo>
                    <a:pt x="107" y="25"/>
                  </a:lnTo>
                  <a:lnTo>
                    <a:pt x="95" y="33"/>
                  </a:lnTo>
                  <a:lnTo>
                    <a:pt x="87" y="46"/>
                  </a:lnTo>
                  <a:lnTo>
                    <a:pt x="87" y="54"/>
                  </a:lnTo>
                  <a:lnTo>
                    <a:pt x="87" y="62"/>
                  </a:lnTo>
                  <a:lnTo>
                    <a:pt x="91" y="71"/>
                  </a:lnTo>
                  <a:lnTo>
                    <a:pt x="87" y="87"/>
                  </a:lnTo>
                  <a:lnTo>
                    <a:pt x="87" y="120"/>
                  </a:lnTo>
                  <a:lnTo>
                    <a:pt x="87" y="133"/>
                  </a:lnTo>
                  <a:lnTo>
                    <a:pt x="91" y="137"/>
                  </a:lnTo>
                  <a:lnTo>
                    <a:pt x="95" y="141"/>
                  </a:lnTo>
                  <a:lnTo>
                    <a:pt x="103" y="149"/>
                  </a:lnTo>
                  <a:lnTo>
                    <a:pt x="95" y="170"/>
                  </a:lnTo>
                  <a:lnTo>
                    <a:pt x="91" y="191"/>
                  </a:lnTo>
                  <a:lnTo>
                    <a:pt x="99" y="195"/>
                  </a:lnTo>
                  <a:lnTo>
                    <a:pt x="107" y="195"/>
                  </a:lnTo>
                  <a:lnTo>
                    <a:pt x="112" y="203"/>
                  </a:lnTo>
                  <a:lnTo>
                    <a:pt x="112" y="207"/>
                  </a:lnTo>
                  <a:lnTo>
                    <a:pt x="116" y="212"/>
                  </a:lnTo>
                  <a:lnTo>
                    <a:pt x="116" y="220"/>
                  </a:lnTo>
                  <a:lnTo>
                    <a:pt x="120" y="224"/>
                  </a:lnTo>
                  <a:lnTo>
                    <a:pt x="124" y="228"/>
                  </a:lnTo>
                  <a:lnTo>
                    <a:pt x="128" y="241"/>
                  </a:lnTo>
                  <a:lnTo>
                    <a:pt x="128" y="249"/>
                  </a:lnTo>
                  <a:lnTo>
                    <a:pt x="132" y="253"/>
                  </a:lnTo>
                  <a:lnTo>
                    <a:pt x="141" y="253"/>
                  </a:lnTo>
                  <a:lnTo>
                    <a:pt x="165" y="253"/>
                  </a:lnTo>
                  <a:lnTo>
                    <a:pt x="174" y="253"/>
                  </a:lnTo>
                  <a:lnTo>
                    <a:pt x="178" y="257"/>
                  </a:lnTo>
                  <a:lnTo>
                    <a:pt x="182" y="265"/>
                  </a:lnTo>
                  <a:lnTo>
                    <a:pt x="182" y="270"/>
                  </a:lnTo>
                  <a:lnTo>
                    <a:pt x="182" y="278"/>
                  </a:lnTo>
                  <a:lnTo>
                    <a:pt x="78" y="394"/>
                  </a:lnTo>
                  <a:lnTo>
                    <a:pt x="70" y="406"/>
                  </a:lnTo>
                  <a:lnTo>
                    <a:pt x="70" y="419"/>
                  </a:lnTo>
                  <a:lnTo>
                    <a:pt x="74" y="448"/>
                  </a:lnTo>
                  <a:lnTo>
                    <a:pt x="70" y="518"/>
                  </a:lnTo>
                  <a:lnTo>
                    <a:pt x="62" y="610"/>
                  </a:lnTo>
                  <a:lnTo>
                    <a:pt x="49" y="713"/>
                  </a:lnTo>
                  <a:lnTo>
                    <a:pt x="16" y="713"/>
                  </a:lnTo>
                  <a:lnTo>
                    <a:pt x="0" y="971"/>
                  </a:lnTo>
                  <a:lnTo>
                    <a:pt x="78" y="971"/>
                  </a:lnTo>
                  <a:lnTo>
                    <a:pt x="83" y="979"/>
                  </a:lnTo>
                  <a:lnTo>
                    <a:pt x="87" y="983"/>
                  </a:lnTo>
                  <a:lnTo>
                    <a:pt x="107" y="987"/>
                  </a:lnTo>
                  <a:lnTo>
                    <a:pt x="128" y="987"/>
                  </a:lnTo>
                  <a:lnTo>
                    <a:pt x="132" y="1016"/>
                  </a:lnTo>
                  <a:lnTo>
                    <a:pt x="136" y="1058"/>
                  </a:lnTo>
                  <a:lnTo>
                    <a:pt x="149" y="1165"/>
                  </a:lnTo>
                  <a:lnTo>
                    <a:pt x="157" y="1261"/>
                  </a:lnTo>
                  <a:lnTo>
                    <a:pt x="165" y="1356"/>
                  </a:lnTo>
                  <a:lnTo>
                    <a:pt x="211" y="1356"/>
                  </a:lnTo>
                  <a:lnTo>
                    <a:pt x="224" y="1373"/>
                  </a:lnTo>
                  <a:lnTo>
                    <a:pt x="257" y="1398"/>
                  </a:lnTo>
                  <a:lnTo>
                    <a:pt x="298" y="1439"/>
                  </a:lnTo>
                  <a:lnTo>
                    <a:pt x="302" y="1539"/>
                  </a:lnTo>
                  <a:lnTo>
                    <a:pt x="307" y="1613"/>
                  </a:lnTo>
                  <a:lnTo>
                    <a:pt x="307" y="1659"/>
                  </a:lnTo>
                  <a:lnTo>
                    <a:pt x="298" y="1688"/>
                  </a:lnTo>
                  <a:lnTo>
                    <a:pt x="294" y="1700"/>
                  </a:lnTo>
                  <a:lnTo>
                    <a:pt x="282" y="1734"/>
                  </a:lnTo>
                  <a:lnTo>
                    <a:pt x="265" y="1759"/>
                  </a:lnTo>
                  <a:lnTo>
                    <a:pt x="244" y="1788"/>
                  </a:lnTo>
                  <a:lnTo>
                    <a:pt x="232" y="1792"/>
                  </a:lnTo>
                  <a:lnTo>
                    <a:pt x="203" y="1804"/>
                  </a:lnTo>
                  <a:lnTo>
                    <a:pt x="174" y="1812"/>
                  </a:lnTo>
                  <a:lnTo>
                    <a:pt x="157" y="1821"/>
                  </a:lnTo>
                  <a:lnTo>
                    <a:pt x="153" y="1825"/>
                  </a:lnTo>
                  <a:lnTo>
                    <a:pt x="153" y="1829"/>
                  </a:lnTo>
                  <a:lnTo>
                    <a:pt x="157" y="1833"/>
                  </a:lnTo>
                  <a:lnTo>
                    <a:pt x="170" y="1841"/>
                  </a:lnTo>
                  <a:lnTo>
                    <a:pt x="178" y="1841"/>
                  </a:lnTo>
                  <a:lnTo>
                    <a:pt x="265" y="1850"/>
                  </a:lnTo>
                  <a:lnTo>
                    <a:pt x="286" y="1850"/>
                  </a:lnTo>
                  <a:lnTo>
                    <a:pt x="307" y="1833"/>
                  </a:lnTo>
                  <a:lnTo>
                    <a:pt x="331" y="1812"/>
                  </a:lnTo>
                  <a:lnTo>
                    <a:pt x="352" y="1796"/>
                  </a:lnTo>
                  <a:lnTo>
                    <a:pt x="356" y="1796"/>
                  </a:lnTo>
                  <a:lnTo>
                    <a:pt x="365" y="1796"/>
                  </a:lnTo>
                  <a:lnTo>
                    <a:pt x="369" y="1800"/>
                  </a:lnTo>
                  <a:lnTo>
                    <a:pt x="365" y="1854"/>
                  </a:lnTo>
                  <a:lnTo>
                    <a:pt x="369" y="1854"/>
                  </a:lnTo>
                  <a:lnTo>
                    <a:pt x="377" y="1854"/>
                  </a:lnTo>
                  <a:lnTo>
                    <a:pt x="381" y="1825"/>
                  </a:lnTo>
                  <a:lnTo>
                    <a:pt x="385" y="1800"/>
                  </a:lnTo>
                  <a:lnTo>
                    <a:pt x="394" y="1779"/>
                  </a:lnTo>
                  <a:lnTo>
                    <a:pt x="402" y="1763"/>
                  </a:lnTo>
                  <a:lnTo>
                    <a:pt x="398" y="1750"/>
                  </a:lnTo>
                  <a:lnTo>
                    <a:pt x="389" y="1734"/>
                  </a:lnTo>
                  <a:lnTo>
                    <a:pt x="381" y="1709"/>
                  </a:lnTo>
                  <a:lnTo>
                    <a:pt x="377" y="1676"/>
                  </a:lnTo>
                  <a:lnTo>
                    <a:pt x="377" y="1651"/>
                  </a:lnTo>
                  <a:lnTo>
                    <a:pt x="381" y="1626"/>
                  </a:lnTo>
                  <a:lnTo>
                    <a:pt x="385" y="1601"/>
                  </a:lnTo>
                  <a:lnTo>
                    <a:pt x="398" y="1547"/>
                  </a:lnTo>
                  <a:lnTo>
                    <a:pt x="402" y="1510"/>
                  </a:lnTo>
                  <a:lnTo>
                    <a:pt x="435" y="1530"/>
                  </a:lnTo>
                  <a:lnTo>
                    <a:pt x="468" y="1551"/>
                  </a:lnTo>
                  <a:lnTo>
                    <a:pt x="501" y="1584"/>
                  </a:lnTo>
                  <a:lnTo>
                    <a:pt x="547" y="1642"/>
                  </a:lnTo>
                  <a:lnTo>
                    <a:pt x="555" y="1647"/>
                  </a:lnTo>
                  <a:lnTo>
                    <a:pt x="564" y="1659"/>
                  </a:lnTo>
                  <a:lnTo>
                    <a:pt x="572" y="1688"/>
                  </a:lnTo>
                  <a:lnTo>
                    <a:pt x="576" y="1734"/>
                  </a:lnTo>
                  <a:lnTo>
                    <a:pt x="576" y="1767"/>
                  </a:lnTo>
                  <a:lnTo>
                    <a:pt x="580" y="1775"/>
                  </a:lnTo>
                  <a:lnTo>
                    <a:pt x="589" y="1775"/>
                  </a:lnTo>
                  <a:lnTo>
                    <a:pt x="589" y="1771"/>
                  </a:lnTo>
                  <a:lnTo>
                    <a:pt x="605" y="1746"/>
                  </a:lnTo>
                  <a:lnTo>
                    <a:pt x="626" y="1709"/>
                  </a:lnTo>
                  <a:lnTo>
                    <a:pt x="630" y="1692"/>
                  </a:lnTo>
                  <a:lnTo>
                    <a:pt x="634" y="1671"/>
                  </a:lnTo>
                  <a:lnTo>
                    <a:pt x="626" y="1647"/>
                  </a:lnTo>
                  <a:lnTo>
                    <a:pt x="613" y="1622"/>
                  </a:lnTo>
                  <a:lnTo>
                    <a:pt x="597" y="1593"/>
                  </a:lnTo>
                  <a:lnTo>
                    <a:pt x="589" y="1568"/>
                  </a:lnTo>
                  <a:lnTo>
                    <a:pt x="589" y="1543"/>
                  </a:lnTo>
                  <a:lnTo>
                    <a:pt x="642" y="1559"/>
                  </a:lnTo>
                  <a:close/>
                  <a:moveTo>
                    <a:pt x="373" y="635"/>
                  </a:moveTo>
                  <a:lnTo>
                    <a:pt x="373" y="635"/>
                  </a:lnTo>
                  <a:lnTo>
                    <a:pt x="381" y="614"/>
                  </a:lnTo>
                  <a:lnTo>
                    <a:pt x="389" y="597"/>
                  </a:lnTo>
                  <a:lnTo>
                    <a:pt x="394" y="597"/>
                  </a:lnTo>
                  <a:lnTo>
                    <a:pt x="398" y="610"/>
                  </a:lnTo>
                  <a:lnTo>
                    <a:pt x="406" y="630"/>
                  </a:lnTo>
                  <a:lnTo>
                    <a:pt x="414" y="676"/>
                  </a:lnTo>
                  <a:lnTo>
                    <a:pt x="414" y="701"/>
                  </a:lnTo>
                  <a:lnTo>
                    <a:pt x="394" y="668"/>
                  </a:lnTo>
                  <a:lnTo>
                    <a:pt x="373"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nvGrpSpPr>
            <p:cNvPr id="60" name="Gruppe 955"/>
            <p:cNvGrpSpPr>
              <a:grpSpLocks/>
            </p:cNvGrpSpPr>
            <p:nvPr/>
          </p:nvGrpSpPr>
          <p:grpSpPr bwMode="auto">
            <a:xfrm>
              <a:off x="1397000" y="2687274"/>
              <a:ext cx="1411295" cy="3138853"/>
              <a:chOff x="1397000" y="2687274"/>
              <a:chExt cx="1411295" cy="3138852"/>
            </a:xfrm>
            <a:grpFill/>
          </p:grpSpPr>
          <p:sp>
            <p:nvSpPr>
              <p:cNvPr id="61" name="Freeform 810"/>
              <p:cNvSpPr>
                <a:spLocks/>
              </p:cNvSpPr>
              <p:nvPr/>
            </p:nvSpPr>
            <p:spPr bwMode="auto">
              <a:xfrm>
                <a:off x="1396978" y="2687274"/>
                <a:ext cx="1411317" cy="3140693"/>
              </a:xfrm>
              <a:custGeom>
                <a:avLst/>
                <a:gdLst>
                  <a:gd name="T0" fmla="*/ 2147483647 w 772"/>
                  <a:gd name="T1" fmla="*/ 2147483647 h 1717"/>
                  <a:gd name="T2" fmla="*/ 2147483647 w 772"/>
                  <a:gd name="T3" fmla="*/ 2147483647 h 1717"/>
                  <a:gd name="T4" fmla="*/ 2147483647 w 772"/>
                  <a:gd name="T5" fmla="*/ 2147483647 h 1717"/>
                  <a:gd name="T6" fmla="*/ 2147483647 w 772"/>
                  <a:gd name="T7" fmla="*/ 2147483647 h 1717"/>
                  <a:gd name="T8" fmla="*/ 2147483647 w 772"/>
                  <a:gd name="T9" fmla="*/ 2147483647 h 1717"/>
                  <a:gd name="T10" fmla="*/ 2147483647 w 772"/>
                  <a:gd name="T11" fmla="*/ 2147483647 h 1717"/>
                  <a:gd name="T12" fmla="*/ 2147483647 w 772"/>
                  <a:gd name="T13" fmla="*/ 2147483647 h 1717"/>
                  <a:gd name="T14" fmla="*/ 2147483647 w 772"/>
                  <a:gd name="T15" fmla="*/ 2147483647 h 1717"/>
                  <a:gd name="T16" fmla="*/ 2147483647 w 772"/>
                  <a:gd name="T17" fmla="*/ 2147483647 h 1717"/>
                  <a:gd name="T18" fmla="*/ 2147483647 w 772"/>
                  <a:gd name="T19" fmla="*/ 2147483647 h 1717"/>
                  <a:gd name="T20" fmla="*/ 2147483647 w 772"/>
                  <a:gd name="T21" fmla="*/ 2147483647 h 1717"/>
                  <a:gd name="T22" fmla="*/ 2147483647 w 772"/>
                  <a:gd name="T23" fmla="*/ 2147483647 h 1717"/>
                  <a:gd name="T24" fmla="*/ 2147483647 w 772"/>
                  <a:gd name="T25" fmla="*/ 2147483647 h 1717"/>
                  <a:gd name="T26" fmla="*/ 2147483647 w 772"/>
                  <a:gd name="T27" fmla="*/ 2147483647 h 1717"/>
                  <a:gd name="T28" fmla="*/ 2147483647 w 772"/>
                  <a:gd name="T29" fmla="*/ 2147483647 h 1717"/>
                  <a:gd name="T30" fmla="*/ 2147483647 w 772"/>
                  <a:gd name="T31" fmla="*/ 2147483647 h 1717"/>
                  <a:gd name="T32" fmla="*/ 2147483647 w 772"/>
                  <a:gd name="T33" fmla="*/ 2147483647 h 1717"/>
                  <a:gd name="T34" fmla="*/ 2147483647 w 772"/>
                  <a:gd name="T35" fmla="*/ 2147483647 h 1717"/>
                  <a:gd name="T36" fmla="*/ 2147483647 w 772"/>
                  <a:gd name="T37" fmla="*/ 2147483647 h 1717"/>
                  <a:gd name="T38" fmla="*/ 2147483647 w 772"/>
                  <a:gd name="T39" fmla="*/ 2147483647 h 1717"/>
                  <a:gd name="T40" fmla="*/ 2147483647 w 772"/>
                  <a:gd name="T41" fmla="*/ 2147483647 h 1717"/>
                  <a:gd name="T42" fmla="*/ 2147483647 w 772"/>
                  <a:gd name="T43" fmla="*/ 2147483647 h 1717"/>
                  <a:gd name="T44" fmla="*/ 2147483647 w 772"/>
                  <a:gd name="T45" fmla="*/ 2147483647 h 1717"/>
                  <a:gd name="T46" fmla="*/ 2147483647 w 772"/>
                  <a:gd name="T47" fmla="*/ 2147483647 h 1717"/>
                  <a:gd name="T48" fmla="*/ 2147483647 w 772"/>
                  <a:gd name="T49" fmla="*/ 2147483647 h 1717"/>
                  <a:gd name="T50" fmla="*/ 2147483647 w 772"/>
                  <a:gd name="T51" fmla="*/ 2147483647 h 1717"/>
                  <a:gd name="T52" fmla="*/ 2147483647 w 772"/>
                  <a:gd name="T53" fmla="*/ 2147483647 h 1717"/>
                  <a:gd name="T54" fmla="*/ 2147483647 w 772"/>
                  <a:gd name="T55" fmla="*/ 2147483647 h 1717"/>
                  <a:gd name="T56" fmla="*/ 2147483647 w 772"/>
                  <a:gd name="T57" fmla="*/ 2147483647 h 1717"/>
                  <a:gd name="T58" fmla="*/ 2147483647 w 772"/>
                  <a:gd name="T59" fmla="*/ 2147483647 h 1717"/>
                  <a:gd name="T60" fmla="*/ 2147483647 w 772"/>
                  <a:gd name="T61" fmla="*/ 2147483647 h 1717"/>
                  <a:gd name="T62" fmla="*/ 2147483647 w 772"/>
                  <a:gd name="T63" fmla="*/ 2147483647 h 1717"/>
                  <a:gd name="T64" fmla="*/ 2147483647 w 772"/>
                  <a:gd name="T65" fmla="*/ 2147483647 h 1717"/>
                  <a:gd name="T66" fmla="*/ 2147483647 w 772"/>
                  <a:gd name="T67" fmla="*/ 2147483647 h 1717"/>
                  <a:gd name="T68" fmla="*/ 2147483647 w 772"/>
                  <a:gd name="T69" fmla="*/ 2147483647 h 1717"/>
                  <a:gd name="T70" fmla="*/ 2147483647 w 772"/>
                  <a:gd name="T71" fmla="*/ 2147483647 h 1717"/>
                  <a:gd name="T72" fmla="*/ 2147483647 w 772"/>
                  <a:gd name="T73" fmla="*/ 2147483647 h 1717"/>
                  <a:gd name="T74" fmla="*/ 2147483647 w 772"/>
                  <a:gd name="T75" fmla="*/ 2147483647 h 1717"/>
                  <a:gd name="T76" fmla="*/ 2147483647 w 772"/>
                  <a:gd name="T77" fmla="*/ 2147483647 h 1717"/>
                  <a:gd name="T78" fmla="*/ 2147483647 w 772"/>
                  <a:gd name="T79" fmla="*/ 2147483647 h 1717"/>
                  <a:gd name="T80" fmla="*/ 2147483647 w 772"/>
                  <a:gd name="T81" fmla="*/ 2147483647 h 1717"/>
                  <a:gd name="T82" fmla="*/ 2147483647 w 772"/>
                  <a:gd name="T83" fmla="*/ 2147483647 h 1717"/>
                  <a:gd name="T84" fmla="*/ 2147483647 w 772"/>
                  <a:gd name="T85" fmla="*/ 2147483647 h 1717"/>
                  <a:gd name="T86" fmla="*/ 2147483647 w 772"/>
                  <a:gd name="T87" fmla="*/ 2147483647 h 1717"/>
                  <a:gd name="T88" fmla="*/ 2147483647 w 772"/>
                  <a:gd name="T89" fmla="*/ 2147483647 h 1717"/>
                  <a:gd name="T90" fmla="*/ 2147483647 w 772"/>
                  <a:gd name="T91" fmla="*/ 2147483647 h 1717"/>
                  <a:gd name="T92" fmla="*/ 2147483647 w 772"/>
                  <a:gd name="T93" fmla="*/ 2147483647 h 1717"/>
                  <a:gd name="T94" fmla="*/ 2147483647 w 772"/>
                  <a:gd name="T95" fmla="*/ 2147483647 h 1717"/>
                  <a:gd name="T96" fmla="*/ 2147483647 w 772"/>
                  <a:gd name="T97" fmla="*/ 2147483647 h 1717"/>
                  <a:gd name="T98" fmla="*/ 2147483647 w 772"/>
                  <a:gd name="T99" fmla="*/ 2147483647 h 1717"/>
                  <a:gd name="T100" fmla="*/ 2147483647 w 772"/>
                  <a:gd name="T101" fmla="*/ 2147483647 h 1717"/>
                  <a:gd name="T102" fmla="*/ 2147483647 w 772"/>
                  <a:gd name="T103" fmla="*/ 2147483647 h 1717"/>
                  <a:gd name="T104" fmla="*/ 2147483647 w 772"/>
                  <a:gd name="T105" fmla="*/ 2147483647 h 1717"/>
                  <a:gd name="T106" fmla="*/ 2147483647 w 772"/>
                  <a:gd name="T107" fmla="*/ 2147483647 h 17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2"/>
                  <a:gd name="T163" fmla="*/ 0 h 1717"/>
                  <a:gd name="T164" fmla="*/ 772 w 772"/>
                  <a:gd name="T165" fmla="*/ 1717 h 17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2" h="1717">
                    <a:moveTo>
                      <a:pt x="498" y="502"/>
                    </a:moveTo>
                    <a:lnTo>
                      <a:pt x="498" y="502"/>
                    </a:lnTo>
                    <a:lnTo>
                      <a:pt x="502" y="535"/>
                    </a:lnTo>
                    <a:lnTo>
                      <a:pt x="502" y="551"/>
                    </a:lnTo>
                    <a:lnTo>
                      <a:pt x="498" y="576"/>
                    </a:lnTo>
                    <a:lnTo>
                      <a:pt x="477" y="639"/>
                    </a:lnTo>
                    <a:lnTo>
                      <a:pt x="465" y="663"/>
                    </a:lnTo>
                    <a:lnTo>
                      <a:pt x="457" y="680"/>
                    </a:lnTo>
                    <a:lnTo>
                      <a:pt x="452" y="692"/>
                    </a:lnTo>
                    <a:lnTo>
                      <a:pt x="444" y="713"/>
                    </a:lnTo>
                    <a:lnTo>
                      <a:pt x="440" y="742"/>
                    </a:lnTo>
                    <a:lnTo>
                      <a:pt x="440" y="755"/>
                    </a:lnTo>
                    <a:lnTo>
                      <a:pt x="440" y="771"/>
                    </a:lnTo>
                    <a:lnTo>
                      <a:pt x="428" y="788"/>
                    </a:lnTo>
                    <a:lnTo>
                      <a:pt x="423" y="796"/>
                    </a:lnTo>
                    <a:lnTo>
                      <a:pt x="423" y="809"/>
                    </a:lnTo>
                    <a:lnTo>
                      <a:pt x="423" y="892"/>
                    </a:lnTo>
                    <a:lnTo>
                      <a:pt x="415" y="900"/>
                    </a:lnTo>
                    <a:lnTo>
                      <a:pt x="411" y="908"/>
                    </a:lnTo>
                    <a:lnTo>
                      <a:pt x="436" y="904"/>
                    </a:lnTo>
                    <a:lnTo>
                      <a:pt x="440" y="904"/>
                    </a:lnTo>
                    <a:lnTo>
                      <a:pt x="448" y="908"/>
                    </a:lnTo>
                    <a:lnTo>
                      <a:pt x="457" y="912"/>
                    </a:lnTo>
                    <a:lnTo>
                      <a:pt x="610" y="1099"/>
                    </a:lnTo>
                    <a:lnTo>
                      <a:pt x="614" y="1103"/>
                    </a:lnTo>
                    <a:lnTo>
                      <a:pt x="622" y="1120"/>
                    </a:lnTo>
                    <a:lnTo>
                      <a:pt x="627" y="1128"/>
                    </a:lnTo>
                    <a:lnTo>
                      <a:pt x="627" y="1140"/>
                    </a:lnTo>
                    <a:lnTo>
                      <a:pt x="627" y="1149"/>
                    </a:lnTo>
                    <a:lnTo>
                      <a:pt x="614" y="1161"/>
                    </a:lnTo>
                    <a:lnTo>
                      <a:pt x="552" y="1227"/>
                    </a:lnTo>
                    <a:lnTo>
                      <a:pt x="585" y="1269"/>
                    </a:lnTo>
                    <a:lnTo>
                      <a:pt x="618" y="1302"/>
                    </a:lnTo>
                    <a:lnTo>
                      <a:pt x="631" y="1315"/>
                    </a:lnTo>
                    <a:lnTo>
                      <a:pt x="647" y="1319"/>
                    </a:lnTo>
                    <a:lnTo>
                      <a:pt x="660" y="1327"/>
                    </a:lnTo>
                    <a:lnTo>
                      <a:pt x="668" y="1339"/>
                    </a:lnTo>
                    <a:lnTo>
                      <a:pt x="676" y="1348"/>
                    </a:lnTo>
                    <a:lnTo>
                      <a:pt x="681" y="1360"/>
                    </a:lnTo>
                    <a:lnTo>
                      <a:pt x="693" y="1360"/>
                    </a:lnTo>
                    <a:lnTo>
                      <a:pt x="701" y="1360"/>
                    </a:lnTo>
                    <a:lnTo>
                      <a:pt x="730" y="1364"/>
                    </a:lnTo>
                    <a:lnTo>
                      <a:pt x="747" y="1373"/>
                    </a:lnTo>
                    <a:lnTo>
                      <a:pt x="755" y="1381"/>
                    </a:lnTo>
                    <a:lnTo>
                      <a:pt x="755" y="1385"/>
                    </a:lnTo>
                    <a:lnTo>
                      <a:pt x="759" y="1422"/>
                    </a:lnTo>
                    <a:lnTo>
                      <a:pt x="764" y="1443"/>
                    </a:lnTo>
                    <a:lnTo>
                      <a:pt x="751" y="1443"/>
                    </a:lnTo>
                    <a:lnTo>
                      <a:pt x="755" y="1472"/>
                    </a:lnTo>
                    <a:lnTo>
                      <a:pt x="764" y="1497"/>
                    </a:lnTo>
                    <a:lnTo>
                      <a:pt x="768" y="1514"/>
                    </a:lnTo>
                    <a:lnTo>
                      <a:pt x="772" y="1534"/>
                    </a:lnTo>
                    <a:lnTo>
                      <a:pt x="768" y="1555"/>
                    </a:lnTo>
                    <a:lnTo>
                      <a:pt x="759" y="1597"/>
                    </a:lnTo>
                    <a:lnTo>
                      <a:pt x="747" y="1630"/>
                    </a:lnTo>
                    <a:lnTo>
                      <a:pt x="739" y="1646"/>
                    </a:lnTo>
                    <a:lnTo>
                      <a:pt x="739" y="1651"/>
                    </a:lnTo>
                    <a:lnTo>
                      <a:pt x="726" y="1663"/>
                    </a:lnTo>
                    <a:lnTo>
                      <a:pt x="722" y="1667"/>
                    </a:lnTo>
                    <a:lnTo>
                      <a:pt x="714" y="1671"/>
                    </a:lnTo>
                    <a:lnTo>
                      <a:pt x="701" y="1671"/>
                    </a:lnTo>
                    <a:lnTo>
                      <a:pt x="689" y="1671"/>
                    </a:lnTo>
                    <a:lnTo>
                      <a:pt x="681" y="1659"/>
                    </a:lnTo>
                    <a:lnTo>
                      <a:pt x="676" y="1642"/>
                    </a:lnTo>
                    <a:lnTo>
                      <a:pt x="672" y="1622"/>
                    </a:lnTo>
                    <a:lnTo>
                      <a:pt x="664" y="1580"/>
                    </a:lnTo>
                    <a:lnTo>
                      <a:pt x="660" y="1563"/>
                    </a:lnTo>
                    <a:lnTo>
                      <a:pt x="660" y="1551"/>
                    </a:lnTo>
                    <a:lnTo>
                      <a:pt x="656" y="1510"/>
                    </a:lnTo>
                    <a:lnTo>
                      <a:pt x="652" y="1501"/>
                    </a:lnTo>
                    <a:lnTo>
                      <a:pt x="647" y="1497"/>
                    </a:lnTo>
                    <a:lnTo>
                      <a:pt x="643" y="1493"/>
                    </a:lnTo>
                    <a:lnTo>
                      <a:pt x="635" y="1493"/>
                    </a:lnTo>
                    <a:lnTo>
                      <a:pt x="627" y="1493"/>
                    </a:lnTo>
                    <a:lnTo>
                      <a:pt x="614" y="1489"/>
                    </a:lnTo>
                    <a:lnTo>
                      <a:pt x="598" y="1472"/>
                    </a:lnTo>
                    <a:lnTo>
                      <a:pt x="548" y="1427"/>
                    </a:lnTo>
                    <a:lnTo>
                      <a:pt x="511" y="1398"/>
                    </a:lnTo>
                    <a:lnTo>
                      <a:pt x="432" y="1331"/>
                    </a:lnTo>
                    <a:lnTo>
                      <a:pt x="378" y="1393"/>
                    </a:lnTo>
                    <a:lnTo>
                      <a:pt x="369" y="1398"/>
                    </a:lnTo>
                    <a:lnTo>
                      <a:pt x="357" y="1402"/>
                    </a:lnTo>
                    <a:lnTo>
                      <a:pt x="349" y="1402"/>
                    </a:lnTo>
                    <a:lnTo>
                      <a:pt x="336" y="1398"/>
                    </a:lnTo>
                    <a:lnTo>
                      <a:pt x="324" y="1393"/>
                    </a:lnTo>
                    <a:lnTo>
                      <a:pt x="307" y="1381"/>
                    </a:lnTo>
                    <a:lnTo>
                      <a:pt x="274" y="1344"/>
                    </a:lnTo>
                    <a:lnTo>
                      <a:pt x="287" y="1451"/>
                    </a:lnTo>
                    <a:lnTo>
                      <a:pt x="295" y="1526"/>
                    </a:lnTo>
                    <a:lnTo>
                      <a:pt x="303" y="1563"/>
                    </a:lnTo>
                    <a:lnTo>
                      <a:pt x="307" y="1580"/>
                    </a:lnTo>
                    <a:lnTo>
                      <a:pt x="311" y="1609"/>
                    </a:lnTo>
                    <a:lnTo>
                      <a:pt x="316" y="1646"/>
                    </a:lnTo>
                    <a:lnTo>
                      <a:pt x="316" y="1713"/>
                    </a:lnTo>
                    <a:lnTo>
                      <a:pt x="237" y="1713"/>
                    </a:lnTo>
                    <a:lnTo>
                      <a:pt x="237" y="1696"/>
                    </a:lnTo>
                    <a:lnTo>
                      <a:pt x="224" y="1696"/>
                    </a:lnTo>
                    <a:lnTo>
                      <a:pt x="199" y="1700"/>
                    </a:lnTo>
                    <a:lnTo>
                      <a:pt x="183" y="1709"/>
                    </a:lnTo>
                    <a:lnTo>
                      <a:pt x="179" y="1713"/>
                    </a:lnTo>
                    <a:lnTo>
                      <a:pt x="170" y="1717"/>
                    </a:lnTo>
                    <a:lnTo>
                      <a:pt x="92" y="1717"/>
                    </a:lnTo>
                    <a:lnTo>
                      <a:pt x="38" y="1717"/>
                    </a:lnTo>
                    <a:lnTo>
                      <a:pt x="17" y="1717"/>
                    </a:lnTo>
                    <a:lnTo>
                      <a:pt x="9" y="1713"/>
                    </a:lnTo>
                    <a:lnTo>
                      <a:pt x="4" y="1709"/>
                    </a:lnTo>
                    <a:lnTo>
                      <a:pt x="0" y="1696"/>
                    </a:lnTo>
                    <a:lnTo>
                      <a:pt x="4" y="1684"/>
                    </a:lnTo>
                    <a:lnTo>
                      <a:pt x="9" y="1680"/>
                    </a:lnTo>
                    <a:lnTo>
                      <a:pt x="29" y="1675"/>
                    </a:lnTo>
                    <a:lnTo>
                      <a:pt x="58" y="1671"/>
                    </a:lnTo>
                    <a:lnTo>
                      <a:pt x="75" y="1667"/>
                    </a:lnTo>
                    <a:lnTo>
                      <a:pt x="104" y="1659"/>
                    </a:lnTo>
                    <a:lnTo>
                      <a:pt x="125" y="1646"/>
                    </a:lnTo>
                    <a:lnTo>
                      <a:pt x="133" y="1638"/>
                    </a:lnTo>
                    <a:lnTo>
                      <a:pt x="137" y="1630"/>
                    </a:lnTo>
                    <a:lnTo>
                      <a:pt x="137" y="1609"/>
                    </a:lnTo>
                    <a:lnTo>
                      <a:pt x="137" y="1588"/>
                    </a:lnTo>
                    <a:lnTo>
                      <a:pt x="133" y="1572"/>
                    </a:lnTo>
                    <a:lnTo>
                      <a:pt x="129" y="1480"/>
                    </a:lnTo>
                    <a:lnTo>
                      <a:pt x="125" y="1431"/>
                    </a:lnTo>
                    <a:lnTo>
                      <a:pt x="116" y="1406"/>
                    </a:lnTo>
                    <a:lnTo>
                      <a:pt x="108" y="1389"/>
                    </a:lnTo>
                    <a:lnTo>
                      <a:pt x="108" y="1381"/>
                    </a:lnTo>
                    <a:lnTo>
                      <a:pt x="104" y="1369"/>
                    </a:lnTo>
                    <a:lnTo>
                      <a:pt x="100" y="1335"/>
                    </a:lnTo>
                    <a:lnTo>
                      <a:pt x="100" y="1269"/>
                    </a:lnTo>
                    <a:lnTo>
                      <a:pt x="96" y="1232"/>
                    </a:lnTo>
                    <a:lnTo>
                      <a:pt x="96" y="1207"/>
                    </a:lnTo>
                    <a:lnTo>
                      <a:pt x="92" y="1132"/>
                    </a:lnTo>
                    <a:lnTo>
                      <a:pt x="92" y="1066"/>
                    </a:lnTo>
                    <a:lnTo>
                      <a:pt x="92" y="1033"/>
                    </a:lnTo>
                    <a:lnTo>
                      <a:pt x="96" y="995"/>
                    </a:lnTo>
                    <a:lnTo>
                      <a:pt x="100" y="970"/>
                    </a:lnTo>
                    <a:lnTo>
                      <a:pt x="100" y="954"/>
                    </a:lnTo>
                    <a:lnTo>
                      <a:pt x="96" y="945"/>
                    </a:lnTo>
                    <a:lnTo>
                      <a:pt x="87" y="937"/>
                    </a:lnTo>
                    <a:lnTo>
                      <a:pt x="79" y="933"/>
                    </a:lnTo>
                    <a:lnTo>
                      <a:pt x="87" y="871"/>
                    </a:lnTo>
                    <a:lnTo>
                      <a:pt x="100" y="821"/>
                    </a:lnTo>
                    <a:lnTo>
                      <a:pt x="112" y="775"/>
                    </a:lnTo>
                    <a:lnTo>
                      <a:pt x="116" y="759"/>
                    </a:lnTo>
                    <a:lnTo>
                      <a:pt x="121" y="738"/>
                    </a:lnTo>
                    <a:lnTo>
                      <a:pt x="125" y="697"/>
                    </a:lnTo>
                    <a:lnTo>
                      <a:pt x="125" y="643"/>
                    </a:lnTo>
                    <a:lnTo>
                      <a:pt x="129" y="572"/>
                    </a:lnTo>
                    <a:lnTo>
                      <a:pt x="112" y="493"/>
                    </a:lnTo>
                    <a:lnTo>
                      <a:pt x="100" y="406"/>
                    </a:lnTo>
                    <a:lnTo>
                      <a:pt x="104" y="398"/>
                    </a:lnTo>
                    <a:lnTo>
                      <a:pt x="112" y="386"/>
                    </a:lnTo>
                    <a:lnTo>
                      <a:pt x="146" y="348"/>
                    </a:lnTo>
                    <a:lnTo>
                      <a:pt x="187" y="298"/>
                    </a:lnTo>
                    <a:lnTo>
                      <a:pt x="179" y="265"/>
                    </a:lnTo>
                    <a:lnTo>
                      <a:pt x="170" y="245"/>
                    </a:lnTo>
                    <a:lnTo>
                      <a:pt x="166" y="236"/>
                    </a:lnTo>
                    <a:lnTo>
                      <a:pt x="150" y="240"/>
                    </a:lnTo>
                    <a:lnTo>
                      <a:pt x="141" y="240"/>
                    </a:lnTo>
                    <a:lnTo>
                      <a:pt x="133" y="240"/>
                    </a:lnTo>
                    <a:lnTo>
                      <a:pt x="129" y="232"/>
                    </a:lnTo>
                    <a:lnTo>
                      <a:pt x="108" y="199"/>
                    </a:lnTo>
                    <a:lnTo>
                      <a:pt x="96" y="166"/>
                    </a:lnTo>
                    <a:lnTo>
                      <a:pt x="92" y="157"/>
                    </a:lnTo>
                    <a:lnTo>
                      <a:pt x="92" y="137"/>
                    </a:lnTo>
                    <a:lnTo>
                      <a:pt x="87" y="128"/>
                    </a:lnTo>
                    <a:lnTo>
                      <a:pt x="87" y="124"/>
                    </a:lnTo>
                    <a:lnTo>
                      <a:pt x="79" y="116"/>
                    </a:lnTo>
                    <a:lnTo>
                      <a:pt x="79" y="91"/>
                    </a:lnTo>
                    <a:lnTo>
                      <a:pt x="79" y="70"/>
                    </a:lnTo>
                    <a:lnTo>
                      <a:pt x="79" y="58"/>
                    </a:lnTo>
                    <a:lnTo>
                      <a:pt x="87" y="41"/>
                    </a:lnTo>
                    <a:lnTo>
                      <a:pt x="87" y="37"/>
                    </a:lnTo>
                    <a:lnTo>
                      <a:pt x="92" y="25"/>
                    </a:lnTo>
                    <a:lnTo>
                      <a:pt x="96" y="21"/>
                    </a:lnTo>
                    <a:lnTo>
                      <a:pt x="104" y="12"/>
                    </a:lnTo>
                    <a:lnTo>
                      <a:pt x="112" y="8"/>
                    </a:lnTo>
                    <a:lnTo>
                      <a:pt x="129" y="4"/>
                    </a:lnTo>
                    <a:lnTo>
                      <a:pt x="154" y="0"/>
                    </a:lnTo>
                    <a:lnTo>
                      <a:pt x="191" y="0"/>
                    </a:lnTo>
                    <a:lnTo>
                      <a:pt x="208" y="0"/>
                    </a:lnTo>
                    <a:lnTo>
                      <a:pt x="224" y="8"/>
                    </a:lnTo>
                    <a:lnTo>
                      <a:pt x="237" y="16"/>
                    </a:lnTo>
                    <a:lnTo>
                      <a:pt x="249" y="33"/>
                    </a:lnTo>
                    <a:lnTo>
                      <a:pt x="262" y="62"/>
                    </a:lnTo>
                    <a:lnTo>
                      <a:pt x="270" y="91"/>
                    </a:lnTo>
                    <a:lnTo>
                      <a:pt x="274" y="112"/>
                    </a:lnTo>
                    <a:lnTo>
                      <a:pt x="270" y="124"/>
                    </a:lnTo>
                    <a:lnTo>
                      <a:pt x="266" y="137"/>
                    </a:lnTo>
                    <a:lnTo>
                      <a:pt x="262" y="157"/>
                    </a:lnTo>
                    <a:lnTo>
                      <a:pt x="262" y="178"/>
                    </a:lnTo>
                    <a:lnTo>
                      <a:pt x="266" y="186"/>
                    </a:lnTo>
                    <a:lnTo>
                      <a:pt x="274" y="195"/>
                    </a:lnTo>
                    <a:lnTo>
                      <a:pt x="287" y="203"/>
                    </a:lnTo>
                    <a:lnTo>
                      <a:pt x="299" y="211"/>
                    </a:lnTo>
                    <a:lnTo>
                      <a:pt x="311" y="220"/>
                    </a:lnTo>
                    <a:lnTo>
                      <a:pt x="361" y="228"/>
                    </a:lnTo>
                    <a:lnTo>
                      <a:pt x="382" y="232"/>
                    </a:lnTo>
                    <a:lnTo>
                      <a:pt x="399" y="236"/>
                    </a:lnTo>
                    <a:lnTo>
                      <a:pt x="415" y="249"/>
                    </a:lnTo>
                    <a:lnTo>
                      <a:pt x="428" y="269"/>
                    </a:lnTo>
                    <a:lnTo>
                      <a:pt x="440" y="294"/>
                    </a:lnTo>
                    <a:lnTo>
                      <a:pt x="452" y="319"/>
                    </a:lnTo>
                    <a:lnTo>
                      <a:pt x="457" y="340"/>
                    </a:lnTo>
                    <a:lnTo>
                      <a:pt x="461" y="365"/>
                    </a:lnTo>
                    <a:lnTo>
                      <a:pt x="469" y="402"/>
                    </a:lnTo>
                    <a:lnTo>
                      <a:pt x="486" y="448"/>
                    </a:lnTo>
                    <a:lnTo>
                      <a:pt x="498" y="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62" name="Freeform 813"/>
              <p:cNvSpPr>
                <a:spLocks/>
              </p:cNvSpPr>
              <p:nvPr/>
            </p:nvSpPr>
            <p:spPr bwMode="auto">
              <a:xfrm>
                <a:off x="1660525" y="3389313"/>
                <a:ext cx="177800" cy="376238"/>
              </a:xfrm>
              <a:custGeom>
                <a:avLst/>
                <a:gdLst>
                  <a:gd name="T0" fmla="*/ 0 w 112"/>
                  <a:gd name="T1" fmla="*/ 2147483647 h 237"/>
                  <a:gd name="T2" fmla="*/ 0 w 112"/>
                  <a:gd name="T3" fmla="*/ 2147483647 h 237"/>
                  <a:gd name="T4" fmla="*/ 2147483647 w 112"/>
                  <a:gd name="T5" fmla="*/ 2147483647 h 237"/>
                  <a:gd name="T6" fmla="*/ 0 w 112"/>
                  <a:gd name="T7" fmla="*/ 2147483647 h 237"/>
                  <a:gd name="T8" fmla="*/ 0 w 112"/>
                  <a:gd name="T9" fmla="*/ 2147483647 h 237"/>
                  <a:gd name="T10" fmla="*/ 0 w 112"/>
                  <a:gd name="T11" fmla="*/ 2147483647 h 237"/>
                  <a:gd name="T12" fmla="*/ 2147483647 w 112"/>
                  <a:gd name="T13" fmla="*/ 2147483647 h 237"/>
                  <a:gd name="T14" fmla="*/ 2147483647 w 112"/>
                  <a:gd name="T15" fmla="*/ 2147483647 h 237"/>
                  <a:gd name="T16" fmla="*/ 2147483647 w 112"/>
                  <a:gd name="T17" fmla="*/ 2147483647 h 237"/>
                  <a:gd name="T18" fmla="*/ 2147483647 w 112"/>
                  <a:gd name="T19" fmla="*/ 2147483647 h 237"/>
                  <a:gd name="T20" fmla="*/ 2147483647 w 112"/>
                  <a:gd name="T21" fmla="*/ 0 h 237"/>
                  <a:gd name="T22" fmla="*/ 2147483647 w 112"/>
                  <a:gd name="T23" fmla="*/ 0 h 237"/>
                  <a:gd name="T24" fmla="*/ 2147483647 w 112"/>
                  <a:gd name="T25" fmla="*/ 2147483647 h 237"/>
                  <a:gd name="T26" fmla="*/ 2147483647 w 112"/>
                  <a:gd name="T27" fmla="*/ 2147483647 h 237"/>
                  <a:gd name="T28" fmla="*/ 2147483647 w 112"/>
                  <a:gd name="T29" fmla="*/ 2147483647 h 237"/>
                  <a:gd name="T30" fmla="*/ 2147483647 w 112"/>
                  <a:gd name="T31" fmla="*/ 2147483647 h 237"/>
                  <a:gd name="T32" fmla="*/ 2147483647 w 112"/>
                  <a:gd name="T33" fmla="*/ 2147483647 h 237"/>
                  <a:gd name="T34" fmla="*/ 2147483647 w 112"/>
                  <a:gd name="T35" fmla="*/ 2147483647 h 237"/>
                  <a:gd name="T36" fmla="*/ 0 w 112"/>
                  <a:gd name="T37" fmla="*/ 2147483647 h 237"/>
                  <a:gd name="T38" fmla="*/ 0 w 112"/>
                  <a:gd name="T39" fmla="*/ 2147483647 h 2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237"/>
                  <a:gd name="T62" fmla="*/ 112 w 112"/>
                  <a:gd name="T63" fmla="*/ 237 h 2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237">
                    <a:moveTo>
                      <a:pt x="0" y="71"/>
                    </a:moveTo>
                    <a:lnTo>
                      <a:pt x="0" y="71"/>
                    </a:lnTo>
                    <a:lnTo>
                      <a:pt x="4" y="112"/>
                    </a:lnTo>
                    <a:lnTo>
                      <a:pt x="0" y="166"/>
                    </a:lnTo>
                    <a:lnTo>
                      <a:pt x="0" y="237"/>
                    </a:lnTo>
                    <a:lnTo>
                      <a:pt x="42" y="141"/>
                    </a:lnTo>
                    <a:lnTo>
                      <a:pt x="79" y="67"/>
                    </a:lnTo>
                    <a:lnTo>
                      <a:pt x="96" y="34"/>
                    </a:lnTo>
                    <a:lnTo>
                      <a:pt x="112" y="17"/>
                    </a:lnTo>
                    <a:lnTo>
                      <a:pt x="104" y="0"/>
                    </a:lnTo>
                    <a:lnTo>
                      <a:pt x="67" y="34"/>
                    </a:lnTo>
                    <a:lnTo>
                      <a:pt x="42" y="54"/>
                    </a:lnTo>
                    <a:lnTo>
                      <a:pt x="25" y="67"/>
                    </a:lnTo>
                    <a:lnTo>
                      <a:pt x="17" y="67"/>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63" name="Freeform 817"/>
              <p:cNvSpPr>
                <a:spLocks/>
              </p:cNvSpPr>
              <p:nvPr/>
            </p:nvSpPr>
            <p:spPr bwMode="auto">
              <a:xfrm>
                <a:off x="1641475" y="3502026"/>
                <a:ext cx="92075" cy="282575"/>
              </a:xfrm>
              <a:custGeom>
                <a:avLst/>
                <a:gdLst>
                  <a:gd name="T0" fmla="*/ 2147483647 w 58"/>
                  <a:gd name="T1" fmla="*/ 0 h 178"/>
                  <a:gd name="T2" fmla="*/ 2147483647 w 58"/>
                  <a:gd name="T3" fmla="*/ 2147483647 h 178"/>
                  <a:gd name="T4" fmla="*/ 2147483647 w 58"/>
                  <a:gd name="T5" fmla="*/ 2147483647 h 178"/>
                  <a:gd name="T6" fmla="*/ 0 w 58"/>
                  <a:gd name="T7" fmla="*/ 2147483647 h 178"/>
                  <a:gd name="T8" fmla="*/ 2147483647 w 58"/>
                  <a:gd name="T9" fmla="*/ 2147483647 h 178"/>
                  <a:gd name="T10" fmla="*/ 2147483647 w 58"/>
                  <a:gd name="T11" fmla="*/ 2147483647 h 178"/>
                  <a:gd name="T12" fmla="*/ 2147483647 w 58"/>
                  <a:gd name="T13" fmla="*/ 2147483647 h 178"/>
                  <a:gd name="T14" fmla="*/ 2147483647 w 58"/>
                  <a:gd name="T15" fmla="*/ 2147483647 h 178"/>
                  <a:gd name="T16" fmla="*/ 2147483647 w 58"/>
                  <a:gd name="T17" fmla="*/ 2147483647 h 178"/>
                  <a:gd name="T18" fmla="*/ 2147483647 w 58"/>
                  <a:gd name="T19" fmla="*/ 0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178"/>
                  <a:gd name="T32" fmla="*/ 58 w 5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178">
                    <a:moveTo>
                      <a:pt x="33" y="0"/>
                    </a:moveTo>
                    <a:lnTo>
                      <a:pt x="21" y="29"/>
                    </a:lnTo>
                    <a:lnTo>
                      <a:pt x="29" y="45"/>
                    </a:lnTo>
                    <a:lnTo>
                      <a:pt x="0" y="133"/>
                    </a:lnTo>
                    <a:lnTo>
                      <a:pt x="12" y="178"/>
                    </a:lnTo>
                    <a:lnTo>
                      <a:pt x="21" y="170"/>
                    </a:lnTo>
                    <a:lnTo>
                      <a:pt x="58" y="79"/>
                    </a:lnTo>
                    <a:lnTo>
                      <a:pt x="33" y="45"/>
                    </a:lnTo>
                    <a:lnTo>
                      <a:pt x="41" y="33"/>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grpSp>
        <p:nvGrpSpPr>
          <p:cNvPr id="64" name="Group 165"/>
          <p:cNvGrpSpPr>
            <a:grpSpLocks/>
          </p:cNvGrpSpPr>
          <p:nvPr/>
        </p:nvGrpSpPr>
        <p:grpSpPr bwMode="auto">
          <a:xfrm>
            <a:off x="1391835" y="1571036"/>
            <a:ext cx="182665" cy="499666"/>
            <a:chOff x="-39797" y="1590244"/>
            <a:chExt cx="825079" cy="2412051"/>
          </a:xfrm>
          <a:solidFill>
            <a:schemeClr val="bg1"/>
          </a:solidFill>
        </p:grpSpPr>
        <p:sp>
          <p:nvSpPr>
            <p:cNvPr id="65" name="Freeform 1578"/>
            <p:cNvSpPr>
              <a:spLocks/>
            </p:cNvSpPr>
            <p:nvPr/>
          </p:nvSpPr>
          <p:spPr bwMode="auto">
            <a:xfrm>
              <a:off x="348692" y="3725502"/>
              <a:ext cx="403291" cy="193754"/>
            </a:xfrm>
            <a:custGeom>
              <a:avLst/>
              <a:gdLst>
                <a:gd name="T0" fmla="*/ 2147483647 w 470"/>
                <a:gd name="T1" fmla="*/ 0 h 225"/>
                <a:gd name="T2" fmla="*/ 2147483647 w 470"/>
                <a:gd name="T3" fmla="*/ 0 h 225"/>
                <a:gd name="T4" fmla="*/ 0 w 470"/>
                <a:gd name="T5" fmla="*/ 2147483647 h 225"/>
                <a:gd name="T6" fmla="*/ 0 w 470"/>
                <a:gd name="T7" fmla="*/ 2147483647 h 225"/>
                <a:gd name="T8" fmla="*/ 0 w 470"/>
                <a:gd name="T9" fmla="*/ 2147483647 h 225"/>
                <a:gd name="T10" fmla="*/ 0 w 470"/>
                <a:gd name="T11" fmla="*/ 2147483647 h 225"/>
                <a:gd name="T12" fmla="*/ 2147483647 w 470"/>
                <a:gd name="T13" fmla="*/ 2147483647 h 225"/>
                <a:gd name="T14" fmla="*/ 2147483647 w 470"/>
                <a:gd name="T15" fmla="*/ 2147483647 h 225"/>
                <a:gd name="T16" fmla="*/ 2147483647 w 470"/>
                <a:gd name="T17" fmla="*/ 2147483647 h 225"/>
                <a:gd name="T18" fmla="*/ 2147483647 w 470"/>
                <a:gd name="T19" fmla="*/ 2147483647 h 225"/>
                <a:gd name="T20" fmla="*/ 2147483647 w 470"/>
                <a:gd name="T21" fmla="*/ 2147483647 h 225"/>
                <a:gd name="T22" fmla="*/ 2147483647 w 470"/>
                <a:gd name="T23" fmla="*/ 2147483647 h 225"/>
                <a:gd name="T24" fmla="*/ 2147483647 w 470"/>
                <a:gd name="T25" fmla="*/ 2147483647 h 225"/>
                <a:gd name="T26" fmla="*/ 2147483647 w 470"/>
                <a:gd name="T27" fmla="*/ 2147483647 h 225"/>
                <a:gd name="T28" fmla="*/ 2147483647 w 470"/>
                <a:gd name="T29" fmla="*/ 2147483647 h 225"/>
                <a:gd name="T30" fmla="*/ 2147483647 w 470"/>
                <a:gd name="T31" fmla="*/ 2147483647 h 225"/>
                <a:gd name="T32" fmla="*/ 2147483647 w 470"/>
                <a:gd name="T33" fmla="*/ 2147483647 h 225"/>
                <a:gd name="T34" fmla="*/ 2147483647 w 470"/>
                <a:gd name="T35" fmla="*/ 2147483647 h 225"/>
                <a:gd name="T36" fmla="*/ 2147483647 w 470"/>
                <a:gd name="T37" fmla="*/ 2147483647 h 225"/>
                <a:gd name="T38" fmla="*/ 2147483647 w 470"/>
                <a:gd name="T39" fmla="*/ 2147483647 h 225"/>
                <a:gd name="T40" fmla="*/ 2147483647 w 470"/>
                <a:gd name="T41" fmla="*/ 2147483647 h 225"/>
                <a:gd name="T42" fmla="*/ 2147483647 w 470"/>
                <a:gd name="T43" fmla="*/ 2147483647 h 225"/>
                <a:gd name="T44" fmla="*/ 2147483647 w 470"/>
                <a:gd name="T45" fmla="*/ 2147483647 h 225"/>
                <a:gd name="T46" fmla="*/ 2147483647 w 470"/>
                <a:gd name="T47" fmla="*/ 2147483647 h 225"/>
                <a:gd name="T48" fmla="*/ 2147483647 w 470"/>
                <a:gd name="T49" fmla="*/ 2147483647 h 225"/>
                <a:gd name="T50" fmla="*/ 2147483647 w 470"/>
                <a:gd name="T51" fmla="*/ 2147483647 h 225"/>
                <a:gd name="T52" fmla="*/ 2147483647 w 470"/>
                <a:gd name="T53" fmla="*/ 2147483647 h 225"/>
                <a:gd name="T54" fmla="*/ 2147483647 w 470"/>
                <a:gd name="T55" fmla="*/ 2147483647 h 225"/>
                <a:gd name="T56" fmla="*/ 2147483647 w 470"/>
                <a:gd name="T57" fmla="*/ 2147483647 h 225"/>
                <a:gd name="T58" fmla="*/ 2147483647 w 470"/>
                <a:gd name="T59" fmla="*/ 2147483647 h 225"/>
                <a:gd name="T60" fmla="*/ 2147483647 w 470"/>
                <a:gd name="T61" fmla="*/ 2147483647 h 225"/>
                <a:gd name="T62" fmla="*/ 2147483647 w 470"/>
                <a:gd name="T63" fmla="*/ 2147483647 h 225"/>
                <a:gd name="T64" fmla="*/ 2147483647 w 470"/>
                <a:gd name="T65" fmla="*/ 2147483647 h 225"/>
                <a:gd name="T66" fmla="*/ 2147483647 w 470"/>
                <a:gd name="T67" fmla="*/ 2147483647 h 225"/>
                <a:gd name="T68" fmla="*/ 2147483647 w 470"/>
                <a:gd name="T69" fmla="*/ 2147483647 h 225"/>
                <a:gd name="T70" fmla="*/ 2147483647 w 470"/>
                <a:gd name="T71" fmla="*/ 2147483647 h 225"/>
                <a:gd name="T72" fmla="*/ 2147483647 w 470"/>
                <a:gd name="T73" fmla="*/ 2147483647 h 225"/>
                <a:gd name="T74" fmla="*/ 2147483647 w 470"/>
                <a:gd name="T75" fmla="*/ 2147483647 h 225"/>
                <a:gd name="T76" fmla="*/ 2147483647 w 470"/>
                <a:gd name="T77" fmla="*/ 2147483647 h 225"/>
                <a:gd name="T78" fmla="*/ 2147483647 w 470"/>
                <a:gd name="T79" fmla="*/ 2147483647 h 225"/>
                <a:gd name="T80" fmla="*/ 2147483647 w 470"/>
                <a:gd name="T81" fmla="*/ 2147483647 h 225"/>
                <a:gd name="T82" fmla="*/ 2147483647 w 470"/>
                <a:gd name="T83" fmla="*/ 2147483647 h 225"/>
                <a:gd name="T84" fmla="*/ 2147483647 w 470"/>
                <a:gd name="T85" fmla="*/ 2147483647 h 225"/>
                <a:gd name="T86" fmla="*/ 2147483647 w 470"/>
                <a:gd name="T87" fmla="*/ 2147483647 h 225"/>
                <a:gd name="T88" fmla="*/ 2147483647 w 470"/>
                <a:gd name="T89" fmla="*/ 2147483647 h 225"/>
                <a:gd name="T90" fmla="*/ 2147483647 w 470"/>
                <a:gd name="T91" fmla="*/ 0 h 225"/>
                <a:gd name="T92" fmla="*/ 2147483647 w 470"/>
                <a:gd name="T93" fmla="*/ 0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0"/>
                <a:gd name="T142" fmla="*/ 0 h 225"/>
                <a:gd name="T143" fmla="*/ 470 w 470"/>
                <a:gd name="T144" fmla="*/ 225 h 22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0" h="225">
                  <a:moveTo>
                    <a:pt x="16" y="0"/>
                  </a:moveTo>
                  <a:lnTo>
                    <a:pt x="16" y="0"/>
                  </a:lnTo>
                  <a:lnTo>
                    <a:pt x="0" y="77"/>
                  </a:lnTo>
                  <a:lnTo>
                    <a:pt x="0" y="115"/>
                  </a:lnTo>
                  <a:lnTo>
                    <a:pt x="0" y="126"/>
                  </a:lnTo>
                  <a:lnTo>
                    <a:pt x="0" y="137"/>
                  </a:lnTo>
                  <a:lnTo>
                    <a:pt x="5" y="186"/>
                  </a:lnTo>
                  <a:lnTo>
                    <a:pt x="5" y="197"/>
                  </a:lnTo>
                  <a:lnTo>
                    <a:pt x="11" y="203"/>
                  </a:lnTo>
                  <a:lnTo>
                    <a:pt x="16" y="208"/>
                  </a:lnTo>
                  <a:lnTo>
                    <a:pt x="22" y="208"/>
                  </a:lnTo>
                  <a:lnTo>
                    <a:pt x="93" y="214"/>
                  </a:lnTo>
                  <a:lnTo>
                    <a:pt x="126" y="208"/>
                  </a:lnTo>
                  <a:lnTo>
                    <a:pt x="142" y="203"/>
                  </a:lnTo>
                  <a:lnTo>
                    <a:pt x="147" y="197"/>
                  </a:lnTo>
                  <a:lnTo>
                    <a:pt x="147" y="186"/>
                  </a:lnTo>
                  <a:lnTo>
                    <a:pt x="202" y="203"/>
                  </a:lnTo>
                  <a:lnTo>
                    <a:pt x="246" y="219"/>
                  </a:lnTo>
                  <a:lnTo>
                    <a:pt x="284" y="225"/>
                  </a:lnTo>
                  <a:lnTo>
                    <a:pt x="361" y="225"/>
                  </a:lnTo>
                  <a:lnTo>
                    <a:pt x="421" y="225"/>
                  </a:lnTo>
                  <a:lnTo>
                    <a:pt x="470" y="214"/>
                  </a:lnTo>
                  <a:lnTo>
                    <a:pt x="470" y="208"/>
                  </a:lnTo>
                  <a:lnTo>
                    <a:pt x="465" y="192"/>
                  </a:lnTo>
                  <a:lnTo>
                    <a:pt x="454" y="181"/>
                  </a:lnTo>
                  <a:lnTo>
                    <a:pt x="437" y="170"/>
                  </a:lnTo>
                  <a:lnTo>
                    <a:pt x="415" y="159"/>
                  </a:lnTo>
                  <a:lnTo>
                    <a:pt x="388" y="153"/>
                  </a:lnTo>
                  <a:lnTo>
                    <a:pt x="312" y="137"/>
                  </a:lnTo>
                  <a:lnTo>
                    <a:pt x="301" y="132"/>
                  </a:lnTo>
                  <a:lnTo>
                    <a:pt x="284" y="121"/>
                  </a:lnTo>
                  <a:lnTo>
                    <a:pt x="246" y="82"/>
                  </a:lnTo>
                  <a:lnTo>
                    <a:pt x="229" y="39"/>
                  </a:lnTo>
                  <a:lnTo>
                    <a:pt x="175" y="39"/>
                  </a:lnTo>
                  <a:lnTo>
                    <a:pt x="120" y="33"/>
                  </a:lnTo>
                  <a:lnTo>
                    <a:pt x="71" y="22"/>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66" name="Freeform 1579"/>
            <p:cNvSpPr>
              <a:spLocks/>
            </p:cNvSpPr>
            <p:nvPr/>
          </p:nvSpPr>
          <p:spPr bwMode="auto">
            <a:xfrm>
              <a:off x="180624" y="1829561"/>
              <a:ext cx="154381" cy="155257"/>
            </a:xfrm>
            <a:custGeom>
              <a:avLst/>
              <a:gdLst>
                <a:gd name="T0" fmla="*/ 2147483647 w 180"/>
                <a:gd name="T1" fmla="*/ 0 h 181"/>
                <a:gd name="T2" fmla="*/ 2147483647 w 180"/>
                <a:gd name="T3" fmla="*/ 0 h 181"/>
                <a:gd name="T4" fmla="*/ 0 w 180"/>
                <a:gd name="T5" fmla="*/ 2147483647 h 181"/>
                <a:gd name="T6" fmla="*/ 0 w 180"/>
                <a:gd name="T7" fmla="*/ 2147483647 h 181"/>
                <a:gd name="T8" fmla="*/ 2147483647 w 180"/>
                <a:gd name="T9" fmla="*/ 2147483647 h 181"/>
                <a:gd name="T10" fmla="*/ 2147483647 w 180"/>
                <a:gd name="T11" fmla="*/ 2147483647 h 181"/>
                <a:gd name="T12" fmla="*/ 2147483647 w 180"/>
                <a:gd name="T13" fmla="*/ 2147483647 h 181"/>
                <a:gd name="T14" fmla="*/ 2147483647 w 180"/>
                <a:gd name="T15" fmla="*/ 2147483647 h 181"/>
                <a:gd name="T16" fmla="*/ 2147483647 w 180"/>
                <a:gd name="T17" fmla="*/ 2147483647 h 181"/>
                <a:gd name="T18" fmla="*/ 2147483647 w 180"/>
                <a:gd name="T19" fmla="*/ 2147483647 h 181"/>
                <a:gd name="T20" fmla="*/ 2147483647 w 180"/>
                <a:gd name="T21" fmla="*/ 2147483647 h 181"/>
                <a:gd name="T22" fmla="*/ 2147483647 w 180"/>
                <a:gd name="T23" fmla="*/ 2147483647 h 181"/>
                <a:gd name="T24" fmla="*/ 2147483647 w 180"/>
                <a:gd name="T25" fmla="*/ 2147483647 h 181"/>
                <a:gd name="T26" fmla="*/ 2147483647 w 180"/>
                <a:gd name="T27" fmla="*/ 2147483647 h 181"/>
                <a:gd name="T28" fmla="*/ 2147483647 w 180"/>
                <a:gd name="T29" fmla="*/ 2147483647 h 181"/>
                <a:gd name="T30" fmla="*/ 2147483647 w 180"/>
                <a:gd name="T31" fmla="*/ 0 h 181"/>
                <a:gd name="T32" fmla="*/ 2147483647 w 180"/>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0"/>
                <a:gd name="T52" fmla="*/ 0 h 181"/>
                <a:gd name="T53" fmla="*/ 180 w 180"/>
                <a:gd name="T54" fmla="*/ 181 h 1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0" h="181">
                  <a:moveTo>
                    <a:pt x="22" y="0"/>
                  </a:moveTo>
                  <a:lnTo>
                    <a:pt x="22" y="0"/>
                  </a:lnTo>
                  <a:lnTo>
                    <a:pt x="0" y="49"/>
                  </a:lnTo>
                  <a:lnTo>
                    <a:pt x="44" y="109"/>
                  </a:lnTo>
                  <a:lnTo>
                    <a:pt x="82" y="153"/>
                  </a:lnTo>
                  <a:lnTo>
                    <a:pt x="109" y="181"/>
                  </a:lnTo>
                  <a:lnTo>
                    <a:pt x="120" y="181"/>
                  </a:lnTo>
                  <a:lnTo>
                    <a:pt x="137" y="175"/>
                  </a:lnTo>
                  <a:lnTo>
                    <a:pt x="158" y="153"/>
                  </a:lnTo>
                  <a:lnTo>
                    <a:pt x="180" y="115"/>
                  </a:lnTo>
                  <a:lnTo>
                    <a:pt x="76" y="27"/>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67" name="Freeform 1580"/>
            <p:cNvSpPr>
              <a:spLocks noEditPoints="1"/>
            </p:cNvSpPr>
            <p:nvPr/>
          </p:nvSpPr>
          <p:spPr bwMode="auto">
            <a:xfrm>
              <a:off x="-39797" y="1590244"/>
              <a:ext cx="825079" cy="2412051"/>
            </a:xfrm>
            <a:custGeom>
              <a:avLst/>
              <a:gdLst>
                <a:gd name="T0" fmla="*/ 2147483647 w 962"/>
                <a:gd name="T1" fmla="*/ 2147483647 h 2812"/>
                <a:gd name="T2" fmla="*/ 2147483647 w 962"/>
                <a:gd name="T3" fmla="*/ 2147483647 h 2812"/>
                <a:gd name="T4" fmla="*/ 2147483647 w 962"/>
                <a:gd name="T5" fmla="*/ 2147483647 h 2812"/>
                <a:gd name="T6" fmla="*/ 2147483647 w 962"/>
                <a:gd name="T7" fmla="*/ 2147483647 h 2812"/>
                <a:gd name="T8" fmla="*/ 2147483647 w 962"/>
                <a:gd name="T9" fmla="*/ 2147483647 h 2812"/>
                <a:gd name="T10" fmla="*/ 2147483647 w 962"/>
                <a:gd name="T11" fmla="*/ 2147483647 h 2812"/>
                <a:gd name="T12" fmla="*/ 2147483647 w 962"/>
                <a:gd name="T13" fmla="*/ 2147483647 h 2812"/>
                <a:gd name="T14" fmla="*/ 2147483647 w 962"/>
                <a:gd name="T15" fmla="*/ 2147483647 h 2812"/>
                <a:gd name="T16" fmla="*/ 2147483647 w 962"/>
                <a:gd name="T17" fmla="*/ 2147483647 h 2812"/>
                <a:gd name="T18" fmla="*/ 2147483647 w 962"/>
                <a:gd name="T19" fmla="*/ 2147483647 h 2812"/>
                <a:gd name="T20" fmla="*/ 2147483647 w 962"/>
                <a:gd name="T21" fmla="*/ 2147483647 h 2812"/>
                <a:gd name="T22" fmla="*/ 2147483647 w 962"/>
                <a:gd name="T23" fmla="*/ 2147483647 h 2812"/>
                <a:gd name="T24" fmla="*/ 2147483647 w 962"/>
                <a:gd name="T25" fmla="*/ 2147483647 h 2812"/>
                <a:gd name="T26" fmla="*/ 2147483647 w 962"/>
                <a:gd name="T27" fmla="*/ 2147483647 h 2812"/>
                <a:gd name="T28" fmla="*/ 2147483647 w 962"/>
                <a:gd name="T29" fmla="*/ 2147483647 h 2812"/>
                <a:gd name="T30" fmla="*/ 2147483647 w 962"/>
                <a:gd name="T31" fmla="*/ 2147483647 h 2812"/>
                <a:gd name="T32" fmla="*/ 2147483647 w 962"/>
                <a:gd name="T33" fmla="*/ 2147483647 h 2812"/>
                <a:gd name="T34" fmla="*/ 2147483647 w 962"/>
                <a:gd name="T35" fmla="*/ 2147483647 h 2812"/>
                <a:gd name="T36" fmla="*/ 2147483647 w 962"/>
                <a:gd name="T37" fmla="*/ 2147483647 h 2812"/>
                <a:gd name="T38" fmla="*/ 2147483647 w 962"/>
                <a:gd name="T39" fmla="*/ 2147483647 h 2812"/>
                <a:gd name="T40" fmla="*/ 2147483647 w 962"/>
                <a:gd name="T41" fmla="*/ 2147483647 h 2812"/>
                <a:gd name="T42" fmla="*/ 2147483647 w 962"/>
                <a:gd name="T43" fmla="*/ 2147483647 h 2812"/>
                <a:gd name="T44" fmla="*/ 2147483647 w 962"/>
                <a:gd name="T45" fmla="*/ 2147483647 h 2812"/>
                <a:gd name="T46" fmla="*/ 2147483647 w 962"/>
                <a:gd name="T47" fmla="*/ 2147483647 h 2812"/>
                <a:gd name="T48" fmla="*/ 2147483647 w 962"/>
                <a:gd name="T49" fmla="*/ 2147483647 h 2812"/>
                <a:gd name="T50" fmla="*/ 2147483647 w 962"/>
                <a:gd name="T51" fmla="*/ 2147483647 h 2812"/>
                <a:gd name="T52" fmla="*/ 2147483647 w 962"/>
                <a:gd name="T53" fmla="*/ 2147483647 h 2812"/>
                <a:gd name="T54" fmla="*/ 2147483647 w 962"/>
                <a:gd name="T55" fmla="*/ 2147483647 h 2812"/>
                <a:gd name="T56" fmla="*/ 2147483647 w 962"/>
                <a:gd name="T57" fmla="*/ 2147483647 h 2812"/>
                <a:gd name="T58" fmla="*/ 2147483647 w 962"/>
                <a:gd name="T59" fmla="*/ 2147483647 h 2812"/>
                <a:gd name="T60" fmla="*/ 2147483647 w 962"/>
                <a:gd name="T61" fmla="*/ 2147483647 h 2812"/>
                <a:gd name="T62" fmla="*/ 2147483647 w 962"/>
                <a:gd name="T63" fmla="*/ 2147483647 h 2812"/>
                <a:gd name="T64" fmla="*/ 2147483647 w 962"/>
                <a:gd name="T65" fmla="*/ 2147483647 h 2812"/>
                <a:gd name="T66" fmla="*/ 2147483647 w 962"/>
                <a:gd name="T67" fmla="*/ 2147483647 h 2812"/>
                <a:gd name="T68" fmla="*/ 2147483647 w 962"/>
                <a:gd name="T69" fmla="*/ 2147483647 h 2812"/>
                <a:gd name="T70" fmla="*/ 2147483647 w 962"/>
                <a:gd name="T71" fmla="*/ 2147483647 h 2812"/>
                <a:gd name="T72" fmla="*/ 2147483647 w 962"/>
                <a:gd name="T73" fmla="*/ 2147483647 h 2812"/>
                <a:gd name="T74" fmla="*/ 2147483647 w 962"/>
                <a:gd name="T75" fmla="*/ 2147483647 h 2812"/>
                <a:gd name="T76" fmla="*/ 2147483647 w 962"/>
                <a:gd name="T77" fmla="*/ 2147483647 h 2812"/>
                <a:gd name="T78" fmla="*/ 2147483647 w 962"/>
                <a:gd name="T79" fmla="*/ 2147483647 h 2812"/>
                <a:gd name="T80" fmla="*/ 2147483647 w 962"/>
                <a:gd name="T81" fmla="*/ 2147483647 h 2812"/>
                <a:gd name="T82" fmla="*/ 2147483647 w 962"/>
                <a:gd name="T83" fmla="*/ 2147483647 h 2812"/>
                <a:gd name="T84" fmla="*/ 2147483647 w 962"/>
                <a:gd name="T85" fmla="*/ 2147483647 h 2812"/>
                <a:gd name="T86" fmla="*/ 2147483647 w 962"/>
                <a:gd name="T87" fmla="*/ 2147483647 h 2812"/>
                <a:gd name="T88" fmla="*/ 2147483647 w 962"/>
                <a:gd name="T89" fmla="*/ 2147483647 h 2812"/>
                <a:gd name="T90" fmla="*/ 2147483647 w 962"/>
                <a:gd name="T91" fmla="*/ 2147483647 h 2812"/>
                <a:gd name="T92" fmla="*/ 2147483647 w 962"/>
                <a:gd name="T93" fmla="*/ 2147483647 h 2812"/>
                <a:gd name="T94" fmla="*/ 2147483647 w 962"/>
                <a:gd name="T95" fmla="*/ 2147483647 h 2812"/>
                <a:gd name="T96" fmla="*/ 2147483647 w 962"/>
                <a:gd name="T97" fmla="*/ 2147483647 h 2812"/>
                <a:gd name="T98" fmla="*/ 2147483647 w 962"/>
                <a:gd name="T99" fmla="*/ 2147483647 h 2812"/>
                <a:gd name="T100" fmla="*/ 2147483647 w 962"/>
                <a:gd name="T101" fmla="*/ 2147483647 h 2812"/>
                <a:gd name="T102" fmla="*/ 2147483647 w 962"/>
                <a:gd name="T103" fmla="*/ 2147483647 h 2812"/>
                <a:gd name="T104" fmla="*/ 2147483647 w 962"/>
                <a:gd name="T105" fmla="*/ 2147483647 h 2812"/>
                <a:gd name="T106" fmla="*/ 2147483647 w 962"/>
                <a:gd name="T107" fmla="*/ 2147483647 h 2812"/>
                <a:gd name="T108" fmla="*/ 2147483647 w 962"/>
                <a:gd name="T109" fmla="*/ 2147483647 h 2812"/>
                <a:gd name="T110" fmla="*/ 2147483647 w 962"/>
                <a:gd name="T111" fmla="*/ 2147483647 h 2812"/>
                <a:gd name="T112" fmla="*/ 2147483647 w 962"/>
                <a:gd name="T113" fmla="*/ 2147483647 h 2812"/>
                <a:gd name="T114" fmla="*/ 2147483647 w 962"/>
                <a:gd name="T115" fmla="*/ 2147483647 h 2812"/>
                <a:gd name="T116" fmla="*/ 2147483647 w 962"/>
                <a:gd name="T117" fmla="*/ 2147483647 h 2812"/>
                <a:gd name="T118" fmla="*/ 2147483647 w 962"/>
                <a:gd name="T119" fmla="*/ 2147483647 h 2812"/>
                <a:gd name="T120" fmla="*/ 2147483647 w 962"/>
                <a:gd name="T121" fmla="*/ 2147483647 h 2812"/>
                <a:gd name="T122" fmla="*/ 2147483647 w 962"/>
                <a:gd name="T123" fmla="*/ 2147483647 h 28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62"/>
                <a:gd name="T187" fmla="*/ 0 h 2812"/>
                <a:gd name="T188" fmla="*/ 962 w 962"/>
                <a:gd name="T189" fmla="*/ 2812 h 28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62" h="2812">
                  <a:moveTo>
                    <a:pt x="880" y="377"/>
                  </a:moveTo>
                  <a:lnTo>
                    <a:pt x="880" y="377"/>
                  </a:lnTo>
                  <a:lnTo>
                    <a:pt x="864" y="372"/>
                  </a:lnTo>
                  <a:lnTo>
                    <a:pt x="842" y="356"/>
                  </a:lnTo>
                  <a:lnTo>
                    <a:pt x="809" y="323"/>
                  </a:lnTo>
                  <a:lnTo>
                    <a:pt x="804" y="312"/>
                  </a:lnTo>
                  <a:lnTo>
                    <a:pt x="798" y="301"/>
                  </a:lnTo>
                  <a:lnTo>
                    <a:pt x="776" y="290"/>
                  </a:lnTo>
                  <a:lnTo>
                    <a:pt x="776" y="279"/>
                  </a:lnTo>
                  <a:lnTo>
                    <a:pt x="766" y="241"/>
                  </a:lnTo>
                  <a:lnTo>
                    <a:pt x="755" y="208"/>
                  </a:lnTo>
                  <a:lnTo>
                    <a:pt x="744" y="191"/>
                  </a:lnTo>
                  <a:lnTo>
                    <a:pt x="727" y="186"/>
                  </a:lnTo>
                  <a:lnTo>
                    <a:pt x="716" y="186"/>
                  </a:lnTo>
                  <a:lnTo>
                    <a:pt x="711" y="186"/>
                  </a:lnTo>
                  <a:lnTo>
                    <a:pt x="700" y="186"/>
                  </a:lnTo>
                  <a:lnTo>
                    <a:pt x="683" y="181"/>
                  </a:lnTo>
                  <a:lnTo>
                    <a:pt x="673" y="181"/>
                  </a:lnTo>
                  <a:lnTo>
                    <a:pt x="667" y="186"/>
                  </a:lnTo>
                  <a:lnTo>
                    <a:pt x="667" y="191"/>
                  </a:lnTo>
                  <a:lnTo>
                    <a:pt x="645" y="186"/>
                  </a:lnTo>
                  <a:lnTo>
                    <a:pt x="634" y="186"/>
                  </a:lnTo>
                  <a:lnTo>
                    <a:pt x="629" y="191"/>
                  </a:lnTo>
                  <a:lnTo>
                    <a:pt x="623" y="197"/>
                  </a:lnTo>
                  <a:lnTo>
                    <a:pt x="612" y="191"/>
                  </a:lnTo>
                  <a:lnTo>
                    <a:pt x="596" y="191"/>
                  </a:lnTo>
                  <a:lnTo>
                    <a:pt x="585" y="197"/>
                  </a:lnTo>
                  <a:lnTo>
                    <a:pt x="574" y="213"/>
                  </a:lnTo>
                  <a:lnTo>
                    <a:pt x="563" y="252"/>
                  </a:lnTo>
                  <a:lnTo>
                    <a:pt x="563" y="257"/>
                  </a:lnTo>
                  <a:lnTo>
                    <a:pt x="574" y="268"/>
                  </a:lnTo>
                  <a:lnTo>
                    <a:pt x="590" y="290"/>
                  </a:lnTo>
                  <a:lnTo>
                    <a:pt x="618" y="312"/>
                  </a:lnTo>
                  <a:lnTo>
                    <a:pt x="623" y="323"/>
                  </a:lnTo>
                  <a:lnTo>
                    <a:pt x="640" y="334"/>
                  </a:lnTo>
                  <a:lnTo>
                    <a:pt x="667" y="345"/>
                  </a:lnTo>
                  <a:lnTo>
                    <a:pt x="705" y="356"/>
                  </a:lnTo>
                  <a:lnTo>
                    <a:pt x="711" y="372"/>
                  </a:lnTo>
                  <a:lnTo>
                    <a:pt x="716" y="377"/>
                  </a:lnTo>
                  <a:lnTo>
                    <a:pt x="716" y="388"/>
                  </a:lnTo>
                  <a:lnTo>
                    <a:pt x="722" y="421"/>
                  </a:lnTo>
                  <a:lnTo>
                    <a:pt x="744" y="465"/>
                  </a:lnTo>
                  <a:lnTo>
                    <a:pt x="771" y="520"/>
                  </a:lnTo>
                  <a:lnTo>
                    <a:pt x="771" y="547"/>
                  </a:lnTo>
                  <a:lnTo>
                    <a:pt x="755" y="536"/>
                  </a:lnTo>
                  <a:lnTo>
                    <a:pt x="722" y="520"/>
                  </a:lnTo>
                  <a:lnTo>
                    <a:pt x="667" y="503"/>
                  </a:lnTo>
                  <a:lnTo>
                    <a:pt x="645" y="481"/>
                  </a:lnTo>
                  <a:lnTo>
                    <a:pt x="607" y="449"/>
                  </a:lnTo>
                  <a:lnTo>
                    <a:pt x="596" y="438"/>
                  </a:lnTo>
                  <a:lnTo>
                    <a:pt x="585" y="432"/>
                  </a:lnTo>
                  <a:lnTo>
                    <a:pt x="574" y="427"/>
                  </a:lnTo>
                  <a:lnTo>
                    <a:pt x="558" y="421"/>
                  </a:lnTo>
                  <a:lnTo>
                    <a:pt x="519" y="421"/>
                  </a:lnTo>
                  <a:lnTo>
                    <a:pt x="497" y="416"/>
                  </a:lnTo>
                  <a:lnTo>
                    <a:pt x="481" y="410"/>
                  </a:lnTo>
                  <a:lnTo>
                    <a:pt x="465" y="405"/>
                  </a:lnTo>
                  <a:lnTo>
                    <a:pt x="459" y="399"/>
                  </a:lnTo>
                  <a:lnTo>
                    <a:pt x="454" y="394"/>
                  </a:lnTo>
                  <a:lnTo>
                    <a:pt x="465" y="399"/>
                  </a:lnTo>
                  <a:lnTo>
                    <a:pt x="487" y="399"/>
                  </a:lnTo>
                  <a:lnTo>
                    <a:pt x="497" y="394"/>
                  </a:lnTo>
                  <a:lnTo>
                    <a:pt x="503" y="383"/>
                  </a:lnTo>
                  <a:lnTo>
                    <a:pt x="508" y="372"/>
                  </a:lnTo>
                  <a:lnTo>
                    <a:pt x="508" y="361"/>
                  </a:lnTo>
                  <a:lnTo>
                    <a:pt x="514" y="356"/>
                  </a:lnTo>
                  <a:lnTo>
                    <a:pt x="519" y="356"/>
                  </a:lnTo>
                  <a:lnTo>
                    <a:pt x="519" y="350"/>
                  </a:lnTo>
                  <a:lnTo>
                    <a:pt x="525" y="345"/>
                  </a:lnTo>
                  <a:lnTo>
                    <a:pt x="519" y="345"/>
                  </a:lnTo>
                  <a:lnTo>
                    <a:pt x="519" y="339"/>
                  </a:lnTo>
                  <a:lnTo>
                    <a:pt x="525" y="339"/>
                  </a:lnTo>
                  <a:lnTo>
                    <a:pt x="530" y="334"/>
                  </a:lnTo>
                  <a:lnTo>
                    <a:pt x="530" y="328"/>
                  </a:lnTo>
                  <a:lnTo>
                    <a:pt x="530" y="317"/>
                  </a:lnTo>
                  <a:lnTo>
                    <a:pt x="530" y="312"/>
                  </a:lnTo>
                  <a:lnTo>
                    <a:pt x="552" y="312"/>
                  </a:lnTo>
                  <a:lnTo>
                    <a:pt x="563" y="312"/>
                  </a:lnTo>
                  <a:lnTo>
                    <a:pt x="563" y="284"/>
                  </a:lnTo>
                  <a:lnTo>
                    <a:pt x="563" y="257"/>
                  </a:lnTo>
                  <a:lnTo>
                    <a:pt x="563" y="252"/>
                  </a:lnTo>
                  <a:lnTo>
                    <a:pt x="563" y="235"/>
                  </a:lnTo>
                  <a:lnTo>
                    <a:pt x="563" y="224"/>
                  </a:lnTo>
                  <a:lnTo>
                    <a:pt x="574" y="213"/>
                  </a:lnTo>
                  <a:lnTo>
                    <a:pt x="574" y="208"/>
                  </a:lnTo>
                  <a:lnTo>
                    <a:pt x="580" y="186"/>
                  </a:lnTo>
                  <a:lnTo>
                    <a:pt x="585" y="164"/>
                  </a:lnTo>
                  <a:lnTo>
                    <a:pt x="580" y="137"/>
                  </a:lnTo>
                  <a:lnTo>
                    <a:pt x="585" y="131"/>
                  </a:lnTo>
                  <a:lnTo>
                    <a:pt x="590" y="126"/>
                  </a:lnTo>
                  <a:lnTo>
                    <a:pt x="601" y="115"/>
                  </a:lnTo>
                  <a:lnTo>
                    <a:pt x="601" y="104"/>
                  </a:lnTo>
                  <a:lnTo>
                    <a:pt x="580" y="77"/>
                  </a:lnTo>
                  <a:lnTo>
                    <a:pt x="580" y="66"/>
                  </a:lnTo>
                  <a:lnTo>
                    <a:pt x="569" y="55"/>
                  </a:lnTo>
                  <a:lnTo>
                    <a:pt x="552" y="44"/>
                  </a:lnTo>
                  <a:lnTo>
                    <a:pt x="530" y="27"/>
                  </a:lnTo>
                  <a:lnTo>
                    <a:pt x="497" y="16"/>
                  </a:lnTo>
                  <a:lnTo>
                    <a:pt x="454" y="5"/>
                  </a:lnTo>
                  <a:lnTo>
                    <a:pt x="394" y="0"/>
                  </a:lnTo>
                  <a:lnTo>
                    <a:pt x="377" y="5"/>
                  </a:lnTo>
                  <a:lnTo>
                    <a:pt x="355" y="11"/>
                  </a:lnTo>
                  <a:lnTo>
                    <a:pt x="333" y="27"/>
                  </a:lnTo>
                  <a:lnTo>
                    <a:pt x="311" y="49"/>
                  </a:lnTo>
                  <a:lnTo>
                    <a:pt x="295" y="82"/>
                  </a:lnTo>
                  <a:lnTo>
                    <a:pt x="290" y="126"/>
                  </a:lnTo>
                  <a:lnTo>
                    <a:pt x="290" y="186"/>
                  </a:lnTo>
                  <a:lnTo>
                    <a:pt x="295" y="191"/>
                  </a:lnTo>
                  <a:lnTo>
                    <a:pt x="301" y="219"/>
                  </a:lnTo>
                  <a:lnTo>
                    <a:pt x="295" y="252"/>
                  </a:lnTo>
                  <a:lnTo>
                    <a:pt x="290" y="268"/>
                  </a:lnTo>
                  <a:lnTo>
                    <a:pt x="284" y="284"/>
                  </a:lnTo>
                  <a:lnTo>
                    <a:pt x="426" y="394"/>
                  </a:lnTo>
                  <a:lnTo>
                    <a:pt x="394" y="427"/>
                  </a:lnTo>
                  <a:lnTo>
                    <a:pt x="366" y="454"/>
                  </a:lnTo>
                  <a:lnTo>
                    <a:pt x="311" y="394"/>
                  </a:lnTo>
                  <a:lnTo>
                    <a:pt x="262" y="339"/>
                  </a:lnTo>
                  <a:lnTo>
                    <a:pt x="257" y="328"/>
                  </a:lnTo>
                  <a:lnTo>
                    <a:pt x="218" y="388"/>
                  </a:lnTo>
                  <a:lnTo>
                    <a:pt x="175" y="421"/>
                  </a:lnTo>
                  <a:lnTo>
                    <a:pt x="136" y="443"/>
                  </a:lnTo>
                  <a:lnTo>
                    <a:pt x="114" y="454"/>
                  </a:lnTo>
                  <a:lnTo>
                    <a:pt x="93" y="454"/>
                  </a:lnTo>
                  <a:lnTo>
                    <a:pt x="82" y="460"/>
                  </a:lnTo>
                  <a:lnTo>
                    <a:pt x="60" y="476"/>
                  </a:lnTo>
                  <a:lnTo>
                    <a:pt x="49" y="492"/>
                  </a:lnTo>
                  <a:lnTo>
                    <a:pt x="43" y="514"/>
                  </a:lnTo>
                  <a:lnTo>
                    <a:pt x="38" y="542"/>
                  </a:lnTo>
                  <a:lnTo>
                    <a:pt x="38" y="580"/>
                  </a:lnTo>
                  <a:lnTo>
                    <a:pt x="38" y="624"/>
                  </a:lnTo>
                  <a:lnTo>
                    <a:pt x="27" y="673"/>
                  </a:lnTo>
                  <a:lnTo>
                    <a:pt x="11" y="733"/>
                  </a:lnTo>
                  <a:lnTo>
                    <a:pt x="11" y="739"/>
                  </a:lnTo>
                  <a:lnTo>
                    <a:pt x="5" y="782"/>
                  </a:lnTo>
                  <a:lnTo>
                    <a:pt x="0" y="903"/>
                  </a:lnTo>
                  <a:lnTo>
                    <a:pt x="0" y="963"/>
                  </a:lnTo>
                  <a:lnTo>
                    <a:pt x="5" y="1018"/>
                  </a:lnTo>
                  <a:lnTo>
                    <a:pt x="16" y="1050"/>
                  </a:lnTo>
                  <a:lnTo>
                    <a:pt x="27" y="1083"/>
                  </a:lnTo>
                  <a:lnTo>
                    <a:pt x="60" y="1143"/>
                  </a:lnTo>
                  <a:lnTo>
                    <a:pt x="93" y="1204"/>
                  </a:lnTo>
                  <a:lnTo>
                    <a:pt x="120" y="1264"/>
                  </a:lnTo>
                  <a:lnTo>
                    <a:pt x="125" y="1264"/>
                  </a:lnTo>
                  <a:lnTo>
                    <a:pt x="136" y="1297"/>
                  </a:lnTo>
                  <a:lnTo>
                    <a:pt x="142" y="1318"/>
                  </a:lnTo>
                  <a:lnTo>
                    <a:pt x="153" y="1346"/>
                  </a:lnTo>
                  <a:lnTo>
                    <a:pt x="175" y="1384"/>
                  </a:lnTo>
                  <a:lnTo>
                    <a:pt x="180" y="1444"/>
                  </a:lnTo>
                  <a:lnTo>
                    <a:pt x="180" y="1483"/>
                  </a:lnTo>
                  <a:lnTo>
                    <a:pt x="180" y="1504"/>
                  </a:lnTo>
                  <a:lnTo>
                    <a:pt x="207" y="1504"/>
                  </a:lnTo>
                  <a:lnTo>
                    <a:pt x="229" y="1504"/>
                  </a:lnTo>
                  <a:lnTo>
                    <a:pt x="240" y="1504"/>
                  </a:lnTo>
                  <a:lnTo>
                    <a:pt x="235" y="1515"/>
                  </a:lnTo>
                  <a:lnTo>
                    <a:pt x="224" y="1548"/>
                  </a:lnTo>
                  <a:lnTo>
                    <a:pt x="213" y="1592"/>
                  </a:lnTo>
                  <a:lnTo>
                    <a:pt x="213" y="1614"/>
                  </a:lnTo>
                  <a:lnTo>
                    <a:pt x="218" y="1641"/>
                  </a:lnTo>
                  <a:lnTo>
                    <a:pt x="224" y="1696"/>
                  </a:lnTo>
                  <a:lnTo>
                    <a:pt x="229" y="1773"/>
                  </a:lnTo>
                  <a:lnTo>
                    <a:pt x="229" y="1882"/>
                  </a:lnTo>
                  <a:lnTo>
                    <a:pt x="224" y="1937"/>
                  </a:lnTo>
                  <a:lnTo>
                    <a:pt x="213" y="1986"/>
                  </a:lnTo>
                  <a:lnTo>
                    <a:pt x="197" y="2062"/>
                  </a:lnTo>
                  <a:lnTo>
                    <a:pt x="191" y="2101"/>
                  </a:lnTo>
                  <a:lnTo>
                    <a:pt x="186" y="2145"/>
                  </a:lnTo>
                  <a:lnTo>
                    <a:pt x="186" y="2205"/>
                  </a:lnTo>
                  <a:lnTo>
                    <a:pt x="186" y="2276"/>
                  </a:lnTo>
                  <a:lnTo>
                    <a:pt x="197" y="2407"/>
                  </a:lnTo>
                  <a:lnTo>
                    <a:pt x="207" y="2495"/>
                  </a:lnTo>
                  <a:lnTo>
                    <a:pt x="213" y="2555"/>
                  </a:lnTo>
                  <a:lnTo>
                    <a:pt x="213" y="2599"/>
                  </a:lnTo>
                  <a:lnTo>
                    <a:pt x="207" y="2631"/>
                  </a:lnTo>
                  <a:lnTo>
                    <a:pt x="207" y="2653"/>
                  </a:lnTo>
                  <a:lnTo>
                    <a:pt x="207" y="2670"/>
                  </a:lnTo>
                  <a:lnTo>
                    <a:pt x="207" y="2730"/>
                  </a:lnTo>
                  <a:lnTo>
                    <a:pt x="268" y="2752"/>
                  </a:lnTo>
                  <a:lnTo>
                    <a:pt x="301" y="2752"/>
                  </a:lnTo>
                  <a:lnTo>
                    <a:pt x="306" y="2763"/>
                  </a:lnTo>
                  <a:lnTo>
                    <a:pt x="328" y="2779"/>
                  </a:lnTo>
                  <a:lnTo>
                    <a:pt x="350" y="2790"/>
                  </a:lnTo>
                  <a:lnTo>
                    <a:pt x="372" y="2801"/>
                  </a:lnTo>
                  <a:lnTo>
                    <a:pt x="399" y="2807"/>
                  </a:lnTo>
                  <a:lnTo>
                    <a:pt x="437" y="2812"/>
                  </a:lnTo>
                  <a:lnTo>
                    <a:pt x="508" y="2807"/>
                  </a:lnTo>
                  <a:lnTo>
                    <a:pt x="541" y="2801"/>
                  </a:lnTo>
                  <a:lnTo>
                    <a:pt x="552" y="2801"/>
                  </a:lnTo>
                  <a:lnTo>
                    <a:pt x="552" y="2796"/>
                  </a:lnTo>
                  <a:lnTo>
                    <a:pt x="552" y="2785"/>
                  </a:lnTo>
                  <a:lnTo>
                    <a:pt x="547" y="2768"/>
                  </a:lnTo>
                  <a:lnTo>
                    <a:pt x="536" y="2752"/>
                  </a:lnTo>
                  <a:lnTo>
                    <a:pt x="470" y="2692"/>
                  </a:lnTo>
                  <a:lnTo>
                    <a:pt x="432" y="2648"/>
                  </a:lnTo>
                  <a:lnTo>
                    <a:pt x="415" y="2631"/>
                  </a:lnTo>
                  <a:lnTo>
                    <a:pt x="404" y="2615"/>
                  </a:lnTo>
                  <a:lnTo>
                    <a:pt x="404" y="2599"/>
                  </a:lnTo>
                  <a:lnTo>
                    <a:pt x="399" y="2588"/>
                  </a:lnTo>
                  <a:lnTo>
                    <a:pt x="394" y="2566"/>
                  </a:lnTo>
                  <a:lnTo>
                    <a:pt x="388" y="2555"/>
                  </a:lnTo>
                  <a:lnTo>
                    <a:pt x="388" y="2528"/>
                  </a:lnTo>
                  <a:lnTo>
                    <a:pt x="394" y="2467"/>
                  </a:lnTo>
                  <a:lnTo>
                    <a:pt x="399" y="2424"/>
                  </a:lnTo>
                  <a:lnTo>
                    <a:pt x="394" y="2402"/>
                  </a:lnTo>
                  <a:lnTo>
                    <a:pt x="383" y="2374"/>
                  </a:lnTo>
                  <a:lnTo>
                    <a:pt x="394" y="2238"/>
                  </a:lnTo>
                  <a:lnTo>
                    <a:pt x="399" y="2145"/>
                  </a:lnTo>
                  <a:lnTo>
                    <a:pt x="404" y="2095"/>
                  </a:lnTo>
                  <a:lnTo>
                    <a:pt x="415" y="2062"/>
                  </a:lnTo>
                  <a:lnTo>
                    <a:pt x="421" y="2013"/>
                  </a:lnTo>
                  <a:lnTo>
                    <a:pt x="432" y="1948"/>
                  </a:lnTo>
                  <a:lnTo>
                    <a:pt x="437" y="1931"/>
                  </a:lnTo>
                  <a:lnTo>
                    <a:pt x="454" y="1893"/>
                  </a:lnTo>
                  <a:lnTo>
                    <a:pt x="476" y="1827"/>
                  </a:lnTo>
                  <a:lnTo>
                    <a:pt x="492" y="1729"/>
                  </a:lnTo>
                  <a:lnTo>
                    <a:pt x="497" y="1723"/>
                  </a:lnTo>
                  <a:lnTo>
                    <a:pt x="503" y="1718"/>
                  </a:lnTo>
                  <a:lnTo>
                    <a:pt x="503" y="1729"/>
                  </a:lnTo>
                  <a:lnTo>
                    <a:pt x="558" y="1893"/>
                  </a:lnTo>
                  <a:lnTo>
                    <a:pt x="569" y="1920"/>
                  </a:lnTo>
                  <a:lnTo>
                    <a:pt x="569" y="1948"/>
                  </a:lnTo>
                  <a:lnTo>
                    <a:pt x="563" y="1980"/>
                  </a:lnTo>
                  <a:lnTo>
                    <a:pt x="547" y="2035"/>
                  </a:lnTo>
                  <a:lnTo>
                    <a:pt x="541" y="2084"/>
                  </a:lnTo>
                  <a:lnTo>
                    <a:pt x="536" y="2145"/>
                  </a:lnTo>
                  <a:lnTo>
                    <a:pt x="519" y="2287"/>
                  </a:lnTo>
                  <a:lnTo>
                    <a:pt x="503" y="2380"/>
                  </a:lnTo>
                  <a:lnTo>
                    <a:pt x="497" y="2429"/>
                  </a:lnTo>
                  <a:lnTo>
                    <a:pt x="481" y="2445"/>
                  </a:lnTo>
                  <a:lnTo>
                    <a:pt x="476" y="2462"/>
                  </a:lnTo>
                  <a:lnTo>
                    <a:pt x="470" y="2506"/>
                  </a:lnTo>
                  <a:lnTo>
                    <a:pt x="519" y="2528"/>
                  </a:lnTo>
                  <a:lnTo>
                    <a:pt x="580" y="2544"/>
                  </a:lnTo>
                  <a:lnTo>
                    <a:pt x="640" y="2555"/>
                  </a:lnTo>
                  <a:lnTo>
                    <a:pt x="694" y="2555"/>
                  </a:lnTo>
                  <a:lnTo>
                    <a:pt x="689" y="2517"/>
                  </a:lnTo>
                  <a:lnTo>
                    <a:pt x="705" y="2484"/>
                  </a:lnTo>
                  <a:lnTo>
                    <a:pt x="716" y="2445"/>
                  </a:lnTo>
                  <a:lnTo>
                    <a:pt x="738" y="2396"/>
                  </a:lnTo>
                  <a:lnTo>
                    <a:pt x="755" y="2331"/>
                  </a:lnTo>
                  <a:lnTo>
                    <a:pt x="771" y="2249"/>
                  </a:lnTo>
                  <a:lnTo>
                    <a:pt x="782" y="2156"/>
                  </a:lnTo>
                  <a:lnTo>
                    <a:pt x="787" y="2041"/>
                  </a:lnTo>
                  <a:lnTo>
                    <a:pt x="787" y="2013"/>
                  </a:lnTo>
                  <a:lnTo>
                    <a:pt x="787" y="1991"/>
                  </a:lnTo>
                  <a:lnTo>
                    <a:pt x="787" y="1980"/>
                  </a:lnTo>
                  <a:lnTo>
                    <a:pt x="793" y="1969"/>
                  </a:lnTo>
                  <a:lnTo>
                    <a:pt x="798" y="1937"/>
                  </a:lnTo>
                  <a:lnTo>
                    <a:pt x="798" y="1882"/>
                  </a:lnTo>
                  <a:lnTo>
                    <a:pt x="798" y="1805"/>
                  </a:lnTo>
                  <a:lnTo>
                    <a:pt x="782" y="1690"/>
                  </a:lnTo>
                  <a:lnTo>
                    <a:pt x="755" y="1559"/>
                  </a:lnTo>
                  <a:lnTo>
                    <a:pt x="722" y="1411"/>
                  </a:lnTo>
                  <a:lnTo>
                    <a:pt x="733" y="1401"/>
                  </a:lnTo>
                  <a:lnTo>
                    <a:pt x="738" y="1390"/>
                  </a:lnTo>
                  <a:lnTo>
                    <a:pt x="744" y="1368"/>
                  </a:lnTo>
                  <a:lnTo>
                    <a:pt x="733" y="1313"/>
                  </a:lnTo>
                  <a:lnTo>
                    <a:pt x="711" y="1220"/>
                  </a:lnTo>
                  <a:lnTo>
                    <a:pt x="683" y="1083"/>
                  </a:lnTo>
                  <a:lnTo>
                    <a:pt x="673" y="1018"/>
                  </a:lnTo>
                  <a:lnTo>
                    <a:pt x="656" y="957"/>
                  </a:lnTo>
                  <a:lnTo>
                    <a:pt x="645" y="914"/>
                  </a:lnTo>
                  <a:lnTo>
                    <a:pt x="634" y="870"/>
                  </a:lnTo>
                  <a:lnTo>
                    <a:pt x="634" y="821"/>
                  </a:lnTo>
                  <a:lnTo>
                    <a:pt x="640" y="777"/>
                  </a:lnTo>
                  <a:lnTo>
                    <a:pt x="634" y="739"/>
                  </a:lnTo>
                  <a:lnTo>
                    <a:pt x="634" y="706"/>
                  </a:lnTo>
                  <a:lnTo>
                    <a:pt x="678" y="717"/>
                  </a:lnTo>
                  <a:lnTo>
                    <a:pt x="776" y="728"/>
                  </a:lnTo>
                  <a:lnTo>
                    <a:pt x="837" y="733"/>
                  </a:lnTo>
                  <a:lnTo>
                    <a:pt x="891" y="728"/>
                  </a:lnTo>
                  <a:lnTo>
                    <a:pt x="913" y="722"/>
                  </a:lnTo>
                  <a:lnTo>
                    <a:pt x="935" y="717"/>
                  </a:lnTo>
                  <a:lnTo>
                    <a:pt x="952" y="706"/>
                  </a:lnTo>
                  <a:lnTo>
                    <a:pt x="962" y="689"/>
                  </a:lnTo>
                  <a:lnTo>
                    <a:pt x="946" y="618"/>
                  </a:lnTo>
                  <a:lnTo>
                    <a:pt x="924" y="520"/>
                  </a:lnTo>
                  <a:lnTo>
                    <a:pt x="880" y="377"/>
                  </a:lnTo>
                  <a:close/>
                  <a:moveTo>
                    <a:pt x="640" y="279"/>
                  </a:moveTo>
                  <a:lnTo>
                    <a:pt x="640" y="279"/>
                  </a:lnTo>
                  <a:lnTo>
                    <a:pt x="634" y="279"/>
                  </a:lnTo>
                  <a:lnTo>
                    <a:pt x="618" y="274"/>
                  </a:lnTo>
                  <a:lnTo>
                    <a:pt x="607" y="263"/>
                  </a:lnTo>
                  <a:lnTo>
                    <a:pt x="596" y="246"/>
                  </a:lnTo>
                  <a:lnTo>
                    <a:pt x="580" y="241"/>
                  </a:lnTo>
                  <a:lnTo>
                    <a:pt x="590" y="230"/>
                  </a:lnTo>
                  <a:lnTo>
                    <a:pt x="596" y="224"/>
                  </a:lnTo>
                  <a:lnTo>
                    <a:pt x="618" y="224"/>
                  </a:lnTo>
                  <a:lnTo>
                    <a:pt x="623" y="230"/>
                  </a:lnTo>
                  <a:lnTo>
                    <a:pt x="623" y="235"/>
                  </a:lnTo>
                  <a:lnTo>
                    <a:pt x="623" y="246"/>
                  </a:lnTo>
                  <a:lnTo>
                    <a:pt x="623" y="252"/>
                  </a:lnTo>
                  <a:lnTo>
                    <a:pt x="629" y="257"/>
                  </a:lnTo>
                  <a:lnTo>
                    <a:pt x="634" y="263"/>
                  </a:lnTo>
                  <a:lnTo>
                    <a:pt x="640" y="263"/>
                  </a:lnTo>
                  <a:lnTo>
                    <a:pt x="645" y="263"/>
                  </a:lnTo>
                  <a:lnTo>
                    <a:pt x="645" y="268"/>
                  </a:lnTo>
                  <a:lnTo>
                    <a:pt x="640" y="279"/>
                  </a:lnTo>
                  <a:close/>
                  <a:moveTo>
                    <a:pt x="235" y="990"/>
                  </a:moveTo>
                  <a:lnTo>
                    <a:pt x="235" y="990"/>
                  </a:lnTo>
                  <a:lnTo>
                    <a:pt x="235" y="1023"/>
                  </a:lnTo>
                  <a:lnTo>
                    <a:pt x="229" y="1067"/>
                  </a:lnTo>
                  <a:lnTo>
                    <a:pt x="224" y="1089"/>
                  </a:lnTo>
                  <a:lnTo>
                    <a:pt x="218" y="1089"/>
                  </a:lnTo>
                  <a:lnTo>
                    <a:pt x="213" y="1083"/>
                  </a:lnTo>
                  <a:lnTo>
                    <a:pt x="213" y="1072"/>
                  </a:lnTo>
                  <a:lnTo>
                    <a:pt x="207" y="1056"/>
                  </a:lnTo>
                  <a:lnTo>
                    <a:pt x="202" y="1045"/>
                  </a:lnTo>
                  <a:lnTo>
                    <a:pt x="191" y="1029"/>
                  </a:lnTo>
                  <a:lnTo>
                    <a:pt x="191" y="1012"/>
                  </a:lnTo>
                  <a:lnTo>
                    <a:pt x="197" y="1001"/>
                  </a:lnTo>
                  <a:lnTo>
                    <a:pt x="202" y="985"/>
                  </a:lnTo>
                  <a:lnTo>
                    <a:pt x="207" y="979"/>
                  </a:lnTo>
                  <a:lnTo>
                    <a:pt x="207" y="963"/>
                  </a:lnTo>
                  <a:lnTo>
                    <a:pt x="207" y="946"/>
                  </a:lnTo>
                  <a:lnTo>
                    <a:pt x="207" y="936"/>
                  </a:lnTo>
                  <a:lnTo>
                    <a:pt x="213" y="930"/>
                  </a:lnTo>
                  <a:lnTo>
                    <a:pt x="224" y="952"/>
                  </a:lnTo>
                  <a:lnTo>
                    <a:pt x="235" y="968"/>
                  </a:lnTo>
                  <a:lnTo>
                    <a:pt x="235" y="9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68" name="Freeform 1581"/>
            <p:cNvSpPr>
              <a:spLocks/>
            </p:cNvSpPr>
            <p:nvPr/>
          </p:nvSpPr>
          <p:spPr bwMode="auto">
            <a:xfrm>
              <a:off x="443070" y="1772949"/>
              <a:ext cx="9435" cy="37741"/>
            </a:xfrm>
            <a:custGeom>
              <a:avLst/>
              <a:gdLst>
                <a:gd name="T0" fmla="*/ 0 w 11"/>
                <a:gd name="T1" fmla="*/ 2147483647 h 44"/>
                <a:gd name="T2" fmla="*/ 0 w 11"/>
                <a:gd name="T3" fmla="*/ 2147483647 h 44"/>
                <a:gd name="T4" fmla="*/ 0 w 11"/>
                <a:gd name="T5" fmla="*/ 2147483647 h 44"/>
                <a:gd name="T6" fmla="*/ 0 w 11"/>
                <a:gd name="T7" fmla="*/ 2147483647 h 44"/>
                <a:gd name="T8" fmla="*/ 0 w 11"/>
                <a:gd name="T9" fmla="*/ 2147483647 h 44"/>
                <a:gd name="T10" fmla="*/ 0 w 11"/>
                <a:gd name="T11" fmla="*/ 2147483647 h 44"/>
                <a:gd name="T12" fmla="*/ 2147483647 w 11"/>
                <a:gd name="T13" fmla="*/ 0 h 44"/>
                <a:gd name="T14" fmla="*/ 2147483647 w 11"/>
                <a:gd name="T15" fmla="*/ 0 h 44"/>
                <a:gd name="T16" fmla="*/ 0 w 11"/>
                <a:gd name="T17" fmla="*/ 2147483647 h 44"/>
                <a:gd name="T18" fmla="*/ 0 w 11"/>
                <a:gd name="T19" fmla="*/ 2147483647 h 44"/>
                <a:gd name="T20" fmla="*/ 0 w 11"/>
                <a:gd name="T21" fmla="*/ 2147483647 h 44"/>
                <a:gd name="T22" fmla="*/ 0 w 11"/>
                <a:gd name="T23" fmla="*/ 2147483647 h 44"/>
                <a:gd name="T24" fmla="*/ 0 w 11"/>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44"/>
                <a:gd name="T41" fmla="*/ 11 w 1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44">
                  <a:moveTo>
                    <a:pt x="0" y="39"/>
                  </a:moveTo>
                  <a:lnTo>
                    <a:pt x="0" y="39"/>
                  </a:lnTo>
                  <a:lnTo>
                    <a:pt x="0" y="44"/>
                  </a:lnTo>
                  <a:lnTo>
                    <a:pt x="0" y="39"/>
                  </a:lnTo>
                  <a:lnTo>
                    <a:pt x="11" y="0"/>
                  </a:lnTo>
                  <a:lnTo>
                    <a:pt x="0" y="11"/>
                  </a:lnTo>
                  <a:lnTo>
                    <a:pt x="0" y="22"/>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69" name="Freeform 1582"/>
            <p:cNvSpPr>
              <a:spLocks noEditPoints="1"/>
            </p:cNvSpPr>
            <p:nvPr/>
          </p:nvSpPr>
          <p:spPr bwMode="auto">
            <a:xfrm>
              <a:off x="302413" y="1726628"/>
              <a:ext cx="173251" cy="93497"/>
            </a:xfrm>
            <a:custGeom>
              <a:avLst/>
              <a:gdLst>
                <a:gd name="T0" fmla="*/ 2147483647 w 202"/>
                <a:gd name="T1" fmla="*/ 2147483647 h 109"/>
                <a:gd name="T2" fmla="*/ 2147483647 w 202"/>
                <a:gd name="T3" fmla="*/ 2147483647 h 109"/>
                <a:gd name="T4" fmla="*/ 2147483647 w 202"/>
                <a:gd name="T5" fmla="*/ 2147483647 h 109"/>
                <a:gd name="T6" fmla="*/ 2147483647 w 202"/>
                <a:gd name="T7" fmla="*/ 2147483647 h 109"/>
                <a:gd name="T8" fmla="*/ 2147483647 w 202"/>
                <a:gd name="T9" fmla="*/ 2147483647 h 109"/>
                <a:gd name="T10" fmla="*/ 2147483647 w 202"/>
                <a:gd name="T11" fmla="*/ 2147483647 h 109"/>
                <a:gd name="T12" fmla="*/ 2147483647 w 202"/>
                <a:gd name="T13" fmla="*/ 2147483647 h 109"/>
                <a:gd name="T14" fmla="*/ 2147483647 w 202"/>
                <a:gd name="T15" fmla="*/ 2147483647 h 109"/>
                <a:gd name="T16" fmla="*/ 2147483647 w 202"/>
                <a:gd name="T17" fmla="*/ 2147483647 h 109"/>
                <a:gd name="T18" fmla="*/ 2147483647 w 202"/>
                <a:gd name="T19" fmla="*/ 2147483647 h 109"/>
                <a:gd name="T20" fmla="*/ 2147483647 w 202"/>
                <a:gd name="T21" fmla="*/ 2147483647 h 109"/>
                <a:gd name="T22" fmla="*/ 2147483647 w 202"/>
                <a:gd name="T23" fmla="*/ 2147483647 h 109"/>
                <a:gd name="T24" fmla="*/ 2147483647 w 202"/>
                <a:gd name="T25" fmla="*/ 2147483647 h 109"/>
                <a:gd name="T26" fmla="*/ 2147483647 w 202"/>
                <a:gd name="T27" fmla="*/ 2147483647 h 109"/>
                <a:gd name="T28" fmla="*/ 2147483647 w 202"/>
                <a:gd name="T29" fmla="*/ 2147483647 h 109"/>
                <a:gd name="T30" fmla="*/ 2147483647 w 202"/>
                <a:gd name="T31" fmla="*/ 0 h 109"/>
                <a:gd name="T32" fmla="*/ 0 w 202"/>
                <a:gd name="T33" fmla="*/ 0 h 109"/>
                <a:gd name="T34" fmla="*/ 0 w 202"/>
                <a:gd name="T35" fmla="*/ 2147483647 h 109"/>
                <a:gd name="T36" fmla="*/ 0 w 202"/>
                <a:gd name="T37" fmla="*/ 2147483647 h 109"/>
                <a:gd name="T38" fmla="*/ 0 w 202"/>
                <a:gd name="T39" fmla="*/ 2147483647 h 109"/>
                <a:gd name="T40" fmla="*/ 2147483647 w 202"/>
                <a:gd name="T41" fmla="*/ 2147483647 h 109"/>
                <a:gd name="T42" fmla="*/ 2147483647 w 202"/>
                <a:gd name="T43" fmla="*/ 2147483647 h 109"/>
                <a:gd name="T44" fmla="*/ 2147483647 w 202"/>
                <a:gd name="T45" fmla="*/ 2147483647 h 109"/>
                <a:gd name="T46" fmla="*/ 2147483647 w 202"/>
                <a:gd name="T47" fmla="*/ 2147483647 h 109"/>
                <a:gd name="T48" fmla="*/ 2147483647 w 202"/>
                <a:gd name="T49" fmla="*/ 2147483647 h 109"/>
                <a:gd name="T50" fmla="*/ 2147483647 w 202"/>
                <a:gd name="T51" fmla="*/ 2147483647 h 109"/>
                <a:gd name="T52" fmla="*/ 2147483647 w 202"/>
                <a:gd name="T53" fmla="*/ 2147483647 h 109"/>
                <a:gd name="T54" fmla="*/ 2147483647 w 202"/>
                <a:gd name="T55" fmla="*/ 2147483647 h 109"/>
                <a:gd name="T56" fmla="*/ 2147483647 w 202"/>
                <a:gd name="T57" fmla="*/ 2147483647 h 109"/>
                <a:gd name="T58" fmla="*/ 2147483647 w 202"/>
                <a:gd name="T59" fmla="*/ 2147483647 h 109"/>
                <a:gd name="T60" fmla="*/ 2147483647 w 202"/>
                <a:gd name="T61" fmla="*/ 2147483647 h 109"/>
                <a:gd name="T62" fmla="*/ 2147483647 w 202"/>
                <a:gd name="T63" fmla="*/ 2147483647 h 109"/>
                <a:gd name="T64" fmla="*/ 2147483647 w 202"/>
                <a:gd name="T65" fmla="*/ 2147483647 h 109"/>
                <a:gd name="T66" fmla="*/ 2147483647 w 202"/>
                <a:gd name="T67" fmla="*/ 2147483647 h 109"/>
                <a:gd name="T68" fmla="*/ 2147483647 w 202"/>
                <a:gd name="T69" fmla="*/ 2147483647 h 109"/>
                <a:gd name="T70" fmla="*/ 2147483647 w 202"/>
                <a:gd name="T71" fmla="*/ 2147483647 h 109"/>
                <a:gd name="T72" fmla="*/ 2147483647 w 202"/>
                <a:gd name="T73" fmla="*/ 2147483647 h 109"/>
                <a:gd name="T74" fmla="*/ 2147483647 w 202"/>
                <a:gd name="T75" fmla="*/ 2147483647 h 109"/>
                <a:gd name="T76" fmla="*/ 2147483647 w 202"/>
                <a:gd name="T77" fmla="*/ 2147483647 h 109"/>
                <a:gd name="T78" fmla="*/ 2147483647 w 202"/>
                <a:gd name="T79" fmla="*/ 2147483647 h 109"/>
                <a:gd name="T80" fmla="*/ 2147483647 w 202"/>
                <a:gd name="T81" fmla="*/ 2147483647 h 109"/>
                <a:gd name="T82" fmla="*/ 2147483647 w 202"/>
                <a:gd name="T83" fmla="*/ 2147483647 h 109"/>
                <a:gd name="T84" fmla="*/ 2147483647 w 202"/>
                <a:gd name="T85" fmla="*/ 2147483647 h 109"/>
                <a:gd name="T86" fmla="*/ 2147483647 w 202"/>
                <a:gd name="T87" fmla="*/ 2147483647 h 109"/>
                <a:gd name="T88" fmla="*/ 2147483647 w 202"/>
                <a:gd name="T89" fmla="*/ 2147483647 h 109"/>
                <a:gd name="T90" fmla="*/ 2147483647 w 202"/>
                <a:gd name="T91" fmla="*/ 2147483647 h 109"/>
                <a:gd name="T92" fmla="*/ 2147483647 w 202"/>
                <a:gd name="T93" fmla="*/ 2147483647 h 109"/>
                <a:gd name="T94" fmla="*/ 2147483647 w 202"/>
                <a:gd name="T95" fmla="*/ 2147483647 h 109"/>
                <a:gd name="T96" fmla="*/ 2147483647 w 202"/>
                <a:gd name="T97" fmla="*/ 2147483647 h 109"/>
                <a:gd name="T98" fmla="*/ 2147483647 w 202"/>
                <a:gd name="T99" fmla="*/ 2147483647 h 109"/>
                <a:gd name="T100" fmla="*/ 2147483647 w 202"/>
                <a:gd name="T101" fmla="*/ 2147483647 h 109"/>
                <a:gd name="T102" fmla="*/ 2147483647 w 202"/>
                <a:gd name="T103" fmla="*/ 2147483647 h 109"/>
                <a:gd name="T104" fmla="*/ 2147483647 w 202"/>
                <a:gd name="T105" fmla="*/ 2147483647 h 109"/>
                <a:gd name="T106" fmla="*/ 2147483647 w 202"/>
                <a:gd name="T107" fmla="*/ 2147483647 h 109"/>
                <a:gd name="T108" fmla="*/ 2147483647 w 202"/>
                <a:gd name="T109" fmla="*/ 2147483647 h 109"/>
                <a:gd name="T110" fmla="*/ 2147483647 w 202"/>
                <a:gd name="T111" fmla="*/ 2147483647 h 109"/>
                <a:gd name="T112" fmla="*/ 2147483647 w 202"/>
                <a:gd name="T113" fmla="*/ 2147483647 h 109"/>
                <a:gd name="T114" fmla="*/ 2147483647 w 202"/>
                <a:gd name="T115" fmla="*/ 2147483647 h 109"/>
                <a:gd name="T116" fmla="*/ 2147483647 w 202"/>
                <a:gd name="T117" fmla="*/ 2147483647 h 1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2"/>
                <a:gd name="T178" fmla="*/ 0 h 109"/>
                <a:gd name="T179" fmla="*/ 202 w 202"/>
                <a:gd name="T180" fmla="*/ 109 h 1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2" h="109">
                  <a:moveTo>
                    <a:pt x="202" y="71"/>
                  </a:moveTo>
                  <a:lnTo>
                    <a:pt x="202" y="71"/>
                  </a:lnTo>
                  <a:lnTo>
                    <a:pt x="202" y="60"/>
                  </a:lnTo>
                  <a:lnTo>
                    <a:pt x="197" y="54"/>
                  </a:lnTo>
                  <a:lnTo>
                    <a:pt x="175" y="38"/>
                  </a:lnTo>
                  <a:lnTo>
                    <a:pt x="148" y="32"/>
                  </a:lnTo>
                  <a:lnTo>
                    <a:pt x="137" y="38"/>
                  </a:lnTo>
                  <a:lnTo>
                    <a:pt x="131" y="43"/>
                  </a:lnTo>
                  <a:lnTo>
                    <a:pt x="126" y="43"/>
                  </a:lnTo>
                  <a:lnTo>
                    <a:pt x="115" y="38"/>
                  </a:lnTo>
                  <a:lnTo>
                    <a:pt x="55" y="11"/>
                  </a:lnTo>
                  <a:lnTo>
                    <a:pt x="16" y="0"/>
                  </a:lnTo>
                  <a:lnTo>
                    <a:pt x="0" y="0"/>
                  </a:lnTo>
                  <a:lnTo>
                    <a:pt x="0" y="5"/>
                  </a:lnTo>
                  <a:lnTo>
                    <a:pt x="11" y="5"/>
                  </a:lnTo>
                  <a:lnTo>
                    <a:pt x="49" y="22"/>
                  </a:lnTo>
                  <a:lnTo>
                    <a:pt x="82" y="43"/>
                  </a:lnTo>
                  <a:lnTo>
                    <a:pt x="120" y="65"/>
                  </a:lnTo>
                  <a:lnTo>
                    <a:pt x="115" y="76"/>
                  </a:lnTo>
                  <a:lnTo>
                    <a:pt x="120" y="87"/>
                  </a:lnTo>
                  <a:lnTo>
                    <a:pt x="126" y="98"/>
                  </a:lnTo>
                  <a:lnTo>
                    <a:pt x="142" y="109"/>
                  </a:lnTo>
                  <a:lnTo>
                    <a:pt x="159" y="109"/>
                  </a:lnTo>
                  <a:lnTo>
                    <a:pt x="175" y="109"/>
                  </a:lnTo>
                  <a:lnTo>
                    <a:pt x="181" y="104"/>
                  </a:lnTo>
                  <a:lnTo>
                    <a:pt x="191" y="98"/>
                  </a:lnTo>
                  <a:lnTo>
                    <a:pt x="202" y="82"/>
                  </a:lnTo>
                  <a:lnTo>
                    <a:pt x="202" y="71"/>
                  </a:lnTo>
                  <a:close/>
                  <a:moveTo>
                    <a:pt x="77" y="82"/>
                  </a:moveTo>
                  <a:lnTo>
                    <a:pt x="77" y="82"/>
                  </a:lnTo>
                  <a:lnTo>
                    <a:pt x="60" y="71"/>
                  </a:lnTo>
                  <a:lnTo>
                    <a:pt x="55" y="65"/>
                  </a:lnTo>
                  <a:lnTo>
                    <a:pt x="55" y="49"/>
                  </a:lnTo>
                  <a:lnTo>
                    <a:pt x="60" y="38"/>
                  </a:lnTo>
                  <a:lnTo>
                    <a:pt x="66" y="27"/>
                  </a:lnTo>
                  <a:lnTo>
                    <a:pt x="77" y="22"/>
                  </a:lnTo>
                  <a:lnTo>
                    <a:pt x="82" y="22"/>
                  </a:lnTo>
                  <a:lnTo>
                    <a:pt x="93" y="27"/>
                  </a:lnTo>
                  <a:lnTo>
                    <a:pt x="115" y="38"/>
                  </a:lnTo>
                  <a:lnTo>
                    <a:pt x="120" y="49"/>
                  </a:lnTo>
                  <a:lnTo>
                    <a:pt x="115" y="60"/>
                  </a:lnTo>
                  <a:lnTo>
                    <a:pt x="109" y="76"/>
                  </a:lnTo>
                  <a:lnTo>
                    <a:pt x="98" y="82"/>
                  </a:lnTo>
                  <a:lnTo>
                    <a:pt x="7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70" name="Freeform 1583"/>
            <p:cNvSpPr>
              <a:spLocks/>
            </p:cNvSpPr>
            <p:nvPr/>
          </p:nvSpPr>
          <p:spPr bwMode="auto">
            <a:xfrm>
              <a:off x="288691" y="1918766"/>
              <a:ext cx="112354" cy="385137"/>
            </a:xfrm>
            <a:custGeom>
              <a:avLst/>
              <a:gdLst>
                <a:gd name="T0" fmla="*/ 0 w 131"/>
                <a:gd name="T1" fmla="*/ 2147483647 h 449"/>
                <a:gd name="T2" fmla="*/ 0 w 131"/>
                <a:gd name="T3" fmla="*/ 2147483647 h 449"/>
                <a:gd name="T4" fmla="*/ 2147483647 w 131"/>
                <a:gd name="T5" fmla="*/ 2147483647 h 449"/>
                <a:gd name="T6" fmla="*/ 2147483647 w 131"/>
                <a:gd name="T7" fmla="*/ 2147483647 h 449"/>
                <a:gd name="T8" fmla="*/ 2147483647 w 131"/>
                <a:gd name="T9" fmla="*/ 2147483647 h 449"/>
                <a:gd name="T10" fmla="*/ 2147483647 w 131"/>
                <a:gd name="T11" fmla="*/ 2147483647 h 449"/>
                <a:gd name="T12" fmla="*/ 2147483647 w 131"/>
                <a:gd name="T13" fmla="*/ 2147483647 h 449"/>
                <a:gd name="T14" fmla="*/ 2147483647 w 131"/>
                <a:gd name="T15" fmla="*/ 2147483647 h 449"/>
                <a:gd name="T16" fmla="*/ 2147483647 w 131"/>
                <a:gd name="T17" fmla="*/ 2147483647 h 449"/>
                <a:gd name="T18" fmla="*/ 2147483647 w 131"/>
                <a:gd name="T19" fmla="*/ 2147483647 h 449"/>
                <a:gd name="T20" fmla="*/ 2147483647 w 131"/>
                <a:gd name="T21" fmla="*/ 2147483647 h 449"/>
                <a:gd name="T22" fmla="*/ 2147483647 w 131"/>
                <a:gd name="T23" fmla="*/ 2147483647 h 449"/>
                <a:gd name="T24" fmla="*/ 2147483647 w 131"/>
                <a:gd name="T25" fmla="*/ 2147483647 h 449"/>
                <a:gd name="T26" fmla="*/ 2147483647 w 131"/>
                <a:gd name="T27" fmla="*/ 2147483647 h 449"/>
                <a:gd name="T28" fmla="*/ 2147483647 w 131"/>
                <a:gd name="T29" fmla="*/ 2147483647 h 449"/>
                <a:gd name="T30" fmla="*/ 2147483647 w 131"/>
                <a:gd name="T31" fmla="*/ 2147483647 h 449"/>
                <a:gd name="T32" fmla="*/ 2147483647 w 131"/>
                <a:gd name="T33" fmla="*/ 2147483647 h 449"/>
                <a:gd name="T34" fmla="*/ 2147483647 w 131"/>
                <a:gd name="T35" fmla="*/ 2147483647 h 449"/>
                <a:gd name="T36" fmla="*/ 2147483647 w 131"/>
                <a:gd name="T37" fmla="*/ 2147483647 h 449"/>
                <a:gd name="T38" fmla="*/ 2147483647 w 131"/>
                <a:gd name="T39" fmla="*/ 2147483647 h 449"/>
                <a:gd name="T40" fmla="*/ 2147483647 w 131"/>
                <a:gd name="T41" fmla="*/ 2147483647 h 449"/>
                <a:gd name="T42" fmla="*/ 2147483647 w 131"/>
                <a:gd name="T43" fmla="*/ 2147483647 h 449"/>
                <a:gd name="T44" fmla="*/ 2147483647 w 131"/>
                <a:gd name="T45" fmla="*/ 2147483647 h 449"/>
                <a:gd name="T46" fmla="*/ 2147483647 w 131"/>
                <a:gd name="T47" fmla="*/ 2147483647 h 449"/>
                <a:gd name="T48" fmla="*/ 2147483647 w 131"/>
                <a:gd name="T49" fmla="*/ 2147483647 h 449"/>
                <a:gd name="T50" fmla="*/ 2147483647 w 131"/>
                <a:gd name="T51" fmla="*/ 2147483647 h 449"/>
                <a:gd name="T52" fmla="*/ 2147483647 w 131"/>
                <a:gd name="T53" fmla="*/ 2147483647 h 449"/>
                <a:gd name="T54" fmla="*/ 2147483647 w 131"/>
                <a:gd name="T55" fmla="*/ 2147483647 h 449"/>
                <a:gd name="T56" fmla="*/ 2147483647 w 131"/>
                <a:gd name="T57" fmla="*/ 0 h 449"/>
                <a:gd name="T58" fmla="*/ 2147483647 w 131"/>
                <a:gd name="T59" fmla="*/ 0 h 449"/>
                <a:gd name="T60" fmla="*/ 2147483647 w 131"/>
                <a:gd name="T61" fmla="*/ 2147483647 h 449"/>
                <a:gd name="T62" fmla="*/ 2147483647 w 131"/>
                <a:gd name="T63" fmla="*/ 2147483647 h 449"/>
                <a:gd name="T64" fmla="*/ 0 w 131"/>
                <a:gd name="T65" fmla="*/ 2147483647 h 44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1"/>
                <a:gd name="T100" fmla="*/ 0 h 449"/>
                <a:gd name="T101" fmla="*/ 131 w 131"/>
                <a:gd name="T102" fmla="*/ 449 h 44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1" h="449">
                  <a:moveTo>
                    <a:pt x="0" y="55"/>
                  </a:moveTo>
                  <a:lnTo>
                    <a:pt x="0" y="55"/>
                  </a:lnTo>
                  <a:lnTo>
                    <a:pt x="11" y="60"/>
                  </a:lnTo>
                  <a:lnTo>
                    <a:pt x="21" y="77"/>
                  </a:lnTo>
                  <a:lnTo>
                    <a:pt x="32" y="104"/>
                  </a:lnTo>
                  <a:lnTo>
                    <a:pt x="54" y="186"/>
                  </a:lnTo>
                  <a:lnTo>
                    <a:pt x="76" y="273"/>
                  </a:lnTo>
                  <a:lnTo>
                    <a:pt x="98" y="323"/>
                  </a:lnTo>
                  <a:lnTo>
                    <a:pt x="120" y="372"/>
                  </a:lnTo>
                  <a:lnTo>
                    <a:pt x="125" y="410"/>
                  </a:lnTo>
                  <a:lnTo>
                    <a:pt x="125" y="449"/>
                  </a:lnTo>
                  <a:lnTo>
                    <a:pt x="131" y="399"/>
                  </a:lnTo>
                  <a:lnTo>
                    <a:pt x="131" y="350"/>
                  </a:lnTo>
                  <a:lnTo>
                    <a:pt x="120" y="235"/>
                  </a:lnTo>
                  <a:lnTo>
                    <a:pt x="109" y="126"/>
                  </a:lnTo>
                  <a:lnTo>
                    <a:pt x="93" y="27"/>
                  </a:lnTo>
                  <a:lnTo>
                    <a:pt x="87" y="22"/>
                  </a:lnTo>
                  <a:lnTo>
                    <a:pt x="76" y="22"/>
                  </a:lnTo>
                  <a:lnTo>
                    <a:pt x="60" y="22"/>
                  </a:lnTo>
                  <a:lnTo>
                    <a:pt x="49" y="16"/>
                  </a:lnTo>
                  <a:lnTo>
                    <a:pt x="38" y="5"/>
                  </a:lnTo>
                  <a:lnTo>
                    <a:pt x="32" y="5"/>
                  </a:lnTo>
                  <a:lnTo>
                    <a:pt x="21" y="0"/>
                  </a:lnTo>
                  <a:lnTo>
                    <a:pt x="11" y="16"/>
                  </a:lnTo>
                  <a:lnTo>
                    <a:pt x="5" y="44"/>
                  </a:lnTo>
                  <a:lnTo>
                    <a:pt x="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71" name="Freeform 1584"/>
            <p:cNvSpPr>
              <a:spLocks/>
            </p:cNvSpPr>
            <p:nvPr/>
          </p:nvSpPr>
          <p:spPr bwMode="auto">
            <a:xfrm>
              <a:off x="316135" y="1923054"/>
              <a:ext cx="108067" cy="408298"/>
            </a:xfrm>
            <a:custGeom>
              <a:avLst/>
              <a:gdLst>
                <a:gd name="T0" fmla="*/ 2147483647 w 126"/>
                <a:gd name="T1" fmla="*/ 2147483647 h 476"/>
                <a:gd name="T2" fmla="*/ 0 w 126"/>
                <a:gd name="T3" fmla="*/ 2147483647 h 476"/>
                <a:gd name="T4" fmla="*/ 2147483647 w 126"/>
                <a:gd name="T5" fmla="*/ 2147483647 h 476"/>
                <a:gd name="T6" fmla="*/ 2147483647 w 126"/>
                <a:gd name="T7" fmla="*/ 2147483647 h 476"/>
                <a:gd name="T8" fmla="*/ 2147483647 w 126"/>
                <a:gd name="T9" fmla="*/ 2147483647 h 476"/>
                <a:gd name="T10" fmla="*/ 2147483647 w 126"/>
                <a:gd name="T11" fmla="*/ 2147483647 h 476"/>
                <a:gd name="T12" fmla="*/ 2147483647 w 126"/>
                <a:gd name="T13" fmla="*/ 2147483647 h 476"/>
                <a:gd name="T14" fmla="*/ 2147483647 w 126"/>
                <a:gd name="T15" fmla="*/ 2147483647 h 476"/>
                <a:gd name="T16" fmla="*/ 2147483647 w 126"/>
                <a:gd name="T17" fmla="*/ 2147483647 h 476"/>
                <a:gd name="T18" fmla="*/ 2147483647 w 126"/>
                <a:gd name="T19" fmla="*/ 2147483647 h 476"/>
                <a:gd name="T20" fmla="*/ 2147483647 w 126"/>
                <a:gd name="T21" fmla="*/ 2147483647 h 476"/>
                <a:gd name="T22" fmla="*/ 2147483647 w 126"/>
                <a:gd name="T23" fmla="*/ 2147483647 h 476"/>
                <a:gd name="T24" fmla="*/ 2147483647 w 126"/>
                <a:gd name="T25" fmla="*/ 2147483647 h 476"/>
                <a:gd name="T26" fmla="*/ 2147483647 w 126"/>
                <a:gd name="T27" fmla="*/ 2147483647 h 476"/>
                <a:gd name="T28" fmla="*/ 2147483647 w 126"/>
                <a:gd name="T29" fmla="*/ 2147483647 h 476"/>
                <a:gd name="T30" fmla="*/ 2147483647 w 126"/>
                <a:gd name="T31" fmla="*/ 2147483647 h 476"/>
                <a:gd name="T32" fmla="*/ 2147483647 w 126"/>
                <a:gd name="T33" fmla="*/ 2147483647 h 476"/>
                <a:gd name="T34" fmla="*/ 2147483647 w 126"/>
                <a:gd name="T35" fmla="*/ 2147483647 h 476"/>
                <a:gd name="T36" fmla="*/ 2147483647 w 126"/>
                <a:gd name="T37" fmla="*/ 0 h 476"/>
                <a:gd name="T38" fmla="*/ 2147483647 w 126"/>
                <a:gd name="T39" fmla="*/ 0 h 476"/>
                <a:gd name="T40" fmla="*/ 2147483647 w 126"/>
                <a:gd name="T41" fmla="*/ 2147483647 h 476"/>
                <a:gd name="T42" fmla="*/ 2147483647 w 126"/>
                <a:gd name="T43" fmla="*/ 2147483647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6"/>
                <a:gd name="T67" fmla="*/ 0 h 476"/>
                <a:gd name="T68" fmla="*/ 126 w 126"/>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6" h="476">
                  <a:moveTo>
                    <a:pt x="11" y="6"/>
                  </a:moveTo>
                  <a:lnTo>
                    <a:pt x="0" y="17"/>
                  </a:lnTo>
                  <a:lnTo>
                    <a:pt x="22" y="55"/>
                  </a:lnTo>
                  <a:lnTo>
                    <a:pt x="28" y="88"/>
                  </a:lnTo>
                  <a:lnTo>
                    <a:pt x="39" y="121"/>
                  </a:lnTo>
                  <a:lnTo>
                    <a:pt x="44" y="214"/>
                  </a:lnTo>
                  <a:lnTo>
                    <a:pt x="44" y="323"/>
                  </a:lnTo>
                  <a:lnTo>
                    <a:pt x="77" y="444"/>
                  </a:lnTo>
                  <a:lnTo>
                    <a:pt x="99" y="476"/>
                  </a:lnTo>
                  <a:lnTo>
                    <a:pt x="126" y="372"/>
                  </a:lnTo>
                  <a:lnTo>
                    <a:pt x="82" y="148"/>
                  </a:lnTo>
                  <a:lnTo>
                    <a:pt x="44" y="50"/>
                  </a:lnTo>
                  <a:lnTo>
                    <a:pt x="50" y="17"/>
                  </a:lnTo>
                  <a:lnTo>
                    <a:pt x="39" y="6"/>
                  </a:lnTo>
                  <a:lnTo>
                    <a:pt x="22" y="0"/>
                  </a:lnTo>
                  <a:lnTo>
                    <a:pt x="17" y="0"/>
                  </a:ln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sp>
        <p:nvSpPr>
          <p:cNvPr id="74" name="Freeform 354"/>
          <p:cNvSpPr>
            <a:spLocks/>
          </p:cNvSpPr>
          <p:nvPr/>
        </p:nvSpPr>
        <p:spPr bwMode="auto">
          <a:xfrm>
            <a:off x="5665788" y="1576388"/>
            <a:ext cx="387350" cy="522287"/>
          </a:xfrm>
          <a:custGeom>
            <a:avLst/>
            <a:gdLst>
              <a:gd name="T0" fmla="*/ 1031875 w 1651"/>
              <a:gd name="T1" fmla="*/ 1298576 h 2229"/>
              <a:gd name="T2" fmla="*/ 906462 w 1651"/>
              <a:gd name="T3" fmla="*/ 1316038 h 2229"/>
              <a:gd name="T4" fmla="*/ 684212 w 1651"/>
              <a:gd name="T5" fmla="*/ 1290638 h 2229"/>
              <a:gd name="T6" fmla="*/ 600075 w 1651"/>
              <a:gd name="T7" fmla="*/ 1462088 h 2229"/>
              <a:gd name="T8" fmla="*/ 712787 w 1651"/>
              <a:gd name="T9" fmla="*/ 1730376 h 2229"/>
              <a:gd name="T10" fmla="*/ 968375 w 1651"/>
              <a:gd name="T11" fmla="*/ 1625601 h 2229"/>
              <a:gd name="T12" fmla="*/ 939800 w 1651"/>
              <a:gd name="T13" fmla="*/ 1793876 h 2229"/>
              <a:gd name="T14" fmla="*/ 1044575 w 1651"/>
              <a:gd name="T15" fmla="*/ 1824038 h 2229"/>
              <a:gd name="T16" fmla="*/ 1141412 w 1651"/>
              <a:gd name="T17" fmla="*/ 2079626 h 2229"/>
              <a:gd name="T18" fmla="*/ 1333500 w 1651"/>
              <a:gd name="T19" fmla="*/ 2070101 h 2229"/>
              <a:gd name="T20" fmla="*/ 1560512 w 1651"/>
              <a:gd name="T21" fmla="*/ 1944688 h 2229"/>
              <a:gd name="T22" fmla="*/ 1619250 w 1651"/>
              <a:gd name="T23" fmla="*/ 1962151 h 2229"/>
              <a:gd name="T24" fmla="*/ 1816100 w 1651"/>
              <a:gd name="T25" fmla="*/ 2003426 h 2229"/>
              <a:gd name="T26" fmla="*/ 2063750 w 1651"/>
              <a:gd name="T27" fmla="*/ 2057401 h 2229"/>
              <a:gd name="T28" fmla="*/ 2255837 w 1651"/>
              <a:gd name="T29" fmla="*/ 2166938 h 2229"/>
              <a:gd name="T30" fmla="*/ 2373312 w 1651"/>
              <a:gd name="T31" fmla="*/ 2279651 h 2229"/>
              <a:gd name="T32" fmla="*/ 2605087 w 1651"/>
              <a:gd name="T33" fmla="*/ 2389189 h 2229"/>
              <a:gd name="T34" fmla="*/ 2462212 w 1651"/>
              <a:gd name="T35" fmla="*/ 2716214 h 2229"/>
              <a:gd name="T36" fmla="*/ 2181225 w 1651"/>
              <a:gd name="T37" fmla="*/ 2989264 h 2229"/>
              <a:gd name="T38" fmla="*/ 1971675 w 1651"/>
              <a:gd name="T39" fmla="*/ 3214689 h 2229"/>
              <a:gd name="T40" fmla="*/ 1711325 w 1651"/>
              <a:gd name="T41" fmla="*/ 3362326 h 2229"/>
              <a:gd name="T42" fmla="*/ 1522412 w 1651"/>
              <a:gd name="T43" fmla="*/ 3201989 h 2229"/>
              <a:gd name="T44" fmla="*/ 1606550 w 1651"/>
              <a:gd name="T45" fmla="*/ 2946401 h 2229"/>
              <a:gd name="T46" fmla="*/ 1366837 w 1651"/>
              <a:gd name="T47" fmla="*/ 2800351 h 2229"/>
              <a:gd name="T48" fmla="*/ 1216025 w 1651"/>
              <a:gd name="T49" fmla="*/ 2468564 h 2229"/>
              <a:gd name="T50" fmla="*/ 1282700 w 1651"/>
              <a:gd name="T51" fmla="*/ 2368551 h 2229"/>
              <a:gd name="T52" fmla="*/ 1328737 w 1651"/>
              <a:gd name="T53" fmla="*/ 2146301 h 2229"/>
              <a:gd name="T54" fmla="*/ 1254125 w 1651"/>
              <a:gd name="T55" fmla="*/ 2128838 h 2229"/>
              <a:gd name="T56" fmla="*/ 1047750 w 1651"/>
              <a:gd name="T57" fmla="*/ 2066926 h 2229"/>
              <a:gd name="T58" fmla="*/ 812800 w 1651"/>
              <a:gd name="T59" fmla="*/ 1898651 h 2229"/>
              <a:gd name="T60" fmla="*/ 469900 w 1651"/>
              <a:gd name="T61" fmla="*/ 1760538 h 2229"/>
              <a:gd name="T62" fmla="*/ 331787 w 1651"/>
              <a:gd name="T63" fmla="*/ 1558926 h 2229"/>
              <a:gd name="T64" fmla="*/ 155575 w 1651"/>
              <a:gd name="T65" fmla="*/ 1185863 h 2229"/>
              <a:gd name="T66" fmla="*/ 204787 w 1651"/>
              <a:gd name="T67" fmla="*/ 1462088 h 2229"/>
              <a:gd name="T68" fmla="*/ 130175 w 1651"/>
              <a:gd name="T69" fmla="*/ 1379538 h 2229"/>
              <a:gd name="T70" fmla="*/ 104775 w 1651"/>
              <a:gd name="T71" fmla="*/ 1236663 h 2229"/>
              <a:gd name="T72" fmla="*/ 0 w 1651"/>
              <a:gd name="T73" fmla="*/ 846138 h 2229"/>
              <a:gd name="T74" fmla="*/ 155575 w 1651"/>
              <a:gd name="T75" fmla="*/ 398463 h 2229"/>
              <a:gd name="T76" fmla="*/ 176212 w 1651"/>
              <a:gd name="T77" fmla="*/ 334963 h 2229"/>
              <a:gd name="T78" fmla="*/ 227012 w 1651"/>
              <a:gd name="T79" fmla="*/ 142875 h 2229"/>
              <a:gd name="T80" fmla="*/ 679450 w 1651"/>
              <a:gd name="T81" fmla="*/ 133350 h 2229"/>
              <a:gd name="T82" fmla="*/ 679450 w 1651"/>
              <a:gd name="T83" fmla="*/ 71438 h 2229"/>
              <a:gd name="T84" fmla="*/ 700087 w 1651"/>
              <a:gd name="T85" fmla="*/ 15875 h 2229"/>
              <a:gd name="T86" fmla="*/ 796925 w 1651"/>
              <a:gd name="T87" fmla="*/ 41275 h 2229"/>
              <a:gd name="T88" fmla="*/ 746125 w 1651"/>
              <a:gd name="T89" fmla="*/ 130175 h 2229"/>
              <a:gd name="T90" fmla="*/ 927100 w 1651"/>
              <a:gd name="T91" fmla="*/ 74613 h 2229"/>
              <a:gd name="T92" fmla="*/ 985837 w 1651"/>
              <a:gd name="T93" fmla="*/ 196850 h 2229"/>
              <a:gd name="T94" fmla="*/ 850900 w 1651"/>
              <a:gd name="T95" fmla="*/ 309563 h 2229"/>
              <a:gd name="T96" fmla="*/ 1162050 w 1651"/>
              <a:gd name="T97" fmla="*/ 536575 h 2229"/>
              <a:gd name="T98" fmla="*/ 1223962 w 1651"/>
              <a:gd name="T99" fmla="*/ 385763 h 2229"/>
              <a:gd name="T100" fmla="*/ 1208087 w 1651"/>
              <a:gd name="T101" fmla="*/ 238125 h 2229"/>
              <a:gd name="T102" fmla="*/ 1374775 w 1651"/>
              <a:gd name="T103" fmla="*/ 334963 h 2229"/>
              <a:gd name="T104" fmla="*/ 1627187 w 1651"/>
              <a:gd name="T105" fmla="*/ 401638 h 2229"/>
              <a:gd name="T106" fmla="*/ 1785937 w 1651"/>
              <a:gd name="T107" fmla="*/ 633413 h 2229"/>
              <a:gd name="T108" fmla="*/ 1660525 w 1651"/>
              <a:gd name="T109" fmla="*/ 498475 h 2229"/>
              <a:gd name="T110" fmla="*/ 1455737 w 1651"/>
              <a:gd name="T111" fmla="*/ 608013 h 2229"/>
              <a:gd name="T112" fmla="*/ 1627187 w 1651"/>
              <a:gd name="T113" fmla="*/ 646113 h 2229"/>
              <a:gd name="T114" fmla="*/ 1573212 w 1651"/>
              <a:gd name="T115" fmla="*/ 715963 h 2229"/>
              <a:gd name="T116" fmla="*/ 1404937 w 1651"/>
              <a:gd name="T117" fmla="*/ 863600 h 2229"/>
              <a:gd name="T118" fmla="*/ 1308100 w 1651"/>
              <a:gd name="T119" fmla="*/ 1068388 h 2229"/>
              <a:gd name="T120" fmla="*/ 1216025 w 1651"/>
              <a:gd name="T121" fmla="*/ 1152525 h 2229"/>
              <a:gd name="T122" fmla="*/ 1200150 w 1651"/>
              <a:gd name="T123" fmla="*/ 1346201 h 22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1"/>
              <a:gd name="T187" fmla="*/ 0 h 2229"/>
              <a:gd name="T188" fmla="*/ 1651 w 1651"/>
              <a:gd name="T189" fmla="*/ 2229 h 22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1" h="2229">
                <a:moveTo>
                  <a:pt x="716" y="877"/>
                </a:moveTo>
                <a:lnTo>
                  <a:pt x="719" y="869"/>
                </a:lnTo>
                <a:lnTo>
                  <a:pt x="719" y="863"/>
                </a:lnTo>
                <a:lnTo>
                  <a:pt x="713" y="863"/>
                </a:lnTo>
                <a:lnTo>
                  <a:pt x="711" y="863"/>
                </a:lnTo>
                <a:lnTo>
                  <a:pt x="708" y="863"/>
                </a:lnTo>
                <a:lnTo>
                  <a:pt x="700" y="848"/>
                </a:lnTo>
                <a:lnTo>
                  <a:pt x="700" y="840"/>
                </a:lnTo>
                <a:lnTo>
                  <a:pt x="700" y="834"/>
                </a:lnTo>
                <a:lnTo>
                  <a:pt x="697" y="826"/>
                </a:lnTo>
                <a:lnTo>
                  <a:pt x="695" y="816"/>
                </a:lnTo>
                <a:lnTo>
                  <a:pt x="689" y="811"/>
                </a:lnTo>
                <a:lnTo>
                  <a:pt x="684" y="808"/>
                </a:lnTo>
                <a:lnTo>
                  <a:pt x="674" y="808"/>
                </a:lnTo>
                <a:lnTo>
                  <a:pt x="660" y="813"/>
                </a:lnTo>
                <a:lnTo>
                  <a:pt x="650" y="818"/>
                </a:lnTo>
                <a:lnTo>
                  <a:pt x="642" y="818"/>
                </a:lnTo>
                <a:lnTo>
                  <a:pt x="639" y="816"/>
                </a:lnTo>
                <a:lnTo>
                  <a:pt x="639" y="811"/>
                </a:lnTo>
                <a:lnTo>
                  <a:pt x="639" y="797"/>
                </a:lnTo>
                <a:lnTo>
                  <a:pt x="642" y="789"/>
                </a:lnTo>
                <a:lnTo>
                  <a:pt x="642" y="784"/>
                </a:lnTo>
                <a:lnTo>
                  <a:pt x="637" y="782"/>
                </a:lnTo>
                <a:lnTo>
                  <a:pt x="626" y="779"/>
                </a:lnTo>
                <a:lnTo>
                  <a:pt x="600" y="784"/>
                </a:lnTo>
                <a:lnTo>
                  <a:pt x="563" y="792"/>
                </a:lnTo>
                <a:lnTo>
                  <a:pt x="568" y="797"/>
                </a:lnTo>
                <a:lnTo>
                  <a:pt x="576" y="808"/>
                </a:lnTo>
                <a:lnTo>
                  <a:pt x="581" y="816"/>
                </a:lnTo>
                <a:lnTo>
                  <a:pt x="581" y="821"/>
                </a:lnTo>
                <a:lnTo>
                  <a:pt x="578" y="826"/>
                </a:lnTo>
                <a:lnTo>
                  <a:pt x="571" y="829"/>
                </a:lnTo>
                <a:lnTo>
                  <a:pt x="557" y="829"/>
                </a:lnTo>
                <a:lnTo>
                  <a:pt x="544" y="824"/>
                </a:lnTo>
                <a:lnTo>
                  <a:pt x="542" y="824"/>
                </a:lnTo>
                <a:lnTo>
                  <a:pt x="542" y="821"/>
                </a:lnTo>
                <a:lnTo>
                  <a:pt x="542" y="818"/>
                </a:lnTo>
                <a:lnTo>
                  <a:pt x="528" y="816"/>
                </a:lnTo>
                <a:lnTo>
                  <a:pt x="518" y="816"/>
                </a:lnTo>
                <a:lnTo>
                  <a:pt x="518" y="813"/>
                </a:lnTo>
                <a:lnTo>
                  <a:pt x="518" y="811"/>
                </a:lnTo>
                <a:lnTo>
                  <a:pt x="520" y="808"/>
                </a:lnTo>
                <a:lnTo>
                  <a:pt x="510" y="800"/>
                </a:lnTo>
                <a:lnTo>
                  <a:pt x="505" y="797"/>
                </a:lnTo>
                <a:lnTo>
                  <a:pt x="494" y="795"/>
                </a:lnTo>
                <a:lnTo>
                  <a:pt x="475" y="800"/>
                </a:lnTo>
                <a:lnTo>
                  <a:pt x="452" y="805"/>
                </a:lnTo>
                <a:lnTo>
                  <a:pt x="431" y="813"/>
                </a:lnTo>
                <a:lnTo>
                  <a:pt x="428" y="816"/>
                </a:lnTo>
                <a:lnTo>
                  <a:pt x="428" y="821"/>
                </a:lnTo>
                <a:lnTo>
                  <a:pt x="420" y="821"/>
                </a:lnTo>
                <a:lnTo>
                  <a:pt x="415" y="821"/>
                </a:lnTo>
                <a:lnTo>
                  <a:pt x="404" y="826"/>
                </a:lnTo>
                <a:lnTo>
                  <a:pt x="399" y="834"/>
                </a:lnTo>
                <a:lnTo>
                  <a:pt x="399" y="848"/>
                </a:lnTo>
                <a:lnTo>
                  <a:pt x="399" y="861"/>
                </a:lnTo>
                <a:lnTo>
                  <a:pt x="399" y="877"/>
                </a:lnTo>
                <a:lnTo>
                  <a:pt x="396" y="892"/>
                </a:lnTo>
                <a:lnTo>
                  <a:pt x="394" y="903"/>
                </a:lnTo>
                <a:lnTo>
                  <a:pt x="391" y="914"/>
                </a:lnTo>
                <a:lnTo>
                  <a:pt x="388" y="914"/>
                </a:lnTo>
                <a:lnTo>
                  <a:pt x="386" y="911"/>
                </a:lnTo>
                <a:lnTo>
                  <a:pt x="383" y="914"/>
                </a:lnTo>
                <a:lnTo>
                  <a:pt x="378" y="921"/>
                </a:lnTo>
                <a:lnTo>
                  <a:pt x="372" y="935"/>
                </a:lnTo>
                <a:lnTo>
                  <a:pt x="372" y="937"/>
                </a:lnTo>
                <a:lnTo>
                  <a:pt x="372" y="943"/>
                </a:lnTo>
                <a:lnTo>
                  <a:pt x="375" y="953"/>
                </a:lnTo>
                <a:lnTo>
                  <a:pt x="372" y="956"/>
                </a:lnTo>
                <a:lnTo>
                  <a:pt x="367" y="961"/>
                </a:lnTo>
                <a:lnTo>
                  <a:pt x="367" y="982"/>
                </a:lnTo>
                <a:lnTo>
                  <a:pt x="370" y="1006"/>
                </a:lnTo>
                <a:lnTo>
                  <a:pt x="375" y="1027"/>
                </a:lnTo>
                <a:lnTo>
                  <a:pt x="386" y="1048"/>
                </a:lnTo>
                <a:lnTo>
                  <a:pt x="396" y="1067"/>
                </a:lnTo>
                <a:lnTo>
                  <a:pt x="409" y="1080"/>
                </a:lnTo>
                <a:lnTo>
                  <a:pt x="417" y="1085"/>
                </a:lnTo>
                <a:lnTo>
                  <a:pt x="428" y="1090"/>
                </a:lnTo>
                <a:lnTo>
                  <a:pt x="438" y="1090"/>
                </a:lnTo>
                <a:lnTo>
                  <a:pt x="449" y="1090"/>
                </a:lnTo>
                <a:lnTo>
                  <a:pt x="462" y="1088"/>
                </a:lnTo>
                <a:lnTo>
                  <a:pt x="489" y="1083"/>
                </a:lnTo>
                <a:lnTo>
                  <a:pt x="505" y="1075"/>
                </a:lnTo>
                <a:lnTo>
                  <a:pt x="518" y="1064"/>
                </a:lnTo>
                <a:lnTo>
                  <a:pt x="528" y="1054"/>
                </a:lnTo>
                <a:lnTo>
                  <a:pt x="531" y="1046"/>
                </a:lnTo>
                <a:lnTo>
                  <a:pt x="534" y="1038"/>
                </a:lnTo>
                <a:lnTo>
                  <a:pt x="534" y="1027"/>
                </a:lnTo>
                <a:lnTo>
                  <a:pt x="539" y="1022"/>
                </a:lnTo>
                <a:lnTo>
                  <a:pt x="544" y="1017"/>
                </a:lnTo>
                <a:lnTo>
                  <a:pt x="549" y="1011"/>
                </a:lnTo>
                <a:lnTo>
                  <a:pt x="565" y="1009"/>
                </a:lnTo>
                <a:lnTo>
                  <a:pt x="581" y="1009"/>
                </a:lnTo>
                <a:lnTo>
                  <a:pt x="592" y="1009"/>
                </a:lnTo>
                <a:lnTo>
                  <a:pt x="613" y="1011"/>
                </a:lnTo>
                <a:lnTo>
                  <a:pt x="610" y="1024"/>
                </a:lnTo>
                <a:lnTo>
                  <a:pt x="608" y="1027"/>
                </a:lnTo>
                <a:lnTo>
                  <a:pt x="605" y="1027"/>
                </a:lnTo>
                <a:lnTo>
                  <a:pt x="602" y="1027"/>
                </a:lnTo>
                <a:lnTo>
                  <a:pt x="600" y="1030"/>
                </a:lnTo>
                <a:lnTo>
                  <a:pt x="600" y="1040"/>
                </a:lnTo>
                <a:lnTo>
                  <a:pt x="600" y="1048"/>
                </a:lnTo>
                <a:lnTo>
                  <a:pt x="592" y="1056"/>
                </a:lnTo>
                <a:lnTo>
                  <a:pt x="592" y="1061"/>
                </a:lnTo>
                <a:lnTo>
                  <a:pt x="592" y="1067"/>
                </a:lnTo>
                <a:lnTo>
                  <a:pt x="586" y="1077"/>
                </a:lnTo>
                <a:lnTo>
                  <a:pt x="586" y="1088"/>
                </a:lnTo>
                <a:lnTo>
                  <a:pt x="589" y="1114"/>
                </a:lnTo>
                <a:lnTo>
                  <a:pt x="592" y="1117"/>
                </a:lnTo>
                <a:lnTo>
                  <a:pt x="597" y="1120"/>
                </a:lnTo>
                <a:lnTo>
                  <a:pt x="594" y="1125"/>
                </a:lnTo>
                <a:lnTo>
                  <a:pt x="592" y="1130"/>
                </a:lnTo>
                <a:lnTo>
                  <a:pt x="589" y="1141"/>
                </a:lnTo>
                <a:lnTo>
                  <a:pt x="586" y="1146"/>
                </a:lnTo>
                <a:lnTo>
                  <a:pt x="584" y="1149"/>
                </a:lnTo>
                <a:lnTo>
                  <a:pt x="613" y="1143"/>
                </a:lnTo>
                <a:lnTo>
                  <a:pt x="615" y="1146"/>
                </a:lnTo>
                <a:lnTo>
                  <a:pt x="615" y="1149"/>
                </a:lnTo>
                <a:lnTo>
                  <a:pt x="615" y="1151"/>
                </a:lnTo>
                <a:lnTo>
                  <a:pt x="626" y="1146"/>
                </a:lnTo>
                <a:lnTo>
                  <a:pt x="637" y="1143"/>
                </a:lnTo>
                <a:lnTo>
                  <a:pt x="639" y="1143"/>
                </a:lnTo>
                <a:lnTo>
                  <a:pt x="645" y="1146"/>
                </a:lnTo>
                <a:lnTo>
                  <a:pt x="652" y="1141"/>
                </a:lnTo>
                <a:lnTo>
                  <a:pt x="655" y="1138"/>
                </a:lnTo>
                <a:lnTo>
                  <a:pt x="658" y="1141"/>
                </a:lnTo>
                <a:lnTo>
                  <a:pt x="655" y="1146"/>
                </a:lnTo>
                <a:lnTo>
                  <a:pt x="658" y="1149"/>
                </a:lnTo>
                <a:lnTo>
                  <a:pt x="671" y="1151"/>
                </a:lnTo>
                <a:lnTo>
                  <a:pt x="684" y="1154"/>
                </a:lnTo>
                <a:lnTo>
                  <a:pt x="697" y="1159"/>
                </a:lnTo>
                <a:lnTo>
                  <a:pt x="705" y="1170"/>
                </a:lnTo>
                <a:lnTo>
                  <a:pt x="705" y="1175"/>
                </a:lnTo>
                <a:lnTo>
                  <a:pt x="708" y="1183"/>
                </a:lnTo>
                <a:lnTo>
                  <a:pt x="705" y="1201"/>
                </a:lnTo>
                <a:lnTo>
                  <a:pt x="703" y="1217"/>
                </a:lnTo>
                <a:lnTo>
                  <a:pt x="695" y="1236"/>
                </a:lnTo>
                <a:lnTo>
                  <a:pt x="692" y="1244"/>
                </a:lnTo>
                <a:lnTo>
                  <a:pt x="689" y="1252"/>
                </a:lnTo>
                <a:lnTo>
                  <a:pt x="689" y="1262"/>
                </a:lnTo>
                <a:lnTo>
                  <a:pt x="689" y="1278"/>
                </a:lnTo>
                <a:lnTo>
                  <a:pt x="705" y="1291"/>
                </a:lnTo>
                <a:lnTo>
                  <a:pt x="711" y="1302"/>
                </a:lnTo>
                <a:lnTo>
                  <a:pt x="719" y="1310"/>
                </a:lnTo>
                <a:lnTo>
                  <a:pt x="724" y="1312"/>
                </a:lnTo>
                <a:lnTo>
                  <a:pt x="729" y="1312"/>
                </a:lnTo>
                <a:lnTo>
                  <a:pt x="734" y="1323"/>
                </a:lnTo>
                <a:lnTo>
                  <a:pt x="740" y="1331"/>
                </a:lnTo>
                <a:lnTo>
                  <a:pt x="745" y="1331"/>
                </a:lnTo>
                <a:lnTo>
                  <a:pt x="748" y="1328"/>
                </a:lnTo>
                <a:lnTo>
                  <a:pt x="753" y="1323"/>
                </a:lnTo>
                <a:lnTo>
                  <a:pt x="758" y="1320"/>
                </a:lnTo>
                <a:lnTo>
                  <a:pt x="777" y="1307"/>
                </a:lnTo>
                <a:lnTo>
                  <a:pt x="787" y="1299"/>
                </a:lnTo>
                <a:lnTo>
                  <a:pt x="790" y="1302"/>
                </a:lnTo>
                <a:lnTo>
                  <a:pt x="795" y="1302"/>
                </a:lnTo>
                <a:lnTo>
                  <a:pt x="806" y="1299"/>
                </a:lnTo>
                <a:lnTo>
                  <a:pt x="816" y="1296"/>
                </a:lnTo>
                <a:lnTo>
                  <a:pt x="827" y="1299"/>
                </a:lnTo>
                <a:lnTo>
                  <a:pt x="840" y="1304"/>
                </a:lnTo>
                <a:lnTo>
                  <a:pt x="840" y="1312"/>
                </a:lnTo>
                <a:lnTo>
                  <a:pt x="840" y="1318"/>
                </a:lnTo>
                <a:lnTo>
                  <a:pt x="845" y="1320"/>
                </a:lnTo>
                <a:lnTo>
                  <a:pt x="848" y="1320"/>
                </a:lnTo>
                <a:lnTo>
                  <a:pt x="853" y="1320"/>
                </a:lnTo>
                <a:lnTo>
                  <a:pt x="856" y="1323"/>
                </a:lnTo>
                <a:lnTo>
                  <a:pt x="864" y="1315"/>
                </a:lnTo>
                <a:lnTo>
                  <a:pt x="872" y="1304"/>
                </a:lnTo>
                <a:lnTo>
                  <a:pt x="874" y="1302"/>
                </a:lnTo>
                <a:lnTo>
                  <a:pt x="903" y="1265"/>
                </a:lnTo>
                <a:lnTo>
                  <a:pt x="909" y="1259"/>
                </a:lnTo>
                <a:lnTo>
                  <a:pt x="919" y="1254"/>
                </a:lnTo>
                <a:lnTo>
                  <a:pt x="943" y="1244"/>
                </a:lnTo>
                <a:lnTo>
                  <a:pt x="967" y="1233"/>
                </a:lnTo>
                <a:lnTo>
                  <a:pt x="975" y="1228"/>
                </a:lnTo>
                <a:lnTo>
                  <a:pt x="983" y="1225"/>
                </a:lnTo>
                <a:lnTo>
                  <a:pt x="985" y="1228"/>
                </a:lnTo>
                <a:lnTo>
                  <a:pt x="993" y="1236"/>
                </a:lnTo>
                <a:lnTo>
                  <a:pt x="996" y="1241"/>
                </a:lnTo>
                <a:lnTo>
                  <a:pt x="996" y="1249"/>
                </a:lnTo>
                <a:lnTo>
                  <a:pt x="993" y="1257"/>
                </a:lnTo>
                <a:lnTo>
                  <a:pt x="985" y="1265"/>
                </a:lnTo>
                <a:lnTo>
                  <a:pt x="972" y="1283"/>
                </a:lnTo>
                <a:lnTo>
                  <a:pt x="964" y="1299"/>
                </a:lnTo>
                <a:lnTo>
                  <a:pt x="964" y="1307"/>
                </a:lnTo>
                <a:lnTo>
                  <a:pt x="964" y="1312"/>
                </a:lnTo>
                <a:lnTo>
                  <a:pt x="967" y="1315"/>
                </a:lnTo>
                <a:lnTo>
                  <a:pt x="972" y="1315"/>
                </a:lnTo>
                <a:lnTo>
                  <a:pt x="980" y="1312"/>
                </a:lnTo>
                <a:lnTo>
                  <a:pt x="985" y="1304"/>
                </a:lnTo>
                <a:lnTo>
                  <a:pt x="999" y="1283"/>
                </a:lnTo>
                <a:lnTo>
                  <a:pt x="1020" y="1236"/>
                </a:lnTo>
                <a:lnTo>
                  <a:pt x="1025" y="1228"/>
                </a:lnTo>
                <a:lnTo>
                  <a:pt x="1030" y="1225"/>
                </a:lnTo>
                <a:lnTo>
                  <a:pt x="1036" y="1228"/>
                </a:lnTo>
                <a:lnTo>
                  <a:pt x="1041" y="1230"/>
                </a:lnTo>
                <a:lnTo>
                  <a:pt x="1049" y="1236"/>
                </a:lnTo>
                <a:lnTo>
                  <a:pt x="1065" y="1257"/>
                </a:lnTo>
                <a:lnTo>
                  <a:pt x="1073" y="1265"/>
                </a:lnTo>
                <a:lnTo>
                  <a:pt x="1078" y="1270"/>
                </a:lnTo>
                <a:lnTo>
                  <a:pt x="1086" y="1273"/>
                </a:lnTo>
                <a:lnTo>
                  <a:pt x="1094" y="1275"/>
                </a:lnTo>
                <a:lnTo>
                  <a:pt x="1110" y="1273"/>
                </a:lnTo>
                <a:lnTo>
                  <a:pt x="1123" y="1267"/>
                </a:lnTo>
                <a:lnTo>
                  <a:pt x="1128" y="1267"/>
                </a:lnTo>
                <a:lnTo>
                  <a:pt x="1136" y="1267"/>
                </a:lnTo>
                <a:lnTo>
                  <a:pt x="1147" y="1270"/>
                </a:lnTo>
                <a:lnTo>
                  <a:pt x="1144" y="1262"/>
                </a:lnTo>
                <a:lnTo>
                  <a:pt x="1147" y="1257"/>
                </a:lnTo>
                <a:lnTo>
                  <a:pt x="1152" y="1252"/>
                </a:lnTo>
                <a:lnTo>
                  <a:pt x="1154" y="1252"/>
                </a:lnTo>
                <a:lnTo>
                  <a:pt x="1162" y="1254"/>
                </a:lnTo>
                <a:lnTo>
                  <a:pt x="1168" y="1254"/>
                </a:lnTo>
                <a:lnTo>
                  <a:pt x="1173" y="1254"/>
                </a:lnTo>
                <a:lnTo>
                  <a:pt x="1194" y="1246"/>
                </a:lnTo>
                <a:lnTo>
                  <a:pt x="1202" y="1244"/>
                </a:lnTo>
                <a:lnTo>
                  <a:pt x="1210" y="1244"/>
                </a:lnTo>
                <a:lnTo>
                  <a:pt x="1236" y="1262"/>
                </a:lnTo>
                <a:lnTo>
                  <a:pt x="1271" y="1289"/>
                </a:lnTo>
                <a:lnTo>
                  <a:pt x="1276" y="1291"/>
                </a:lnTo>
                <a:lnTo>
                  <a:pt x="1287" y="1291"/>
                </a:lnTo>
                <a:lnTo>
                  <a:pt x="1295" y="1291"/>
                </a:lnTo>
                <a:lnTo>
                  <a:pt x="1300" y="1294"/>
                </a:lnTo>
                <a:lnTo>
                  <a:pt x="1300" y="1296"/>
                </a:lnTo>
                <a:lnTo>
                  <a:pt x="1297" y="1302"/>
                </a:lnTo>
                <a:lnTo>
                  <a:pt x="1295" y="1304"/>
                </a:lnTo>
                <a:lnTo>
                  <a:pt x="1295" y="1307"/>
                </a:lnTo>
                <a:lnTo>
                  <a:pt x="1313" y="1323"/>
                </a:lnTo>
                <a:lnTo>
                  <a:pt x="1326" y="1323"/>
                </a:lnTo>
                <a:lnTo>
                  <a:pt x="1355" y="1320"/>
                </a:lnTo>
                <a:lnTo>
                  <a:pt x="1387" y="1320"/>
                </a:lnTo>
                <a:lnTo>
                  <a:pt x="1398" y="1323"/>
                </a:lnTo>
                <a:lnTo>
                  <a:pt x="1400" y="1326"/>
                </a:lnTo>
                <a:lnTo>
                  <a:pt x="1403" y="1328"/>
                </a:lnTo>
                <a:lnTo>
                  <a:pt x="1405" y="1344"/>
                </a:lnTo>
                <a:lnTo>
                  <a:pt x="1408" y="1344"/>
                </a:lnTo>
                <a:lnTo>
                  <a:pt x="1413" y="1347"/>
                </a:lnTo>
                <a:lnTo>
                  <a:pt x="1416" y="1352"/>
                </a:lnTo>
                <a:lnTo>
                  <a:pt x="1419" y="1357"/>
                </a:lnTo>
                <a:lnTo>
                  <a:pt x="1421" y="1365"/>
                </a:lnTo>
                <a:lnTo>
                  <a:pt x="1421" y="1378"/>
                </a:lnTo>
                <a:lnTo>
                  <a:pt x="1427" y="1378"/>
                </a:lnTo>
                <a:lnTo>
                  <a:pt x="1432" y="1378"/>
                </a:lnTo>
                <a:lnTo>
                  <a:pt x="1437" y="1381"/>
                </a:lnTo>
                <a:lnTo>
                  <a:pt x="1445" y="1386"/>
                </a:lnTo>
                <a:lnTo>
                  <a:pt x="1448" y="1394"/>
                </a:lnTo>
                <a:lnTo>
                  <a:pt x="1450" y="1407"/>
                </a:lnTo>
                <a:lnTo>
                  <a:pt x="1450" y="1423"/>
                </a:lnTo>
                <a:lnTo>
                  <a:pt x="1456" y="1421"/>
                </a:lnTo>
                <a:lnTo>
                  <a:pt x="1461" y="1418"/>
                </a:lnTo>
                <a:lnTo>
                  <a:pt x="1472" y="1418"/>
                </a:lnTo>
                <a:lnTo>
                  <a:pt x="1474" y="1421"/>
                </a:lnTo>
                <a:lnTo>
                  <a:pt x="1477" y="1423"/>
                </a:lnTo>
                <a:lnTo>
                  <a:pt x="1477" y="1426"/>
                </a:lnTo>
                <a:lnTo>
                  <a:pt x="1479" y="1428"/>
                </a:lnTo>
                <a:lnTo>
                  <a:pt x="1495" y="1436"/>
                </a:lnTo>
                <a:lnTo>
                  <a:pt x="1511" y="1442"/>
                </a:lnTo>
                <a:lnTo>
                  <a:pt x="1519" y="1442"/>
                </a:lnTo>
                <a:lnTo>
                  <a:pt x="1524" y="1436"/>
                </a:lnTo>
                <a:lnTo>
                  <a:pt x="1527" y="1434"/>
                </a:lnTo>
                <a:lnTo>
                  <a:pt x="1530" y="1431"/>
                </a:lnTo>
                <a:lnTo>
                  <a:pt x="1546" y="1439"/>
                </a:lnTo>
                <a:lnTo>
                  <a:pt x="1567" y="1450"/>
                </a:lnTo>
                <a:lnTo>
                  <a:pt x="1588" y="1455"/>
                </a:lnTo>
                <a:lnTo>
                  <a:pt x="1598" y="1455"/>
                </a:lnTo>
                <a:lnTo>
                  <a:pt x="1606" y="1452"/>
                </a:lnTo>
                <a:lnTo>
                  <a:pt x="1612" y="1452"/>
                </a:lnTo>
                <a:lnTo>
                  <a:pt x="1620" y="1452"/>
                </a:lnTo>
                <a:lnTo>
                  <a:pt x="1635" y="1460"/>
                </a:lnTo>
                <a:lnTo>
                  <a:pt x="1646" y="1468"/>
                </a:lnTo>
                <a:lnTo>
                  <a:pt x="1651" y="1473"/>
                </a:lnTo>
                <a:lnTo>
                  <a:pt x="1641" y="1505"/>
                </a:lnTo>
                <a:lnTo>
                  <a:pt x="1630" y="1537"/>
                </a:lnTo>
                <a:lnTo>
                  <a:pt x="1617" y="1576"/>
                </a:lnTo>
                <a:lnTo>
                  <a:pt x="1604" y="1598"/>
                </a:lnTo>
                <a:lnTo>
                  <a:pt x="1590" y="1621"/>
                </a:lnTo>
                <a:lnTo>
                  <a:pt x="1588" y="1629"/>
                </a:lnTo>
                <a:lnTo>
                  <a:pt x="1585" y="1637"/>
                </a:lnTo>
                <a:lnTo>
                  <a:pt x="1575" y="1653"/>
                </a:lnTo>
                <a:lnTo>
                  <a:pt x="1572" y="1653"/>
                </a:lnTo>
                <a:lnTo>
                  <a:pt x="1569" y="1650"/>
                </a:lnTo>
                <a:lnTo>
                  <a:pt x="1564" y="1664"/>
                </a:lnTo>
                <a:lnTo>
                  <a:pt x="1559" y="1674"/>
                </a:lnTo>
                <a:lnTo>
                  <a:pt x="1561" y="1685"/>
                </a:lnTo>
                <a:lnTo>
                  <a:pt x="1561" y="1695"/>
                </a:lnTo>
                <a:lnTo>
                  <a:pt x="1556" y="1714"/>
                </a:lnTo>
                <a:lnTo>
                  <a:pt x="1553" y="1714"/>
                </a:lnTo>
                <a:lnTo>
                  <a:pt x="1551" y="1711"/>
                </a:lnTo>
                <a:lnTo>
                  <a:pt x="1548" y="1714"/>
                </a:lnTo>
                <a:lnTo>
                  <a:pt x="1548" y="1727"/>
                </a:lnTo>
                <a:lnTo>
                  <a:pt x="1546" y="1740"/>
                </a:lnTo>
                <a:lnTo>
                  <a:pt x="1543" y="1745"/>
                </a:lnTo>
                <a:lnTo>
                  <a:pt x="1540" y="1753"/>
                </a:lnTo>
                <a:lnTo>
                  <a:pt x="1532" y="1764"/>
                </a:lnTo>
                <a:lnTo>
                  <a:pt x="1522" y="1772"/>
                </a:lnTo>
                <a:lnTo>
                  <a:pt x="1490" y="1811"/>
                </a:lnTo>
                <a:lnTo>
                  <a:pt x="1466" y="1835"/>
                </a:lnTo>
                <a:lnTo>
                  <a:pt x="1448" y="1848"/>
                </a:lnTo>
                <a:lnTo>
                  <a:pt x="1440" y="1854"/>
                </a:lnTo>
                <a:lnTo>
                  <a:pt x="1432" y="1856"/>
                </a:lnTo>
                <a:lnTo>
                  <a:pt x="1419" y="1859"/>
                </a:lnTo>
                <a:lnTo>
                  <a:pt x="1405" y="1864"/>
                </a:lnTo>
                <a:lnTo>
                  <a:pt x="1390" y="1872"/>
                </a:lnTo>
                <a:lnTo>
                  <a:pt x="1374" y="1883"/>
                </a:lnTo>
                <a:lnTo>
                  <a:pt x="1358" y="1896"/>
                </a:lnTo>
                <a:lnTo>
                  <a:pt x="1345" y="1912"/>
                </a:lnTo>
                <a:lnTo>
                  <a:pt x="1334" y="1925"/>
                </a:lnTo>
                <a:lnTo>
                  <a:pt x="1326" y="1943"/>
                </a:lnTo>
                <a:lnTo>
                  <a:pt x="1321" y="1957"/>
                </a:lnTo>
                <a:lnTo>
                  <a:pt x="1318" y="1957"/>
                </a:lnTo>
                <a:lnTo>
                  <a:pt x="1316" y="1957"/>
                </a:lnTo>
                <a:lnTo>
                  <a:pt x="1316" y="1954"/>
                </a:lnTo>
                <a:lnTo>
                  <a:pt x="1313" y="1954"/>
                </a:lnTo>
                <a:lnTo>
                  <a:pt x="1310" y="1970"/>
                </a:lnTo>
                <a:lnTo>
                  <a:pt x="1287" y="1994"/>
                </a:lnTo>
                <a:lnTo>
                  <a:pt x="1276" y="2004"/>
                </a:lnTo>
                <a:lnTo>
                  <a:pt x="1265" y="2015"/>
                </a:lnTo>
                <a:lnTo>
                  <a:pt x="1255" y="2017"/>
                </a:lnTo>
                <a:lnTo>
                  <a:pt x="1247" y="2020"/>
                </a:lnTo>
                <a:lnTo>
                  <a:pt x="1242" y="2025"/>
                </a:lnTo>
                <a:lnTo>
                  <a:pt x="1234" y="2033"/>
                </a:lnTo>
                <a:lnTo>
                  <a:pt x="1228" y="2036"/>
                </a:lnTo>
                <a:lnTo>
                  <a:pt x="1226" y="2036"/>
                </a:lnTo>
                <a:lnTo>
                  <a:pt x="1223" y="2033"/>
                </a:lnTo>
                <a:lnTo>
                  <a:pt x="1221" y="2033"/>
                </a:lnTo>
                <a:lnTo>
                  <a:pt x="1218" y="2036"/>
                </a:lnTo>
                <a:lnTo>
                  <a:pt x="1213" y="2041"/>
                </a:lnTo>
                <a:lnTo>
                  <a:pt x="1197" y="2052"/>
                </a:lnTo>
                <a:lnTo>
                  <a:pt x="1149" y="2052"/>
                </a:lnTo>
                <a:lnTo>
                  <a:pt x="1149" y="2054"/>
                </a:lnTo>
                <a:lnTo>
                  <a:pt x="1147" y="2068"/>
                </a:lnTo>
                <a:lnTo>
                  <a:pt x="1144" y="2078"/>
                </a:lnTo>
                <a:lnTo>
                  <a:pt x="1139" y="2083"/>
                </a:lnTo>
                <a:lnTo>
                  <a:pt x="1131" y="2089"/>
                </a:lnTo>
                <a:lnTo>
                  <a:pt x="1110" y="2099"/>
                </a:lnTo>
                <a:lnTo>
                  <a:pt x="1078" y="2118"/>
                </a:lnTo>
                <a:lnTo>
                  <a:pt x="1012" y="2155"/>
                </a:lnTo>
                <a:lnTo>
                  <a:pt x="980" y="2171"/>
                </a:lnTo>
                <a:lnTo>
                  <a:pt x="954" y="2186"/>
                </a:lnTo>
                <a:lnTo>
                  <a:pt x="927" y="2205"/>
                </a:lnTo>
                <a:lnTo>
                  <a:pt x="898" y="2215"/>
                </a:lnTo>
                <a:lnTo>
                  <a:pt x="795" y="2229"/>
                </a:lnTo>
                <a:lnTo>
                  <a:pt x="885" y="2160"/>
                </a:lnTo>
                <a:lnTo>
                  <a:pt x="896" y="2149"/>
                </a:lnTo>
                <a:lnTo>
                  <a:pt x="919" y="2126"/>
                </a:lnTo>
                <a:lnTo>
                  <a:pt x="930" y="2110"/>
                </a:lnTo>
                <a:lnTo>
                  <a:pt x="940" y="2094"/>
                </a:lnTo>
                <a:lnTo>
                  <a:pt x="946" y="2078"/>
                </a:lnTo>
                <a:lnTo>
                  <a:pt x="948" y="2062"/>
                </a:lnTo>
                <a:lnTo>
                  <a:pt x="948" y="2049"/>
                </a:lnTo>
                <a:lnTo>
                  <a:pt x="954" y="2033"/>
                </a:lnTo>
                <a:lnTo>
                  <a:pt x="959" y="2017"/>
                </a:lnTo>
                <a:lnTo>
                  <a:pt x="967" y="2002"/>
                </a:lnTo>
                <a:lnTo>
                  <a:pt x="983" y="1978"/>
                </a:lnTo>
                <a:lnTo>
                  <a:pt x="991" y="1967"/>
                </a:lnTo>
                <a:lnTo>
                  <a:pt x="1001" y="1938"/>
                </a:lnTo>
                <a:lnTo>
                  <a:pt x="1004" y="1936"/>
                </a:lnTo>
                <a:lnTo>
                  <a:pt x="1012" y="1930"/>
                </a:lnTo>
                <a:lnTo>
                  <a:pt x="1020" y="1928"/>
                </a:lnTo>
                <a:lnTo>
                  <a:pt x="1022" y="1922"/>
                </a:lnTo>
                <a:lnTo>
                  <a:pt x="1020" y="1920"/>
                </a:lnTo>
                <a:lnTo>
                  <a:pt x="1014" y="1917"/>
                </a:lnTo>
                <a:lnTo>
                  <a:pt x="1012" y="1917"/>
                </a:lnTo>
                <a:lnTo>
                  <a:pt x="1009" y="1914"/>
                </a:lnTo>
                <a:lnTo>
                  <a:pt x="1014" y="1891"/>
                </a:lnTo>
                <a:lnTo>
                  <a:pt x="1014" y="1872"/>
                </a:lnTo>
                <a:lnTo>
                  <a:pt x="1014" y="1862"/>
                </a:lnTo>
                <a:lnTo>
                  <a:pt x="1012" y="1856"/>
                </a:lnTo>
                <a:lnTo>
                  <a:pt x="1007" y="1851"/>
                </a:lnTo>
                <a:lnTo>
                  <a:pt x="999" y="1848"/>
                </a:lnTo>
                <a:lnTo>
                  <a:pt x="985" y="1851"/>
                </a:lnTo>
                <a:lnTo>
                  <a:pt x="977" y="1851"/>
                </a:lnTo>
                <a:lnTo>
                  <a:pt x="970" y="1851"/>
                </a:lnTo>
                <a:lnTo>
                  <a:pt x="967" y="1848"/>
                </a:lnTo>
                <a:lnTo>
                  <a:pt x="962" y="1843"/>
                </a:lnTo>
                <a:lnTo>
                  <a:pt x="954" y="1838"/>
                </a:lnTo>
                <a:lnTo>
                  <a:pt x="948" y="1838"/>
                </a:lnTo>
                <a:lnTo>
                  <a:pt x="946" y="1838"/>
                </a:lnTo>
                <a:lnTo>
                  <a:pt x="943" y="1840"/>
                </a:lnTo>
                <a:lnTo>
                  <a:pt x="940" y="1840"/>
                </a:lnTo>
                <a:lnTo>
                  <a:pt x="919" y="1830"/>
                </a:lnTo>
                <a:lnTo>
                  <a:pt x="898" y="1819"/>
                </a:lnTo>
                <a:lnTo>
                  <a:pt x="882" y="1806"/>
                </a:lnTo>
                <a:lnTo>
                  <a:pt x="861" y="1764"/>
                </a:lnTo>
                <a:lnTo>
                  <a:pt x="845" y="1748"/>
                </a:lnTo>
                <a:lnTo>
                  <a:pt x="843" y="1719"/>
                </a:lnTo>
                <a:lnTo>
                  <a:pt x="827" y="1727"/>
                </a:lnTo>
                <a:lnTo>
                  <a:pt x="766" y="1661"/>
                </a:lnTo>
                <a:lnTo>
                  <a:pt x="763" y="1653"/>
                </a:lnTo>
                <a:lnTo>
                  <a:pt x="761" y="1640"/>
                </a:lnTo>
                <a:lnTo>
                  <a:pt x="761" y="1632"/>
                </a:lnTo>
                <a:lnTo>
                  <a:pt x="763" y="1621"/>
                </a:lnTo>
                <a:lnTo>
                  <a:pt x="771" y="1613"/>
                </a:lnTo>
                <a:lnTo>
                  <a:pt x="782" y="1605"/>
                </a:lnTo>
                <a:lnTo>
                  <a:pt x="782" y="1590"/>
                </a:lnTo>
                <a:lnTo>
                  <a:pt x="779" y="1579"/>
                </a:lnTo>
                <a:lnTo>
                  <a:pt x="777" y="1574"/>
                </a:lnTo>
                <a:lnTo>
                  <a:pt x="774" y="1568"/>
                </a:lnTo>
                <a:lnTo>
                  <a:pt x="769" y="1563"/>
                </a:lnTo>
                <a:lnTo>
                  <a:pt x="766" y="1555"/>
                </a:lnTo>
                <a:lnTo>
                  <a:pt x="769" y="1553"/>
                </a:lnTo>
                <a:lnTo>
                  <a:pt x="771" y="1547"/>
                </a:lnTo>
                <a:lnTo>
                  <a:pt x="779" y="1542"/>
                </a:lnTo>
                <a:lnTo>
                  <a:pt x="777" y="1539"/>
                </a:lnTo>
                <a:lnTo>
                  <a:pt x="771" y="1537"/>
                </a:lnTo>
                <a:lnTo>
                  <a:pt x="766" y="1534"/>
                </a:lnTo>
                <a:lnTo>
                  <a:pt x="766" y="1531"/>
                </a:lnTo>
                <a:lnTo>
                  <a:pt x="769" y="1521"/>
                </a:lnTo>
                <a:lnTo>
                  <a:pt x="774" y="1508"/>
                </a:lnTo>
                <a:lnTo>
                  <a:pt x="785" y="1497"/>
                </a:lnTo>
                <a:lnTo>
                  <a:pt x="790" y="1495"/>
                </a:lnTo>
                <a:lnTo>
                  <a:pt x="795" y="1492"/>
                </a:lnTo>
                <a:lnTo>
                  <a:pt x="800" y="1492"/>
                </a:lnTo>
                <a:lnTo>
                  <a:pt x="803" y="1492"/>
                </a:lnTo>
                <a:lnTo>
                  <a:pt x="806" y="1495"/>
                </a:lnTo>
                <a:lnTo>
                  <a:pt x="808" y="1492"/>
                </a:lnTo>
                <a:lnTo>
                  <a:pt x="822" y="1489"/>
                </a:lnTo>
                <a:lnTo>
                  <a:pt x="837" y="1481"/>
                </a:lnTo>
                <a:lnTo>
                  <a:pt x="837" y="1479"/>
                </a:lnTo>
                <a:lnTo>
                  <a:pt x="835" y="1479"/>
                </a:lnTo>
                <a:lnTo>
                  <a:pt x="832" y="1476"/>
                </a:lnTo>
                <a:lnTo>
                  <a:pt x="832" y="1473"/>
                </a:lnTo>
                <a:lnTo>
                  <a:pt x="845" y="1452"/>
                </a:lnTo>
                <a:lnTo>
                  <a:pt x="853" y="1431"/>
                </a:lnTo>
                <a:lnTo>
                  <a:pt x="856" y="1407"/>
                </a:lnTo>
                <a:lnTo>
                  <a:pt x="856" y="1397"/>
                </a:lnTo>
                <a:lnTo>
                  <a:pt x="853" y="1386"/>
                </a:lnTo>
                <a:lnTo>
                  <a:pt x="851" y="1378"/>
                </a:lnTo>
                <a:lnTo>
                  <a:pt x="845" y="1357"/>
                </a:lnTo>
                <a:lnTo>
                  <a:pt x="843" y="1357"/>
                </a:lnTo>
                <a:lnTo>
                  <a:pt x="840" y="1357"/>
                </a:lnTo>
                <a:lnTo>
                  <a:pt x="837" y="1352"/>
                </a:lnTo>
                <a:lnTo>
                  <a:pt x="840" y="1344"/>
                </a:lnTo>
                <a:lnTo>
                  <a:pt x="840" y="1339"/>
                </a:lnTo>
                <a:lnTo>
                  <a:pt x="837" y="1339"/>
                </a:lnTo>
                <a:lnTo>
                  <a:pt x="835" y="1339"/>
                </a:lnTo>
                <a:lnTo>
                  <a:pt x="832" y="1339"/>
                </a:lnTo>
                <a:lnTo>
                  <a:pt x="822" y="1323"/>
                </a:lnTo>
                <a:lnTo>
                  <a:pt x="816" y="1318"/>
                </a:lnTo>
                <a:lnTo>
                  <a:pt x="811" y="1318"/>
                </a:lnTo>
                <a:lnTo>
                  <a:pt x="803" y="1318"/>
                </a:lnTo>
                <a:lnTo>
                  <a:pt x="798" y="1318"/>
                </a:lnTo>
                <a:lnTo>
                  <a:pt x="795" y="1320"/>
                </a:lnTo>
                <a:lnTo>
                  <a:pt x="795" y="1328"/>
                </a:lnTo>
                <a:lnTo>
                  <a:pt x="795" y="1336"/>
                </a:lnTo>
                <a:lnTo>
                  <a:pt x="793" y="1339"/>
                </a:lnTo>
                <a:lnTo>
                  <a:pt x="790" y="1339"/>
                </a:lnTo>
                <a:lnTo>
                  <a:pt x="790" y="1341"/>
                </a:lnTo>
                <a:lnTo>
                  <a:pt x="790" y="1349"/>
                </a:lnTo>
                <a:lnTo>
                  <a:pt x="790" y="1357"/>
                </a:lnTo>
                <a:lnTo>
                  <a:pt x="787" y="1362"/>
                </a:lnTo>
                <a:lnTo>
                  <a:pt x="785" y="1368"/>
                </a:lnTo>
                <a:lnTo>
                  <a:pt x="779" y="1373"/>
                </a:lnTo>
                <a:lnTo>
                  <a:pt x="774" y="1373"/>
                </a:lnTo>
                <a:lnTo>
                  <a:pt x="763" y="1373"/>
                </a:lnTo>
                <a:lnTo>
                  <a:pt x="756" y="1370"/>
                </a:lnTo>
                <a:lnTo>
                  <a:pt x="742" y="1360"/>
                </a:lnTo>
                <a:lnTo>
                  <a:pt x="732" y="1349"/>
                </a:lnTo>
                <a:lnTo>
                  <a:pt x="729" y="1344"/>
                </a:lnTo>
                <a:lnTo>
                  <a:pt x="721" y="1339"/>
                </a:lnTo>
                <a:lnTo>
                  <a:pt x="705" y="1323"/>
                </a:lnTo>
                <a:lnTo>
                  <a:pt x="684" y="1310"/>
                </a:lnTo>
                <a:lnTo>
                  <a:pt x="674" y="1304"/>
                </a:lnTo>
                <a:lnTo>
                  <a:pt x="660" y="1302"/>
                </a:lnTo>
                <a:lnTo>
                  <a:pt x="652" y="1302"/>
                </a:lnTo>
                <a:lnTo>
                  <a:pt x="645" y="1299"/>
                </a:lnTo>
                <a:lnTo>
                  <a:pt x="639" y="1294"/>
                </a:lnTo>
                <a:lnTo>
                  <a:pt x="637" y="1286"/>
                </a:lnTo>
                <a:lnTo>
                  <a:pt x="634" y="1273"/>
                </a:lnTo>
                <a:lnTo>
                  <a:pt x="637" y="1262"/>
                </a:lnTo>
                <a:lnTo>
                  <a:pt x="637" y="1257"/>
                </a:lnTo>
                <a:lnTo>
                  <a:pt x="631" y="1249"/>
                </a:lnTo>
                <a:lnTo>
                  <a:pt x="615" y="1233"/>
                </a:lnTo>
                <a:lnTo>
                  <a:pt x="592" y="1217"/>
                </a:lnTo>
                <a:lnTo>
                  <a:pt x="581" y="1212"/>
                </a:lnTo>
                <a:lnTo>
                  <a:pt x="571" y="1212"/>
                </a:lnTo>
                <a:lnTo>
                  <a:pt x="549" y="1212"/>
                </a:lnTo>
                <a:lnTo>
                  <a:pt x="539" y="1209"/>
                </a:lnTo>
                <a:lnTo>
                  <a:pt x="526" y="1204"/>
                </a:lnTo>
                <a:lnTo>
                  <a:pt x="512" y="1196"/>
                </a:lnTo>
                <a:lnTo>
                  <a:pt x="499" y="1188"/>
                </a:lnTo>
                <a:lnTo>
                  <a:pt x="483" y="1172"/>
                </a:lnTo>
                <a:lnTo>
                  <a:pt x="468" y="1154"/>
                </a:lnTo>
                <a:lnTo>
                  <a:pt x="465" y="1149"/>
                </a:lnTo>
                <a:lnTo>
                  <a:pt x="460" y="1143"/>
                </a:lnTo>
                <a:lnTo>
                  <a:pt x="454" y="1138"/>
                </a:lnTo>
                <a:lnTo>
                  <a:pt x="449" y="1135"/>
                </a:lnTo>
                <a:lnTo>
                  <a:pt x="441" y="1135"/>
                </a:lnTo>
                <a:lnTo>
                  <a:pt x="431" y="1138"/>
                </a:lnTo>
                <a:lnTo>
                  <a:pt x="417" y="1146"/>
                </a:lnTo>
                <a:lnTo>
                  <a:pt x="412" y="1146"/>
                </a:lnTo>
                <a:lnTo>
                  <a:pt x="394" y="1146"/>
                </a:lnTo>
                <a:lnTo>
                  <a:pt x="378" y="1141"/>
                </a:lnTo>
                <a:lnTo>
                  <a:pt x="357" y="1135"/>
                </a:lnTo>
                <a:lnTo>
                  <a:pt x="330" y="1125"/>
                </a:lnTo>
                <a:lnTo>
                  <a:pt x="296" y="1109"/>
                </a:lnTo>
                <a:lnTo>
                  <a:pt x="291" y="1101"/>
                </a:lnTo>
                <a:lnTo>
                  <a:pt x="275" y="1085"/>
                </a:lnTo>
                <a:lnTo>
                  <a:pt x="251" y="1069"/>
                </a:lnTo>
                <a:lnTo>
                  <a:pt x="240" y="1064"/>
                </a:lnTo>
                <a:lnTo>
                  <a:pt x="230" y="1061"/>
                </a:lnTo>
                <a:lnTo>
                  <a:pt x="219" y="1061"/>
                </a:lnTo>
                <a:lnTo>
                  <a:pt x="209" y="1056"/>
                </a:lnTo>
                <a:lnTo>
                  <a:pt x="201" y="1051"/>
                </a:lnTo>
                <a:lnTo>
                  <a:pt x="193" y="1046"/>
                </a:lnTo>
                <a:lnTo>
                  <a:pt x="190" y="1035"/>
                </a:lnTo>
                <a:lnTo>
                  <a:pt x="187" y="1027"/>
                </a:lnTo>
                <a:lnTo>
                  <a:pt x="190" y="1017"/>
                </a:lnTo>
                <a:lnTo>
                  <a:pt x="195" y="1009"/>
                </a:lnTo>
                <a:lnTo>
                  <a:pt x="203" y="998"/>
                </a:lnTo>
                <a:lnTo>
                  <a:pt x="209" y="990"/>
                </a:lnTo>
                <a:lnTo>
                  <a:pt x="209" y="982"/>
                </a:lnTo>
                <a:lnTo>
                  <a:pt x="209" y="974"/>
                </a:lnTo>
                <a:lnTo>
                  <a:pt x="206" y="964"/>
                </a:lnTo>
                <a:lnTo>
                  <a:pt x="198" y="953"/>
                </a:lnTo>
                <a:lnTo>
                  <a:pt x="174" y="921"/>
                </a:lnTo>
                <a:lnTo>
                  <a:pt x="150" y="887"/>
                </a:lnTo>
                <a:lnTo>
                  <a:pt x="135" y="863"/>
                </a:lnTo>
                <a:lnTo>
                  <a:pt x="127" y="845"/>
                </a:lnTo>
                <a:lnTo>
                  <a:pt x="119" y="837"/>
                </a:lnTo>
                <a:lnTo>
                  <a:pt x="106" y="818"/>
                </a:lnTo>
                <a:lnTo>
                  <a:pt x="100" y="808"/>
                </a:lnTo>
                <a:lnTo>
                  <a:pt x="98" y="795"/>
                </a:lnTo>
                <a:lnTo>
                  <a:pt x="98" y="784"/>
                </a:lnTo>
                <a:lnTo>
                  <a:pt x="100" y="776"/>
                </a:lnTo>
                <a:lnTo>
                  <a:pt x="103" y="766"/>
                </a:lnTo>
                <a:lnTo>
                  <a:pt x="103" y="758"/>
                </a:lnTo>
                <a:lnTo>
                  <a:pt x="98" y="747"/>
                </a:lnTo>
                <a:lnTo>
                  <a:pt x="92" y="739"/>
                </a:lnTo>
                <a:lnTo>
                  <a:pt x="84" y="731"/>
                </a:lnTo>
                <a:lnTo>
                  <a:pt x="79" y="729"/>
                </a:lnTo>
                <a:lnTo>
                  <a:pt x="74" y="729"/>
                </a:lnTo>
                <a:lnTo>
                  <a:pt x="71" y="734"/>
                </a:lnTo>
                <a:lnTo>
                  <a:pt x="74" y="758"/>
                </a:lnTo>
                <a:lnTo>
                  <a:pt x="79" y="792"/>
                </a:lnTo>
                <a:lnTo>
                  <a:pt x="87" y="834"/>
                </a:lnTo>
                <a:lnTo>
                  <a:pt x="98" y="850"/>
                </a:lnTo>
                <a:lnTo>
                  <a:pt x="103" y="866"/>
                </a:lnTo>
                <a:lnTo>
                  <a:pt x="106" y="874"/>
                </a:lnTo>
                <a:lnTo>
                  <a:pt x="106" y="884"/>
                </a:lnTo>
                <a:lnTo>
                  <a:pt x="106" y="892"/>
                </a:lnTo>
                <a:lnTo>
                  <a:pt x="108" y="900"/>
                </a:lnTo>
                <a:lnTo>
                  <a:pt x="119" y="911"/>
                </a:lnTo>
                <a:lnTo>
                  <a:pt x="129" y="921"/>
                </a:lnTo>
                <a:lnTo>
                  <a:pt x="135" y="927"/>
                </a:lnTo>
                <a:lnTo>
                  <a:pt x="135" y="932"/>
                </a:lnTo>
                <a:lnTo>
                  <a:pt x="129" y="943"/>
                </a:lnTo>
                <a:lnTo>
                  <a:pt x="127" y="945"/>
                </a:lnTo>
                <a:lnTo>
                  <a:pt x="121" y="945"/>
                </a:lnTo>
                <a:lnTo>
                  <a:pt x="113" y="940"/>
                </a:lnTo>
                <a:lnTo>
                  <a:pt x="106" y="929"/>
                </a:lnTo>
                <a:lnTo>
                  <a:pt x="100" y="921"/>
                </a:lnTo>
                <a:lnTo>
                  <a:pt x="92" y="916"/>
                </a:lnTo>
                <a:lnTo>
                  <a:pt x="79" y="908"/>
                </a:lnTo>
                <a:lnTo>
                  <a:pt x="74" y="903"/>
                </a:lnTo>
                <a:lnTo>
                  <a:pt x="71" y="898"/>
                </a:lnTo>
                <a:lnTo>
                  <a:pt x="71" y="892"/>
                </a:lnTo>
                <a:lnTo>
                  <a:pt x="76" y="884"/>
                </a:lnTo>
                <a:lnTo>
                  <a:pt x="79" y="877"/>
                </a:lnTo>
                <a:lnTo>
                  <a:pt x="82" y="869"/>
                </a:lnTo>
                <a:lnTo>
                  <a:pt x="82" y="866"/>
                </a:lnTo>
                <a:lnTo>
                  <a:pt x="79" y="861"/>
                </a:lnTo>
                <a:lnTo>
                  <a:pt x="69" y="853"/>
                </a:lnTo>
                <a:lnTo>
                  <a:pt x="58" y="842"/>
                </a:lnTo>
                <a:lnTo>
                  <a:pt x="39" y="813"/>
                </a:lnTo>
                <a:lnTo>
                  <a:pt x="37" y="808"/>
                </a:lnTo>
                <a:lnTo>
                  <a:pt x="37" y="805"/>
                </a:lnTo>
                <a:lnTo>
                  <a:pt x="39" y="805"/>
                </a:lnTo>
                <a:lnTo>
                  <a:pt x="47" y="805"/>
                </a:lnTo>
                <a:lnTo>
                  <a:pt x="53" y="805"/>
                </a:lnTo>
                <a:lnTo>
                  <a:pt x="61" y="803"/>
                </a:lnTo>
                <a:lnTo>
                  <a:pt x="66" y="797"/>
                </a:lnTo>
                <a:lnTo>
                  <a:pt x="69" y="792"/>
                </a:lnTo>
                <a:lnTo>
                  <a:pt x="69" y="787"/>
                </a:lnTo>
                <a:lnTo>
                  <a:pt x="69" y="782"/>
                </a:lnTo>
                <a:lnTo>
                  <a:pt x="66" y="779"/>
                </a:lnTo>
                <a:lnTo>
                  <a:pt x="58" y="776"/>
                </a:lnTo>
                <a:lnTo>
                  <a:pt x="53" y="774"/>
                </a:lnTo>
                <a:lnTo>
                  <a:pt x="47" y="768"/>
                </a:lnTo>
                <a:lnTo>
                  <a:pt x="39" y="758"/>
                </a:lnTo>
                <a:lnTo>
                  <a:pt x="39" y="747"/>
                </a:lnTo>
                <a:lnTo>
                  <a:pt x="37" y="742"/>
                </a:lnTo>
                <a:lnTo>
                  <a:pt x="34" y="671"/>
                </a:lnTo>
                <a:lnTo>
                  <a:pt x="29" y="671"/>
                </a:lnTo>
                <a:lnTo>
                  <a:pt x="16" y="665"/>
                </a:lnTo>
                <a:lnTo>
                  <a:pt x="10" y="660"/>
                </a:lnTo>
                <a:lnTo>
                  <a:pt x="5" y="655"/>
                </a:lnTo>
                <a:lnTo>
                  <a:pt x="0" y="649"/>
                </a:lnTo>
                <a:lnTo>
                  <a:pt x="0" y="642"/>
                </a:lnTo>
                <a:lnTo>
                  <a:pt x="3" y="618"/>
                </a:lnTo>
                <a:lnTo>
                  <a:pt x="3" y="581"/>
                </a:lnTo>
                <a:lnTo>
                  <a:pt x="0" y="533"/>
                </a:lnTo>
                <a:lnTo>
                  <a:pt x="32" y="483"/>
                </a:lnTo>
                <a:lnTo>
                  <a:pt x="55" y="441"/>
                </a:lnTo>
                <a:lnTo>
                  <a:pt x="76" y="409"/>
                </a:lnTo>
                <a:lnTo>
                  <a:pt x="87" y="391"/>
                </a:lnTo>
                <a:lnTo>
                  <a:pt x="92" y="372"/>
                </a:lnTo>
                <a:lnTo>
                  <a:pt x="92" y="356"/>
                </a:lnTo>
                <a:lnTo>
                  <a:pt x="87" y="343"/>
                </a:lnTo>
                <a:lnTo>
                  <a:pt x="87" y="338"/>
                </a:lnTo>
                <a:lnTo>
                  <a:pt x="87" y="330"/>
                </a:lnTo>
                <a:lnTo>
                  <a:pt x="90" y="319"/>
                </a:lnTo>
                <a:lnTo>
                  <a:pt x="95" y="309"/>
                </a:lnTo>
                <a:lnTo>
                  <a:pt x="95" y="301"/>
                </a:lnTo>
                <a:lnTo>
                  <a:pt x="92" y="280"/>
                </a:lnTo>
                <a:lnTo>
                  <a:pt x="92" y="269"/>
                </a:lnTo>
                <a:lnTo>
                  <a:pt x="95" y="259"/>
                </a:lnTo>
                <a:lnTo>
                  <a:pt x="98" y="251"/>
                </a:lnTo>
                <a:lnTo>
                  <a:pt x="106" y="248"/>
                </a:lnTo>
                <a:lnTo>
                  <a:pt x="108" y="248"/>
                </a:lnTo>
                <a:lnTo>
                  <a:pt x="95" y="253"/>
                </a:lnTo>
                <a:lnTo>
                  <a:pt x="87" y="259"/>
                </a:lnTo>
                <a:lnTo>
                  <a:pt x="76" y="267"/>
                </a:lnTo>
                <a:lnTo>
                  <a:pt x="71" y="274"/>
                </a:lnTo>
                <a:lnTo>
                  <a:pt x="66" y="285"/>
                </a:lnTo>
                <a:lnTo>
                  <a:pt x="66" y="293"/>
                </a:lnTo>
                <a:lnTo>
                  <a:pt x="63" y="293"/>
                </a:lnTo>
                <a:lnTo>
                  <a:pt x="63" y="290"/>
                </a:lnTo>
                <a:lnTo>
                  <a:pt x="63" y="282"/>
                </a:lnTo>
                <a:lnTo>
                  <a:pt x="66" y="272"/>
                </a:lnTo>
                <a:lnTo>
                  <a:pt x="71" y="259"/>
                </a:lnTo>
                <a:lnTo>
                  <a:pt x="82" y="243"/>
                </a:lnTo>
                <a:lnTo>
                  <a:pt x="95" y="227"/>
                </a:lnTo>
                <a:lnTo>
                  <a:pt x="111" y="211"/>
                </a:lnTo>
                <a:lnTo>
                  <a:pt x="119" y="195"/>
                </a:lnTo>
                <a:lnTo>
                  <a:pt x="124" y="179"/>
                </a:lnTo>
                <a:lnTo>
                  <a:pt x="124" y="164"/>
                </a:lnTo>
                <a:lnTo>
                  <a:pt x="119" y="153"/>
                </a:lnTo>
                <a:lnTo>
                  <a:pt x="111" y="145"/>
                </a:lnTo>
                <a:lnTo>
                  <a:pt x="100" y="140"/>
                </a:lnTo>
                <a:lnTo>
                  <a:pt x="87" y="140"/>
                </a:lnTo>
                <a:lnTo>
                  <a:pt x="76" y="142"/>
                </a:lnTo>
                <a:lnTo>
                  <a:pt x="66" y="148"/>
                </a:lnTo>
                <a:lnTo>
                  <a:pt x="50" y="161"/>
                </a:lnTo>
                <a:lnTo>
                  <a:pt x="34" y="171"/>
                </a:lnTo>
                <a:lnTo>
                  <a:pt x="26" y="174"/>
                </a:lnTo>
                <a:lnTo>
                  <a:pt x="13" y="177"/>
                </a:lnTo>
                <a:lnTo>
                  <a:pt x="69" y="132"/>
                </a:lnTo>
                <a:lnTo>
                  <a:pt x="90" y="119"/>
                </a:lnTo>
                <a:lnTo>
                  <a:pt x="143" y="90"/>
                </a:lnTo>
                <a:lnTo>
                  <a:pt x="214" y="50"/>
                </a:lnTo>
                <a:lnTo>
                  <a:pt x="251" y="34"/>
                </a:lnTo>
                <a:lnTo>
                  <a:pt x="288" y="18"/>
                </a:lnTo>
                <a:lnTo>
                  <a:pt x="291" y="32"/>
                </a:lnTo>
                <a:lnTo>
                  <a:pt x="296" y="42"/>
                </a:lnTo>
                <a:lnTo>
                  <a:pt x="301" y="45"/>
                </a:lnTo>
                <a:lnTo>
                  <a:pt x="304" y="47"/>
                </a:lnTo>
                <a:lnTo>
                  <a:pt x="320" y="50"/>
                </a:lnTo>
                <a:lnTo>
                  <a:pt x="346" y="50"/>
                </a:lnTo>
                <a:lnTo>
                  <a:pt x="370" y="50"/>
                </a:lnTo>
                <a:lnTo>
                  <a:pt x="380" y="53"/>
                </a:lnTo>
                <a:lnTo>
                  <a:pt x="388" y="55"/>
                </a:lnTo>
                <a:lnTo>
                  <a:pt x="401" y="68"/>
                </a:lnTo>
                <a:lnTo>
                  <a:pt x="417" y="79"/>
                </a:lnTo>
                <a:lnTo>
                  <a:pt x="423" y="79"/>
                </a:lnTo>
                <a:lnTo>
                  <a:pt x="428" y="84"/>
                </a:lnTo>
                <a:lnTo>
                  <a:pt x="431" y="82"/>
                </a:lnTo>
                <a:lnTo>
                  <a:pt x="436" y="84"/>
                </a:lnTo>
                <a:lnTo>
                  <a:pt x="441" y="82"/>
                </a:lnTo>
                <a:lnTo>
                  <a:pt x="444" y="79"/>
                </a:lnTo>
                <a:lnTo>
                  <a:pt x="441" y="76"/>
                </a:lnTo>
                <a:lnTo>
                  <a:pt x="441" y="74"/>
                </a:lnTo>
                <a:lnTo>
                  <a:pt x="438" y="74"/>
                </a:lnTo>
                <a:lnTo>
                  <a:pt x="438" y="71"/>
                </a:lnTo>
                <a:lnTo>
                  <a:pt x="436" y="71"/>
                </a:lnTo>
                <a:lnTo>
                  <a:pt x="428" y="63"/>
                </a:lnTo>
                <a:lnTo>
                  <a:pt x="423" y="61"/>
                </a:lnTo>
                <a:lnTo>
                  <a:pt x="423" y="55"/>
                </a:lnTo>
                <a:lnTo>
                  <a:pt x="425" y="53"/>
                </a:lnTo>
                <a:lnTo>
                  <a:pt x="425" y="50"/>
                </a:lnTo>
                <a:lnTo>
                  <a:pt x="428" y="47"/>
                </a:lnTo>
                <a:lnTo>
                  <a:pt x="428" y="45"/>
                </a:lnTo>
                <a:lnTo>
                  <a:pt x="425" y="45"/>
                </a:lnTo>
                <a:lnTo>
                  <a:pt x="412" y="34"/>
                </a:lnTo>
                <a:lnTo>
                  <a:pt x="412" y="37"/>
                </a:lnTo>
                <a:lnTo>
                  <a:pt x="409" y="37"/>
                </a:lnTo>
                <a:lnTo>
                  <a:pt x="407" y="34"/>
                </a:lnTo>
                <a:lnTo>
                  <a:pt x="404" y="34"/>
                </a:lnTo>
                <a:lnTo>
                  <a:pt x="401" y="29"/>
                </a:lnTo>
                <a:lnTo>
                  <a:pt x="399" y="26"/>
                </a:lnTo>
                <a:lnTo>
                  <a:pt x="399" y="21"/>
                </a:lnTo>
                <a:lnTo>
                  <a:pt x="404" y="18"/>
                </a:lnTo>
                <a:lnTo>
                  <a:pt x="420" y="13"/>
                </a:lnTo>
                <a:lnTo>
                  <a:pt x="423" y="13"/>
                </a:lnTo>
                <a:lnTo>
                  <a:pt x="425" y="16"/>
                </a:lnTo>
                <a:lnTo>
                  <a:pt x="428" y="13"/>
                </a:lnTo>
                <a:lnTo>
                  <a:pt x="428" y="10"/>
                </a:lnTo>
                <a:lnTo>
                  <a:pt x="441" y="10"/>
                </a:lnTo>
                <a:lnTo>
                  <a:pt x="454" y="10"/>
                </a:lnTo>
                <a:lnTo>
                  <a:pt x="454" y="8"/>
                </a:lnTo>
                <a:lnTo>
                  <a:pt x="452" y="5"/>
                </a:lnTo>
                <a:lnTo>
                  <a:pt x="452" y="2"/>
                </a:lnTo>
                <a:lnTo>
                  <a:pt x="465" y="0"/>
                </a:lnTo>
                <a:lnTo>
                  <a:pt x="475" y="0"/>
                </a:lnTo>
                <a:lnTo>
                  <a:pt x="483" y="2"/>
                </a:lnTo>
                <a:lnTo>
                  <a:pt x="486" y="8"/>
                </a:lnTo>
                <a:lnTo>
                  <a:pt x="486" y="16"/>
                </a:lnTo>
                <a:lnTo>
                  <a:pt x="489" y="18"/>
                </a:lnTo>
                <a:lnTo>
                  <a:pt x="491" y="21"/>
                </a:lnTo>
                <a:lnTo>
                  <a:pt x="489" y="21"/>
                </a:lnTo>
                <a:lnTo>
                  <a:pt x="491" y="24"/>
                </a:lnTo>
                <a:lnTo>
                  <a:pt x="491" y="26"/>
                </a:lnTo>
                <a:lnTo>
                  <a:pt x="494" y="26"/>
                </a:lnTo>
                <a:lnTo>
                  <a:pt x="502" y="26"/>
                </a:lnTo>
                <a:lnTo>
                  <a:pt x="523" y="45"/>
                </a:lnTo>
                <a:lnTo>
                  <a:pt x="526" y="47"/>
                </a:lnTo>
                <a:lnTo>
                  <a:pt x="528" y="47"/>
                </a:lnTo>
                <a:lnTo>
                  <a:pt x="531" y="53"/>
                </a:lnTo>
                <a:lnTo>
                  <a:pt x="528" y="61"/>
                </a:lnTo>
                <a:lnTo>
                  <a:pt x="526" y="63"/>
                </a:lnTo>
                <a:lnTo>
                  <a:pt x="520" y="66"/>
                </a:lnTo>
                <a:lnTo>
                  <a:pt x="512" y="68"/>
                </a:lnTo>
                <a:lnTo>
                  <a:pt x="505" y="68"/>
                </a:lnTo>
                <a:lnTo>
                  <a:pt x="499" y="71"/>
                </a:lnTo>
                <a:lnTo>
                  <a:pt x="497" y="68"/>
                </a:lnTo>
                <a:lnTo>
                  <a:pt x="494" y="68"/>
                </a:lnTo>
                <a:lnTo>
                  <a:pt x="489" y="71"/>
                </a:lnTo>
                <a:lnTo>
                  <a:pt x="478" y="74"/>
                </a:lnTo>
                <a:lnTo>
                  <a:pt x="473" y="79"/>
                </a:lnTo>
                <a:lnTo>
                  <a:pt x="470" y="82"/>
                </a:lnTo>
                <a:lnTo>
                  <a:pt x="473" y="84"/>
                </a:lnTo>
                <a:lnTo>
                  <a:pt x="478" y="84"/>
                </a:lnTo>
                <a:lnTo>
                  <a:pt x="518" y="82"/>
                </a:lnTo>
                <a:lnTo>
                  <a:pt x="523" y="84"/>
                </a:lnTo>
                <a:lnTo>
                  <a:pt x="523" y="82"/>
                </a:lnTo>
                <a:lnTo>
                  <a:pt x="534" y="82"/>
                </a:lnTo>
                <a:lnTo>
                  <a:pt x="536" y="82"/>
                </a:lnTo>
                <a:lnTo>
                  <a:pt x="565" y="76"/>
                </a:lnTo>
                <a:lnTo>
                  <a:pt x="568" y="66"/>
                </a:lnTo>
                <a:lnTo>
                  <a:pt x="571" y="63"/>
                </a:lnTo>
                <a:lnTo>
                  <a:pt x="571" y="61"/>
                </a:lnTo>
                <a:lnTo>
                  <a:pt x="573" y="55"/>
                </a:lnTo>
                <a:lnTo>
                  <a:pt x="571" y="55"/>
                </a:lnTo>
                <a:lnTo>
                  <a:pt x="573" y="45"/>
                </a:lnTo>
                <a:lnTo>
                  <a:pt x="584" y="45"/>
                </a:lnTo>
                <a:lnTo>
                  <a:pt x="584" y="47"/>
                </a:lnTo>
                <a:lnTo>
                  <a:pt x="584" y="50"/>
                </a:lnTo>
                <a:lnTo>
                  <a:pt x="586" y="53"/>
                </a:lnTo>
                <a:lnTo>
                  <a:pt x="589" y="50"/>
                </a:lnTo>
                <a:lnTo>
                  <a:pt x="592" y="47"/>
                </a:lnTo>
                <a:lnTo>
                  <a:pt x="597" y="53"/>
                </a:lnTo>
                <a:lnTo>
                  <a:pt x="602" y="47"/>
                </a:lnTo>
                <a:lnTo>
                  <a:pt x="608" y="63"/>
                </a:lnTo>
                <a:lnTo>
                  <a:pt x="608" y="66"/>
                </a:lnTo>
                <a:lnTo>
                  <a:pt x="610" y="68"/>
                </a:lnTo>
                <a:lnTo>
                  <a:pt x="618" y="82"/>
                </a:lnTo>
                <a:lnTo>
                  <a:pt x="623" y="90"/>
                </a:lnTo>
                <a:lnTo>
                  <a:pt x="631" y="98"/>
                </a:lnTo>
                <a:lnTo>
                  <a:pt x="637" y="103"/>
                </a:lnTo>
                <a:lnTo>
                  <a:pt x="637" y="111"/>
                </a:lnTo>
                <a:lnTo>
                  <a:pt x="631" y="119"/>
                </a:lnTo>
                <a:lnTo>
                  <a:pt x="621" y="124"/>
                </a:lnTo>
                <a:lnTo>
                  <a:pt x="618" y="129"/>
                </a:lnTo>
                <a:lnTo>
                  <a:pt x="615" y="127"/>
                </a:lnTo>
                <a:lnTo>
                  <a:pt x="613" y="129"/>
                </a:lnTo>
                <a:lnTo>
                  <a:pt x="610" y="129"/>
                </a:lnTo>
                <a:lnTo>
                  <a:pt x="608" y="129"/>
                </a:lnTo>
                <a:lnTo>
                  <a:pt x="602" y="135"/>
                </a:lnTo>
                <a:lnTo>
                  <a:pt x="594" y="135"/>
                </a:lnTo>
                <a:lnTo>
                  <a:pt x="584" y="135"/>
                </a:lnTo>
                <a:lnTo>
                  <a:pt x="586" y="137"/>
                </a:lnTo>
                <a:lnTo>
                  <a:pt x="586" y="140"/>
                </a:lnTo>
                <a:lnTo>
                  <a:pt x="584" y="142"/>
                </a:lnTo>
                <a:lnTo>
                  <a:pt x="565" y="153"/>
                </a:lnTo>
                <a:lnTo>
                  <a:pt x="547" y="166"/>
                </a:lnTo>
                <a:lnTo>
                  <a:pt x="542" y="177"/>
                </a:lnTo>
                <a:lnTo>
                  <a:pt x="536" y="185"/>
                </a:lnTo>
                <a:lnTo>
                  <a:pt x="536" y="195"/>
                </a:lnTo>
                <a:lnTo>
                  <a:pt x="536" y="208"/>
                </a:lnTo>
                <a:lnTo>
                  <a:pt x="539" y="211"/>
                </a:lnTo>
                <a:lnTo>
                  <a:pt x="552" y="219"/>
                </a:lnTo>
                <a:lnTo>
                  <a:pt x="578" y="232"/>
                </a:lnTo>
                <a:lnTo>
                  <a:pt x="615" y="248"/>
                </a:lnTo>
                <a:lnTo>
                  <a:pt x="652" y="261"/>
                </a:lnTo>
                <a:lnTo>
                  <a:pt x="674" y="272"/>
                </a:lnTo>
                <a:lnTo>
                  <a:pt x="679" y="274"/>
                </a:lnTo>
                <a:lnTo>
                  <a:pt x="684" y="280"/>
                </a:lnTo>
                <a:lnTo>
                  <a:pt x="687" y="293"/>
                </a:lnTo>
                <a:lnTo>
                  <a:pt x="695" y="311"/>
                </a:lnTo>
                <a:lnTo>
                  <a:pt x="703" y="330"/>
                </a:lnTo>
                <a:lnTo>
                  <a:pt x="711" y="335"/>
                </a:lnTo>
                <a:lnTo>
                  <a:pt x="716" y="340"/>
                </a:lnTo>
                <a:lnTo>
                  <a:pt x="724" y="343"/>
                </a:lnTo>
                <a:lnTo>
                  <a:pt x="732" y="338"/>
                </a:lnTo>
                <a:lnTo>
                  <a:pt x="737" y="335"/>
                </a:lnTo>
                <a:lnTo>
                  <a:pt x="742" y="327"/>
                </a:lnTo>
                <a:lnTo>
                  <a:pt x="745" y="322"/>
                </a:lnTo>
                <a:lnTo>
                  <a:pt x="745" y="314"/>
                </a:lnTo>
                <a:lnTo>
                  <a:pt x="745" y="306"/>
                </a:lnTo>
                <a:lnTo>
                  <a:pt x="742" y="296"/>
                </a:lnTo>
                <a:lnTo>
                  <a:pt x="734" y="280"/>
                </a:lnTo>
                <a:lnTo>
                  <a:pt x="734" y="272"/>
                </a:lnTo>
                <a:lnTo>
                  <a:pt x="737" y="267"/>
                </a:lnTo>
                <a:lnTo>
                  <a:pt x="740" y="264"/>
                </a:lnTo>
                <a:lnTo>
                  <a:pt x="745" y="261"/>
                </a:lnTo>
                <a:lnTo>
                  <a:pt x="756" y="259"/>
                </a:lnTo>
                <a:lnTo>
                  <a:pt x="758" y="256"/>
                </a:lnTo>
                <a:lnTo>
                  <a:pt x="766" y="251"/>
                </a:lnTo>
                <a:lnTo>
                  <a:pt x="769" y="248"/>
                </a:lnTo>
                <a:lnTo>
                  <a:pt x="771" y="243"/>
                </a:lnTo>
                <a:lnTo>
                  <a:pt x="771" y="235"/>
                </a:lnTo>
                <a:lnTo>
                  <a:pt x="769" y="230"/>
                </a:lnTo>
                <a:lnTo>
                  <a:pt x="753" y="219"/>
                </a:lnTo>
                <a:lnTo>
                  <a:pt x="745" y="208"/>
                </a:lnTo>
                <a:lnTo>
                  <a:pt x="740" y="203"/>
                </a:lnTo>
                <a:lnTo>
                  <a:pt x="740" y="201"/>
                </a:lnTo>
                <a:lnTo>
                  <a:pt x="740" y="195"/>
                </a:lnTo>
                <a:lnTo>
                  <a:pt x="742" y="190"/>
                </a:lnTo>
                <a:lnTo>
                  <a:pt x="742" y="182"/>
                </a:lnTo>
                <a:lnTo>
                  <a:pt x="740" y="179"/>
                </a:lnTo>
                <a:lnTo>
                  <a:pt x="734" y="177"/>
                </a:lnTo>
                <a:lnTo>
                  <a:pt x="734" y="166"/>
                </a:lnTo>
                <a:lnTo>
                  <a:pt x="737" y="164"/>
                </a:lnTo>
                <a:lnTo>
                  <a:pt x="740" y="161"/>
                </a:lnTo>
                <a:lnTo>
                  <a:pt x="753" y="153"/>
                </a:lnTo>
                <a:lnTo>
                  <a:pt x="761" y="150"/>
                </a:lnTo>
                <a:lnTo>
                  <a:pt x="766" y="150"/>
                </a:lnTo>
                <a:lnTo>
                  <a:pt x="774" y="153"/>
                </a:lnTo>
                <a:lnTo>
                  <a:pt x="785" y="156"/>
                </a:lnTo>
                <a:lnTo>
                  <a:pt x="787" y="156"/>
                </a:lnTo>
                <a:lnTo>
                  <a:pt x="790" y="153"/>
                </a:lnTo>
                <a:lnTo>
                  <a:pt x="793" y="153"/>
                </a:lnTo>
                <a:lnTo>
                  <a:pt x="803" y="156"/>
                </a:lnTo>
                <a:lnTo>
                  <a:pt x="814" y="161"/>
                </a:lnTo>
                <a:lnTo>
                  <a:pt x="824" y="169"/>
                </a:lnTo>
                <a:lnTo>
                  <a:pt x="830" y="179"/>
                </a:lnTo>
                <a:lnTo>
                  <a:pt x="832" y="187"/>
                </a:lnTo>
                <a:lnTo>
                  <a:pt x="840" y="201"/>
                </a:lnTo>
                <a:lnTo>
                  <a:pt x="845" y="208"/>
                </a:lnTo>
                <a:lnTo>
                  <a:pt x="851" y="211"/>
                </a:lnTo>
                <a:lnTo>
                  <a:pt x="859" y="214"/>
                </a:lnTo>
                <a:lnTo>
                  <a:pt x="866" y="211"/>
                </a:lnTo>
                <a:lnTo>
                  <a:pt x="880" y="195"/>
                </a:lnTo>
                <a:lnTo>
                  <a:pt x="885" y="182"/>
                </a:lnTo>
                <a:lnTo>
                  <a:pt x="888" y="177"/>
                </a:lnTo>
                <a:lnTo>
                  <a:pt x="885" y="174"/>
                </a:lnTo>
                <a:lnTo>
                  <a:pt x="888" y="174"/>
                </a:lnTo>
                <a:lnTo>
                  <a:pt x="893" y="174"/>
                </a:lnTo>
                <a:lnTo>
                  <a:pt x="903" y="182"/>
                </a:lnTo>
                <a:lnTo>
                  <a:pt x="917" y="195"/>
                </a:lnTo>
                <a:lnTo>
                  <a:pt x="927" y="206"/>
                </a:lnTo>
                <a:lnTo>
                  <a:pt x="940" y="214"/>
                </a:lnTo>
                <a:lnTo>
                  <a:pt x="940" y="216"/>
                </a:lnTo>
                <a:lnTo>
                  <a:pt x="940" y="219"/>
                </a:lnTo>
                <a:lnTo>
                  <a:pt x="940" y="222"/>
                </a:lnTo>
                <a:lnTo>
                  <a:pt x="954" y="224"/>
                </a:lnTo>
                <a:lnTo>
                  <a:pt x="964" y="227"/>
                </a:lnTo>
                <a:lnTo>
                  <a:pt x="1025" y="253"/>
                </a:lnTo>
                <a:lnTo>
                  <a:pt x="1036" y="259"/>
                </a:lnTo>
                <a:lnTo>
                  <a:pt x="1054" y="272"/>
                </a:lnTo>
                <a:lnTo>
                  <a:pt x="1059" y="277"/>
                </a:lnTo>
                <a:lnTo>
                  <a:pt x="1062" y="282"/>
                </a:lnTo>
                <a:lnTo>
                  <a:pt x="1067" y="304"/>
                </a:lnTo>
                <a:lnTo>
                  <a:pt x="1073" y="319"/>
                </a:lnTo>
                <a:lnTo>
                  <a:pt x="1083" y="335"/>
                </a:lnTo>
                <a:lnTo>
                  <a:pt x="1107" y="343"/>
                </a:lnTo>
                <a:lnTo>
                  <a:pt x="1125" y="354"/>
                </a:lnTo>
                <a:lnTo>
                  <a:pt x="1131" y="359"/>
                </a:lnTo>
                <a:lnTo>
                  <a:pt x="1136" y="364"/>
                </a:lnTo>
                <a:lnTo>
                  <a:pt x="1139" y="375"/>
                </a:lnTo>
                <a:lnTo>
                  <a:pt x="1136" y="388"/>
                </a:lnTo>
                <a:lnTo>
                  <a:pt x="1136" y="393"/>
                </a:lnTo>
                <a:lnTo>
                  <a:pt x="1131" y="396"/>
                </a:lnTo>
                <a:lnTo>
                  <a:pt x="1125" y="399"/>
                </a:lnTo>
                <a:lnTo>
                  <a:pt x="1117" y="399"/>
                </a:lnTo>
                <a:lnTo>
                  <a:pt x="1102" y="396"/>
                </a:lnTo>
                <a:lnTo>
                  <a:pt x="1086" y="391"/>
                </a:lnTo>
                <a:lnTo>
                  <a:pt x="1083" y="385"/>
                </a:lnTo>
                <a:lnTo>
                  <a:pt x="1081" y="380"/>
                </a:lnTo>
                <a:lnTo>
                  <a:pt x="1078" y="383"/>
                </a:lnTo>
                <a:lnTo>
                  <a:pt x="1073" y="385"/>
                </a:lnTo>
                <a:lnTo>
                  <a:pt x="1059" y="380"/>
                </a:lnTo>
                <a:lnTo>
                  <a:pt x="1054" y="375"/>
                </a:lnTo>
                <a:lnTo>
                  <a:pt x="1057" y="354"/>
                </a:lnTo>
                <a:lnTo>
                  <a:pt x="1057" y="335"/>
                </a:lnTo>
                <a:lnTo>
                  <a:pt x="1057" y="327"/>
                </a:lnTo>
                <a:lnTo>
                  <a:pt x="1057" y="317"/>
                </a:lnTo>
                <a:lnTo>
                  <a:pt x="1054" y="311"/>
                </a:lnTo>
                <a:lnTo>
                  <a:pt x="1051" y="311"/>
                </a:lnTo>
                <a:lnTo>
                  <a:pt x="1046" y="314"/>
                </a:lnTo>
                <a:lnTo>
                  <a:pt x="1036" y="322"/>
                </a:lnTo>
                <a:lnTo>
                  <a:pt x="1038" y="325"/>
                </a:lnTo>
                <a:lnTo>
                  <a:pt x="1041" y="333"/>
                </a:lnTo>
                <a:lnTo>
                  <a:pt x="1041" y="335"/>
                </a:lnTo>
                <a:lnTo>
                  <a:pt x="1036" y="340"/>
                </a:lnTo>
                <a:lnTo>
                  <a:pt x="1028" y="343"/>
                </a:lnTo>
                <a:lnTo>
                  <a:pt x="1017" y="343"/>
                </a:lnTo>
                <a:lnTo>
                  <a:pt x="1004" y="343"/>
                </a:lnTo>
                <a:lnTo>
                  <a:pt x="991" y="338"/>
                </a:lnTo>
                <a:lnTo>
                  <a:pt x="967" y="333"/>
                </a:lnTo>
                <a:lnTo>
                  <a:pt x="956" y="330"/>
                </a:lnTo>
                <a:lnTo>
                  <a:pt x="946" y="333"/>
                </a:lnTo>
                <a:lnTo>
                  <a:pt x="935" y="338"/>
                </a:lnTo>
                <a:lnTo>
                  <a:pt x="927" y="348"/>
                </a:lnTo>
                <a:lnTo>
                  <a:pt x="906" y="388"/>
                </a:lnTo>
                <a:lnTo>
                  <a:pt x="917" y="383"/>
                </a:lnTo>
                <a:lnTo>
                  <a:pt x="938" y="370"/>
                </a:lnTo>
                <a:lnTo>
                  <a:pt x="948" y="367"/>
                </a:lnTo>
                <a:lnTo>
                  <a:pt x="959" y="364"/>
                </a:lnTo>
                <a:lnTo>
                  <a:pt x="967" y="364"/>
                </a:lnTo>
                <a:lnTo>
                  <a:pt x="970" y="367"/>
                </a:lnTo>
                <a:lnTo>
                  <a:pt x="972" y="370"/>
                </a:lnTo>
                <a:lnTo>
                  <a:pt x="970" y="383"/>
                </a:lnTo>
                <a:lnTo>
                  <a:pt x="970" y="396"/>
                </a:lnTo>
                <a:lnTo>
                  <a:pt x="972" y="404"/>
                </a:lnTo>
                <a:lnTo>
                  <a:pt x="975" y="407"/>
                </a:lnTo>
                <a:lnTo>
                  <a:pt x="985" y="409"/>
                </a:lnTo>
                <a:lnTo>
                  <a:pt x="1001" y="407"/>
                </a:lnTo>
                <a:lnTo>
                  <a:pt x="1012" y="407"/>
                </a:lnTo>
                <a:lnTo>
                  <a:pt x="1017" y="409"/>
                </a:lnTo>
                <a:lnTo>
                  <a:pt x="1017" y="414"/>
                </a:lnTo>
                <a:lnTo>
                  <a:pt x="1025" y="407"/>
                </a:lnTo>
                <a:lnTo>
                  <a:pt x="1033" y="401"/>
                </a:lnTo>
                <a:lnTo>
                  <a:pt x="1038" y="399"/>
                </a:lnTo>
                <a:lnTo>
                  <a:pt x="1041" y="401"/>
                </a:lnTo>
                <a:lnTo>
                  <a:pt x="1044" y="407"/>
                </a:lnTo>
                <a:lnTo>
                  <a:pt x="1046" y="407"/>
                </a:lnTo>
                <a:lnTo>
                  <a:pt x="1049" y="404"/>
                </a:lnTo>
                <a:lnTo>
                  <a:pt x="1051" y="414"/>
                </a:lnTo>
                <a:lnTo>
                  <a:pt x="1059" y="420"/>
                </a:lnTo>
                <a:lnTo>
                  <a:pt x="1062" y="420"/>
                </a:lnTo>
                <a:lnTo>
                  <a:pt x="1044" y="438"/>
                </a:lnTo>
                <a:lnTo>
                  <a:pt x="1004" y="473"/>
                </a:lnTo>
                <a:lnTo>
                  <a:pt x="996" y="478"/>
                </a:lnTo>
                <a:lnTo>
                  <a:pt x="991" y="478"/>
                </a:lnTo>
                <a:lnTo>
                  <a:pt x="988" y="475"/>
                </a:lnTo>
                <a:lnTo>
                  <a:pt x="988" y="467"/>
                </a:lnTo>
                <a:lnTo>
                  <a:pt x="991" y="451"/>
                </a:lnTo>
                <a:lnTo>
                  <a:pt x="993" y="436"/>
                </a:lnTo>
                <a:lnTo>
                  <a:pt x="991" y="433"/>
                </a:lnTo>
                <a:lnTo>
                  <a:pt x="991" y="430"/>
                </a:lnTo>
                <a:lnTo>
                  <a:pt x="983" y="436"/>
                </a:lnTo>
                <a:lnTo>
                  <a:pt x="970" y="443"/>
                </a:lnTo>
                <a:lnTo>
                  <a:pt x="948" y="462"/>
                </a:lnTo>
                <a:lnTo>
                  <a:pt x="927" y="475"/>
                </a:lnTo>
                <a:lnTo>
                  <a:pt x="903" y="488"/>
                </a:lnTo>
                <a:lnTo>
                  <a:pt x="909" y="510"/>
                </a:lnTo>
                <a:lnTo>
                  <a:pt x="909" y="523"/>
                </a:lnTo>
                <a:lnTo>
                  <a:pt x="906" y="528"/>
                </a:lnTo>
                <a:lnTo>
                  <a:pt x="903" y="533"/>
                </a:lnTo>
                <a:lnTo>
                  <a:pt x="896" y="539"/>
                </a:lnTo>
                <a:lnTo>
                  <a:pt x="890" y="539"/>
                </a:lnTo>
                <a:lnTo>
                  <a:pt x="888" y="541"/>
                </a:lnTo>
                <a:lnTo>
                  <a:pt x="885" y="544"/>
                </a:lnTo>
                <a:lnTo>
                  <a:pt x="874" y="544"/>
                </a:lnTo>
                <a:lnTo>
                  <a:pt x="866" y="546"/>
                </a:lnTo>
                <a:lnTo>
                  <a:pt x="861" y="549"/>
                </a:lnTo>
                <a:lnTo>
                  <a:pt x="861" y="552"/>
                </a:lnTo>
                <a:lnTo>
                  <a:pt x="859" y="554"/>
                </a:lnTo>
                <a:lnTo>
                  <a:pt x="837" y="570"/>
                </a:lnTo>
                <a:lnTo>
                  <a:pt x="840" y="573"/>
                </a:lnTo>
                <a:lnTo>
                  <a:pt x="843" y="576"/>
                </a:lnTo>
                <a:lnTo>
                  <a:pt x="830" y="597"/>
                </a:lnTo>
                <a:lnTo>
                  <a:pt x="830" y="607"/>
                </a:lnTo>
                <a:lnTo>
                  <a:pt x="832" y="620"/>
                </a:lnTo>
                <a:lnTo>
                  <a:pt x="835" y="636"/>
                </a:lnTo>
                <a:lnTo>
                  <a:pt x="837" y="644"/>
                </a:lnTo>
                <a:lnTo>
                  <a:pt x="837" y="652"/>
                </a:lnTo>
                <a:lnTo>
                  <a:pt x="830" y="671"/>
                </a:lnTo>
                <a:lnTo>
                  <a:pt x="824" y="673"/>
                </a:lnTo>
                <a:lnTo>
                  <a:pt x="822" y="681"/>
                </a:lnTo>
                <a:lnTo>
                  <a:pt x="816" y="689"/>
                </a:lnTo>
                <a:lnTo>
                  <a:pt x="814" y="689"/>
                </a:lnTo>
                <a:lnTo>
                  <a:pt x="811" y="686"/>
                </a:lnTo>
                <a:lnTo>
                  <a:pt x="811" y="692"/>
                </a:lnTo>
                <a:lnTo>
                  <a:pt x="808" y="697"/>
                </a:lnTo>
                <a:lnTo>
                  <a:pt x="806" y="700"/>
                </a:lnTo>
                <a:lnTo>
                  <a:pt x="806" y="702"/>
                </a:lnTo>
                <a:lnTo>
                  <a:pt x="795" y="705"/>
                </a:lnTo>
                <a:lnTo>
                  <a:pt x="782" y="708"/>
                </a:lnTo>
                <a:lnTo>
                  <a:pt x="777" y="705"/>
                </a:lnTo>
                <a:lnTo>
                  <a:pt x="774" y="705"/>
                </a:lnTo>
                <a:lnTo>
                  <a:pt x="771" y="710"/>
                </a:lnTo>
                <a:lnTo>
                  <a:pt x="771" y="718"/>
                </a:lnTo>
                <a:lnTo>
                  <a:pt x="769" y="726"/>
                </a:lnTo>
                <a:lnTo>
                  <a:pt x="766" y="726"/>
                </a:lnTo>
                <a:lnTo>
                  <a:pt x="763" y="723"/>
                </a:lnTo>
                <a:lnTo>
                  <a:pt x="761" y="721"/>
                </a:lnTo>
                <a:lnTo>
                  <a:pt x="758" y="721"/>
                </a:lnTo>
                <a:lnTo>
                  <a:pt x="748" y="731"/>
                </a:lnTo>
                <a:lnTo>
                  <a:pt x="742" y="745"/>
                </a:lnTo>
                <a:lnTo>
                  <a:pt x="740" y="747"/>
                </a:lnTo>
                <a:lnTo>
                  <a:pt x="737" y="747"/>
                </a:lnTo>
                <a:lnTo>
                  <a:pt x="737" y="755"/>
                </a:lnTo>
                <a:lnTo>
                  <a:pt x="734" y="766"/>
                </a:lnTo>
                <a:lnTo>
                  <a:pt x="732" y="776"/>
                </a:lnTo>
                <a:lnTo>
                  <a:pt x="734" y="789"/>
                </a:lnTo>
                <a:lnTo>
                  <a:pt x="740" y="803"/>
                </a:lnTo>
                <a:lnTo>
                  <a:pt x="748" y="821"/>
                </a:lnTo>
                <a:lnTo>
                  <a:pt x="750" y="832"/>
                </a:lnTo>
                <a:lnTo>
                  <a:pt x="753" y="845"/>
                </a:lnTo>
                <a:lnTo>
                  <a:pt x="756" y="848"/>
                </a:lnTo>
                <a:lnTo>
                  <a:pt x="758" y="848"/>
                </a:lnTo>
                <a:lnTo>
                  <a:pt x="763" y="871"/>
                </a:lnTo>
                <a:lnTo>
                  <a:pt x="769" y="892"/>
                </a:lnTo>
                <a:lnTo>
                  <a:pt x="769" y="911"/>
                </a:lnTo>
                <a:lnTo>
                  <a:pt x="766" y="916"/>
                </a:lnTo>
                <a:lnTo>
                  <a:pt x="761" y="919"/>
                </a:lnTo>
                <a:lnTo>
                  <a:pt x="753" y="921"/>
                </a:lnTo>
                <a:lnTo>
                  <a:pt x="748" y="919"/>
                </a:lnTo>
                <a:lnTo>
                  <a:pt x="734" y="911"/>
                </a:lnTo>
                <a:lnTo>
                  <a:pt x="726" y="898"/>
                </a:lnTo>
                <a:lnTo>
                  <a:pt x="724" y="890"/>
                </a:lnTo>
                <a:lnTo>
                  <a:pt x="721" y="884"/>
                </a:lnTo>
                <a:lnTo>
                  <a:pt x="716" y="877"/>
                </a:lnTo>
                <a:close/>
              </a:path>
            </a:pathLst>
          </a:custGeom>
          <a:solidFill>
            <a:schemeClr val="tx1">
              <a:lumMod val="50000"/>
              <a:lumOff val="50000"/>
            </a:schemeClr>
          </a:solidFill>
          <a:ln>
            <a:noFill/>
          </a:ln>
        </p:spPr>
        <p:txBody>
          <a:bodyPr/>
          <a:lstStyle/>
          <a:p>
            <a:pPr>
              <a:defRPr/>
            </a:pPr>
            <a:endParaRPr lang="en-US">
              <a:latin typeface="Calibri" charset="0"/>
              <a:ea typeface="ＭＳ Ｐゴシック" charset="0"/>
              <a:cs typeface="ＭＳ Ｐゴシック" charset="0"/>
            </a:endParaRPr>
          </a:p>
        </p:txBody>
      </p:sp>
      <p:grpSp>
        <p:nvGrpSpPr>
          <p:cNvPr id="17431" name="Group 14345"/>
          <p:cNvGrpSpPr>
            <a:grpSpLocks/>
          </p:cNvGrpSpPr>
          <p:nvPr/>
        </p:nvGrpSpPr>
        <p:grpSpPr bwMode="auto">
          <a:xfrm>
            <a:off x="4575175" y="1614488"/>
            <a:ext cx="515938" cy="449262"/>
            <a:chOff x="7310998" y="2755011"/>
            <a:chExt cx="896319" cy="779927"/>
          </a:xfrm>
        </p:grpSpPr>
        <p:grpSp>
          <p:nvGrpSpPr>
            <p:cNvPr id="76" name="Group 75"/>
            <p:cNvGrpSpPr/>
            <p:nvPr/>
          </p:nvGrpSpPr>
          <p:grpSpPr>
            <a:xfrm>
              <a:off x="7310998" y="3005097"/>
              <a:ext cx="688644" cy="529841"/>
              <a:chOff x="7215188" y="1"/>
              <a:chExt cx="2387921" cy="1837262"/>
            </a:xfrm>
            <a:solidFill>
              <a:srgbClr val="7F7F7F"/>
            </a:solidFill>
          </p:grpSpPr>
          <p:sp>
            <p:nvSpPr>
              <p:cNvPr id="77" name="Rectangle 76"/>
              <p:cNvSpPr/>
              <p:nvPr/>
            </p:nvSpPr>
            <p:spPr>
              <a:xfrm>
                <a:off x="7215188" y="714375"/>
                <a:ext cx="766762" cy="112288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8" name="Rectangle 77"/>
              <p:cNvSpPr/>
              <p:nvPr/>
            </p:nvSpPr>
            <p:spPr>
              <a:xfrm>
                <a:off x="8028384" y="1"/>
                <a:ext cx="766762" cy="183726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9" name="Rectangle 78"/>
              <p:cNvSpPr/>
              <p:nvPr/>
            </p:nvSpPr>
            <p:spPr>
              <a:xfrm>
                <a:off x="8836347" y="1142999"/>
                <a:ext cx="766762" cy="69426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sp>
          <p:nvSpPr>
            <p:cNvPr id="80" name="Freeform 79"/>
            <p:cNvSpPr/>
            <p:nvPr/>
          </p:nvSpPr>
          <p:spPr>
            <a:xfrm>
              <a:off x="7611610" y="2755011"/>
              <a:ext cx="595707" cy="625595"/>
            </a:xfrm>
            <a:custGeom>
              <a:avLst/>
              <a:gdLst>
                <a:gd name="connsiteX0" fmla="*/ 884 w 1200903"/>
                <a:gd name="connsiteY0" fmla="*/ 613386 h 1403466"/>
                <a:gd name="connsiteX1" fmla="*/ 236049 w 1200903"/>
                <a:gd name="connsiteY1" fmla="*/ 566346 h 1403466"/>
                <a:gd name="connsiteX2" fmla="*/ 502569 w 1200903"/>
                <a:gd name="connsiteY2" fmla="*/ 989704 h 1403466"/>
                <a:gd name="connsiteX3" fmla="*/ 627991 w 1200903"/>
                <a:gd name="connsiteY3" fmla="*/ 926984 h 1403466"/>
                <a:gd name="connsiteX4" fmla="*/ 1192387 w 1200903"/>
                <a:gd name="connsiteY4" fmla="*/ 1870 h 1403466"/>
                <a:gd name="connsiteX5" fmla="*/ 941544 w 1200903"/>
                <a:gd name="connsiteY5" fmla="*/ 707465 h 1403466"/>
                <a:gd name="connsiteX6" fmla="*/ 580958 w 1200903"/>
                <a:gd name="connsiteY6" fmla="*/ 1397381 h 1403466"/>
                <a:gd name="connsiteX7" fmla="*/ 173338 w 1200903"/>
                <a:gd name="connsiteY7" fmla="*/ 1021064 h 1403466"/>
                <a:gd name="connsiteX8" fmla="*/ 884 w 1200903"/>
                <a:gd name="connsiteY8" fmla="*/ 613386 h 1403466"/>
                <a:gd name="connsiteX0" fmla="*/ 884 w 1466748"/>
                <a:gd name="connsiteY0" fmla="*/ 1291081 h 2081161"/>
                <a:gd name="connsiteX1" fmla="*/ 236049 w 1466748"/>
                <a:gd name="connsiteY1" fmla="*/ 1244041 h 2081161"/>
                <a:gd name="connsiteX2" fmla="*/ 502569 w 1466748"/>
                <a:gd name="connsiteY2" fmla="*/ 1667399 h 2081161"/>
                <a:gd name="connsiteX3" fmla="*/ 627991 w 1466748"/>
                <a:gd name="connsiteY3" fmla="*/ 1604679 h 2081161"/>
                <a:gd name="connsiteX4" fmla="*/ 1462335 w 1466748"/>
                <a:gd name="connsiteY4" fmla="*/ 912 h 2081161"/>
                <a:gd name="connsiteX5" fmla="*/ 941544 w 1466748"/>
                <a:gd name="connsiteY5" fmla="*/ 1385160 h 2081161"/>
                <a:gd name="connsiteX6" fmla="*/ 580958 w 1466748"/>
                <a:gd name="connsiteY6" fmla="*/ 2075076 h 2081161"/>
                <a:gd name="connsiteX7" fmla="*/ 173338 w 1466748"/>
                <a:gd name="connsiteY7" fmla="*/ 1698759 h 2081161"/>
                <a:gd name="connsiteX8" fmla="*/ 884 w 1466748"/>
                <a:gd name="connsiteY8" fmla="*/ 1291081 h 208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6748" h="2081161">
                  <a:moveTo>
                    <a:pt x="884" y="1291081"/>
                  </a:moveTo>
                  <a:cubicBezTo>
                    <a:pt x="11336" y="1215295"/>
                    <a:pt x="152435" y="1181321"/>
                    <a:pt x="236049" y="1244041"/>
                  </a:cubicBezTo>
                  <a:cubicBezTo>
                    <a:pt x="319663" y="1306761"/>
                    <a:pt x="437245" y="1607293"/>
                    <a:pt x="502569" y="1667399"/>
                  </a:cubicBezTo>
                  <a:cubicBezTo>
                    <a:pt x="567893" y="1727505"/>
                    <a:pt x="468030" y="1882427"/>
                    <a:pt x="627991" y="1604679"/>
                  </a:cubicBezTo>
                  <a:cubicBezTo>
                    <a:pt x="787952" y="1326931"/>
                    <a:pt x="1410076" y="37498"/>
                    <a:pt x="1462335" y="912"/>
                  </a:cubicBezTo>
                  <a:cubicBezTo>
                    <a:pt x="1514594" y="-35674"/>
                    <a:pt x="1088440" y="1039466"/>
                    <a:pt x="941544" y="1385160"/>
                  </a:cubicBezTo>
                  <a:cubicBezTo>
                    <a:pt x="794648" y="1730854"/>
                    <a:pt x="708992" y="2022810"/>
                    <a:pt x="580958" y="2075076"/>
                  </a:cubicBezTo>
                  <a:cubicBezTo>
                    <a:pt x="452924" y="2127342"/>
                    <a:pt x="272630" y="1829425"/>
                    <a:pt x="173338" y="1698759"/>
                  </a:cubicBezTo>
                  <a:cubicBezTo>
                    <a:pt x="74046" y="1568093"/>
                    <a:pt x="-9568" y="1366867"/>
                    <a:pt x="884" y="1291081"/>
                  </a:cubicBezTo>
                  <a:close/>
                </a:path>
              </a:pathLst>
            </a:custGeom>
            <a:solidFill>
              <a:schemeClr val="tx1">
                <a:lumMod val="50000"/>
                <a:lumOff val="50000"/>
              </a:schemeClr>
            </a:solidFill>
            <a:ln>
              <a:solidFill>
                <a:schemeClr val="bg1">
                  <a:lumMod val="95000"/>
                </a:schemeClr>
              </a:solidFill>
            </a:ln>
          </p:spPr>
          <p:txBody>
            <a:bodyPr/>
            <a:lstStyle/>
            <a:p>
              <a:pPr>
                <a:defRPr/>
              </a:pPr>
              <a:endParaRPr lang="en-US">
                <a:latin typeface="Calibri" charset="0"/>
                <a:ea typeface="ＭＳ Ｐゴシック" charset="0"/>
                <a:cs typeface="ＭＳ Ｐゴシック" charset="0"/>
              </a:endParaRPr>
            </a:p>
          </p:txBody>
        </p:sp>
      </p:grpSp>
      <p:grpSp>
        <p:nvGrpSpPr>
          <p:cNvPr id="17432" name="Group 14348"/>
          <p:cNvGrpSpPr>
            <a:grpSpLocks/>
          </p:cNvGrpSpPr>
          <p:nvPr/>
        </p:nvGrpSpPr>
        <p:grpSpPr bwMode="auto">
          <a:xfrm>
            <a:off x="6767513" y="1630363"/>
            <a:ext cx="292100" cy="300037"/>
            <a:chOff x="6560717" y="1529660"/>
            <a:chExt cx="350323" cy="359271"/>
          </a:xfrm>
        </p:grpSpPr>
        <p:sp>
          <p:nvSpPr>
            <p:cNvPr id="14348" name="Oval 14347"/>
            <p:cNvSpPr/>
            <p:nvPr/>
          </p:nvSpPr>
          <p:spPr>
            <a:xfrm>
              <a:off x="6560717" y="1537264"/>
              <a:ext cx="350323" cy="351667"/>
            </a:xfrm>
            <a:prstGeom prst="ellipse">
              <a:avLst/>
            </a:prstGeom>
            <a:solidFill>
              <a:schemeClr val="bg1">
                <a:lumMod val="8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84" name="Freeform 83"/>
            <p:cNvSpPr/>
            <p:nvPr/>
          </p:nvSpPr>
          <p:spPr>
            <a:xfrm>
              <a:off x="6642585" y="1529660"/>
              <a:ext cx="268455" cy="281334"/>
            </a:xfrm>
            <a:custGeom>
              <a:avLst/>
              <a:gdLst>
                <a:gd name="connsiteX0" fmla="*/ 884 w 1200903"/>
                <a:gd name="connsiteY0" fmla="*/ 613386 h 1403466"/>
                <a:gd name="connsiteX1" fmla="*/ 236049 w 1200903"/>
                <a:gd name="connsiteY1" fmla="*/ 566346 h 1403466"/>
                <a:gd name="connsiteX2" fmla="*/ 502569 w 1200903"/>
                <a:gd name="connsiteY2" fmla="*/ 989704 h 1403466"/>
                <a:gd name="connsiteX3" fmla="*/ 627991 w 1200903"/>
                <a:gd name="connsiteY3" fmla="*/ 926984 h 1403466"/>
                <a:gd name="connsiteX4" fmla="*/ 1192387 w 1200903"/>
                <a:gd name="connsiteY4" fmla="*/ 1870 h 1403466"/>
                <a:gd name="connsiteX5" fmla="*/ 941544 w 1200903"/>
                <a:gd name="connsiteY5" fmla="*/ 707465 h 1403466"/>
                <a:gd name="connsiteX6" fmla="*/ 580958 w 1200903"/>
                <a:gd name="connsiteY6" fmla="*/ 1397381 h 1403466"/>
                <a:gd name="connsiteX7" fmla="*/ 173338 w 1200903"/>
                <a:gd name="connsiteY7" fmla="*/ 1021064 h 1403466"/>
                <a:gd name="connsiteX8" fmla="*/ 884 w 1200903"/>
                <a:gd name="connsiteY8" fmla="*/ 613386 h 1403466"/>
                <a:gd name="connsiteX0" fmla="*/ 884 w 1466748"/>
                <a:gd name="connsiteY0" fmla="*/ 1291081 h 2081161"/>
                <a:gd name="connsiteX1" fmla="*/ 236049 w 1466748"/>
                <a:gd name="connsiteY1" fmla="*/ 1244041 h 2081161"/>
                <a:gd name="connsiteX2" fmla="*/ 502569 w 1466748"/>
                <a:gd name="connsiteY2" fmla="*/ 1667399 h 2081161"/>
                <a:gd name="connsiteX3" fmla="*/ 627991 w 1466748"/>
                <a:gd name="connsiteY3" fmla="*/ 1604679 h 2081161"/>
                <a:gd name="connsiteX4" fmla="*/ 1462335 w 1466748"/>
                <a:gd name="connsiteY4" fmla="*/ 912 h 2081161"/>
                <a:gd name="connsiteX5" fmla="*/ 941544 w 1466748"/>
                <a:gd name="connsiteY5" fmla="*/ 1385160 h 2081161"/>
                <a:gd name="connsiteX6" fmla="*/ 580958 w 1466748"/>
                <a:gd name="connsiteY6" fmla="*/ 2075076 h 2081161"/>
                <a:gd name="connsiteX7" fmla="*/ 173338 w 1466748"/>
                <a:gd name="connsiteY7" fmla="*/ 1698759 h 2081161"/>
                <a:gd name="connsiteX8" fmla="*/ 884 w 1466748"/>
                <a:gd name="connsiteY8" fmla="*/ 1291081 h 208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6748" h="2081161">
                  <a:moveTo>
                    <a:pt x="884" y="1291081"/>
                  </a:moveTo>
                  <a:cubicBezTo>
                    <a:pt x="11336" y="1215295"/>
                    <a:pt x="152435" y="1181321"/>
                    <a:pt x="236049" y="1244041"/>
                  </a:cubicBezTo>
                  <a:cubicBezTo>
                    <a:pt x="319663" y="1306761"/>
                    <a:pt x="437245" y="1607293"/>
                    <a:pt x="502569" y="1667399"/>
                  </a:cubicBezTo>
                  <a:cubicBezTo>
                    <a:pt x="567893" y="1727505"/>
                    <a:pt x="468030" y="1882427"/>
                    <a:pt x="627991" y="1604679"/>
                  </a:cubicBezTo>
                  <a:cubicBezTo>
                    <a:pt x="787952" y="1326931"/>
                    <a:pt x="1410076" y="37498"/>
                    <a:pt x="1462335" y="912"/>
                  </a:cubicBezTo>
                  <a:cubicBezTo>
                    <a:pt x="1514594" y="-35674"/>
                    <a:pt x="1088440" y="1039466"/>
                    <a:pt x="941544" y="1385160"/>
                  </a:cubicBezTo>
                  <a:cubicBezTo>
                    <a:pt x="794648" y="1730854"/>
                    <a:pt x="708992" y="2022810"/>
                    <a:pt x="580958" y="2075076"/>
                  </a:cubicBezTo>
                  <a:cubicBezTo>
                    <a:pt x="452924" y="2127342"/>
                    <a:pt x="272630" y="1829425"/>
                    <a:pt x="173338" y="1698759"/>
                  </a:cubicBezTo>
                  <a:cubicBezTo>
                    <a:pt x="74046" y="1568093"/>
                    <a:pt x="-9568" y="1366867"/>
                    <a:pt x="884" y="1291081"/>
                  </a:cubicBezTo>
                  <a:close/>
                </a:path>
              </a:pathLst>
            </a:custGeom>
            <a:solidFill>
              <a:schemeClr val="accent3">
                <a:lumMod val="75000"/>
              </a:schemeClr>
            </a:solidFill>
            <a:ln>
              <a:solidFill>
                <a:schemeClr val="accent3">
                  <a:lumMod val="75000"/>
                </a:schemeClr>
              </a:solidFill>
            </a:ln>
          </p:spPr>
          <p:txBody>
            <a:bodyPr/>
            <a:lstStyle/>
            <a:p>
              <a:pPr>
                <a:defRPr/>
              </a:pPr>
              <a:endParaRPr lang="en-US">
                <a:latin typeface="Calibri" charset="0"/>
                <a:ea typeface="ＭＳ Ｐゴシック" charset="0"/>
                <a:cs typeface="ＭＳ Ｐゴシック" charset="0"/>
              </a:endParaRPr>
            </a:p>
          </p:txBody>
        </p:sp>
      </p:grpSp>
    </p:spTree>
    <p:extLst>
      <p:ext uri="{BB962C8B-B14F-4D97-AF65-F5344CB8AC3E}">
        <p14:creationId xmlns:p14="http://schemas.microsoft.com/office/powerpoint/2010/main" val="49059012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extBox 3"/>
          <p:cNvSpPr txBox="1">
            <a:spLocks noChangeArrowheads="1"/>
          </p:cNvSpPr>
          <p:nvPr/>
        </p:nvSpPr>
        <p:spPr bwMode="auto">
          <a:xfrm>
            <a:off x="296863" y="227013"/>
            <a:ext cx="307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800" b="1">
                <a:solidFill>
                  <a:srgbClr val="404040"/>
                </a:solidFill>
              </a:rPr>
              <a:t>BUSINESS EXCELLENCE </a:t>
            </a:r>
            <a:r>
              <a:rPr lang="en-US" sz="1800">
                <a:solidFill>
                  <a:srgbClr val="404040"/>
                </a:solidFill>
              </a:rPr>
              <a:t>MODEL</a:t>
            </a:r>
          </a:p>
        </p:txBody>
      </p:sp>
      <p:sp>
        <p:nvSpPr>
          <p:cNvPr id="6" name="Rounded Rectangle 5"/>
          <p:cNvSpPr/>
          <p:nvPr/>
        </p:nvSpPr>
        <p:spPr>
          <a:xfrm>
            <a:off x="793750" y="2540000"/>
            <a:ext cx="7556500" cy="1389063"/>
          </a:xfrm>
          <a:prstGeom prst="roundRect">
            <a:avLst>
              <a:gd name="adj" fmla="val 50000"/>
            </a:avLst>
          </a:prstGeom>
          <a:solidFill>
            <a:srgbClr val="BFBFBF"/>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chemeClr val="bg1">
                  <a:lumMod val="95000"/>
                </a:schemeClr>
              </a:solidFill>
            </a:endParaRPr>
          </a:p>
        </p:txBody>
      </p:sp>
      <p:cxnSp>
        <p:nvCxnSpPr>
          <p:cNvPr id="4" name="Straight Connector 3"/>
          <p:cNvCxnSpPr>
            <a:stCxn id="45" idx="6"/>
            <a:endCxn id="47" idx="2"/>
          </p:cNvCxnSpPr>
          <p:nvPr/>
        </p:nvCxnSpPr>
        <p:spPr>
          <a:xfrm>
            <a:off x="2101850" y="3233738"/>
            <a:ext cx="4927600" cy="0"/>
          </a:xfrm>
          <a:prstGeom prst="line">
            <a:avLst/>
          </a:prstGeom>
          <a:ln w="3175" cmpd="sng">
            <a:solidFill>
              <a:schemeClr val="bg1">
                <a:lumMod val="50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45" name="Oval 44"/>
          <p:cNvSpPr/>
          <p:nvPr/>
        </p:nvSpPr>
        <p:spPr>
          <a:xfrm>
            <a:off x="884238" y="2625725"/>
            <a:ext cx="1217612" cy="1216025"/>
          </a:xfrm>
          <a:prstGeom prst="ellipse">
            <a:avLst/>
          </a:prstGeom>
          <a:pattFill prst="dkDnDiag">
            <a:fgClr>
              <a:schemeClr val="tx2">
                <a:lumMod val="75000"/>
              </a:schemeClr>
            </a:fgClr>
            <a:bgClr>
              <a:schemeClr val="accent1">
                <a:lumMod val="50000"/>
              </a:schemeClr>
            </a:bgClr>
          </a:pattFill>
          <a:ln w="28575" cmpd="sng">
            <a:solidFill>
              <a:schemeClr val="tx2">
                <a:lumMod val="50000"/>
              </a:schemeClr>
            </a:solidFill>
          </a:ln>
          <a:effectLst/>
        </p:spPr>
        <p:style>
          <a:lnRef idx="1">
            <a:schemeClr val="accent1"/>
          </a:lnRef>
          <a:fillRef idx="3">
            <a:schemeClr val="accent1"/>
          </a:fillRef>
          <a:effectRef idx="2">
            <a:schemeClr val="accent1"/>
          </a:effectRef>
          <a:fontRef idx="minor">
            <a:schemeClr val="lt1"/>
          </a:fontRef>
        </p:style>
        <p:txBody>
          <a:bodyPr tIns="61200" bIns="68400" anchor="ctr"/>
          <a:lstStyle/>
          <a:p>
            <a:pPr algn="ctr" fontAlgn="auto">
              <a:spcBef>
                <a:spcPts val="0"/>
              </a:spcBef>
              <a:spcAft>
                <a:spcPts val="0"/>
              </a:spcAft>
              <a:defRPr/>
            </a:pPr>
            <a:r>
              <a:rPr lang="en-US" sz="3600" i="1" dirty="0">
                <a:solidFill>
                  <a:schemeClr val="accent1">
                    <a:lumMod val="60000"/>
                    <a:lumOff val="40000"/>
                  </a:schemeClr>
                </a:solidFill>
              </a:rPr>
              <a:t>1</a:t>
            </a:r>
          </a:p>
        </p:txBody>
      </p:sp>
      <p:sp>
        <p:nvSpPr>
          <p:cNvPr id="47" name="Oval 46"/>
          <p:cNvSpPr/>
          <p:nvPr/>
        </p:nvSpPr>
        <p:spPr>
          <a:xfrm>
            <a:off x="7029450" y="2625725"/>
            <a:ext cx="1217613" cy="1216025"/>
          </a:xfrm>
          <a:prstGeom prst="ellipse">
            <a:avLst/>
          </a:prstGeom>
          <a:pattFill prst="dkDnDiag">
            <a:fgClr>
              <a:schemeClr val="tx2">
                <a:lumMod val="75000"/>
              </a:schemeClr>
            </a:fgClr>
            <a:bgClr>
              <a:schemeClr val="accent1">
                <a:lumMod val="50000"/>
              </a:schemeClr>
            </a:bgClr>
          </a:pattFill>
          <a:ln w="28575" cmpd="sng">
            <a:solidFill>
              <a:schemeClr val="tx2">
                <a:lumMod val="50000"/>
              </a:schemeClr>
            </a:solidFill>
          </a:ln>
          <a:effectLst/>
        </p:spPr>
        <p:style>
          <a:lnRef idx="1">
            <a:schemeClr val="accent1"/>
          </a:lnRef>
          <a:fillRef idx="3">
            <a:schemeClr val="accent1"/>
          </a:fillRef>
          <a:effectRef idx="2">
            <a:schemeClr val="accent1"/>
          </a:effectRef>
          <a:fontRef idx="minor">
            <a:schemeClr val="lt1"/>
          </a:fontRef>
        </p:style>
        <p:txBody>
          <a:bodyPr tIns="61200" bIns="68400" anchor="ctr"/>
          <a:lstStyle/>
          <a:p>
            <a:pPr algn="ctr" fontAlgn="auto">
              <a:spcBef>
                <a:spcPts val="0"/>
              </a:spcBef>
              <a:spcAft>
                <a:spcPts val="0"/>
              </a:spcAft>
              <a:defRPr/>
            </a:pPr>
            <a:r>
              <a:rPr lang="en-US" sz="3600" i="1" dirty="0">
                <a:solidFill>
                  <a:schemeClr val="accent1">
                    <a:lumMod val="60000"/>
                    <a:lumOff val="40000"/>
                  </a:schemeClr>
                </a:solidFill>
              </a:rPr>
              <a:t>5</a:t>
            </a:r>
          </a:p>
        </p:txBody>
      </p:sp>
      <p:sp>
        <p:nvSpPr>
          <p:cNvPr id="48" name="Oval 47"/>
          <p:cNvSpPr/>
          <p:nvPr/>
        </p:nvSpPr>
        <p:spPr>
          <a:xfrm>
            <a:off x="5491163" y="2625725"/>
            <a:ext cx="1216025" cy="1216025"/>
          </a:xfrm>
          <a:prstGeom prst="ellipse">
            <a:avLst/>
          </a:prstGeom>
          <a:pattFill prst="dkDnDiag">
            <a:fgClr>
              <a:schemeClr val="accent3">
                <a:lumMod val="75000"/>
              </a:schemeClr>
            </a:fgClr>
            <a:bgClr>
              <a:srgbClr val="617932"/>
            </a:bgClr>
          </a:pattFill>
          <a:ln w="28575" cmpd="sng">
            <a:solidFill>
              <a:schemeClr val="accent3">
                <a:lumMod val="50000"/>
              </a:schemeClr>
            </a:solidFill>
          </a:ln>
          <a:effectLst/>
        </p:spPr>
        <p:style>
          <a:lnRef idx="1">
            <a:schemeClr val="accent1"/>
          </a:lnRef>
          <a:fillRef idx="3">
            <a:schemeClr val="accent1"/>
          </a:fillRef>
          <a:effectRef idx="2">
            <a:schemeClr val="accent1"/>
          </a:effectRef>
          <a:fontRef idx="minor">
            <a:schemeClr val="lt1"/>
          </a:fontRef>
        </p:style>
        <p:txBody>
          <a:bodyPr tIns="61200" bIns="68400" anchor="ctr"/>
          <a:lstStyle/>
          <a:p>
            <a:pPr algn="ctr" fontAlgn="auto">
              <a:spcBef>
                <a:spcPts val="0"/>
              </a:spcBef>
              <a:spcAft>
                <a:spcPts val="0"/>
              </a:spcAft>
              <a:defRPr/>
            </a:pPr>
            <a:r>
              <a:rPr lang="en-US" sz="3600" i="1" dirty="0">
                <a:solidFill>
                  <a:schemeClr val="accent3">
                    <a:lumMod val="60000"/>
                    <a:lumOff val="40000"/>
                  </a:schemeClr>
                </a:solidFill>
              </a:rPr>
              <a:t>4</a:t>
            </a:r>
          </a:p>
        </p:txBody>
      </p:sp>
      <p:sp>
        <p:nvSpPr>
          <p:cNvPr id="51" name="Oval 50"/>
          <p:cNvSpPr/>
          <p:nvPr/>
        </p:nvSpPr>
        <p:spPr>
          <a:xfrm>
            <a:off x="2403475" y="2625725"/>
            <a:ext cx="1217613" cy="1216025"/>
          </a:xfrm>
          <a:prstGeom prst="ellipse">
            <a:avLst/>
          </a:prstGeom>
          <a:pattFill prst="dkDnDiag">
            <a:fgClr>
              <a:schemeClr val="accent3">
                <a:lumMod val="75000"/>
              </a:schemeClr>
            </a:fgClr>
            <a:bgClr>
              <a:srgbClr val="617932"/>
            </a:bgClr>
          </a:pattFill>
          <a:ln w="28575" cmpd="sng">
            <a:solidFill>
              <a:schemeClr val="accent3">
                <a:lumMod val="50000"/>
              </a:schemeClr>
            </a:solidFill>
          </a:ln>
          <a:effectLst/>
        </p:spPr>
        <p:style>
          <a:lnRef idx="1">
            <a:schemeClr val="accent1"/>
          </a:lnRef>
          <a:fillRef idx="3">
            <a:schemeClr val="accent1"/>
          </a:fillRef>
          <a:effectRef idx="2">
            <a:schemeClr val="accent1"/>
          </a:effectRef>
          <a:fontRef idx="minor">
            <a:schemeClr val="lt1"/>
          </a:fontRef>
        </p:style>
        <p:txBody>
          <a:bodyPr tIns="61200" bIns="68400" anchor="ctr"/>
          <a:lstStyle/>
          <a:p>
            <a:pPr algn="ctr" fontAlgn="auto">
              <a:spcBef>
                <a:spcPts val="0"/>
              </a:spcBef>
              <a:spcAft>
                <a:spcPts val="0"/>
              </a:spcAft>
              <a:defRPr/>
            </a:pPr>
            <a:r>
              <a:rPr lang="en-US" sz="3600" i="1" dirty="0">
                <a:solidFill>
                  <a:schemeClr val="accent3">
                    <a:lumMod val="60000"/>
                    <a:lumOff val="40000"/>
                  </a:schemeClr>
                </a:solidFill>
              </a:rPr>
              <a:t>2</a:t>
            </a:r>
          </a:p>
        </p:txBody>
      </p:sp>
      <p:sp>
        <p:nvSpPr>
          <p:cNvPr id="57" name="Oval 56"/>
          <p:cNvSpPr/>
          <p:nvPr/>
        </p:nvSpPr>
        <p:spPr>
          <a:xfrm>
            <a:off x="3927475" y="2625725"/>
            <a:ext cx="1216025" cy="1216025"/>
          </a:xfrm>
          <a:prstGeom prst="ellipse">
            <a:avLst/>
          </a:prstGeom>
          <a:pattFill prst="dkDnDiag">
            <a:fgClr>
              <a:schemeClr val="tx2">
                <a:lumMod val="75000"/>
              </a:schemeClr>
            </a:fgClr>
            <a:bgClr>
              <a:schemeClr val="accent1">
                <a:lumMod val="50000"/>
              </a:schemeClr>
            </a:bgClr>
          </a:pattFill>
          <a:ln w="28575" cmpd="sng">
            <a:solidFill>
              <a:schemeClr val="tx2">
                <a:lumMod val="50000"/>
              </a:schemeClr>
            </a:solidFill>
          </a:ln>
          <a:effectLst/>
        </p:spPr>
        <p:style>
          <a:lnRef idx="1">
            <a:schemeClr val="accent1"/>
          </a:lnRef>
          <a:fillRef idx="3">
            <a:schemeClr val="accent1"/>
          </a:fillRef>
          <a:effectRef idx="2">
            <a:schemeClr val="accent1"/>
          </a:effectRef>
          <a:fontRef idx="minor">
            <a:schemeClr val="lt1"/>
          </a:fontRef>
        </p:style>
        <p:txBody>
          <a:bodyPr tIns="61200" bIns="68400" anchor="ctr"/>
          <a:lstStyle/>
          <a:p>
            <a:pPr algn="ctr" fontAlgn="auto">
              <a:spcBef>
                <a:spcPts val="0"/>
              </a:spcBef>
              <a:spcAft>
                <a:spcPts val="0"/>
              </a:spcAft>
              <a:defRPr/>
            </a:pPr>
            <a:r>
              <a:rPr lang="en-US" sz="3600" i="1" dirty="0">
                <a:solidFill>
                  <a:schemeClr val="accent1">
                    <a:lumMod val="60000"/>
                    <a:lumOff val="40000"/>
                  </a:schemeClr>
                </a:solidFill>
              </a:rPr>
              <a:t>3</a:t>
            </a:r>
          </a:p>
        </p:txBody>
      </p:sp>
      <p:sp>
        <p:nvSpPr>
          <p:cNvPr id="2" name="Pentagon 1"/>
          <p:cNvSpPr/>
          <p:nvPr/>
        </p:nvSpPr>
        <p:spPr>
          <a:xfrm rot="5400000">
            <a:off x="681831" y="1105695"/>
            <a:ext cx="1622425" cy="1217612"/>
          </a:xfrm>
          <a:prstGeom prst="homePlate">
            <a:avLst/>
          </a:prstGeom>
          <a:solidFill>
            <a:schemeClr val="bg1">
              <a:alpha val="67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72" name="Pentagon 71"/>
          <p:cNvSpPr/>
          <p:nvPr/>
        </p:nvSpPr>
        <p:spPr>
          <a:xfrm rot="5400000">
            <a:off x="3715544" y="1105694"/>
            <a:ext cx="1622425" cy="1217613"/>
          </a:xfrm>
          <a:prstGeom prst="homePlate">
            <a:avLst/>
          </a:prstGeom>
          <a:solidFill>
            <a:schemeClr val="bg1">
              <a:alpha val="67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73" name="Pentagon 72"/>
          <p:cNvSpPr/>
          <p:nvPr/>
        </p:nvSpPr>
        <p:spPr>
          <a:xfrm rot="5400000">
            <a:off x="6811169" y="1105694"/>
            <a:ext cx="1622425" cy="1217613"/>
          </a:xfrm>
          <a:prstGeom prst="homePlate">
            <a:avLst/>
          </a:prstGeom>
          <a:solidFill>
            <a:schemeClr val="bg1">
              <a:alpha val="67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19468" name="TextBox 74"/>
          <p:cNvSpPr txBox="1">
            <a:spLocks noChangeArrowheads="1"/>
          </p:cNvSpPr>
          <p:nvPr/>
        </p:nvSpPr>
        <p:spPr bwMode="auto">
          <a:xfrm>
            <a:off x="1060450" y="903288"/>
            <a:ext cx="90328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100" b="1">
                <a:solidFill>
                  <a:srgbClr val="404040"/>
                </a:solidFill>
              </a:rPr>
              <a:t>LEADERSHIP</a:t>
            </a:r>
          </a:p>
        </p:txBody>
      </p:sp>
      <p:sp>
        <p:nvSpPr>
          <p:cNvPr id="19469" name="TextBox 81"/>
          <p:cNvSpPr txBox="1">
            <a:spLocks noChangeArrowheads="1"/>
          </p:cNvSpPr>
          <p:nvPr/>
        </p:nvSpPr>
        <p:spPr bwMode="auto">
          <a:xfrm>
            <a:off x="3917950" y="893763"/>
            <a:ext cx="12176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100" b="1">
                <a:solidFill>
                  <a:srgbClr val="404040"/>
                </a:solidFill>
              </a:rPr>
              <a:t>KEY BUSNIESS RESULTS</a:t>
            </a:r>
          </a:p>
        </p:txBody>
      </p:sp>
      <p:sp>
        <p:nvSpPr>
          <p:cNvPr id="19470" name="TextBox 84"/>
          <p:cNvSpPr txBox="1">
            <a:spLocks noChangeArrowheads="1"/>
          </p:cNvSpPr>
          <p:nvPr/>
        </p:nvSpPr>
        <p:spPr bwMode="auto">
          <a:xfrm>
            <a:off x="7013575" y="911225"/>
            <a:ext cx="123348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100" b="1">
                <a:solidFill>
                  <a:srgbClr val="404040"/>
                </a:solidFill>
              </a:rPr>
              <a:t>SUSTAINABLE SUCCESS</a:t>
            </a:r>
          </a:p>
        </p:txBody>
      </p:sp>
      <p:sp>
        <p:nvSpPr>
          <p:cNvPr id="86" name="Pentagon 85"/>
          <p:cNvSpPr/>
          <p:nvPr/>
        </p:nvSpPr>
        <p:spPr>
          <a:xfrm rot="5400000" flipH="1">
            <a:off x="2201069" y="4144169"/>
            <a:ext cx="1622425" cy="1217613"/>
          </a:xfrm>
          <a:prstGeom prst="homePlate">
            <a:avLst/>
          </a:prstGeom>
          <a:solidFill>
            <a:schemeClr val="bg1">
              <a:alpha val="67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87" name="Pentagon 86"/>
          <p:cNvSpPr/>
          <p:nvPr/>
        </p:nvSpPr>
        <p:spPr>
          <a:xfrm rot="5400000" flipH="1">
            <a:off x="5320506" y="4144170"/>
            <a:ext cx="1622425" cy="1217612"/>
          </a:xfrm>
          <a:prstGeom prst="homePlate">
            <a:avLst/>
          </a:prstGeom>
          <a:solidFill>
            <a:schemeClr val="bg1">
              <a:alpha val="67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19473" name="TextBox 80"/>
          <p:cNvSpPr txBox="1">
            <a:spLocks noChangeArrowheads="1"/>
          </p:cNvSpPr>
          <p:nvPr/>
        </p:nvSpPr>
        <p:spPr bwMode="auto">
          <a:xfrm>
            <a:off x="2417763" y="4349750"/>
            <a:ext cx="1208087"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100" b="1">
                <a:solidFill>
                  <a:srgbClr val="404040"/>
                </a:solidFill>
              </a:rPr>
              <a:t>CUSTOMER VALUES</a:t>
            </a:r>
          </a:p>
        </p:txBody>
      </p:sp>
      <p:sp>
        <p:nvSpPr>
          <p:cNvPr id="19474" name="TextBox 87"/>
          <p:cNvSpPr txBox="1">
            <a:spLocks noChangeArrowheads="1"/>
          </p:cNvSpPr>
          <p:nvPr/>
        </p:nvSpPr>
        <p:spPr bwMode="auto">
          <a:xfrm>
            <a:off x="5522913" y="4371975"/>
            <a:ext cx="121761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100" b="1">
                <a:solidFill>
                  <a:srgbClr val="404040"/>
                </a:solidFill>
              </a:rPr>
              <a:t>UNIVERSAL WELL-BEING</a:t>
            </a:r>
          </a:p>
        </p:txBody>
      </p:sp>
      <p:sp>
        <p:nvSpPr>
          <p:cNvPr id="19475" name="Rectangle 4"/>
          <p:cNvSpPr>
            <a:spLocks noChangeArrowheads="1"/>
          </p:cNvSpPr>
          <p:nvPr/>
        </p:nvSpPr>
        <p:spPr bwMode="auto">
          <a:xfrm>
            <a:off x="884238" y="1165225"/>
            <a:ext cx="1217612"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solidFill>
                  <a:srgbClr val="404040"/>
                </a:solidFill>
              </a:rPr>
              <a:t>This is an example text. Replace with your own text here</a:t>
            </a:r>
          </a:p>
        </p:txBody>
      </p:sp>
      <p:sp>
        <p:nvSpPr>
          <p:cNvPr id="19476" name="Rectangle 88"/>
          <p:cNvSpPr>
            <a:spLocks noChangeArrowheads="1"/>
          </p:cNvSpPr>
          <p:nvPr/>
        </p:nvSpPr>
        <p:spPr bwMode="auto">
          <a:xfrm>
            <a:off x="3917950" y="1222375"/>
            <a:ext cx="121761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solidFill>
                  <a:srgbClr val="404040"/>
                </a:solidFill>
              </a:rPr>
              <a:t>This is an example text. Replace with your own text here</a:t>
            </a:r>
          </a:p>
        </p:txBody>
      </p:sp>
      <p:sp>
        <p:nvSpPr>
          <p:cNvPr id="19477" name="Rectangle 89"/>
          <p:cNvSpPr>
            <a:spLocks noChangeArrowheads="1"/>
          </p:cNvSpPr>
          <p:nvPr/>
        </p:nvSpPr>
        <p:spPr bwMode="auto">
          <a:xfrm>
            <a:off x="7013575" y="1222375"/>
            <a:ext cx="121761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solidFill>
                  <a:srgbClr val="404040"/>
                </a:solidFill>
              </a:rPr>
              <a:t>This is an example text. Replace with your own text here</a:t>
            </a:r>
          </a:p>
        </p:txBody>
      </p:sp>
      <p:sp>
        <p:nvSpPr>
          <p:cNvPr id="19478" name="Rectangle 90"/>
          <p:cNvSpPr>
            <a:spLocks noChangeArrowheads="1"/>
          </p:cNvSpPr>
          <p:nvPr/>
        </p:nvSpPr>
        <p:spPr bwMode="auto">
          <a:xfrm>
            <a:off x="2403475" y="4757738"/>
            <a:ext cx="1217613"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solidFill>
                  <a:srgbClr val="404040"/>
                </a:solidFill>
              </a:rPr>
              <a:t>This is an example text. Replace with your own text here</a:t>
            </a:r>
          </a:p>
        </p:txBody>
      </p:sp>
      <p:sp>
        <p:nvSpPr>
          <p:cNvPr id="19479" name="Rectangle 91"/>
          <p:cNvSpPr>
            <a:spLocks noChangeArrowheads="1"/>
          </p:cNvSpPr>
          <p:nvPr/>
        </p:nvSpPr>
        <p:spPr bwMode="auto">
          <a:xfrm>
            <a:off x="5500688" y="4757738"/>
            <a:ext cx="1217612"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a:solidFill>
                  <a:srgbClr val="404040"/>
                </a:solidFill>
              </a:rPr>
              <a:t>This is an example text. Replace with your own text here</a:t>
            </a:r>
          </a:p>
        </p:txBody>
      </p:sp>
      <p:sp>
        <p:nvSpPr>
          <p:cNvPr id="11" name="Right Arrow 10"/>
          <p:cNvSpPr/>
          <p:nvPr/>
        </p:nvSpPr>
        <p:spPr>
          <a:xfrm>
            <a:off x="793268" y="5563891"/>
            <a:ext cx="7557464" cy="401053"/>
          </a:xfrm>
          <a:prstGeom prst="rightArrow">
            <a:avLst/>
          </a:prstGeom>
          <a:gradFill flip="none" rotWithShape="1">
            <a:gsLst>
              <a:gs pos="100000">
                <a:schemeClr val="bg1"/>
              </a:gs>
              <a:gs pos="0">
                <a:srgbClr val="000000">
                  <a:alpha val="0"/>
                </a:srgbClr>
              </a:gs>
            </a:gsLst>
            <a:lin ang="0" scaled="1"/>
            <a:tileRect/>
          </a:gra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100" i="1" dirty="0">
                <a:solidFill>
                  <a:schemeClr val="tx1">
                    <a:lumMod val="75000"/>
                    <a:lumOff val="25000"/>
                  </a:schemeClr>
                </a:solidFill>
              </a:rPr>
              <a:t>5 simple steps Excellence Model</a:t>
            </a:r>
          </a:p>
        </p:txBody>
      </p:sp>
    </p:spTree>
    <p:extLst>
      <p:ext uri="{BB962C8B-B14F-4D97-AF65-F5344CB8AC3E}">
        <p14:creationId xmlns:p14="http://schemas.microsoft.com/office/powerpoint/2010/main" val="34459435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933451" y="4785041"/>
            <a:ext cx="1015673" cy="886899"/>
            <a:chOff x="1664116" y="4785041"/>
            <a:chExt cx="1015673" cy="886899"/>
          </a:xfrm>
          <a:effectLst/>
        </p:grpSpPr>
        <p:grpSp>
          <p:nvGrpSpPr>
            <p:cNvPr id="32" name="Group 31"/>
            <p:cNvGrpSpPr/>
            <p:nvPr/>
          </p:nvGrpSpPr>
          <p:grpSpPr>
            <a:xfrm>
              <a:off x="1664116" y="4785041"/>
              <a:ext cx="1015673" cy="854033"/>
              <a:chOff x="-5565775" y="5628359"/>
              <a:chExt cx="1670050" cy="1404267"/>
            </a:xfrm>
          </p:grpSpPr>
          <p:sp>
            <p:nvSpPr>
              <p:cNvPr id="33" name="Rectangle 20"/>
              <p:cNvSpPr>
                <a:spLocks noChangeArrowheads="1"/>
              </p:cNvSpPr>
              <p:nvPr/>
            </p:nvSpPr>
            <p:spPr bwMode="auto">
              <a:xfrm>
                <a:off x="-5565775" y="5824538"/>
                <a:ext cx="1208088" cy="1208088"/>
              </a:xfrm>
              <a:prstGeom prst="rect">
                <a:avLst/>
              </a:prstGeom>
              <a:solidFill>
                <a:srgbClr val="CE20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1"/>
              <p:cNvSpPr>
                <a:spLocks/>
              </p:cNvSpPr>
              <p:nvPr/>
            </p:nvSpPr>
            <p:spPr bwMode="auto">
              <a:xfrm>
                <a:off x="-4357689" y="5628359"/>
                <a:ext cx="461964" cy="1393824"/>
              </a:xfrm>
              <a:custGeom>
                <a:avLst/>
                <a:gdLst>
                  <a:gd name="T0" fmla="*/ 0 w 1168"/>
                  <a:gd name="T1" fmla="*/ 3512 h 3512"/>
                  <a:gd name="T2" fmla="*/ 1168 w 1168"/>
                  <a:gd name="T3" fmla="*/ 3043 h 3512"/>
                  <a:gd name="T4" fmla="*/ 1168 w 1168"/>
                  <a:gd name="T5" fmla="*/ 0 h 3512"/>
                  <a:gd name="T6" fmla="*/ 0 w 1168"/>
                  <a:gd name="T7" fmla="*/ 470 h 3512"/>
                  <a:gd name="T8" fmla="*/ 0 w 1168"/>
                  <a:gd name="T9" fmla="*/ 3512 h 3512"/>
                </a:gdLst>
                <a:ahLst/>
                <a:cxnLst>
                  <a:cxn ang="0">
                    <a:pos x="T0" y="T1"/>
                  </a:cxn>
                  <a:cxn ang="0">
                    <a:pos x="T2" y="T3"/>
                  </a:cxn>
                  <a:cxn ang="0">
                    <a:pos x="T4" y="T5"/>
                  </a:cxn>
                  <a:cxn ang="0">
                    <a:pos x="T6" y="T7"/>
                  </a:cxn>
                  <a:cxn ang="0">
                    <a:pos x="T8" y="T9"/>
                  </a:cxn>
                </a:cxnLst>
                <a:rect l="0" t="0" r="r" b="b"/>
                <a:pathLst>
                  <a:path w="1168" h="3512">
                    <a:moveTo>
                      <a:pt x="0" y="3512"/>
                    </a:moveTo>
                    <a:lnTo>
                      <a:pt x="1168" y="3043"/>
                    </a:lnTo>
                    <a:lnTo>
                      <a:pt x="1168" y="0"/>
                    </a:lnTo>
                    <a:lnTo>
                      <a:pt x="0" y="470"/>
                    </a:lnTo>
                    <a:lnTo>
                      <a:pt x="0" y="3512"/>
                    </a:lnTo>
                    <a:close/>
                  </a:path>
                </a:pathLst>
              </a:custGeom>
              <a:solidFill>
                <a:srgbClr val="A5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2"/>
              <p:cNvSpPr>
                <a:spLocks/>
              </p:cNvSpPr>
              <p:nvPr/>
            </p:nvSpPr>
            <p:spPr bwMode="auto">
              <a:xfrm>
                <a:off x="-5565775" y="5638800"/>
                <a:ext cx="1670050" cy="185738"/>
              </a:xfrm>
              <a:custGeom>
                <a:avLst/>
                <a:gdLst>
                  <a:gd name="T0" fmla="*/ 4208 w 4208"/>
                  <a:gd name="T1" fmla="*/ 0 h 470"/>
                  <a:gd name="T2" fmla="*/ 1166 w 4208"/>
                  <a:gd name="T3" fmla="*/ 0 h 470"/>
                  <a:gd name="T4" fmla="*/ 0 w 4208"/>
                  <a:gd name="T5" fmla="*/ 470 h 470"/>
                  <a:gd name="T6" fmla="*/ 3042 w 4208"/>
                  <a:gd name="T7" fmla="*/ 470 h 470"/>
                  <a:gd name="T8" fmla="*/ 4208 w 4208"/>
                  <a:gd name="T9" fmla="*/ 0 h 470"/>
                </a:gdLst>
                <a:ahLst/>
                <a:cxnLst>
                  <a:cxn ang="0">
                    <a:pos x="T0" y="T1"/>
                  </a:cxn>
                  <a:cxn ang="0">
                    <a:pos x="T2" y="T3"/>
                  </a:cxn>
                  <a:cxn ang="0">
                    <a:pos x="T4" y="T5"/>
                  </a:cxn>
                  <a:cxn ang="0">
                    <a:pos x="T6" y="T7"/>
                  </a:cxn>
                  <a:cxn ang="0">
                    <a:pos x="T8" y="T9"/>
                  </a:cxn>
                </a:cxnLst>
                <a:rect l="0" t="0" r="r" b="b"/>
                <a:pathLst>
                  <a:path w="4208" h="470">
                    <a:moveTo>
                      <a:pt x="4208" y="0"/>
                    </a:moveTo>
                    <a:lnTo>
                      <a:pt x="1166" y="0"/>
                    </a:lnTo>
                    <a:lnTo>
                      <a:pt x="0" y="470"/>
                    </a:lnTo>
                    <a:lnTo>
                      <a:pt x="3042" y="470"/>
                    </a:lnTo>
                    <a:lnTo>
                      <a:pt x="4208" y="0"/>
                    </a:lnTo>
                    <a:close/>
                  </a:path>
                </a:pathLst>
              </a:custGeom>
              <a:solidFill>
                <a:srgbClr val="A51A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 name="TextBox 70"/>
            <p:cNvSpPr txBox="1"/>
            <p:nvPr/>
          </p:nvSpPr>
          <p:spPr>
            <a:xfrm>
              <a:off x="1825314" y="4902499"/>
              <a:ext cx="460382" cy="769441"/>
            </a:xfrm>
            <a:prstGeom prst="rect">
              <a:avLst/>
            </a:prstGeom>
            <a:noFill/>
          </p:spPr>
          <p:txBody>
            <a:bodyPr wrap="none" rtlCol="0">
              <a:spAutoFit/>
            </a:bodyPr>
            <a:lstStyle/>
            <a:p>
              <a:pPr algn="ctr"/>
              <a:r>
                <a:rPr lang="en-US" sz="4400" dirty="0" smtClean="0">
                  <a:solidFill>
                    <a:schemeClr val="bg1"/>
                  </a:solidFill>
                </a:rPr>
                <a:t>T</a:t>
              </a:r>
              <a:endParaRPr lang="en-US" sz="4400" dirty="0">
                <a:solidFill>
                  <a:schemeClr val="bg1"/>
                </a:solidFill>
              </a:endParaRPr>
            </a:p>
          </p:txBody>
        </p:sp>
      </p:grpSp>
      <p:grpSp>
        <p:nvGrpSpPr>
          <p:cNvPr id="13" name="Group 12"/>
          <p:cNvGrpSpPr/>
          <p:nvPr/>
        </p:nvGrpSpPr>
        <p:grpSpPr>
          <a:xfrm>
            <a:off x="1650097" y="4086612"/>
            <a:ext cx="1015673" cy="874715"/>
            <a:chOff x="1380762" y="4086612"/>
            <a:chExt cx="1015673" cy="874715"/>
          </a:xfrm>
          <a:effectLst/>
        </p:grpSpPr>
        <p:grpSp>
          <p:nvGrpSpPr>
            <p:cNvPr id="36" name="Group 35"/>
            <p:cNvGrpSpPr/>
            <p:nvPr/>
          </p:nvGrpSpPr>
          <p:grpSpPr>
            <a:xfrm>
              <a:off x="1380762" y="4086612"/>
              <a:ext cx="1015673" cy="854033"/>
              <a:chOff x="-5565775" y="5628359"/>
              <a:chExt cx="1670050" cy="1404267"/>
            </a:xfrm>
          </p:grpSpPr>
          <p:sp>
            <p:nvSpPr>
              <p:cNvPr id="40" name="Rectangle 20"/>
              <p:cNvSpPr>
                <a:spLocks noChangeArrowheads="1"/>
              </p:cNvSpPr>
              <p:nvPr/>
            </p:nvSpPr>
            <p:spPr bwMode="auto">
              <a:xfrm>
                <a:off x="-5565775" y="5824538"/>
                <a:ext cx="1208088" cy="120808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1"/>
              <p:cNvSpPr>
                <a:spLocks/>
              </p:cNvSpPr>
              <p:nvPr/>
            </p:nvSpPr>
            <p:spPr bwMode="auto">
              <a:xfrm>
                <a:off x="-4357689" y="5628359"/>
                <a:ext cx="461964" cy="1393824"/>
              </a:xfrm>
              <a:custGeom>
                <a:avLst/>
                <a:gdLst>
                  <a:gd name="T0" fmla="*/ 0 w 1168"/>
                  <a:gd name="T1" fmla="*/ 3512 h 3512"/>
                  <a:gd name="T2" fmla="*/ 1168 w 1168"/>
                  <a:gd name="T3" fmla="*/ 3043 h 3512"/>
                  <a:gd name="T4" fmla="*/ 1168 w 1168"/>
                  <a:gd name="T5" fmla="*/ 0 h 3512"/>
                  <a:gd name="T6" fmla="*/ 0 w 1168"/>
                  <a:gd name="T7" fmla="*/ 470 h 3512"/>
                  <a:gd name="T8" fmla="*/ 0 w 1168"/>
                  <a:gd name="T9" fmla="*/ 3512 h 3512"/>
                </a:gdLst>
                <a:ahLst/>
                <a:cxnLst>
                  <a:cxn ang="0">
                    <a:pos x="T0" y="T1"/>
                  </a:cxn>
                  <a:cxn ang="0">
                    <a:pos x="T2" y="T3"/>
                  </a:cxn>
                  <a:cxn ang="0">
                    <a:pos x="T4" y="T5"/>
                  </a:cxn>
                  <a:cxn ang="0">
                    <a:pos x="T6" y="T7"/>
                  </a:cxn>
                  <a:cxn ang="0">
                    <a:pos x="T8" y="T9"/>
                  </a:cxn>
                </a:cxnLst>
                <a:rect l="0" t="0" r="r" b="b"/>
                <a:pathLst>
                  <a:path w="1168" h="3512">
                    <a:moveTo>
                      <a:pt x="0" y="3512"/>
                    </a:moveTo>
                    <a:lnTo>
                      <a:pt x="1168" y="3043"/>
                    </a:lnTo>
                    <a:lnTo>
                      <a:pt x="1168" y="0"/>
                    </a:lnTo>
                    <a:lnTo>
                      <a:pt x="0" y="470"/>
                    </a:lnTo>
                    <a:lnTo>
                      <a:pt x="0" y="3512"/>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2"/>
              <p:cNvSpPr>
                <a:spLocks/>
              </p:cNvSpPr>
              <p:nvPr/>
            </p:nvSpPr>
            <p:spPr bwMode="auto">
              <a:xfrm>
                <a:off x="-5565775" y="5638800"/>
                <a:ext cx="1670050" cy="185738"/>
              </a:xfrm>
              <a:custGeom>
                <a:avLst/>
                <a:gdLst>
                  <a:gd name="T0" fmla="*/ 4208 w 4208"/>
                  <a:gd name="T1" fmla="*/ 0 h 470"/>
                  <a:gd name="T2" fmla="*/ 1166 w 4208"/>
                  <a:gd name="T3" fmla="*/ 0 h 470"/>
                  <a:gd name="T4" fmla="*/ 0 w 4208"/>
                  <a:gd name="T5" fmla="*/ 470 h 470"/>
                  <a:gd name="T6" fmla="*/ 3042 w 4208"/>
                  <a:gd name="T7" fmla="*/ 470 h 470"/>
                  <a:gd name="T8" fmla="*/ 4208 w 4208"/>
                  <a:gd name="T9" fmla="*/ 0 h 470"/>
                </a:gdLst>
                <a:ahLst/>
                <a:cxnLst>
                  <a:cxn ang="0">
                    <a:pos x="T0" y="T1"/>
                  </a:cxn>
                  <a:cxn ang="0">
                    <a:pos x="T2" y="T3"/>
                  </a:cxn>
                  <a:cxn ang="0">
                    <a:pos x="T4" y="T5"/>
                  </a:cxn>
                  <a:cxn ang="0">
                    <a:pos x="T6" y="T7"/>
                  </a:cxn>
                  <a:cxn ang="0">
                    <a:pos x="T8" y="T9"/>
                  </a:cxn>
                </a:cxnLst>
                <a:rect l="0" t="0" r="r" b="b"/>
                <a:pathLst>
                  <a:path w="4208" h="470">
                    <a:moveTo>
                      <a:pt x="4208" y="0"/>
                    </a:moveTo>
                    <a:lnTo>
                      <a:pt x="1166" y="0"/>
                    </a:lnTo>
                    <a:lnTo>
                      <a:pt x="0" y="470"/>
                    </a:lnTo>
                    <a:lnTo>
                      <a:pt x="3042" y="470"/>
                    </a:lnTo>
                    <a:lnTo>
                      <a:pt x="420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TextBox 67"/>
            <p:cNvSpPr txBox="1"/>
            <p:nvPr/>
          </p:nvSpPr>
          <p:spPr>
            <a:xfrm>
              <a:off x="1522704" y="4191886"/>
              <a:ext cx="490840" cy="769441"/>
            </a:xfrm>
            <a:prstGeom prst="rect">
              <a:avLst/>
            </a:prstGeom>
            <a:noFill/>
          </p:spPr>
          <p:txBody>
            <a:bodyPr wrap="none" rtlCol="0">
              <a:spAutoFit/>
            </a:bodyPr>
            <a:lstStyle/>
            <a:p>
              <a:pPr algn="ctr"/>
              <a:r>
                <a:rPr lang="en-US" sz="4400" dirty="0">
                  <a:solidFill>
                    <a:schemeClr val="bg1"/>
                  </a:solidFill>
                </a:rPr>
                <a:t>R</a:t>
              </a:r>
            </a:p>
          </p:txBody>
        </p:sp>
      </p:grpSp>
      <p:sp>
        <p:nvSpPr>
          <p:cNvPr id="4" name="Subtitle 3"/>
          <p:cNvSpPr>
            <a:spLocks noGrp="1"/>
          </p:cNvSpPr>
          <p:nvPr>
            <p:ph type="subTitle" idx="1"/>
          </p:nvPr>
        </p:nvSpPr>
        <p:spPr>
          <a:xfrm>
            <a:off x="628650" y="866381"/>
            <a:ext cx="7891272" cy="243785"/>
          </a:xfrm>
        </p:spPr>
        <p:txBody>
          <a:bodyPr/>
          <a:lstStyle/>
          <a:p>
            <a:pPr>
              <a:lnSpc>
                <a:spcPct val="80000"/>
              </a:lnSpc>
            </a:pPr>
            <a:r>
              <a:rPr lang="fr-FR" dirty="0" smtClean="0"/>
              <a:t>Jamais l’approche clientèle n’a été une science aussi humaine dans sa philosophie.</a:t>
            </a:r>
            <a:endParaRPr lang="en-US" dirty="0"/>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10" name="Slide Number Placeholder 9"/>
          <p:cNvSpPr>
            <a:spLocks noGrp="1"/>
          </p:cNvSpPr>
          <p:nvPr>
            <p:ph type="sldNum" sz="quarter" idx="12"/>
          </p:nvPr>
        </p:nvSpPr>
        <p:spPr/>
        <p:txBody>
          <a:bodyPr/>
          <a:lstStyle/>
          <a:p>
            <a:fld id="{125C11E9-EA40-D54F-953A-82A4C72DAAAD}" type="slidenum">
              <a:rPr lang="en-US" smtClean="0"/>
              <a:pPr/>
              <a:t>4</a:t>
            </a:fld>
            <a:r>
              <a:rPr lang="en-US" dirty="0" smtClean="0"/>
              <a:t> I</a:t>
            </a:r>
            <a:endParaRPr lang="en-US" dirty="0"/>
          </a:p>
        </p:txBody>
      </p:sp>
      <p:sp>
        <p:nvSpPr>
          <p:cNvPr id="2" name="Title 1"/>
          <p:cNvSpPr>
            <a:spLocks noGrp="1"/>
          </p:cNvSpPr>
          <p:nvPr>
            <p:ph type="title"/>
          </p:nvPr>
        </p:nvSpPr>
        <p:spPr/>
        <p:txBody>
          <a:bodyPr/>
          <a:lstStyle/>
          <a:p>
            <a:r>
              <a:rPr lang="en-US" dirty="0" err="1" smtClean="0"/>
              <a:t>DataNest</a:t>
            </a:r>
            <a:r>
              <a:rPr lang="en-US" dirty="0" smtClean="0"/>
              <a:t> : La smart data !</a:t>
            </a:r>
            <a:endParaRPr lang="en-US" dirty="0"/>
          </a:p>
        </p:txBody>
      </p:sp>
      <p:grpSp>
        <p:nvGrpSpPr>
          <p:cNvPr id="11" name="Group 10"/>
          <p:cNvGrpSpPr/>
          <p:nvPr/>
        </p:nvGrpSpPr>
        <p:grpSpPr>
          <a:xfrm>
            <a:off x="1907962" y="3333839"/>
            <a:ext cx="1015673" cy="898375"/>
            <a:chOff x="1638627" y="3333839"/>
            <a:chExt cx="1015673" cy="898375"/>
          </a:xfrm>
          <a:effectLst/>
        </p:grpSpPr>
        <p:sp>
          <p:nvSpPr>
            <p:cNvPr id="45" name="Rectangle 20"/>
            <p:cNvSpPr>
              <a:spLocks noChangeArrowheads="1"/>
            </p:cNvSpPr>
            <p:nvPr/>
          </p:nvSpPr>
          <p:spPr bwMode="auto">
            <a:xfrm>
              <a:off x="1638627" y="3453149"/>
              <a:ext cx="734722" cy="734723"/>
            </a:xfrm>
            <a:prstGeom prst="rect">
              <a:avLst/>
            </a:prstGeom>
            <a:solidFill>
              <a:srgbClr val="2A9B18"/>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p:nvSpPr>
          <p:spPr bwMode="auto">
            <a:xfrm>
              <a:off x="2373348" y="3333839"/>
              <a:ext cx="280952" cy="847682"/>
            </a:xfrm>
            <a:custGeom>
              <a:avLst/>
              <a:gdLst>
                <a:gd name="T0" fmla="*/ 0 w 1168"/>
                <a:gd name="T1" fmla="*/ 3512 h 3512"/>
                <a:gd name="T2" fmla="*/ 1168 w 1168"/>
                <a:gd name="T3" fmla="*/ 3043 h 3512"/>
                <a:gd name="T4" fmla="*/ 1168 w 1168"/>
                <a:gd name="T5" fmla="*/ 0 h 3512"/>
                <a:gd name="T6" fmla="*/ 0 w 1168"/>
                <a:gd name="T7" fmla="*/ 470 h 3512"/>
                <a:gd name="T8" fmla="*/ 0 w 1168"/>
                <a:gd name="T9" fmla="*/ 3512 h 3512"/>
              </a:gdLst>
              <a:ahLst/>
              <a:cxnLst>
                <a:cxn ang="0">
                  <a:pos x="T0" y="T1"/>
                </a:cxn>
                <a:cxn ang="0">
                  <a:pos x="T2" y="T3"/>
                </a:cxn>
                <a:cxn ang="0">
                  <a:pos x="T4" y="T5"/>
                </a:cxn>
                <a:cxn ang="0">
                  <a:pos x="T6" y="T7"/>
                </a:cxn>
                <a:cxn ang="0">
                  <a:pos x="T8" y="T9"/>
                </a:cxn>
              </a:cxnLst>
              <a:rect l="0" t="0" r="r" b="b"/>
              <a:pathLst>
                <a:path w="1168" h="3512">
                  <a:moveTo>
                    <a:pt x="0" y="3512"/>
                  </a:moveTo>
                  <a:lnTo>
                    <a:pt x="1168" y="3043"/>
                  </a:lnTo>
                  <a:lnTo>
                    <a:pt x="1168" y="0"/>
                  </a:lnTo>
                  <a:lnTo>
                    <a:pt x="0" y="470"/>
                  </a:lnTo>
                  <a:lnTo>
                    <a:pt x="0" y="3512"/>
                  </a:lnTo>
                  <a:close/>
                </a:path>
              </a:pathLst>
            </a:custGeom>
            <a:solidFill>
              <a:srgbClr val="227C13"/>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p:nvSpPr>
          <p:spPr bwMode="auto">
            <a:xfrm>
              <a:off x="1638627" y="3340189"/>
              <a:ext cx="1015673" cy="112960"/>
            </a:xfrm>
            <a:custGeom>
              <a:avLst/>
              <a:gdLst>
                <a:gd name="T0" fmla="*/ 4208 w 4208"/>
                <a:gd name="T1" fmla="*/ 0 h 470"/>
                <a:gd name="T2" fmla="*/ 1166 w 4208"/>
                <a:gd name="T3" fmla="*/ 0 h 470"/>
                <a:gd name="T4" fmla="*/ 0 w 4208"/>
                <a:gd name="T5" fmla="*/ 470 h 470"/>
                <a:gd name="T6" fmla="*/ 3042 w 4208"/>
                <a:gd name="T7" fmla="*/ 470 h 470"/>
                <a:gd name="T8" fmla="*/ 4208 w 4208"/>
                <a:gd name="T9" fmla="*/ 0 h 470"/>
              </a:gdLst>
              <a:ahLst/>
              <a:cxnLst>
                <a:cxn ang="0">
                  <a:pos x="T0" y="T1"/>
                </a:cxn>
                <a:cxn ang="0">
                  <a:pos x="T2" y="T3"/>
                </a:cxn>
                <a:cxn ang="0">
                  <a:pos x="T4" y="T5"/>
                </a:cxn>
                <a:cxn ang="0">
                  <a:pos x="T6" y="T7"/>
                </a:cxn>
                <a:cxn ang="0">
                  <a:pos x="T8" y="T9"/>
                </a:cxn>
              </a:cxnLst>
              <a:rect l="0" t="0" r="r" b="b"/>
              <a:pathLst>
                <a:path w="4208" h="470">
                  <a:moveTo>
                    <a:pt x="4208" y="0"/>
                  </a:moveTo>
                  <a:lnTo>
                    <a:pt x="1166" y="0"/>
                  </a:lnTo>
                  <a:lnTo>
                    <a:pt x="0" y="470"/>
                  </a:lnTo>
                  <a:lnTo>
                    <a:pt x="3042" y="470"/>
                  </a:lnTo>
                  <a:lnTo>
                    <a:pt x="4208" y="0"/>
                  </a:lnTo>
                  <a:close/>
                </a:path>
              </a:pathLst>
            </a:custGeom>
            <a:solidFill>
              <a:srgbClr val="227C13"/>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1801350" y="3462773"/>
              <a:ext cx="511679" cy="769441"/>
            </a:xfrm>
            <a:prstGeom prst="rect">
              <a:avLst/>
            </a:prstGeom>
            <a:noFill/>
          </p:spPr>
          <p:txBody>
            <a:bodyPr wrap="none" rtlCol="0">
              <a:spAutoFit/>
            </a:bodyPr>
            <a:lstStyle/>
            <a:p>
              <a:pPr algn="ctr"/>
              <a:r>
                <a:rPr lang="en-US" sz="4400" dirty="0" smtClean="0">
                  <a:solidFill>
                    <a:schemeClr val="bg1"/>
                  </a:solidFill>
                </a:rPr>
                <a:t>A</a:t>
              </a:r>
              <a:endParaRPr lang="en-US" sz="4400" dirty="0">
                <a:solidFill>
                  <a:schemeClr val="bg1"/>
                </a:solidFill>
              </a:endParaRPr>
            </a:p>
          </p:txBody>
        </p:sp>
      </p:grpSp>
      <p:grpSp>
        <p:nvGrpSpPr>
          <p:cNvPr id="9" name="Group 8"/>
          <p:cNvGrpSpPr/>
          <p:nvPr/>
        </p:nvGrpSpPr>
        <p:grpSpPr>
          <a:xfrm>
            <a:off x="1617070" y="2583322"/>
            <a:ext cx="1015673" cy="868907"/>
            <a:chOff x="1347735" y="2583322"/>
            <a:chExt cx="1015673" cy="868907"/>
          </a:xfrm>
          <a:effectLst/>
        </p:grpSpPr>
        <p:sp>
          <p:nvSpPr>
            <p:cNvPr id="49" name="Rectangle 20"/>
            <p:cNvSpPr>
              <a:spLocks noChangeArrowheads="1"/>
            </p:cNvSpPr>
            <p:nvPr/>
          </p:nvSpPr>
          <p:spPr bwMode="auto">
            <a:xfrm>
              <a:off x="1347735" y="2699457"/>
              <a:ext cx="734722" cy="734723"/>
            </a:xfrm>
            <a:prstGeom prst="rect">
              <a:avLst/>
            </a:prstGeom>
            <a:solidFill>
              <a:srgbClr val="E99E09"/>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21"/>
            <p:cNvSpPr>
              <a:spLocks/>
            </p:cNvSpPr>
            <p:nvPr/>
          </p:nvSpPr>
          <p:spPr bwMode="auto">
            <a:xfrm>
              <a:off x="2082456" y="2583322"/>
              <a:ext cx="280952" cy="847682"/>
            </a:xfrm>
            <a:custGeom>
              <a:avLst/>
              <a:gdLst>
                <a:gd name="T0" fmla="*/ 0 w 1168"/>
                <a:gd name="T1" fmla="*/ 3512 h 3512"/>
                <a:gd name="T2" fmla="*/ 1168 w 1168"/>
                <a:gd name="T3" fmla="*/ 3043 h 3512"/>
                <a:gd name="T4" fmla="*/ 1168 w 1168"/>
                <a:gd name="T5" fmla="*/ 0 h 3512"/>
                <a:gd name="T6" fmla="*/ 0 w 1168"/>
                <a:gd name="T7" fmla="*/ 470 h 3512"/>
                <a:gd name="T8" fmla="*/ 0 w 1168"/>
                <a:gd name="T9" fmla="*/ 3512 h 3512"/>
              </a:gdLst>
              <a:ahLst/>
              <a:cxnLst>
                <a:cxn ang="0">
                  <a:pos x="T0" y="T1"/>
                </a:cxn>
                <a:cxn ang="0">
                  <a:pos x="T2" y="T3"/>
                </a:cxn>
                <a:cxn ang="0">
                  <a:pos x="T4" y="T5"/>
                </a:cxn>
                <a:cxn ang="0">
                  <a:pos x="T6" y="T7"/>
                </a:cxn>
                <a:cxn ang="0">
                  <a:pos x="T8" y="T9"/>
                </a:cxn>
              </a:cxnLst>
              <a:rect l="0" t="0" r="r" b="b"/>
              <a:pathLst>
                <a:path w="1168" h="3512">
                  <a:moveTo>
                    <a:pt x="0" y="3512"/>
                  </a:moveTo>
                  <a:lnTo>
                    <a:pt x="1168" y="3043"/>
                  </a:lnTo>
                  <a:lnTo>
                    <a:pt x="1168" y="0"/>
                  </a:lnTo>
                  <a:lnTo>
                    <a:pt x="0" y="470"/>
                  </a:lnTo>
                  <a:lnTo>
                    <a:pt x="0" y="3512"/>
                  </a:lnTo>
                  <a:close/>
                </a:path>
              </a:pathLst>
            </a:custGeom>
            <a:solidFill>
              <a:srgbClr val="BA7E07"/>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22"/>
            <p:cNvSpPr>
              <a:spLocks/>
            </p:cNvSpPr>
            <p:nvPr/>
          </p:nvSpPr>
          <p:spPr bwMode="auto">
            <a:xfrm>
              <a:off x="1347735" y="2586497"/>
              <a:ext cx="1015673" cy="112960"/>
            </a:xfrm>
            <a:custGeom>
              <a:avLst/>
              <a:gdLst>
                <a:gd name="T0" fmla="*/ 4208 w 4208"/>
                <a:gd name="T1" fmla="*/ 0 h 470"/>
                <a:gd name="T2" fmla="*/ 1166 w 4208"/>
                <a:gd name="T3" fmla="*/ 0 h 470"/>
                <a:gd name="T4" fmla="*/ 0 w 4208"/>
                <a:gd name="T5" fmla="*/ 470 h 470"/>
                <a:gd name="T6" fmla="*/ 3042 w 4208"/>
                <a:gd name="T7" fmla="*/ 470 h 470"/>
                <a:gd name="T8" fmla="*/ 4208 w 4208"/>
                <a:gd name="T9" fmla="*/ 0 h 470"/>
              </a:gdLst>
              <a:ahLst/>
              <a:cxnLst>
                <a:cxn ang="0">
                  <a:pos x="T0" y="T1"/>
                </a:cxn>
                <a:cxn ang="0">
                  <a:pos x="T2" y="T3"/>
                </a:cxn>
                <a:cxn ang="0">
                  <a:pos x="T4" y="T5"/>
                </a:cxn>
                <a:cxn ang="0">
                  <a:pos x="T6" y="T7"/>
                </a:cxn>
                <a:cxn ang="0">
                  <a:pos x="T8" y="T9"/>
                </a:cxn>
              </a:cxnLst>
              <a:rect l="0" t="0" r="r" b="b"/>
              <a:pathLst>
                <a:path w="4208" h="470">
                  <a:moveTo>
                    <a:pt x="4208" y="0"/>
                  </a:moveTo>
                  <a:lnTo>
                    <a:pt x="1166" y="0"/>
                  </a:lnTo>
                  <a:lnTo>
                    <a:pt x="0" y="470"/>
                  </a:lnTo>
                  <a:lnTo>
                    <a:pt x="3042" y="470"/>
                  </a:lnTo>
                  <a:lnTo>
                    <a:pt x="4208" y="0"/>
                  </a:lnTo>
                  <a:close/>
                </a:path>
              </a:pathLst>
            </a:custGeom>
            <a:solidFill>
              <a:srgbClr val="BA7E07"/>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TextBox 64"/>
            <p:cNvSpPr txBox="1"/>
            <p:nvPr/>
          </p:nvSpPr>
          <p:spPr>
            <a:xfrm>
              <a:off x="1415870" y="2682788"/>
              <a:ext cx="667170" cy="769441"/>
            </a:xfrm>
            <a:prstGeom prst="rect">
              <a:avLst/>
            </a:prstGeom>
            <a:noFill/>
          </p:spPr>
          <p:txBody>
            <a:bodyPr wrap="none" rtlCol="0">
              <a:spAutoFit/>
            </a:bodyPr>
            <a:lstStyle/>
            <a:p>
              <a:pPr algn="ctr"/>
              <a:r>
                <a:rPr lang="en-US" sz="4400" dirty="0" smtClean="0">
                  <a:solidFill>
                    <a:schemeClr val="bg1"/>
                  </a:solidFill>
                </a:rPr>
                <a:t>M</a:t>
              </a:r>
              <a:endParaRPr lang="en-US" sz="4400" dirty="0">
                <a:solidFill>
                  <a:schemeClr val="bg1"/>
                </a:solidFill>
              </a:endParaRPr>
            </a:p>
          </p:txBody>
        </p:sp>
      </p:grpSp>
      <p:grpSp>
        <p:nvGrpSpPr>
          <p:cNvPr id="8" name="Group 7"/>
          <p:cNvGrpSpPr/>
          <p:nvPr/>
        </p:nvGrpSpPr>
        <p:grpSpPr>
          <a:xfrm>
            <a:off x="1968988" y="1827442"/>
            <a:ext cx="1015673" cy="853961"/>
            <a:chOff x="1699653" y="1827442"/>
            <a:chExt cx="1015673" cy="853961"/>
          </a:xfrm>
          <a:effectLst/>
        </p:grpSpPr>
        <p:sp>
          <p:nvSpPr>
            <p:cNvPr id="57" name="Rectangle 20"/>
            <p:cNvSpPr>
              <a:spLocks noChangeArrowheads="1"/>
            </p:cNvSpPr>
            <p:nvPr/>
          </p:nvSpPr>
          <p:spPr bwMode="auto">
            <a:xfrm>
              <a:off x="1699653" y="1940402"/>
              <a:ext cx="734722" cy="734723"/>
            </a:xfrm>
            <a:prstGeom prst="rect">
              <a:avLst/>
            </a:prstGeom>
            <a:solidFill>
              <a:srgbClr val="0D65AC"/>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21"/>
            <p:cNvSpPr>
              <a:spLocks/>
            </p:cNvSpPr>
            <p:nvPr/>
          </p:nvSpPr>
          <p:spPr bwMode="auto">
            <a:xfrm>
              <a:off x="2434374" y="1827442"/>
              <a:ext cx="280952" cy="847682"/>
            </a:xfrm>
            <a:custGeom>
              <a:avLst/>
              <a:gdLst>
                <a:gd name="T0" fmla="*/ 0 w 1168"/>
                <a:gd name="T1" fmla="*/ 3512 h 3512"/>
                <a:gd name="T2" fmla="*/ 1168 w 1168"/>
                <a:gd name="T3" fmla="*/ 3043 h 3512"/>
                <a:gd name="T4" fmla="*/ 1168 w 1168"/>
                <a:gd name="T5" fmla="*/ 0 h 3512"/>
                <a:gd name="T6" fmla="*/ 0 w 1168"/>
                <a:gd name="T7" fmla="*/ 470 h 3512"/>
                <a:gd name="T8" fmla="*/ 0 w 1168"/>
                <a:gd name="T9" fmla="*/ 3512 h 3512"/>
              </a:gdLst>
              <a:ahLst/>
              <a:cxnLst>
                <a:cxn ang="0">
                  <a:pos x="T0" y="T1"/>
                </a:cxn>
                <a:cxn ang="0">
                  <a:pos x="T2" y="T3"/>
                </a:cxn>
                <a:cxn ang="0">
                  <a:pos x="T4" y="T5"/>
                </a:cxn>
                <a:cxn ang="0">
                  <a:pos x="T6" y="T7"/>
                </a:cxn>
                <a:cxn ang="0">
                  <a:pos x="T8" y="T9"/>
                </a:cxn>
              </a:cxnLst>
              <a:rect l="0" t="0" r="r" b="b"/>
              <a:pathLst>
                <a:path w="1168" h="3512">
                  <a:moveTo>
                    <a:pt x="0" y="3512"/>
                  </a:moveTo>
                  <a:lnTo>
                    <a:pt x="1168" y="3043"/>
                  </a:lnTo>
                  <a:lnTo>
                    <a:pt x="1168" y="0"/>
                  </a:lnTo>
                  <a:lnTo>
                    <a:pt x="0" y="470"/>
                  </a:lnTo>
                  <a:lnTo>
                    <a:pt x="0" y="3512"/>
                  </a:lnTo>
                  <a:close/>
                </a:path>
              </a:pathLst>
            </a:custGeom>
            <a:solidFill>
              <a:srgbClr val="0A518A"/>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22"/>
            <p:cNvSpPr>
              <a:spLocks/>
            </p:cNvSpPr>
            <p:nvPr/>
          </p:nvSpPr>
          <p:spPr bwMode="auto">
            <a:xfrm>
              <a:off x="1699653" y="1827442"/>
              <a:ext cx="1015673" cy="112960"/>
            </a:xfrm>
            <a:custGeom>
              <a:avLst/>
              <a:gdLst>
                <a:gd name="T0" fmla="*/ 4208 w 4208"/>
                <a:gd name="T1" fmla="*/ 0 h 470"/>
                <a:gd name="T2" fmla="*/ 1166 w 4208"/>
                <a:gd name="T3" fmla="*/ 0 h 470"/>
                <a:gd name="T4" fmla="*/ 0 w 4208"/>
                <a:gd name="T5" fmla="*/ 470 h 470"/>
                <a:gd name="T6" fmla="*/ 3042 w 4208"/>
                <a:gd name="T7" fmla="*/ 470 h 470"/>
                <a:gd name="T8" fmla="*/ 4208 w 4208"/>
                <a:gd name="T9" fmla="*/ 0 h 470"/>
              </a:gdLst>
              <a:ahLst/>
              <a:cxnLst>
                <a:cxn ang="0">
                  <a:pos x="T0" y="T1"/>
                </a:cxn>
                <a:cxn ang="0">
                  <a:pos x="T2" y="T3"/>
                </a:cxn>
                <a:cxn ang="0">
                  <a:pos x="T4" y="T5"/>
                </a:cxn>
                <a:cxn ang="0">
                  <a:pos x="T6" y="T7"/>
                </a:cxn>
                <a:cxn ang="0">
                  <a:pos x="T8" y="T9"/>
                </a:cxn>
              </a:cxnLst>
              <a:rect l="0" t="0" r="r" b="b"/>
              <a:pathLst>
                <a:path w="4208" h="470">
                  <a:moveTo>
                    <a:pt x="4208" y="0"/>
                  </a:moveTo>
                  <a:lnTo>
                    <a:pt x="1166" y="0"/>
                  </a:lnTo>
                  <a:lnTo>
                    <a:pt x="0" y="470"/>
                  </a:lnTo>
                  <a:lnTo>
                    <a:pt x="3042" y="470"/>
                  </a:lnTo>
                  <a:lnTo>
                    <a:pt x="4208" y="0"/>
                  </a:lnTo>
                  <a:close/>
                </a:path>
              </a:pathLst>
            </a:custGeom>
            <a:solidFill>
              <a:srgbClr val="0A518A"/>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TextBox 6"/>
            <p:cNvSpPr txBox="1"/>
            <p:nvPr/>
          </p:nvSpPr>
          <p:spPr>
            <a:xfrm>
              <a:off x="1870135" y="1911962"/>
              <a:ext cx="444352" cy="769441"/>
            </a:xfrm>
            <a:prstGeom prst="rect">
              <a:avLst/>
            </a:prstGeom>
            <a:noFill/>
          </p:spPr>
          <p:txBody>
            <a:bodyPr wrap="none" rtlCol="0">
              <a:spAutoFit/>
            </a:bodyPr>
            <a:lstStyle/>
            <a:p>
              <a:pPr algn="ctr"/>
              <a:r>
                <a:rPr lang="en-US" sz="4400" dirty="0" smtClean="0">
                  <a:solidFill>
                    <a:schemeClr val="bg1"/>
                  </a:solidFill>
                </a:rPr>
                <a:t>S</a:t>
              </a:r>
              <a:endParaRPr lang="en-US" sz="4400" dirty="0">
                <a:solidFill>
                  <a:schemeClr val="bg1"/>
                </a:solidFill>
              </a:endParaRPr>
            </a:p>
          </p:txBody>
        </p:sp>
      </p:grpSp>
      <p:cxnSp>
        <p:nvCxnSpPr>
          <p:cNvPr id="72" name="Straight Connector 71"/>
          <p:cNvCxnSpPr/>
          <p:nvPr/>
        </p:nvCxnSpPr>
        <p:spPr>
          <a:xfrm>
            <a:off x="2923635" y="2237075"/>
            <a:ext cx="2083921" cy="0"/>
          </a:xfrm>
          <a:prstGeom prst="line">
            <a:avLst/>
          </a:prstGeom>
          <a:solidFill>
            <a:schemeClr val="accent1">
              <a:lumMod val="75000"/>
            </a:schemeClr>
          </a:solidFill>
          <a:ln w="12700" cmpd="sng">
            <a:solidFill>
              <a:srgbClr val="7F7F7F"/>
            </a:solidFill>
            <a:prstDash val="sysDash"/>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2545810" y="2951450"/>
            <a:ext cx="2461746" cy="0"/>
          </a:xfrm>
          <a:prstGeom prst="line">
            <a:avLst/>
          </a:prstGeom>
          <a:solidFill>
            <a:schemeClr val="accent1">
              <a:lumMod val="75000"/>
            </a:schemeClr>
          </a:solidFill>
          <a:ln w="12700" cmpd="sng">
            <a:solidFill>
              <a:srgbClr val="7F7F7F"/>
            </a:solidFill>
            <a:prstDash val="sysDash"/>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a:off x="2812510" y="3733800"/>
            <a:ext cx="2195046" cy="0"/>
          </a:xfrm>
          <a:prstGeom prst="line">
            <a:avLst/>
          </a:prstGeom>
          <a:solidFill>
            <a:schemeClr val="accent1">
              <a:lumMod val="75000"/>
            </a:schemeClr>
          </a:solidFill>
          <a:ln w="12700" cmpd="sng">
            <a:solidFill>
              <a:srgbClr val="7F7F7F"/>
            </a:solidFill>
            <a:prstDash val="sysDash"/>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2555335" y="4448175"/>
            <a:ext cx="2452221" cy="0"/>
          </a:xfrm>
          <a:prstGeom prst="line">
            <a:avLst/>
          </a:prstGeom>
          <a:solidFill>
            <a:schemeClr val="accent1">
              <a:lumMod val="75000"/>
            </a:schemeClr>
          </a:solidFill>
          <a:ln w="12700" cmpd="sng">
            <a:solidFill>
              <a:srgbClr val="7F7F7F"/>
            </a:solidFill>
            <a:prstDash val="sysDash"/>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a:off x="2850610" y="5200650"/>
            <a:ext cx="2156946" cy="0"/>
          </a:xfrm>
          <a:prstGeom prst="line">
            <a:avLst/>
          </a:prstGeom>
          <a:solidFill>
            <a:schemeClr val="accent1">
              <a:lumMod val="75000"/>
            </a:schemeClr>
          </a:solidFill>
          <a:ln w="12700" cmpd="sng">
            <a:solidFill>
              <a:srgbClr val="7F7F7F"/>
            </a:solidFill>
            <a:prstDash val="sysDash"/>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82" name="Rectangle 33"/>
          <p:cNvSpPr>
            <a:spLocks/>
          </p:cNvSpPr>
          <p:nvPr/>
        </p:nvSpPr>
        <p:spPr bwMode="auto">
          <a:xfrm>
            <a:off x="5227481" y="1993488"/>
            <a:ext cx="2697319"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r>
              <a:rPr lang="en-US" sz="1100" b="1" dirty="0" smtClean="0">
                <a:solidFill>
                  <a:schemeClr val="bg1"/>
                </a:solidFill>
              </a:rPr>
              <a:t>La puissance du </a:t>
            </a:r>
            <a:r>
              <a:rPr lang="en-US" sz="1100" b="1" dirty="0" err="1" smtClean="0">
                <a:solidFill>
                  <a:schemeClr val="bg1"/>
                </a:solidFill>
              </a:rPr>
              <a:t>BigData</a:t>
            </a:r>
            <a:r>
              <a:rPr lang="en-US" sz="1100" b="1" dirty="0" smtClean="0">
                <a:solidFill>
                  <a:schemeClr val="bg1"/>
                </a:solidFill>
              </a:rPr>
              <a:t> </a:t>
            </a:r>
            <a:r>
              <a:rPr lang="en-US" sz="1100" b="1" dirty="0" err="1" smtClean="0">
                <a:solidFill>
                  <a:schemeClr val="bg1"/>
                </a:solidFill>
              </a:rPr>
              <a:t>calibre</a:t>
            </a:r>
            <a:r>
              <a:rPr lang="en-US" sz="1100" b="1" dirty="0" smtClean="0">
                <a:solidFill>
                  <a:schemeClr val="bg1"/>
                </a:solidFill>
              </a:rPr>
              <a:t> </a:t>
            </a:r>
            <a:r>
              <a:rPr lang="en-US" sz="1100" b="1" dirty="0" err="1" smtClean="0">
                <a:solidFill>
                  <a:schemeClr val="bg1"/>
                </a:solidFill>
              </a:rPr>
              <a:t>notre</a:t>
            </a:r>
            <a:r>
              <a:rPr lang="en-US" sz="1100" b="1" dirty="0" smtClean="0">
                <a:solidFill>
                  <a:schemeClr val="bg1"/>
                </a:solidFill>
              </a:rPr>
              <a:t> </a:t>
            </a:r>
            <a:r>
              <a:rPr lang="en-US" sz="1100" b="1" dirty="0" err="1" smtClean="0">
                <a:solidFill>
                  <a:schemeClr val="bg1"/>
                </a:solidFill>
              </a:rPr>
              <a:t>précision</a:t>
            </a:r>
            <a:r>
              <a:rPr lang="en-US" sz="1100" b="1" dirty="0" smtClean="0">
                <a:solidFill>
                  <a:schemeClr val="bg1"/>
                </a:solidFill>
              </a:rPr>
              <a:t> pour se </a:t>
            </a:r>
            <a:r>
              <a:rPr lang="en-US" sz="1100" b="1" dirty="0" err="1" smtClean="0">
                <a:solidFill>
                  <a:schemeClr val="bg1"/>
                </a:solidFill>
              </a:rPr>
              <a:t>focaliser</a:t>
            </a:r>
            <a:r>
              <a:rPr lang="en-US" sz="1100" b="1" dirty="0" smtClean="0">
                <a:solidFill>
                  <a:schemeClr val="bg1"/>
                </a:solidFill>
              </a:rPr>
              <a:t> </a:t>
            </a:r>
            <a:r>
              <a:rPr lang="en-US" sz="1100" b="1" dirty="0" err="1" smtClean="0">
                <a:solidFill>
                  <a:schemeClr val="bg1"/>
                </a:solidFill>
              </a:rPr>
              <a:t>sur</a:t>
            </a:r>
            <a:r>
              <a:rPr lang="en-US" sz="1100" b="1" dirty="0" smtClean="0">
                <a:solidFill>
                  <a:schemeClr val="bg1"/>
                </a:solidFill>
              </a:rPr>
              <a:t> un trait social en </a:t>
            </a:r>
            <a:r>
              <a:rPr lang="en-US" sz="1100" b="1" dirty="0" err="1" smtClean="0">
                <a:solidFill>
                  <a:schemeClr val="bg1"/>
                </a:solidFill>
              </a:rPr>
              <a:t>particulier</a:t>
            </a:r>
            <a:endParaRPr lang="en-US" sz="1100" dirty="0">
              <a:solidFill>
                <a:schemeClr val="bg1"/>
              </a:solidFill>
            </a:endParaRPr>
          </a:p>
        </p:txBody>
      </p:sp>
      <p:sp>
        <p:nvSpPr>
          <p:cNvPr id="83" name="Rectangle 33"/>
          <p:cNvSpPr>
            <a:spLocks/>
          </p:cNvSpPr>
          <p:nvPr/>
        </p:nvSpPr>
        <p:spPr bwMode="auto">
          <a:xfrm>
            <a:off x="5227481" y="2699457"/>
            <a:ext cx="2697319"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r>
              <a:rPr lang="en-US" sz="1100" b="1" dirty="0" smtClean="0">
                <a:solidFill>
                  <a:schemeClr val="bg1"/>
                </a:solidFill>
              </a:rPr>
              <a:t>Les </a:t>
            </a:r>
            <a:r>
              <a:rPr lang="en-US" sz="1100" b="1" dirty="0" err="1" smtClean="0">
                <a:solidFill>
                  <a:schemeClr val="bg1"/>
                </a:solidFill>
              </a:rPr>
              <a:t>indicateurs</a:t>
            </a:r>
            <a:r>
              <a:rPr lang="en-US" sz="1100" b="1" dirty="0" smtClean="0">
                <a:solidFill>
                  <a:schemeClr val="bg1"/>
                </a:solidFill>
              </a:rPr>
              <a:t> </a:t>
            </a:r>
            <a:r>
              <a:rPr lang="en-US" sz="1100" b="1" dirty="0" err="1" smtClean="0">
                <a:solidFill>
                  <a:schemeClr val="bg1"/>
                </a:solidFill>
              </a:rPr>
              <a:t>extraits</a:t>
            </a:r>
            <a:r>
              <a:rPr lang="en-US" sz="1100" b="1" dirty="0" smtClean="0">
                <a:solidFill>
                  <a:schemeClr val="bg1"/>
                </a:solidFill>
              </a:rPr>
              <a:t> de la </a:t>
            </a:r>
            <a:r>
              <a:rPr lang="en-US" sz="1100" b="1" dirty="0" err="1" smtClean="0">
                <a:solidFill>
                  <a:schemeClr val="bg1"/>
                </a:solidFill>
              </a:rPr>
              <a:t>foule</a:t>
            </a:r>
            <a:r>
              <a:rPr lang="en-US" sz="1100" b="1" dirty="0" smtClean="0">
                <a:solidFill>
                  <a:schemeClr val="bg1"/>
                </a:solidFill>
              </a:rPr>
              <a:t> de </a:t>
            </a:r>
            <a:r>
              <a:rPr lang="en-US" sz="1100" b="1" dirty="0" err="1" smtClean="0">
                <a:solidFill>
                  <a:schemeClr val="bg1"/>
                </a:solidFill>
              </a:rPr>
              <a:t>données</a:t>
            </a:r>
            <a:r>
              <a:rPr lang="en-US" sz="1100" b="1" dirty="0" smtClean="0">
                <a:solidFill>
                  <a:schemeClr val="bg1"/>
                </a:solidFill>
              </a:rPr>
              <a:t> </a:t>
            </a:r>
            <a:r>
              <a:rPr lang="en-US" sz="1100" b="1" dirty="0" err="1" smtClean="0">
                <a:solidFill>
                  <a:schemeClr val="bg1"/>
                </a:solidFill>
              </a:rPr>
              <a:t>sont</a:t>
            </a:r>
            <a:r>
              <a:rPr lang="en-US" sz="1100" b="1" dirty="0" smtClean="0">
                <a:solidFill>
                  <a:schemeClr val="bg1"/>
                </a:solidFill>
              </a:rPr>
              <a:t> quantifiable et </a:t>
            </a:r>
            <a:r>
              <a:rPr lang="en-US" sz="1100" b="1" dirty="0" err="1" smtClean="0">
                <a:solidFill>
                  <a:schemeClr val="bg1"/>
                </a:solidFill>
              </a:rPr>
              <a:t>directement</a:t>
            </a:r>
            <a:r>
              <a:rPr lang="en-US" sz="1100" b="1" dirty="0" smtClean="0">
                <a:solidFill>
                  <a:schemeClr val="bg1"/>
                </a:solidFill>
              </a:rPr>
              <a:t> </a:t>
            </a:r>
            <a:r>
              <a:rPr lang="en-US" sz="1100" b="1" dirty="0" err="1" smtClean="0">
                <a:solidFill>
                  <a:schemeClr val="bg1"/>
                </a:solidFill>
              </a:rPr>
              <a:t>appréciables</a:t>
            </a:r>
            <a:r>
              <a:rPr lang="en-US" sz="1100" b="1" dirty="0" smtClean="0">
                <a:solidFill>
                  <a:schemeClr val="bg1"/>
                </a:solidFill>
              </a:rPr>
              <a:t> </a:t>
            </a:r>
            <a:r>
              <a:rPr lang="en-US" sz="1100" b="1" dirty="0" err="1" smtClean="0">
                <a:solidFill>
                  <a:schemeClr val="bg1"/>
                </a:solidFill>
              </a:rPr>
              <a:t>mathématiquement</a:t>
            </a:r>
            <a:r>
              <a:rPr lang="en-US" sz="1100" b="1" dirty="0" smtClean="0">
                <a:solidFill>
                  <a:schemeClr val="bg1"/>
                </a:solidFill>
              </a:rPr>
              <a:t>.</a:t>
            </a:r>
            <a:endParaRPr lang="en-US" sz="1100" dirty="0">
              <a:solidFill>
                <a:schemeClr val="bg1"/>
              </a:solidFill>
            </a:endParaRPr>
          </a:p>
        </p:txBody>
      </p:sp>
      <p:sp>
        <p:nvSpPr>
          <p:cNvPr id="87" name="Rectangle 33"/>
          <p:cNvSpPr>
            <a:spLocks/>
          </p:cNvSpPr>
          <p:nvPr/>
        </p:nvSpPr>
        <p:spPr bwMode="auto">
          <a:xfrm>
            <a:off x="5227481" y="3535118"/>
            <a:ext cx="2697319"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r>
              <a:rPr lang="en-US" sz="1100" b="1" dirty="0" smtClean="0">
                <a:solidFill>
                  <a:schemeClr val="bg1"/>
                </a:solidFill>
              </a:rPr>
              <a:t>Les </a:t>
            </a:r>
            <a:r>
              <a:rPr lang="en-US" sz="1100" b="1" dirty="0" err="1" smtClean="0">
                <a:solidFill>
                  <a:schemeClr val="bg1"/>
                </a:solidFill>
              </a:rPr>
              <a:t>objectifs</a:t>
            </a:r>
            <a:r>
              <a:rPr lang="en-US" sz="1100" b="1" dirty="0" smtClean="0">
                <a:solidFill>
                  <a:schemeClr val="bg1"/>
                </a:solidFill>
              </a:rPr>
              <a:t> </a:t>
            </a:r>
            <a:r>
              <a:rPr lang="en-US" sz="1100" b="1" dirty="0" err="1" smtClean="0">
                <a:solidFill>
                  <a:schemeClr val="bg1"/>
                </a:solidFill>
              </a:rPr>
              <a:t>attaignables</a:t>
            </a:r>
            <a:r>
              <a:rPr lang="en-US" sz="1100" b="1" dirty="0" smtClean="0">
                <a:solidFill>
                  <a:schemeClr val="bg1"/>
                </a:solidFill>
              </a:rPr>
              <a:t> de </a:t>
            </a:r>
            <a:r>
              <a:rPr lang="en-US" sz="1100" b="1" dirty="0" err="1" smtClean="0">
                <a:solidFill>
                  <a:schemeClr val="bg1"/>
                </a:solidFill>
              </a:rPr>
              <a:t>nos</a:t>
            </a:r>
            <a:r>
              <a:rPr lang="en-US" sz="1100" b="1" dirty="0" smtClean="0">
                <a:solidFill>
                  <a:schemeClr val="bg1"/>
                </a:solidFill>
              </a:rPr>
              <a:t> clients </a:t>
            </a:r>
            <a:r>
              <a:rPr lang="en-US" sz="1100" b="1" dirty="0" err="1" smtClean="0">
                <a:solidFill>
                  <a:schemeClr val="bg1"/>
                </a:solidFill>
              </a:rPr>
              <a:t>sont</a:t>
            </a:r>
            <a:r>
              <a:rPr lang="en-US" sz="1100" b="1" dirty="0" smtClean="0">
                <a:solidFill>
                  <a:schemeClr val="bg1"/>
                </a:solidFill>
              </a:rPr>
              <a:t> </a:t>
            </a:r>
            <a:r>
              <a:rPr lang="en-US" sz="1100" b="1" dirty="0" err="1" smtClean="0">
                <a:solidFill>
                  <a:schemeClr val="bg1"/>
                </a:solidFill>
              </a:rPr>
              <a:t>revélés</a:t>
            </a:r>
            <a:r>
              <a:rPr lang="en-US" sz="1100" b="1" dirty="0" smtClean="0">
                <a:solidFill>
                  <a:schemeClr val="bg1"/>
                </a:solidFill>
              </a:rPr>
              <a:t> à </a:t>
            </a:r>
            <a:r>
              <a:rPr lang="en-US" sz="1100" b="1" dirty="0" err="1" smtClean="0">
                <a:solidFill>
                  <a:schemeClr val="bg1"/>
                </a:solidFill>
              </a:rPr>
              <a:t>l’odre</a:t>
            </a:r>
            <a:r>
              <a:rPr lang="en-US" sz="1100" b="1" dirty="0" smtClean="0">
                <a:solidFill>
                  <a:schemeClr val="bg1"/>
                </a:solidFill>
              </a:rPr>
              <a:t> du jour et </a:t>
            </a:r>
            <a:r>
              <a:rPr lang="en-US" sz="1100" b="1" dirty="0" err="1" smtClean="0">
                <a:solidFill>
                  <a:schemeClr val="bg1"/>
                </a:solidFill>
              </a:rPr>
              <a:t>sont</a:t>
            </a:r>
            <a:r>
              <a:rPr lang="en-US" sz="1100" b="1" dirty="0" smtClean="0">
                <a:solidFill>
                  <a:schemeClr val="bg1"/>
                </a:solidFill>
              </a:rPr>
              <a:t> </a:t>
            </a:r>
            <a:r>
              <a:rPr lang="en-US" sz="1100" b="1" dirty="0" err="1" smtClean="0">
                <a:solidFill>
                  <a:schemeClr val="bg1"/>
                </a:solidFill>
              </a:rPr>
              <a:t>exploités</a:t>
            </a:r>
            <a:r>
              <a:rPr lang="en-US" sz="1100" b="1" dirty="0" smtClean="0">
                <a:solidFill>
                  <a:schemeClr val="bg1"/>
                </a:solidFill>
              </a:rPr>
              <a:t> du </a:t>
            </a:r>
            <a:r>
              <a:rPr lang="en-US" sz="1100" b="1" dirty="0" err="1" smtClean="0">
                <a:solidFill>
                  <a:schemeClr val="bg1"/>
                </a:solidFill>
              </a:rPr>
              <a:t>mieux</a:t>
            </a:r>
            <a:r>
              <a:rPr lang="en-US" sz="1100" b="1" dirty="0" smtClean="0">
                <a:solidFill>
                  <a:schemeClr val="bg1"/>
                </a:solidFill>
              </a:rPr>
              <a:t> possible.</a:t>
            </a:r>
            <a:endParaRPr lang="en-US" sz="1100" dirty="0">
              <a:solidFill>
                <a:schemeClr val="bg1"/>
              </a:solidFill>
            </a:endParaRPr>
          </a:p>
        </p:txBody>
      </p:sp>
      <p:sp>
        <p:nvSpPr>
          <p:cNvPr id="88" name="Rectangle 33"/>
          <p:cNvSpPr>
            <a:spLocks/>
          </p:cNvSpPr>
          <p:nvPr/>
        </p:nvSpPr>
        <p:spPr bwMode="auto">
          <a:xfrm>
            <a:off x="5227481" y="4241087"/>
            <a:ext cx="2697319"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r>
              <a:rPr lang="en-US" sz="1100" b="1" dirty="0" smtClean="0">
                <a:solidFill>
                  <a:schemeClr val="bg1"/>
                </a:solidFill>
              </a:rPr>
              <a:t>Les </a:t>
            </a:r>
            <a:r>
              <a:rPr lang="en-US" sz="1100" b="1" dirty="0" err="1" smtClean="0">
                <a:solidFill>
                  <a:schemeClr val="bg1"/>
                </a:solidFill>
              </a:rPr>
              <a:t>indicateurs</a:t>
            </a:r>
            <a:r>
              <a:rPr lang="en-US" sz="1100" b="1" dirty="0" smtClean="0">
                <a:solidFill>
                  <a:schemeClr val="bg1"/>
                </a:solidFill>
              </a:rPr>
              <a:t> </a:t>
            </a:r>
            <a:r>
              <a:rPr lang="en-US" sz="1100" b="1" dirty="0" err="1" smtClean="0">
                <a:solidFill>
                  <a:schemeClr val="bg1"/>
                </a:solidFill>
              </a:rPr>
              <a:t>que</a:t>
            </a:r>
            <a:r>
              <a:rPr lang="en-US" sz="1100" b="1" dirty="0" smtClean="0">
                <a:solidFill>
                  <a:schemeClr val="bg1"/>
                </a:solidFill>
              </a:rPr>
              <a:t> </a:t>
            </a:r>
            <a:r>
              <a:rPr lang="en-US" sz="1100" b="1" dirty="0" err="1" smtClean="0">
                <a:solidFill>
                  <a:schemeClr val="bg1"/>
                </a:solidFill>
              </a:rPr>
              <a:t>cultive</a:t>
            </a:r>
            <a:r>
              <a:rPr lang="en-US" sz="1100" b="1" dirty="0" smtClean="0">
                <a:solidFill>
                  <a:schemeClr val="bg1"/>
                </a:solidFill>
              </a:rPr>
              <a:t> </a:t>
            </a:r>
            <a:r>
              <a:rPr lang="en-US" sz="1100" b="1" dirty="0" err="1" smtClean="0">
                <a:solidFill>
                  <a:schemeClr val="bg1"/>
                </a:solidFill>
              </a:rPr>
              <a:t>DataNest</a:t>
            </a:r>
            <a:r>
              <a:rPr lang="en-US" sz="1100" b="1" dirty="0" smtClean="0">
                <a:solidFill>
                  <a:schemeClr val="bg1"/>
                </a:solidFill>
              </a:rPr>
              <a:t> </a:t>
            </a:r>
            <a:r>
              <a:rPr lang="en-US" sz="1100" b="1" dirty="0" err="1" smtClean="0">
                <a:solidFill>
                  <a:schemeClr val="bg1"/>
                </a:solidFill>
              </a:rPr>
              <a:t>sont</a:t>
            </a:r>
            <a:r>
              <a:rPr lang="en-US" sz="1100" b="1" dirty="0" smtClean="0">
                <a:solidFill>
                  <a:schemeClr val="bg1"/>
                </a:solidFill>
              </a:rPr>
              <a:t> </a:t>
            </a:r>
            <a:r>
              <a:rPr lang="en-US" sz="1100" b="1" dirty="0" err="1" smtClean="0">
                <a:solidFill>
                  <a:schemeClr val="bg1"/>
                </a:solidFill>
              </a:rPr>
              <a:t>stratégiques</a:t>
            </a:r>
            <a:r>
              <a:rPr lang="en-US" sz="1100" b="1" dirty="0" smtClean="0">
                <a:solidFill>
                  <a:schemeClr val="bg1"/>
                </a:solidFill>
              </a:rPr>
              <a:t> pour </a:t>
            </a:r>
            <a:r>
              <a:rPr lang="en-US" sz="1100" b="1" dirty="0" err="1" smtClean="0">
                <a:solidFill>
                  <a:schemeClr val="bg1"/>
                </a:solidFill>
              </a:rPr>
              <a:t>notre</a:t>
            </a:r>
            <a:r>
              <a:rPr lang="en-US" sz="1100" b="1" dirty="0" smtClean="0">
                <a:solidFill>
                  <a:schemeClr val="bg1"/>
                </a:solidFill>
              </a:rPr>
              <a:t> client et </a:t>
            </a:r>
            <a:r>
              <a:rPr lang="en-US" sz="1100" b="1" dirty="0" err="1" smtClean="0">
                <a:solidFill>
                  <a:schemeClr val="bg1"/>
                </a:solidFill>
              </a:rPr>
              <a:t>ont</a:t>
            </a:r>
            <a:r>
              <a:rPr lang="en-US" sz="1100" b="1" dirty="0" smtClean="0">
                <a:solidFill>
                  <a:schemeClr val="bg1"/>
                </a:solidFill>
              </a:rPr>
              <a:t> </a:t>
            </a:r>
            <a:r>
              <a:rPr lang="en-US" sz="1100" b="1" dirty="0" err="1" smtClean="0">
                <a:solidFill>
                  <a:schemeClr val="bg1"/>
                </a:solidFill>
              </a:rPr>
              <a:t>été</a:t>
            </a:r>
            <a:r>
              <a:rPr lang="en-US" sz="1100" b="1" dirty="0" smtClean="0">
                <a:solidFill>
                  <a:schemeClr val="bg1"/>
                </a:solidFill>
              </a:rPr>
              <a:t> </a:t>
            </a:r>
            <a:r>
              <a:rPr lang="en-US" sz="1100" b="1" dirty="0" err="1" smtClean="0">
                <a:solidFill>
                  <a:schemeClr val="bg1"/>
                </a:solidFill>
              </a:rPr>
              <a:t>soigneusement</a:t>
            </a:r>
            <a:r>
              <a:rPr lang="en-US" sz="1100" b="1" dirty="0" smtClean="0">
                <a:solidFill>
                  <a:schemeClr val="bg1"/>
                </a:solidFill>
              </a:rPr>
              <a:t> </a:t>
            </a:r>
            <a:r>
              <a:rPr lang="en-US" sz="1100" b="1" dirty="0" err="1" smtClean="0">
                <a:solidFill>
                  <a:schemeClr val="bg1"/>
                </a:solidFill>
              </a:rPr>
              <a:t>moulés</a:t>
            </a:r>
            <a:r>
              <a:rPr lang="en-US" sz="1100" b="1" dirty="0" smtClean="0">
                <a:solidFill>
                  <a:schemeClr val="bg1"/>
                </a:solidFill>
              </a:rPr>
              <a:t> à </a:t>
            </a:r>
            <a:r>
              <a:rPr lang="en-US" sz="1100" b="1" dirty="0" err="1" smtClean="0">
                <a:solidFill>
                  <a:schemeClr val="bg1"/>
                </a:solidFill>
              </a:rPr>
              <a:t>ses</a:t>
            </a:r>
            <a:r>
              <a:rPr lang="en-US" sz="1100" b="1" dirty="0" smtClean="0">
                <a:solidFill>
                  <a:schemeClr val="bg1"/>
                </a:solidFill>
              </a:rPr>
              <a:t> </a:t>
            </a:r>
            <a:r>
              <a:rPr lang="en-US" sz="1100" b="1" dirty="0" err="1" smtClean="0">
                <a:solidFill>
                  <a:schemeClr val="bg1"/>
                </a:solidFill>
              </a:rPr>
              <a:t>besoins</a:t>
            </a:r>
            <a:r>
              <a:rPr lang="en-US" sz="1100" b="1" dirty="0" smtClean="0">
                <a:solidFill>
                  <a:schemeClr val="bg1"/>
                </a:solidFill>
              </a:rPr>
              <a:t>.</a:t>
            </a:r>
            <a:endParaRPr lang="en-US" sz="1100" dirty="0">
              <a:solidFill>
                <a:schemeClr val="bg1"/>
              </a:solidFill>
            </a:endParaRPr>
          </a:p>
        </p:txBody>
      </p:sp>
      <p:sp>
        <p:nvSpPr>
          <p:cNvPr id="89" name="Rectangle 33"/>
          <p:cNvSpPr>
            <a:spLocks/>
          </p:cNvSpPr>
          <p:nvPr/>
        </p:nvSpPr>
        <p:spPr bwMode="auto">
          <a:xfrm>
            <a:off x="5227481" y="4934405"/>
            <a:ext cx="2316319" cy="487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r>
              <a:rPr lang="en-US" sz="1100" b="1" dirty="0" smtClean="0">
                <a:solidFill>
                  <a:schemeClr val="bg1"/>
                </a:solidFill>
              </a:rPr>
              <a:t>Le </a:t>
            </a:r>
            <a:r>
              <a:rPr lang="en-US" sz="1100" b="1" dirty="0" err="1" smtClean="0">
                <a:solidFill>
                  <a:schemeClr val="bg1"/>
                </a:solidFill>
              </a:rPr>
              <a:t>facteur</a:t>
            </a:r>
            <a:r>
              <a:rPr lang="en-US" sz="1100" b="1" dirty="0" smtClean="0">
                <a:solidFill>
                  <a:schemeClr val="bg1"/>
                </a:solidFill>
              </a:rPr>
              <a:t>-temps fait </a:t>
            </a:r>
            <a:r>
              <a:rPr lang="en-US" sz="1100" b="1" dirty="0" err="1" smtClean="0">
                <a:solidFill>
                  <a:schemeClr val="bg1"/>
                </a:solidFill>
              </a:rPr>
              <a:t>partie</a:t>
            </a:r>
            <a:r>
              <a:rPr lang="en-US" sz="1100" b="1" dirty="0" smtClean="0">
                <a:solidFill>
                  <a:schemeClr val="bg1"/>
                </a:solidFill>
              </a:rPr>
              <a:t> </a:t>
            </a:r>
            <a:r>
              <a:rPr lang="en-US" sz="1100" b="1" dirty="0" err="1" smtClean="0">
                <a:solidFill>
                  <a:schemeClr val="bg1"/>
                </a:solidFill>
              </a:rPr>
              <a:t>intégrante</a:t>
            </a:r>
            <a:r>
              <a:rPr lang="en-US" sz="1100" b="1" dirty="0" smtClean="0">
                <a:solidFill>
                  <a:schemeClr val="bg1"/>
                </a:solidFill>
              </a:rPr>
              <a:t> des </a:t>
            </a:r>
            <a:r>
              <a:rPr lang="en-US" sz="1100" b="1" dirty="0" err="1" smtClean="0">
                <a:solidFill>
                  <a:schemeClr val="bg1"/>
                </a:solidFill>
              </a:rPr>
              <a:t>sens</a:t>
            </a:r>
            <a:r>
              <a:rPr lang="en-US" sz="1100" b="1" dirty="0" smtClean="0">
                <a:solidFill>
                  <a:schemeClr val="bg1"/>
                </a:solidFill>
              </a:rPr>
              <a:t> de </a:t>
            </a:r>
            <a:r>
              <a:rPr lang="en-US" sz="1100" b="1" dirty="0" err="1" smtClean="0">
                <a:solidFill>
                  <a:schemeClr val="bg1"/>
                </a:solidFill>
              </a:rPr>
              <a:t>compréhension</a:t>
            </a:r>
            <a:r>
              <a:rPr lang="en-US" sz="1100" b="1" dirty="0" smtClean="0">
                <a:solidFill>
                  <a:schemeClr val="bg1"/>
                </a:solidFill>
              </a:rPr>
              <a:t> du </a:t>
            </a:r>
            <a:r>
              <a:rPr lang="en-US" sz="1100" b="1" dirty="0" err="1" smtClean="0">
                <a:solidFill>
                  <a:schemeClr val="bg1"/>
                </a:solidFill>
              </a:rPr>
              <a:t>moteur</a:t>
            </a:r>
            <a:r>
              <a:rPr lang="en-US" sz="1100" b="1" dirty="0" smtClean="0">
                <a:solidFill>
                  <a:schemeClr val="bg1"/>
                </a:solidFill>
              </a:rPr>
              <a:t> </a:t>
            </a:r>
            <a:r>
              <a:rPr lang="en-US" sz="1100" b="1" dirty="0" err="1" smtClean="0">
                <a:solidFill>
                  <a:schemeClr val="bg1"/>
                </a:solidFill>
              </a:rPr>
              <a:t>DataNest</a:t>
            </a:r>
            <a:r>
              <a:rPr lang="en-US" sz="1100" b="1" dirty="0" smtClean="0">
                <a:solidFill>
                  <a:schemeClr val="bg1"/>
                </a:solidFill>
              </a:rPr>
              <a:t>.</a:t>
            </a:r>
            <a:endParaRPr lang="en-US" sz="1100" dirty="0">
              <a:solidFill>
                <a:schemeClr val="bg1"/>
              </a:solidFill>
            </a:endParaRPr>
          </a:p>
        </p:txBody>
      </p:sp>
      <p:sp>
        <p:nvSpPr>
          <p:cNvPr id="18" name="TextBox 17"/>
          <p:cNvSpPr txBox="1"/>
          <p:nvPr/>
        </p:nvSpPr>
        <p:spPr>
          <a:xfrm>
            <a:off x="3012502" y="1970177"/>
            <a:ext cx="729046" cy="276999"/>
          </a:xfrm>
          <a:prstGeom prst="rect">
            <a:avLst/>
          </a:prstGeom>
          <a:noFill/>
        </p:spPr>
        <p:txBody>
          <a:bodyPr wrap="none" rtlCol="0">
            <a:spAutoFit/>
          </a:bodyPr>
          <a:lstStyle/>
          <a:p>
            <a:r>
              <a:rPr lang="en-US" sz="1200" b="1" dirty="0" smtClean="0">
                <a:solidFill>
                  <a:schemeClr val="bg1"/>
                </a:solidFill>
              </a:rPr>
              <a:t>SPECIFIC</a:t>
            </a:r>
            <a:endParaRPr lang="en-US" sz="1200" b="1" dirty="0">
              <a:solidFill>
                <a:schemeClr val="bg1"/>
              </a:solidFill>
            </a:endParaRPr>
          </a:p>
        </p:txBody>
      </p:sp>
      <p:sp>
        <p:nvSpPr>
          <p:cNvPr id="90" name="TextBox 89"/>
          <p:cNvSpPr txBox="1"/>
          <p:nvPr/>
        </p:nvSpPr>
        <p:spPr>
          <a:xfrm>
            <a:off x="2622112" y="2681773"/>
            <a:ext cx="1066061" cy="276999"/>
          </a:xfrm>
          <a:prstGeom prst="rect">
            <a:avLst/>
          </a:prstGeom>
          <a:noFill/>
        </p:spPr>
        <p:txBody>
          <a:bodyPr wrap="none" rtlCol="0">
            <a:spAutoFit/>
          </a:bodyPr>
          <a:lstStyle/>
          <a:p>
            <a:r>
              <a:rPr lang="en-US" sz="1200" b="1" dirty="0" smtClean="0">
                <a:solidFill>
                  <a:schemeClr val="bg1"/>
                </a:solidFill>
              </a:rPr>
              <a:t>MEASURABLE</a:t>
            </a:r>
            <a:endParaRPr lang="en-US" sz="1200" b="1" dirty="0">
              <a:solidFill>
                <a:schemeClr val="bg1"/>
              </a:solidFill>
            </a:endParaRPr>
          </a:p>
        </p:txBody>
      </p:sp>
      <p:sp>
        <p:nvSpPr>
          <p:cNvPr id="91" name="TextBox 90"/>
          <p:cNvSpPr txBox="1"/>
          <p:nvPr/>
        </p:nvSpPr>
        <p:spPr>
          <a:xfrm>
            <a:off x="3000138" y="3471057"/>
            <a:ext cx="965457" cy="276999"/>
          </a:xfrm>
          <a:prstGeom prst="rect">
            <a:avLst/>
          </a:prstGeom>
          <a:noFill/>
        </p:spPr>
        <p:txBody>
          <a:bodyPr wrap="none" rtlCol="0">
            <a:spAutoFit/>
          </a:bodyPr>
          <a:lstStyle/>
          <a:p>
            <a:r>
              <a:rPr lang="en-US" sz="1200" b="1" dirty="0" smtClean="0">
                <a:solidFill>
                  <a:schemeClr val="bg1"/>
                </a:solidFill>
              </a:rPr>
              <a:t>ATTAINABLE</a:t>
            </a:r>
            <a:endParaRPr lang="en-US" sz="1200" b="1" dirty="0">
              <a:solidFill>
                <a:schemeClr val="bg1"/>
              </a:solidFill>
            </a:endParaRPr>
          </a:p>
        </p:txBody>
      </p:sp>
      <p:sp>
        <p:nvSpPr>
          <p:cNvPr id="92" name="TextBox 91"/>
          <p:cNvSpPr txBox="1"/>
          <p:nvPr/>
        </p:nvSpPr>
        <p:spPr>
          <a:xfrm>
            <a:off x="2675127" y="4182653"/>
            <a:ext cx="841705" cy="276999"/>
          </a:xfrm>
          <a:prstGeom prst="rect">
            <a:avLst/>
          </a:prstGeom>
          <a:noFill/>
        </p:spPr>
        <p:txBody>
          <a:bodyPr wrap="none" rtlCol="0">
            <a:spAutoFit/>
          </a:bodyPr>
          <a:lstStyle/>
          <a:p>
            <a:r>
              <a:rPr lang="en-US" sz="1200" b="1" dirty="0" smtClean="0">
                <a:solidFill>
                  <a:schemeClr val="bg1"/>
                </a:solidFill>
              </a:rPr>
              <a:t>RELEVANT</a:t>
            </a:r>
            <a:endParaRPr lang="en-US" sz="1200" b="1" dirty="0">
              <a:solidFill>
                <a:schemeClr val="bg1"/>
              </a:solidFill>
            </a:endParaRPr>
          </a:p>
        </p:txBody>
      </p:sp>
      <p:sp>
        <p:nvSpPr>
          <p:cNvPr id="93" name="TextBox 92"/>
          <p:cNvSpPr txBox="1"/>
          <p:nvPr/>
        </p:nvSpPr>
        <p:spPr>
          <a:xfrm>
            <a:off x="3005343" y="4946213"/>
            <a:ext cx="1050288" cy="276999"/>
          </a:xfrm>
          <a:prstGeom prst="rect">
            <a:avLst/>
          </a:prstGeom>
          <a:noFill/>
        </p:spPr>
        <p:txBody>
          <a:bodyPr wrap="none" rtlCol="0">
            <a:spAutoFit/>
          </a:bodyPr>
          <a:lstStyle/>
          <a:p>
            <a:r>
              <a:rPr lang="en-US" sz="1200" b="1" dirty="0" smtClean="0">
                <a:solidFill>
                  <a:schemeClr val="bg1"/>
                </a:solidFill>
              </a:rPr>
              <a:t>TIME-BOUND</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14568699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extBox 3"/>
          <p:cNvSpPr txBox="1">
            <a:spLocks noChangeArrowheads="1"/>
          </p:cNvSpPr>
          <p:nvPr/>
        </p:nvSpPr>
        <p:spPr bwMode="auto">
          <a:xfrm>
            <a:off x="296863" y="227013"/>
            <a:ext cx="307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800" b="1">
                <a:solidFill>
                  <a:srgbClr val="404040"/>
                </a:solidFill>
              </a:rPr>
              <a:t>BUSINESS EXCELLENCE </a:t>
            </a:r>
            <a:r>
              <a:rPr lang="en-US" sz="1800">
                <a:solidFill>
                  <a:srgbClr val="404040"/>
                </a:solidFill>
              </a:rPr>
              <a:t>MODEL</a:t>
            </a:r>
          </a:p>
        </p:txBody>
      </p:sp>
      <p:sp>
        <p:nvSpPr>
          <p:cNvPr id="99" name="Round Same Side Corner Rectangle 98"/>
          <p:cNvSpPr/>
          <p:nvPr/>
        </p:nvSpPr>
        <p:spPr>
          <a:xfrm flipV="1">
            <a:off x="1244600" y="5157788"/>
            <a:ext cx="6657975" cy="314325"/>
          </a:xfrm>
          <a:prstGeom prst="round2SameRect">
            <a:avLst>
              <a:gd name="adj1" fmla="val 28374"/>
              <a:gd name="adj2" fmla="val 0"/>
            </a:avLst>
          </a:prstGeom>
          <a:solidFill>
            <a:schemeClr val="tx1">
              <a:lumMod val="75000"/>
              <a:lumOff val="2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100" b="1" dirty="0">
              <a:solidFill>
                <a:schemeClr val="bg1"/>
              </a:solidFill>
            </a:endParaRPr>
          </a:p>
        </p:txBody>
      </p:sp>
      <p:sp>
        <p:nvSpPr>
          <p:cNvPr id="2" name="Round Same Side Corner Rectangle 1"/>
          <p:cNvSpPr/>
          <p:nvPr/>
        </p:nvSpPr>
        <p:spPr>
          <a:xfrm>
            <a:off x="1235075" y="1385888"/>
            <a:ext cx="1503363" cy="3644900"/>
          </a:xfrm>
          <a:prstGeom prst="round2SameRect">
            <a:avLst/>
          </a:prstGeom>
          <a:solidFill>
            <a:schemeClr val="bg1">
              <a:alpha val="73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48" name="Round Same Side Corner Rectangle 47"/>
          <p:cNvSpPr/>
          <p:nvPr/>
        </p:nvSpPr>
        <p:spPr>
          <a:xfrm>
            <a:off x="2944813" y="1385888"/>
            <a:ext cx="1501775" cy="3644900"/>
          </a:xfrm>
          <a:prstGeom prst="round2SameRect">
            <a:avLst/>
          </a:prstGeom>
          <a:solidFill>
            <a:schemeClr val="bg1">
              <a:alpha val="73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51" name="Round Same Side Corner Rectangle 50"/>
          <p:cNvSpPr/>
          <p:nvPr/>
        </p:nvSpPr>
        <p:spPr>
          <a:xfrm>
            <a:off x="4672013" y="1385888"/>
            <a:ext cx="1501775" cy="3644900"/>
          </a:xfrm>
          <a:prstGeom prst="round2SameRect">
            <a:avLst/>
          </a:prstGeom>
          <a:solidFill>
            <a:schemeClr val="bg1">
              <a:alpha val="73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57" name="Round Same Side Corner Rectangle 56"/>
          <p:cNvSpPr/>
          <p:nvPr/>
        </p:nvSpPr>
        <p:spPr>
          <a:xfrm>
            <a:off x="6399213" y="1385888"/>
            <a:ext cx="1503362" cy="3644900"/>
          </a:xfrm>
          <a:prstGeom prst="round2SameRect">
            <a:avLst/>
          </a:prstGeom>
          <a:solidFill>
            <a:schemeClr val="bg1">
              <a:alpha val="73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 name="Trapezoid 2"/>
          <p:cNvSpPr/>
          <p:nvPr/>
        </p:nvSpPr>
        <p:spPr>
          <a:xfrm>
            <a:off x="1235075" y="4592638"/>
            <a:ext cx="6667500" cy="533400"/>
          </a:xfrm>
          <a:prstGeom prst="trapezoid">
            <a:avLst>
              <a:gd name="adj" fmla="val 287320"/>
            </a:avLst>
          </a:prstGeom>
          <a:solidFill>
            <a:schemeClr val="tx2">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b="1" dirty="0">
                <a:solidFill>
                  <a:schemeClr val="accent1">
                    <a:lumMod val="60000"/>
                    <a:lumOff val="40000"/>
                  </a:schemeClr>
                </a:solidFill>
              </a:rPr>
              <a:t>PRINCIPLES OF BUSINESS EXCELLENCE</a:t>
            </a:r>
          </a:p>
        </p:txBody>
      </p:sp>
      <p:sp>
        <p:nvSpPr>
          <p:cNvPr id="82" name="Round Same Side Corner Rectangle 81"/>
          <p:cNvSpPr/>
          <p:nvPr/>
        </p:nvSpPr>
        <p:spPr>
          <a:xfrm>
            <a:off x="1244600" y="1385888"/>
            <a:ext cx="1503363" cy="307975"/>
          </a:xfrm>
          <a:prstGeom prst="round2SameRect">
            <a:avLst>
              <a:gd name="adj1" fmla="val 28374"/>
              <a:gd name="adj2" fmla="val 0"/>
            </a:avLst>
          </a:prstGeom>
          <a:solidFill>
            <a:schemeClr val="accent3">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100" b="1" dirty="0">
                <a:solidFill>
                  <a:schemeClr val="bg1"/>
                </a:solidFill>
              </a:rPr>
              <a:t>1</a:t>
            </a:r>
          </a:p>
        </p:txBody>
      </p:sp>
      <p:sp>
        <p:nvSpPr>
          <p:cNvPr id="83" name="Round Same Side Corner Rectangle 82"/>
          <p:cNvSpPr/>
          <p:nvPr/>
        </p:nvSpPr>
        <p:spPr>
          <a:xfrm>
            <a:off x="2952750" y="1385888"/>
            <a:ext cx="1503363" cy="307975"/>
          </a:xfrm>
          <a:prstGeom prst="round2SameRect">
            <a:avLst>
              <a:gd name="adj1" fmla="val 25447"/>
              <a:gd name="adj2" fmla="val 0"/>
            </a:avLst>
          </a:prstGeom>
          <a:solidFill>
            <a:schemeClr val="accent3">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100" b="1" dirty="0">
                <a:solidFill>
                  <a:schemeClr val="bg1"/>
                </a:solidFill>
              </a:rPr>
              <a:t>2</a:t>
            </a:r>
          </a:p>
        </p:txBody>
      </p:sp>
      <p:sp>
        <p:nvSpPr>
          <p:cNvPr id="85" name="Round Same Side Corner Rectangle 84"/>
          <p:cNvSpPr/>
          <p:nvPr/>
        </p:nvSpPr>
        <p:spPr>
          <a:xfrm>
            <a:off x="4681538" y="1385888"/>
            <a:ext cx="1501775" cy="307975"/>
          </a:xfrm>
          <a:prstGeom prst="round2SameRect">
            <a:avLst>
              <a:gd name="adj1" fmla="val 26911"/>
              <a:gd name="adj2" fmla="val 0"/>
            </a:avLst>
          </a:prstGeom>
          <a:solidFill>
            <a:schemeClr val="accent3">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100" b="1" dirty="0">
                <a:solidFill>
                  <a:schemeClr val="bg1"/>
                </a:solidFill>
              </a:rPr>
              <a:t>3</a:t>
            </a:r>
          </a:p>
        </p:txBody>
      </p:sp>
      <p:sp>
        <p:nvSpPr>
          <p:cNvPr id="86" name="Round Same Side Corner Rectangle 85"/>
          <p:cNvSpPr/>
          <p:nvPr/>
        </p:nvSpPr>
        <p:spPr>
          <a:xfrm>
            <a:off x="6408738" y="1385888"/>
            <a:ext cx="1503362" cy="307975"/>
          </a:xfrm>
          <a:prstGeom prst="round2SameRect">
            <a:avLst>
              <a:gd name="adj1" fmla="val 28375"/>
              <a:gd name="adj2" fmla="val 0"/>
            </a:avLst>
          </a:prstGeom>
          <a:solidFill>
            <a:schemeClr val="accent3">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100" b="1" dirty="0">
                <a:solidFill>
                  <a:schemeClr val="bg1"/>
                </a:solidFill>
              </a:rPr>
              <a:t>4</a:t>
            </a:r>
          </a:p>
        </p:txBody>
      </p:sp>
      <p:sp>
        <p:nvSpPr>
          <p:cNvPr id="21516" name="TextBox 4"/>
          <p:cNvSpPr txBox="1">
            <a:spLocks noChangeArrowheads="1"/>
          </p:cNvSpPr>
          <p:nvPr/>
        </p:nvSpPr>
        <p:spPr bwMode="auto">
          <a:xfrm>
            <a:off x="1428750" y="1881188"/>
            <a:ext cx="11064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500" b="1"/>
              <a:t>TARGET</a:t>
            </a:r>
          </a:p>
          <a:p>
            <a:pPr algn="ctr" eaLnBrk="1" hangingPunct="1"/>
            <a:r>
              <a:rPr lang="en-US" sz="1500" b="1"/>
              <a:t>ORIENTED</a:t>
            </a:r>
          </a:p>
        </p:txBody>
      </p:sp>
      <p:sp>
        <p:nvSpPr>
          <p:cNvPr id="21517" name="TextBox 86"/>
          <p:cNvSpPr txBox="1">
            <a:spLocks noChangeArrowheads="1"/>
          </p:cNvSpPr>
          <p:nvPr/>
        </p:nvSpPr>
        <p:spPr bwMode="auto">
          <a:xfrm>
            <a:off x="3071813" y="1881188"/>
            <a:ext cx="120808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500" b="1"/>
              <a:t>CUSTOMER</a:t>
            </a:r>
          </a:p>
          <a:p>
            <a:pPr algn="ctr" eaLnBrk="1" hangingPunct="1"/>
            <a:r>
              <a:rPr lang="en-US" sz="1500" b="1"/>
              <a:t>ORIENTED</a:t>
            </a:r>
          </a:p>
        </p:txBody>
      </p:sp>
      <p:sp>
        <p:nvSpPr>
          <p:cNvPr id="21518" name="TextBox 97"/>
          <p:cNvSpPr txBox="1">
            <a:spLocks noChangeArrowheads="1"/>
          </p:cNvSpPr>
          <p:nvPr/>
        </p:nvSpPr>
        <p:spPr bwMode="auto">
          <a:xfrm>
            <a:off x="4619625" y="1881188"/>
            <a:ext cx="1543050"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500" b="1"/>
              <a:t>LEADERSHIP</a:t>
            </a:r>
          </a:p>
          <a:p>
            <a:pPr algn="ctr" eaLnBrk="1" hangingPunct="1"/>
            <a:r>
              <a:rPr lang="en-US" sz="1500" b="1"/>
              <a:t>AND </a:t>
            </a:r>
          </a:p>
          <a:p>
            <a:pPr algn="ctr" eaLnBrk="1" hangingPunct="1"/>
            <a:r>
              <a:rPr lang="en-US" sz="1500" b="1"/>
              <a:t>TARGET</a:t>
            </a:r>
          </a:p>
          <a:p>
            <a:pPr algn="ctr" eaLnBrk="1" hangingPunct="1"/>
            <a:r>
              <a:rPr lang="en-US" sz="1500" b="1"/>
              <a:t>CONSEQUENCE</a:t>
            </a:r>
          </a:p>
        </p:txBody>
      </p:sp>
      <p:sp>
        <p:nvSpPr>
          <p:cNvPr id="21519" name="TextBox 99"/>
          <p:cNvSpPr txBox="1">
            <a:spLocks noChangeArrowheads="1"/>
          </p:cNvSpPr>
          <p:nvPr/>
        </p:nvSpPr>
        <p:spPr bwMode="auto">
          <a:xfrm>
            <a:off x="6380163" y="1881188"/>
            <a:ext cx="1557337"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500" b="1"/>
              <a:t>MANAGEMENT</a:t>
            </a:r>
          </a:p>
          <a:p>
            <a:pPr algn="ctr" eaLnBrk="1" hangingPunct="1"/>
            <a:r>
              <a:rPr lang="en-US" sz="1500" b="1"/>
              <a:t>BASED ON</a:t>
            </a:r>
          </a:p>
          <a:p>
            <a:pPr algn="ctr" eaLnBrk="1" hangingPunct="1"/>
            <a:r>
              <a:rPr lang="en-US" sz="1500" b="1"/>
              <a:t>PROCESSES</a:t>
            </a:r>
          </a:p>
          <a:p>
            <a:pPr algn="ctr" eaLnBrk="1" hangingPunct="1"/>
            <a:r>
              <a:rPr lang="en-US" sz="1500" b="1"/>
              <a:t>&amp; FACTS</a:t>
            </a:r>
          </a:p>
        </p:txBody>
      </p:sp>
      <p:sp>
        <p:nvSpPr>
          <p:cNvPr id="21520" name="TextBox 6"/>
          <p:cNvSpPr txBox="1">
            <a:spLocks noChangeArrowheads="1"/>
          </p:cNvSpPr>
          <p:nvPr/>
        </p:nvSpPr>
        <p:spPr bwMode="auto">
          <a:xfrm>
            <a:off x="1198563" y="2487613"/>
            <a:ext cx="1539875"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100"/>
              <a:t>This is an example text. Replace with your own text here. Your text here. This is an example text. Replace with your own text here. Your text here</a:t>
            </a:r>
          </a:p>
          <a:p>
            <a:pPr algn="ctr" eaLnBrk="1" hangingPunct="1"/>
            <a:endParaRPr lang="en-US" sz="1100"/>
          </a:p>
        </p:txBody>
      </p:sp>
      <p:sp>
        <p:nvSpPr>
          <p:cNvPr id="21521" name="TextBox 100"/>
          <p:cNvSpPr txBox="1">
            <a:spLocks noChangeArrowheads="1"/>
          </p:cNvSpPr>
          <p:nvPr/>
        </p:nvSpPr>
        <p:spPr bwMode="auto">
          <a:xfrm>
            <a:off x="2949575" y="2487613"/>
            <a:ext cx="1539875"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100"/>
              <a:t>This is an example text. Replace with your own text here. Your text here. This is an example text. Replace with your own text here. Your text here</a:t>
            </a:r>
          </a:p>
          <a:p>
            <a:pPr algn="ctr" eaLnBrk="1" hangingPunct="1"/>
            <a:endParaRPr lang="en-US" sz="1100"/>
          </a:p>
        </p:txBody>
      </p:sp>
      <p:sp>
        <p:nvSpPr>
          <p:cNvPr id="21522" name="TextBox 101"/>
          <p:cNvSpPr txBox="1">
            <a:spLocks noChangeArrowheads="1"/>
          </p:cNvSpPr>
          <p:nvPr/>
        </p:nvSpPr>
        <p:spPr bwMode="auto">
          <a:xfrm>
            <a:off x="4678363" y="2998788"/>
            <a:ext cx="1539875"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100"/>
              <a:t>This is an example text. Replace with your own text here. Your text here. This is an example text. Replace with your own text here. Your text here</a:t>
            </a:r>
          </a:p>
          <a:p>
            <a:pPr algn="ctr" eaLnBrk="1" hangingPunct="1"/>
            <a:endParaRPr lang="en-US" sz="1100"/>
          </a:p>
        </p:txBody>
      </p:sp>
      <p:sp>
        <p:nvSpPr>
          <p:cNvPr id="21523" name="TextBox 102"/>
          <p:cNvSpPr txBox="1">
            <a:spLocks noChangeArrowheads="1"/>
          </p:cNvSpPr>
          <p:nvPr/>
        </p:nvSpPr>
        <p:spPr bwMode="auto">
          <a:xfrm>
            <a:off x="6407150" y="2998788"/>
            <a:ext cx="1539875"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100"/>
              <a:t>This is an example text. Replace with your own text here. Your text here. This is an example text. Replace with your own text here. Your text here</a:t>
            </a:r>
          </a:p>
          <a:p>
            <a:pPr algn="ctr" eaLnBrk="1" hangingPunct="1"/>
            <a:endParaRPr lang="en-US" sz="1100"/>
          </a:p>
        </p:txBody>
      </p:sp>
      <p:sp>
        <p:nvSpPr>
          <p:cNvPr id="8" name="TextBox 7"/>
          <p:cNvSpPr txBox="1"/>
          <p:nvPr/>
        </p:nvSpPr>
        <p:spPr>
          <a:xfrm>
            <a:off x="3595688" y="5162550"/>
            <a:ext cx="1955800" cy="261938"/>
          </a:xfrm>
          <a:prstGeom prst="rect">
            <a:avLst/>
          </a:prstGeom>
          <a:noFill/>
        </p:spPr>
        <p:txBody>
          <a:bodyPr wrap="none">
            <a:spAutoFit/>
          </a:bodyPr>
          <a:lstStyle/>
          <a:p>
            <a:pPr>
              <a:defRPr/>
            </a:pPr>
            <a:r>
              <a:rPr lang="en-US" sz="1100" dirty="0">
                <a:solidFill>
                  <a:schemeClr val="bg1">
                    <a:lumMod val="85000"/>
                  </a:schemeClr>
                </a:solidFill>
                <a:latin typeface="Calibri" charset="0"/>
                <a:ea typeface="ＭＳ Ｐゴシック" charset="0"/>
                <a:cs typeface="ＭＳ Ｐゴシック" charset="0"/>
              </a:rPr>
              <a:t>BUSINESS EXCELLENCE MODEL</a:t>
            </a:r>
          </a:p>
        </p:txBody>
      </p:sp>
    </p:spTree>
    <p:extLst>
      <p:ext uri="{BB962C8B-B14F-4D97-AF65-F5344CB8AC3E}">
        <p14:creationId xmlns:p14="http://schemas.microsoft.com/office/powerpoint/2010/main" val="26917323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TextBox 3"/>
          <p:cNvSpPr txBox="1">
            <a:spLocks noChangeArrowheads="1"/>
          </p:cNvSpPr>
          <p:nvPr/>
        </p:nvSpPr>
        <p:spPr bwMode="auto">
          <a:xfrm>
            <a:off x="296863" y="227013"/>
            <a:ext cx="307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800" b="1">
                <a:solidFill>
                  <a:srgbClr val="404040"/>
                </a:solidFill>
              </a:rPr>
              <a:t>BUSINESS EXCELLENCE </a:t>
            </a:r>
            <a:r>
              <a:rPr lang="en-US" sz="1800">
                <a:solidFill>
                  <a:srgbClr val="404040"/>
                </a:solidFill>
              </a:rPr>
              <a:t>MODEL</a:t>
            </a:r>
          </a:p>
        </p:txBody>
      </p:sp>
      <p:grpSp>
        <p:nvGrpSpPr>
          <p:cNvPr id="23554" name="Group 3"/>
          <p:cNvGrpSpPr>
            <a:grpSpLocks/>
          </p:cNvGrpSpPr>
          <p:nvPr/>
        </p:nvGrpSpPr>
        <p:grpSpPr bwMode="auto">
          <a:xfrm>
            <a:off x="1168400" y="763588"/>
            <a:ext cx="6573838" cy="5330825"/>
            <a:chOff x="1168400" y="909977"/>
            <a:chExt cx="6573838" cy="5331123"/>
          </a:xfrm>
        </p:grpSpPr>
        <p:grpSp>
          <p:nvGrpSpPr>
            <p:cNvPr id="23555" name="Group 1"/>
            <p:cNvGrpSpPr>
              <a:grpSpLocks/>
            </p:cNvGrpSpPr>
            <p:nvPr/>
          </p:nvGrpSpPr>
          <p:grpSpPr bwMode="auto">
            <a:xfrm>
              <a:off x="1168400" y="2003765"/>
              <a:ext cx="6573838" cy="2878137"/>
              <a:chOff x="1168400" y="1690688"/>
              <a:chExt cx="6573838" cy="2878137"/>
            </a:xfrm>
          </p:grpSpPr>
          <p:sp>
            <p:nvSpPr>
              <p:cNvPr id="6" name="Pie 5"/>
              <p:cNvSpPr/>
              <p:nvPr/>
            </p:nvSpPr>
            <p:spPr>
              <a:xfrm>
                <a:off x="1168400" y="2014616"/>
                <a:ext cx="1549400" cy="2554431"/>
              </a:xfrm>
              <a:prstGeom prst="pie">
                <a:avLst>
                  <a:gd name="adj1" fmla="val 5434971"/>
                  <a:gd name="adj2" fmla="val 16200000"/>
                </a:avLst>
              </a:prstGeom>
              <a:solidFill>
                <a:srgbClr val="77933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500"/>
              </a:p>
            </p:txBody>
          </p:sp>
          <p:grpSp>
            <p:nvGrpSpPr>
              <p:cNvPr id="23559" name="Group 15"/>
              <p:cNvGrpSpPr>
                <a:grpSpLocks/>
              </p:cNvGrpSpPr>
              <p:nvPr/>
            </p:nvGrpSpPr>
            <p:grpSpPr bwMode="auto">
              <a:xfrm>
                <a:off x="1962150" y="2014538"/>
                <a:ext cx="1922463" cy="2554287"/>
                <a:chOff x="2114136" y="2014179"/>
                <a:chExt cx="1771110" cy="2554132"/>
              </a:xfrm>
            </p:grpSpPr>
            <p:sp>
              <p:nvSpPr>
                <p:cNvPr id="7" name="Rectangle 6"/>
                <p:cNvSpPr/>
                <p:nvPr/>
              </p:nvSpPr>
              <p:spPr>
                <a:xfrm>
                  <a:off x="2114136" y="2014257"/>
                  <a:ext cx="1771110" cy="831846"/>
                </a:xfrm>
                <a:prstGeom prst="rect">
                  <a:avLst/>
                </a:prstGeom>
                <a:solidFill>
                  <a:schemeClr val="bg1"/>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dirty="0">
                      <a:solidFill>
                        <a:srgbClr val="404040"/>
                      </a:solidFill>
                    </a:rPr>
                    <a:t>leadership</a:t>
                  </a:r>
                </a:p>
              </p:txBody>
            </p:sp>
            <p:sp>
              <p:nvSpPr>
                <p:cNvPr id="37" name="Rectangle 36"/>
                <p:cNvSpPr/>
                <p:nvPr/>
              </p:nvSpPr>
              <p:spPr>
                <a:xfrm>
                  <a:off x="2114136" y="2873091"/>
                  <a:ext cx="1771110" cy="831846"/>
                </a:xfrm>
                <a:prstGeom prst="rect">
                  <a:avLst/>
                </a:prstGeom>
                <a:solidFill>
                  <a:schemeClr val="bg1"/>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dirty="0">
                      <a:solidFill>
                        <a:srgbClr val="404040"/>
                      </a:solidFill>
                    </a:rPr>
                    <a:t>employee</a:t>
                  </a:r>
                </a:p>
              </p:txBody>
            </p:sp>
            <p:sp>
              <p:nvSpPr>
                <p:cNvPr id="38" name="Rectangle 37"/>
                <p:cNvSpPr/>
                <p:nvPr/>
              </p:nvSpPr>
              <p:spPr>
                <a:xfrm>
                  <a:off x="2114136" y="3736687"/>
                  <a:ext cx="1771110" cy="831846"/>
                </a:xfrm>
                <a:prstGeom prst="rect">
                  <a:avLst/>
                </a:prstGeom>
                <a:solidFill>
                  <a:schemeClr val="bg1"/>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dirty="0">
                      <a:solidFill>
                        <a:srgbClr val="404040"/>
                      </a:solidFill>
                    </a:rPr>
                    <a:t>resources</a:t>
                  </a:r>
                </a:p>
              </p:txBody>
            </p:sp>
          </p:grpSp>
          <p:sp>
            <p:nvSpPr>
              <p:cNvPr id="10" name="Rectangle 9"/>
              <p:cNvSpPr/>
              <p:nvPr/>
            </p:nvSpPr>
            <p:spPr>
              <a:xfrm>
                <a:off x="3910013" y="2014616"/>
                <a:ext cx="1076325" cy="2554431"/>
              </a:xfrm>
              <a:prstGeom prst="rect">
                <a:avLst/>
              </a:prstGeom>
              <a:solidFill>
                <a:schemeClr val="tx2">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500" dirty="0"/>
              </a:p>
            </p:txBody>
          </p:sp>
          <p:sp>
            <p:nvSpPr>
              <p:cNvPr id="43" name="Pie 42"/>
              <p:cNvSpPr/>
              <p:nvPr/>
            </p:nvSpPr>
            <p:spPr>
              <a:xfrm flipH="1">
                <a:off x="6175375" y="2014616"/>
                <a:ext cx="1566863" cy="2554431"/>
              </a:xfrm>
              <a:prstGeom prst="pie">
                <a:avLst>
                  <a:gd name="adj1" fmla="val 5434971"/>
                  <a:gd name="adj2" fmla="val 16200000"/>
                </a:avLst>
              </a:prstGeom>
              <a:solidFill>
                <a:srgbClr val="77933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500"/>
              </a:p>
            </p:txBody>
          </p:sp>
          <p:grpSp>
            <p:nvGrpSpPr>
              <p:cNvPr id="23562" name="Group 14"/>
              <p:cNvGrpSpPr>
                <a:grpSpLocks/>
              </p:cNvGrpSpPr>
              <p:nvPr/>
            </p:nvGrpSpPr>
            <p:grpSpPr bwMode="auto">
              <a:xfrm>
                <a:off x="5024438" y="2014538"/>
                <a:ext cx="1906587" cy="2554287"/>
                <a:chOff x="5024236" y="2014179"/>
                <a:chExt cx="1789703" cy="2554132"/>
              </a:xfrm>
            </p:grpSpPr>
            <p:sp>
              <p:nvSpPr>
                <p:cNvPr id="45" name="Rectangle 44"/>
                <p:cNvSpPr/>
                <p:nvPr/>
              </p:nvSpPr>
              <p:spPr>
                <a:xfrm flipH="1">
                  <a:off x="5024236" y="2014257"/>
                  <a:ext cx="1789703" cy="831846"/>
                </a:xfrm>
                <a:prstGeom prst="rect">
                  <a:avLst/>
                </a:prstGeom>
                <a:solidFill>
                  <a:schemeClr val="bg1"/>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dirty="0">
                      <a:solidFill>
                        <a:srgbClr val="404040"/>
                      </a:solidFill>
                    </a:rPr>
                    <a:t>customer</a:t>
                  </a:r>
                </a:p>
                <a:p>
                  <a:pPr algn="ctr">
                    <a:defRPr/>
                  </a:pPr>
                  <a:r>
                    <a:rPr lang="en-US" sz="1500" dirty="0">
                      <a:solidFill>
                        <a:srgbClr val="404040"/>
                      </a:solidFill>
                    </a:rPr>
                    <a:t>satisfaction</a:t>
                  </a:r>
                </a:p>
              </p:txBody>
            </p:sp>
            <p:sp>
              <p:nvSpPr>
                <p:cNvPr id="46" name="Rectangle 45"/>
                <p:cNvSpPr/>
                <p:nvPr/>
              </p:nvSpPr>
              <p:spPr>
                <a:xfrm flipH="1">
                  <a:off x="5024236" y="2873091"/>
                  <a:ext cx="1789703" cy="831846"/>
                </a:xfrm>
                <a:prstGeom prst="rect">
                  <a:avLst/>
                </a:prstGeom>
                <a:solidFill>
                  <a:schemeClr val="bg1"/>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dirty="0">
                      <a:solidFill>
                        <a:srgbClr val="404040"/>
                      </a:solidFill>
                    </a:rPr>
                    <a:t>employee</a:t>
                  </a:r>
                </a:p>
                <a:p>
                  <a:pPr algn="ctr">
                    <a:defRPr/>
                  </a:pPr>
                  <a:r>
                    <a:rPr lang="en-US" sz="1500" dirty="0">
                      <a:solidFill>
                        <a:srgbClr val="404040"/>
                      </a:solidFill>
                    </a:rPr>
                    <a:t>satisfaction</a:t>
                  </a:r>
                </a:p>
              </p:txBody>
            </p:sp>
            <p:sp>
              <p:nvSpPr>
                <p:cNvPr id="47" name="Rectangle 46"/>
                <p:cNvSpPr/>
                <p:nvPr/>
              </p:nvSpPr>
              <p:spPr>
                <a:xfrm flipH="1">
                  <a:off x="5024236" y="3736687"/>
                  <a:ext cx="1789703" cy="831846"/>
                </a:xfrm>
                <a:prstGeom prst="rect">
                  <a:avLst/>
                </a:prstGeom>
                <a:solidFill>
                  <a:schemeClr val="bg1"/>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dirty="0">
                      <a:solidFill>
                        <a:srgbClr val="404040"/>
                      </a:solidFill>
                    </a:rPr>
                    <a:t>satisfaction of </a:t>
                  </a:r>
                </a:p>
                <a:p>
                  <a:pPr algn="ctr">
                    <a:defRPr/>
                  </a:pPr>
                  <a:r>
                    <a:rPr lang="en-US" sz="1500" dirty="0">
                      <a:solidFill>
                        <a:srgbClr val="404040"/>
                      </a:solidFill>
                    </a:rPr>
                    <a:t>other involved group</a:t>
                  </a:r>
                </a:p>
              </p:txBody>
            </p:sp>
          </p:grpSp>
          <p:sp>
            <p:nvSpPr>
              <p:cNvPr id="23563" name="TextBox 12"/>
              <p:cNvSpPr txBox="1">
                <a:spLocks noChangeArrowheads="1"/>
              </p:cNvSpPr>
              <p:nvPr/>
            </p:nvSpPr>
            <p:spPr bwMode="auto">
              <a:xfrm rot="-5400000">
                <a:off x="1026319" y="3144044"/>
                <a:ext cx="1281112"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500" b="1">
                    <a:solidFill>
                      <a:srgbClr val="D7E4BD"/>
                    </a:solidFill>
                  </a:rPr>
                  <a:t>Project target</a:t>
                </a:r>
              </a:p>
            </p:txBody>
          </p:sp>
          <p:sp>
            <p:nvSpPr>
              <p:cNvPr id="23564" name="TextBox 49"/>
              <p:cNvSpPr txBox="1">
                <a:spLocks noChangeArrowheads="1"/>
              </p:cNvSpPr>
              <p:nvPr/>
            </p:nvSpPr>
            <p:spPr bwMode="auto">
              <a:xfrm rot="-5400000">
                <a:off x="6350001" y="3144837"/>
                <a:ext cx="1776412"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500" b="1">
                    <a:solidFill>
                      <a:srgbClr val="D7E4BD"/>
                    </a:solidFill>
                  </a:rPr>
                  <a:t>Target achievement</a:t>
                </a:r>
              </a:p>
            </p:txBody>
          </p:sp>
          <p:sp>
            <p:nvSpPr>
              <p:cNvPr id="52" name="TextBox 51"/>
              <p:cNvSpPr txBox="1"/>
              <p:nvPr/>
            </p:nvSpPr>
            <p:spPr>
              <a:xfrm rot="16200000">
                <a:off x="4025084" y="3144195"/>
                <a:ext cx="789031" cy="323850"/>
              </a:xfrm>
              <a:prstGeom prst="rect">
                <a:avLst/>
              </a:prstGeom>
              <a:noFill/>
            </p:spPr>
            <p:txBody>
              <a:bodyPr wrap="none">
                <a:spAutoFit/>
              </a:bodyPr>
              <a:lstStyle>
                <a:defPPr>
                  <a:defRPr lang="en-US"/>
                </a:defPPr>
                <a:lvl1pPr>
                  <a:defRPr b="1">
                    <a:solidFill>
                      <a:schemeClr val="accent3">
                        <a:lumMod val="40000"/>
                        <a:lumOff val="60000"/>
                      </a:schemeClr>
                    </a:solidFill>
                  </a:defRPr>
                </a:lvl1pPr>
              </a:lstStyle>
              <a:p>
                <a:pPr>
                  <a:defRPr/>
                </a:pPr>
                <a:r>
                  <a:rPr lang="en-US" sz="1500" dirty="0" smtClean="0">
                    <a:solidFill>
                      <a:schemeClr val="accent1">
                        <a:lumMod val="40000"/>
                        <a:lumOff val="60000"/>
                      </a:schemeClr>
                    </a:solidFill>
                    <a:latin typeface="Calibri" charset="0"/>
                    <a:ea typeface="ＭＳ Ｐゴシック" charset="0"/>
                    <a:cs typeface="ＭＳ Ｐゴシック" charset="0"/>
                  </a:rPr>
                  <a:t>Process</a:t>
                </a:r>
              </a:p>
            </p:txBody>
          </p:sp>
          <p:sp>
            <p:nvSpPr>
              <p:cNvPr id="23566" name="TextBox 13"/>
              <p:cNvSpPr txBox="1">
                <a:spLocks noChangeArrowheads="1"/>
              </p:cNvSpPr>
              <p:nvPr/>
            </p:nvSpPr>
            <p:spPr bwMode="auto">
              <a:xfrm>
                <a:off x="1828988" y="1690688"/>
                <a:ext cx="21590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1500" b="1">
                    <a:solidFill>
                      <a:srgbClr val="404040"/>
                    </a:solidFill>
                  </a:rPr>
                  <a:t>PROJECT MANAGEMENT</a:t>
                </a:r>
              </a:p>
            </p:txBody>
          </p:sp>
          <p:sp>
            <p:nvSpPr>
              <p:cNvPr id="23567" name="TextBox 52"/>
              <p:cNvSpPr txBox="1">
                <a:spLocks noChangeArrowheads="1"/>
              </p:cNvSpPr>
              <p:nvPr/>
            </p:nvSpPr>
            <p:spPr bwMode="auto">
              <a:xfrm>
                <a:off x="5448300" y="1690688"/>
                <a:ext cx="89058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500" b="1">
                    <a:solidFill>
                      <a:srgbClr val="404040"/>
                    </a:solidFill>
                  </a:rPr>
                  <a:t>PROJECT</a:t>
                </a:r>
              </a:p>
            </p:txBody>
          </p:sp>
        </p:grpSp>
        <p:sp>
          <p:nvSpPr>
            <p:cNvPr id="3" name="Curved Down Arrow 2"/>
            <p:cNvSpPr/>
            <p:nvPr/>
          </p:nvSpPr>
          <p:spPr>
            <a:xfrm>
              <a:off x="2992438" y="909977"/>
              <a:ext cx="3027362" cy="1104962"/>
            </a:xfrm>
            <a:prstGeom prst="curvedDownArrow">
              <a:avLst/>
            </a:prstGeom>
            <a:solidFill>
              <a:schemeClr val="bg1"/>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21" name="Curved Down Arrow 20"/>
            <p:cNvSpPr/>
            <p:nvPr/>
          </p:nvSpPr>
          <p:spPr>
            <a:xfrm flipH="1" flipV="1">
              <a:off x="2992438" y="5147251"/>
              <a:ext cx="3027362" cy="1093849"/>
            </a:xfrm>
            <a:prstGeom prst="curvedDownArrow">
              <a:avLst/>
            </a:prstGeom>
            <a:solidFill>
              <a:schemeClr val="bg1"/>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grpSp>
    </p:spTree>
    <p:extLst>
      <p:ext uri="{BB962C8B-B14F-4D97-AF65-F5344CB8AC3E}">
        <p14:creationId xmlns:p14="http://schemas.microsoft.com/office/powerpoint/2010/main" val="356739424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extBox 3"/>
          <p:cNvSpPr txBox="1">
            <a:spLocks noChangeArrowheads="1"/>
          </p:cNvSpPr>
          <p:nvPr/>
        </p:nvSpPr>
        <p:spPr bwMode="auto">
          <a:xfrm>
            <a:off x="296863" y="227013"/>
            <a:ext cx="307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800" b="1">
                <a:solidFill>
                  <a:srgbClr val="404040"/>
                </a:solidFill>
              </a:rPr>
              <a:t>BUSINESS EXCELLENCE </a:t>
            </a:r>
            <a:r>
              <a:rPr lang="en-US" sz="1800">
                <a:solidFill>
                  <a:srgbClr val="404040"/>
                </a:solidFill>
              </a:rPr>
              <a:t>MODEL</a:t>
            </a:r>
          </a:p>
        </p:txBody>
      </p:sp>
      <p:grpSp>
        <p:nvGrpSpPr>
          <p:cNvPr id="25602" name="Group 16"/>
          <p:cNvGrpSpPr>
            <a:grpSpLocks/>
          </p:cNvGrpSpPr>
          <p:nvPr/>
        </p:nvGrpSpPr>
        <p:grpSpPr bwMode="auto">
          <a:xfrm>
            <a:off x="711200" y="1558925"/>
            <a:ext cx="3878263" cy="3865563"/>
            <a:chOff x="804080" y="1432574"/>
            <a:chExt cx="4266003" cy="4252965"/>
          </a:xfrm>
        </p:grpSpPr>
        <p:sp>
          <p:nvSpPr>
            <p:cNvPr id="8" name="Left-Up Arrow 7"/>
            <p:cNvSpPr/>
            <p:nvPr/>
          </p:nvSpPr>
          <p:spPr>
            <a:xfrm flipH="1">
              <a:off x="861706" y="1432574"/>
              <a:ext cx="4208377" cy="4193581"/>
            </a:xfrm>
            <a:prstGeom prst="leftUpArrow">
              <a:avLst>
                <a:gd name="adj1" fmla="val 1438"/>
                <a:gd name="adj2" fmla="val 3419"/>
                <a:gd name="adj3" fmla="val 2838"/>
              </a:avLst>
            </a:prstGeom>
            <a:solidFill>
              <a:schemeClr val="tx1">
                <a:lumMod val="50000"/>
                <a:lumOff val="50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500" b="1"/>
            </a:p>
          </p:txBody>
        </p:sp>
        <p:grpSp>
          <p:nvGrpSpPr>
            <p:cNvPr id="25611" name="Group 15"/>
            <p:cNvGrpSpPr>
              <a:grpSpLocks/>
            </p:cNvGrpSpPr>
            <p:nvPr/>
          </p:nvGrpSpPr>
          <p:grpSpPr bwMode="auto">
            <a:xfrm>
              <a:off x="1377731" y="1432574"/>
              <a:ext cx="3692352" cy="3702876"/>
              <a:chOff x="1270975" y="1857327"/>
              <a:chExt cx="3356684" cy="3366251"/>
            </a:xfrm>
          </p:grpSpPr>
          <p:sp>
            <p:nvSpPr>
              <p:cNvPr id="9" name="Rectangle 8"/>
              <p:cNvSpPr/>
              <p:nvPr/>
            </p:nvSpPr>
            <p:spPr>
              <a:xfrm>
                <a:off x="1271752" y="1857327"/>
                <a:ext cx="1658903" cy="1659268"/>
              </a:xfrm>
              <a:prstGeom prst="rect">
                <a:avLst/>
              </a:prstGeom>
              <a:solidFill>
                <a:schemeClr val="tx2">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F2F2F2"/>
                    </a:solidFill>
                  </a:rPr>
                  <a:t>GROWTH</a:t>
                </a:r>
              </a:p>
              <a:p>
                <a:pPr algn="ctr">
                  <a:defRPr/>
                </a:pPr>
                <a:r>
                  <a:rPr lang="en-US" sz="1500" b="1" dirty="0">
                    <a:solidFill>
                      <a:srgbClr val="F2F2F2"/>
                    </a:solidFill>
                  </a:rPr>
                  <a:t>"Wave"</a:t>
                </a:r>
              </a:p>
            </p:txBody>
          </p:sp>
          <p:sp>
            <p:nvSpPr>
              <p:cNvPr id="26" name="Rectangle 25"/>
              <p:cNvSpPr/>
              <p:nvPr/>
            </p:nvSpPr>
            <p:spPr>
              <a:xfrm>
                <a:off x="2968755" y="1857327"/>
                <a:ext cx="1658904" cy="1659268"/>
              </a:xfrm>
              <a:prstGeom prst="rect">
                <a:avLst/>
              </a:prstGeom>
              <a:solidFill>
                <a:schemeClr val="tx2">
                  <a:lumMod val="50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F2F2F2"/>
                    </a:solidFill>
                  </a:rPr>
                  <a:t>BALANCED</a:t>
                </a:r>
              </a:p>
              <a:p>
                <a:pPr algn="ctr">
                  <a:defRPr/>
                </a:pPr>
                <a:r>
                  <a:rPr lang="en-US" sz="1500" b="1" dirty="0">
                    <a:solidFill>
                      <a:srgbClr val="F2F2F2"/>
                    </a:solidFill>
                  </a:rPr>
                  <a:t>&amp; PREDICTABLE</a:t>
                </a:r>
              </a:p>
            </p:txBody>
          </p:sp>
          <p:sp>
            <p:nvSpPr>
              <p:cNvPr id="27" name="Rectangle 26"/>
              <p:cNvSpPr/>
              <p:nvPr/>
            </p:nvSpPr>
            <p:spPr>
              <a:xfrm>
                <a:off x="1271752" y="3564229"/>
                <a:ext cx="1658903" cy="1659267"/>
              </a:xfrm>
              <a:prstGeom prst="rect">
                <a:avLst/>
              </a:prstGeom>
              <a:solidFill>
                <a:schemeClr val="accent3">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F2F2F2"/>
                    </a:solidFill>
                  </a:rPr>
                  <a:t>FIRE-</a:t>
                </a:r>
              </a:p>
              <a:p>
                <a:pPr algn="ctr">
                  <a:defRPr/>
                </a:pPr>
                <a:r>
                  <a:rPr lang="en-US" sz="1500" b="1" dirty="0">
                    <a:solidFill>
                      <a:srgbClr val="F2F2F2"/>
                    </a:solidFill>
                  </a:rPr>
                  <a:t>FIGHTING</a:t>
                </a:r>
              </a:p>
            </p:txBody>
          </p:sp>
          <p:sp>
            <p:nvSpPr>
              <p:cNvPr id="28" name="Rectangle 27"/>
              <p:cNvSpPr/>
              <p:nvPr/>
            </p:nvSpPr>
            <p:spPr>
              <a:xfrm>
                <a:off x="2968755" y="3564229"/>
                <a:ext cx="1658904" cy="1659267"/>
              </a:xfrm>
              <a:prstGeom prst="rect">
                <a:avLst/>
              </a:prstGeom>
              <a:solidFill>
                <a:schemeClr val="tx2">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F2F2F2"/>
                    </a:solidFill>
                  </a:rPr>
                  <a:t>PROFIT</a:t>
                </a:r>
              </a:p>
              <a:p>
                <a:pPr algn="ctr">
                  <a:defRPr/>
                </a:pPr>
                <a:r>
                  <a:rPr lang="en-US" sz="1500" b="1" dirty="0">
                    <a:solidFill>
                      <a:srgbClr val="F2F2F2"/>
                    </a:solidFill>
                  </a:rPr>
                  <a:t>"Wave"</a:t>
                </a:r>
              </a:p>
            </p:txBody>
          </p:sp>
        </p:grpSp>
        <p:sp>
          <p:nvSpPr>
            <p:cNvPr id="13" name="Rounded Rectangle 12"/>
            <p:cNvSpPr/>
            <p:nvPr/>
          </p:nvSpPr>
          <p:spPr>
            <a:xfrm>
              <a:off x="2302332" y="5296047"/>
              <a:ext cx="1293946" cy="389492"/>
            </a:xfrm>
            <a:prstGeom prst="roundRect">
              <a:avLst/>
            </a:prstGeom>
            <a:solidFill>
              <a:srgbClr val="7F7F7F"/>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chemeClr val="bg1">
                      <a:lumMod val="95000"/>
                    </a:schemeClr>
                  </a:solidFill>
                </a:rPr>
                <a:t>EXECUTION</a:t>
              </a:r>
            </a:p>
          </p:txBody>
        </p:sp>
        <p:sp>
          <p:nvSpPr>
            <p:cNvPr id="32" name="Rounded Rectangle 31"/>
            <p:cNvSpPr/>
            <p:nvPr/>
          </p:nvSpPr>
          <p:spPr>
            <a:xfrm rot="16200000">
              <a:off x="349923" y="3345140"/>
              <a:ext cx="1297721" cy="389406"/>
            </a:xfrm>
            <a:prstGeom prst="roundRect">
              <a:avLst/>
            </a:prstGeom>
            <a:solidFill>
              <a:srgbClr val="7F7F7F"/>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chemeClr val="bg1">
                      <a:lumMod val="95000"/>
                    </a:schemeClr>
                  </a:solidFill>
                </a:rPr>
                <a:t>STRATEGY</a:t>
              </a:r>
            </a:p>
          </p:txBody>
        </p:sp>
      </p:grpSp>
      <p:grpSp>
        <p:nvGrpSpPr>
          <p:cNvPr id="25603" name="Group 22"/>
          <p:cNvGrpSpPr>
            <a:grpSpLocks/>
          </p:cNvGrpSpPr>
          <p:nvPr/>
        </p:nvGrpSpPr>
        <p:grpSpPr bwMode="auto">
          <a:xfrm>
            <a:off x="5340350" y="1690688"/>
            <a:ext cx="3027363" cy="3016250"/>
            <a:chOff x="5382856" y="1365607"/>
            <a:chExt cx="3027923" cy="3016400"/>
          </a:xfrm>
        </p:grpSpPr>
        <p:sp>
          <p:nvSpPr>
            <p:cNvPr id="20" name="Rectangle 19"/>
            <p:cNvSpPr/>
            <p:nvPr/>
          </p:nvSpPr>
          <p:spPr>
            <a:xfrm>
              <a:off x="5382856" y="1365607"/>
              <a:ext cx="115909" cy="957310"/>
            </a:xfrm>
            <a:prstGeom prst="rect">
              <a:avLst/>
            </a:prstGeom>
            <a:solidFill>
              <a:schemeClr val="accent3">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rgbClr val="404040"/>
                </a:solidFill>
              </a:endParaRPr>
            </a:p>
          </p:txBody>
        </p:sp>
        <p:sp>
          <p:nvSpPr>
            <p:cNvPr id="25605" name="TextBox 101"/>
            <p:cNvSpPr txBox="1">
              <a:spLocks noChangeArrowheads="1"/>
            </p:cNvSpPr>
            <p:nvPr/>
          </p:nvSpPr>
          <p:spPr bwMode="auto">
            <a:xfrm>
              <a:off x="5527168" y="1370132"/>
              <a:ext cx="2883611"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100" b="1">
                  <a:solidFill>
                    <a:srgbClr val="404040"/>
                  </a:solidFill>
                </a:rPr>
                <a:t>WEAK</a:t>
              </a:r>
            </a:p>
            <a:p>
              <a:pPr eaLnBrk="1" hangingPunct="1"/>
              <a:r>
                <a:rPr lang="en-US" sz="1100">
                  <a:solidFill>
                    <a:srgbClr val="404040"/>
                  </a:solidFill>
                </a:rPr>
                <a:t>This is an example text. Replace with your own text here. Your text here. This is an example text. Replace with your own text here. Your text here</a:t>
              </a:r>
            </a:p>
          </p:txBody>
        </p:sp>
        <p:sp>
          <p:nvSpPr>
            <p:cNvPr id="49" name="Rectangle 48"/>
            <p:cNvSpPr/>
            <p:nvPr/>
          </p:nvSpPr>
          <p:spPr>
            <a:xfrm>
              <a:off x="5382856" y="2402296"/>
              <a:ext cx="115909" cy="957311"/>
            </a:xfrm>
            <a:prstGeom prst="rect">
              <a:avLst/>
            </a:prstGeom>
            <a:solidFill>
              <a:srgbClr val="17375E"/>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rgbClr val="404040"/>
                </a:solidFill>
              </a:endParaRPr>
            </a:p>
          </p:txBody>
        </p:sp>
        <p:sp>
          <p:nvSpPr>
            <p:cNvPr id="25607" name="TextBox 101"/>
            <p:cNvSpPr txBox="1">
              <a:spLocks noChangeArrowheads="1"/>
            </p:cNvSpPr>
            <p:nvPr/>
          </p:nvSpPr>
          <p:spPr bwMode="auto">
            <a:xfrm>
              <a:off x="5527168" y="2406458"/>
              <a:ext cx="2883611"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100" b="1">
                  <a:solidFill>
                    <a:srgbClr val="404040"/>
                  </a:solidFill>
                </a:rPr>
                <a:t>STRONG</a:t>
              </a:r>
            </a:p>
            <a:p>
              <a:pPr eaLnBrk="1" hangingPunct="1"/>
              <a:r>
                <a:rPr lang="en-US" sz="1100">
                  <a:solidFill>
                    <a:srgbClr val="404040"/>
                  </a:solidFill>
                </a:rPr>
                <a:t>This is an example text. Replace with your own text here. Your text here. This is an example text. Replace with your own text here. Your text here</a:t>
              </a:r>
            </a:p>
          </p:txBody>
        </p:sp>
        <p:sp>
          <p:nvSpPr>
            <p:cNvPr id="51" name="Rectangle 50"/>
            <p:cNvSpPr/>
            <p:nvPr/>
          </p:nvSpPr>
          <p:spPr>
            <a:xfrm>
              <a:off x="5382856" y="3424696"/>
              <a:ext cx="115909" cy="957311"/>
            </a:xfrm>
            <a:prstGeom prst="rect">
              <a:avLst/>
            </a:prstGeom>
            <a:solidFill>
              <a:schemeClr val="tx2">
                <a:lumMod val="50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rgbClr val="404040"/>
                </a:solidFill>
              </a:endParaRPr>
            </a:p>
          </p:txBody>
        </p:sp>
        <p:sp>
          <p:nvSpPr>
            <p:cNvPr id="25609" name="TextBox 101"/>
            <p:cNvSpPr txBox="1">
              <a:spLocks noChangeArrowheads="1"/>
            </p:cNvSpPr>
            <p:nvPr/>
          </p:nvSpPr>
          <p:spPr bwMode="auto">
            <a:xfrm>
              <a:off x="5527168" y="3428858"/>
              <a:ext cx="2883611"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100" b="1">
                  <a:solidFill>
                    <a:srgbClr val="404040"/>
                  </a:solidFill>
                </a:rPr>
                <a:t>STRONG</a:t>
              </a:r>
            </a:p>
            <a:p>
              <a:pPr eaLnBrk="1" hangingPunct="1"/>
              <a:r>
                <a:rPr lang="en-US" sz="1100">
                  <a:solidFill>
                    <a:srgbClr val="404040"/>
                  </a:solidFill>
                </a:rPr>
                <a:t>This is an example text. Replace with your own text here. Your text here. This is an example text. Replace with your own text here. Your text here</a:t>
              </a:r>
            </a:p>
          </p:txBody>
        </p:sp>
      </p:grpSp>
    </p:spTree>
    <p:extLst>
      <p:ext uri="{BB962C8B-B14F-4D97-AF65-F5344CB8AC3E}">
        <p14:creationId xmlns:p14="http://schemas.microsoft.com/office/powerpoint/2010/main" val="22038968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extBox 3"/>
          <p:cNvSpPr txBox="1">
            <a:spLocks noChangeArrowheads="1"/>
          </p:cNvSpPr>
          <p:nvPr/>
        </p:nvSpPr>
        <p:spPr bwMode="auto">
          <a:xfrm>
            <a:off x="296863" y="227013"/>
            <a:ext cx="3070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800" b="1">
                <a:solidFill>
                  <a:srgbClr val="404040"/>
                </a:solidFill>
              </a:rPr>
              <a:t>BUSINESS EXCELLENCE </a:t>
            </a:r>
            <a:r>
              <a:rPr lang="en-US" sz="1800">
                <a:solidFill>
                  <a:srgbClr val="404040"/>
                </a:solidFill>
              </a:rPr>
              <a:t>MODEL</a:t>
            </a:r>
          </a:p>
        </p:txBody>
      </p:sp>
      <p:grpSp>
        <p:nvGrpSpPr>
          <p:cNvPr id="27650" name="Group 11"/>
          <p:cNvGrpSpPr>
            <a:grpSpLocks/>
          </p:cNvGrpSpPr>
          <p:nvPr/>
        </p:nvGrpSpPr>
        <p:grpSpPr bwMode="auto">
          <a:xfrm>
            <a:off x="957263" y="1479550"/>
            <a:ext cx="7229475" cy="3898900"/>
            <a:chOff x="957208" y="1202051"/>
            <a:chExt cx="7229585" cy="3899901"/>
          </a:xfrm>
        </p:grpSpPr>
        <p:grpSp>
          <p:nvGrpSpPr>
            <p:cNvPr id="27651" name="Group 10"/>
            <p:cNvGrpSpPr>
              <a:grpSpLocks/>
            </p:cNvGrpSpPr>
            <p:nvPr/>
          </p:nvGrpSpPr>
          <p:grpSpPr bwMode="auto">
            <a:xfrm>
              <a:off x="957208" y="1756048"/>
              <a:ext cx="7229585" cy="3345904"/>
              <a:chOff x="865875" y="1556731"/>
              <a:chExt cx="7229585" cy="3345904"/>
            </a:xfrm>
          </p:grpSpPr>
          <p:grpSp>
            <p:nvGrpSpPr>
              <p:cNvPr id="27654" name="Group 9"/>
              <p:cNvGrpSpPr>
                <a:grpSpLocks/>
              </p:cNvGrpSpPr>
              <p:nvPr/>
            </p:nvGrpSpPr>
            <p:grpSpPr bwMode="auto">
              <a:xfrm>
                <a:off x="865875" y="1556731"/>
                <a:ext cx="7229585" cy="3345904"/>
                <a:chOff x="865875" y="1556731"/>
                <a:chExt cx="7229585" cy="3345904"/>
              </a:xfrm>
            </p:grpSpPr>
            <p:grpSp>
              <p:nvGrpSpPr>
                <p:cNvPr id="27656" name="Group 6"/>
                <p:cNvGrpSpPr>
                  <a:grpSpLocks/>
                </p:cNvGrpSpPr>
                <p:nvPr/>
              </p:nvGrpSpPr>
              <p:grpSpPr bwMode="auto">
                <a:xfrm>
                  <a:off x="865875" y="1556731"/>
                  <a:ext cx="3227285" cy="3345904"/>
                  <a:chOff x="865875" y="1556731"/>
                  <a:chExt cx="3227285" cy="3345904"/>
                </a:xfrm>
              </p:grpSpPr>
              <p:sp>
                <p:nvSpPr>
                  <p:cNvPr id="2" name="Rectangle 1"/>
                  <p:cNvSpPr/>
                  <p:nvPr/>
                </p:nvSpPr>
                <p:spPr>
                  <a:xfrm>
                    <a:off x="865875" y="1556914"/>
                    <a:ext cx="2371761" cy="1082953"/>
                  </a:xfrm>
                  <a:prstGeom prst="rect">
                    <a:avLst/>
                  </a:prstGeom>
                  <a:solidFill>
                    <a:schemeClr val="bg1">
                      <a:alpha val="6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404040"/>
                        </a:solidFill>
                      </a:rPr>
                      <a:t>VISION-MISSION-VALUES</a:t>
                    </a:r>
                  </a:p>
                </p:txBody>
              </p:sp>
              <p:sp>
                <p:nvSpPr>
                  <p:cNvPr id="21" name="Rectangle 20"/>
                  <p:cNvSpPr/>
                  <p:nvPr/>
                </p:nvSpPr>
                <p:spPr>
                  <a:xfrm>
                    <a:off x="865875" y="2687504"/>
                    <a:ext cx="2371761" cy="1082953"/>
                  </a:xfrm>
                  <a:prstGeom prst="rect">
                    <a:avLst/>
                  </a:prstGeom>
                  <a:solidFill>
                    <a:schemeClr val="tx2">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F2F2F2"/>
                        </a:solidFill>
                      </a:rPr>
                      <a:t>LEADERSHIP</a:t>
                    </a:r>
                  </a:p>
                </p:txBody>
              </p:sp>
              <p:sp>
                <p:nvSpPr>
                  <p:cNvPr id="22" name="Rectangle 21"/>
                  <p:cNvSpPr/>
                  <p:nvPr/>
                </p:nvSpPr>
                <p:spPr>
                  <a:xfrm>
                    <a:off x="865875" y="3819682"/>
                    <a:ext cx="2371761" cy="1082953"/>
                  </a:xfrm>
                  <a:prstGeom prst="rect">
                    <a:avLst/>
                  </a:prstGeom>
                  <a:solidFill>
                    <a:schemeClr val="bg1">
                      <a:alpha val="6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404040"/>
                        </a:solidFill>
                      </a:rPr>
                      <a:t>VALUE ADDED</a:t>
                    </a:r>
                  </a:p>
                  <a:p>
                    <a:pPr algn="ctr">
                      <a:defRPr/>
                    </a:pPr>
                    <a:r>
                      <a:rPr lang="en-US" sz="1500" b="1" dirty="0">
                        <a:solidFill>
                          <a:srgbClr val="404040"/>
                        </a:solidFill>
                      </a:rPr>
                      <a:t>THINKING LEAN</a:t>
                    </a:r>
                  </a:p>
                </p:txBody>
              </p:sp>
              <p:sp>
                <p:nvSpPr>
                  <p:cNvPr id="4" name="Isosceles Triangle 3"/>
                  <p:cNvSpPr/>
                  <p:nvPr/>
                </p:nvSpPr>
                <p:spPr>
                  <a:xfrm rot="5400000">
                    <a:off x="1992613" y="2801937"/>
                    <a:ext cx="3345721" cy="855675"/>
                  </a:xfrm>
                  <a:prstGeom prst="triangle">
                    <a:avLst/>
                  </a:prstGeom>
                  <a:solidFill>
                    <a:schemeClr val="bg1">
                      <a:lumMod val="6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grpSp>
            <p:grpSp>
              <p:nvGrpSpPr>
                <p:cNvPr id="27657" name="Group 5"/>
                <p:cNvGrpSpPr>
                  <a:grpSpLocks/>
                </p:cNvGrpSpPr>
                <p:nvPr/>
              </p:nvGrpSpPr>
              <p:grpSpPr bwMode="auto">
                <a:xfrm>
                  <a:off x="4969191" y="1556731"/>
                  <a:ext cx="3126269" cy="3345903"/>
                  <a:chOff x="4969191" y="1556731"/>
                  <a:chExt cx="3126269" cy="3345903"/>
                </a:xfrm>
              </p:grpSpPr>
              <p:sp>
                <p:nvSpPr>
                  <p:cNvPr id="24" name="Rectangle 23"/>
                  <p:cNvSpPr/>
                  <p:nvPr/>
                </p:nvSpPr>
                <p:spPr>
                  <a:xfrm>
                    <a:off x="5723699" y="1556914"/>
                    <a:ext cx="2371761" cy="1082953"/>
                  </a:xfrm>
                  <a:prstGeom prst="rect">
                    <a:avLst/>
                  </a:prstGeom>
                  <a:solidFill>
                    <a:schemeClr val="bg1">
                      <a:alpha val="6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404040"/>
                        </a:solidFill>
                      </a:rPr>
                      <a:t>ISO</a:t>
                    </a:r>
                  </a:p>
                </p:txBody>
              </p:sp>
              <p:sp>
                <p:nvSpPr>
                  <p:cNvPr id="25" name="Rectangle 24"/>
                  <p:cNvSpPr/>
                  <p:nvPr/>
                </p:nvSpPr>
                <p:spPr>
                  <a:xfrm>
                    <a:off x="5723699" y="2687504"/>
                    <a:ext cx="2371761" cy="1082953"/>
                  </a:xfrm>
                  <a:prstGeom prst="rect">
                    <a:avLst/>
                  </a:prstGeom>
                  <a:solidFill>
                    <a:schemeClr val="tx2">
                      <a:lumMod val="7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F2F2F2"/>
                        </a:solidFill>
                      </a:rPr>
                      <a:t>SIX SIGMA</a:t>
                    </a:r>
                  </a:p>
                </p:txBody>
              </p:sp>
              <p:sp>
                <p:nvSpPr>
                  <p:cNvPr id="29" name="Rectangle 28"/>
                  <p:cNvSpPr/>
                  <p:nvPr/>
                </p:nvSpPr>
                <p:spPr>
                  <a:xfrm>
                    <a:off x="5723699" y="3819682"/>
                    <a:ext cx="2371761" cy="1082953"/>
                  </a:xfrm>
                  <a:prstGeom prst="rect">
                    <a:avLst/>
                  </a:prstGeom>
                  <a:solidFill>
                    <a:schemeClr val="bg1">
                      <a:alpha val="6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404040"/>
                        </a:solidFill>
                      </a:rPr>
                      <a:t>SUPPLY CHAIN MANAGEMENT</a:t>
                    </a:r>
                  </a:p>
                </p:txBody>
              </p:sp>
              <p:sp>
                <p:nvSpPr>
                  <p:cNvPr id="30" name="Isosceles Triangle 29"/>
                  <p:cNvSpPr/>
                  <p:nvPr/>
                </p:nvSpPr>
                <p:spPr>
                  <a:xfrm rot="5400000" flipV="1">
                    <a:off x="3673801" y="2852737"/>
                    <a:ext cx="3345721" cy="754075"/>
                  </a:xfrm>
                  <a:prstGeom prst="triangle">
                    <a:avLst/>
                  </a:prstGeom>
                  <a:solidFill>
                    <a:schemeClr val="bg1">
                      <a:lumMod val="65000"/>
                    </a:schemeClr>
                  </a:solidFill>
                  <a:ln w="3175" cmpd="sng">
                    <a:noFill/>
                    <a:prstDash val="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grpSp>
          </p:grpSp>
          <p:sp>
            <p:nvSpPr>
              <p:cNvPr id="5" name="Oval 4"/>
              <p:cNvSpPr/>
              <p:nvPr/>
            </p:nvSpPr>
            <p:spPr>
              <a:xfrm>
                <a:off x="3550378" y="2298466"/>
                <a:ext cx="1860578" cy="1862616"/>
              </a:xfrm>
              <a:prstGeom prst="ellipse">
                <a:avLst/>
              </a:prstGeom>
              <a:solidFill>
                <a:schemeClr val="accent3">
                  <a:lumMod val="75000"/>
                </a:schemeClr>
              </a:solidFill>
              <a:ln w="57150" cmpd="sng">
                <a:solidFill>
                  <a:schemeClr val="bg1">
                    <a:lumMod val="85000"/>
                  </a:schemeClr>
                </a:solidFill>
                <a:prstDash val="solid"/>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r>
                  <a:rPr lang="en-US" sz="1500" b="1" dirty="0">
                    <a:solidFill>
                      <a:srgbClr val="F2F2F2"/>
                    </a:solidFill>
                  </a:rPr>
                  <a:t>BUSINESS</a:t>
                </a:r>
              </a:p>
              <a:p>
                <a:pPr algn="ctr">
                  <a:defRPr/>
                </a:pPr>
                <a:r>
                  <a:rPr lang="en-US" sz="1500" b="1" dirty="0">
                    <a:solidFill>
                      <a:srgbClr val="F2F2F2"/>
                    </a:solidFill>
                  </a:rPr>
                  <a:t>EXCELLENCE</a:t>
                </a:r>
              </a:p>
            </p:txBody>
          </p:sp>
        </p:grpSp>
        <p:sp>
          <p:nvSpPr>
            <p:cNvPr id="33" name="TextBox 13"/>
            <p:cNvSpPr txBox="1">
              <a:spLocks noChangeArrowheads="1"/>
            </p:cNvSpPr>
            <p:nvPr/>
          </p:nvSpPr>
          <p:spPr bwMode="auto">
            <a:xfrm>
              <a:off x="1330276" y="1202051"/>
              <a:ext cx="1651025" cy="554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defRPr/>
              </a:pPr>
              <a:r>
                <a:rPr lang="en-US" sz="1500" b="1" dirty="0" smtClean="0">
                  <a:solidFill>
                    <a:schemeClr val="tx1">
                      <a:lumMod val="75000"/>
                      <a:lumOff val="25000"/>
                    </a:schemeClr>
                  </a:solidFill>
                </a:rPr>
                <a:t>ORGANIZATIONAL </a:t>
              </a:r>
            </a:p>
            <a:p>
              <a:pPr algn="ctr" eaLnBrk="1" hangingPunct="1">
                <a:defRPr/>
              </a:pPr>
              <a:r>
                <a:rPr lang="en-US" sz="1500" b="1" dirty="0" smtClean="0">
                  <a:solidFill>
                    <a:schemeClr val="tx1">
                      <a:lumMod val="75000"/>
                      <a:lumOff val="25000"/>
                    </a:schemeClr>
                  </a:solidFill>
                </a:rPr>
                <a:t>EXCELLENCE</a:t>
              </a:r>
            </a:p>
          </p:txBody>
        </p:sp>
        <p:sp>
          <p:nvSpPr>
            <p:cNvPr id="34" name="TextBox 13"/>
            <p:cNvSpPr txBox="1">
              <a:spLocks noChangeArrowheads="1"/>
            </p:cNvSpPr>
            <p:nvPr/>
          </p:nvSpPr>
          <p:spPr bwMode="auto">
            <a:xfrm>
              <a:off x="6326215" y="1202051"/>
              <a:ext cx="1338282" cy="554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defRPr/>
              </a:pPr>
              <a:r>
                <a:rPr lang="en-US" sz="1500" b="1" dirty="0" smtClean="0">
                  <a:solidFill>
                    <a:schemeClr val="tx1">
                      <a:lumMod val="75000"/>
                      <a:lumOff val="25000"/>
                    </a:schemeClr>
                  </a:solidFill>
                </a:rPr>
                <a:t>OPERATIONAL </a:t>
              </a:r>
            </a:p>
            <a:p>
              <a:pPr algn="ctr" eaLnBrk="1" hangingPunct="1">
                <a:defRPr/>
              </a:pPr>
              <a:r>
                <a:rPr lang="en-US" sz="1500" b="1" dirty="0" smtClean="0">
                  <a:solidFill>
                    <a:schemeClr val="tx1">
                      <a:lumMod val="75000"/>
                      <a:lumOff val="25000"/>
                    </a:schemeClr>
                  </a:solidFill>
                </a:rPr>
                <a:t>EXCELLENCE</a:t>
              </a:r>
            </a:p>
          </p:txBody>
        </p:sp>
      </p:grpSp>
    </p:spTree>
    <p:extLst>
      <p:ext uri="{BB962C8B-B14F-4D97-AF65-F5344CB8AC3E}">
        <p14:creationId xmlns:p14="http://schemas.microsoft.com/office/powerpoint/2010/main" val="255194755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697" name="Group 19"/>
          <p:cNvGrpSpPr>
            <a:grpSpLocks/>
          </p:cNvGrpSpPr>
          <p:nvPr/>
        </p:nvGrpSpPr>
        <p:grpSpPr bwMode="auto">
          <a:xfrm>
            <a:off x="1778000" y="1323975"/>
            <a:ext cx="5588000" cy="3822700"/>
            <a:chOff x="1767389" y="1831927"/>
            <a:chExt cx="5587120" cy="3822705"/>
          </a:xfrm>
        </p:grpSpPr>
        <p:sp>
          <p:nvSpPr>
            <p:cNvPr id="29698" name="TextBox 3"/>
            <p:cNvSpPr txBox="1">
              <a:spLocks noChangeArrowheads="1"/>
            </p:cNvSpPr>
            <p:nvPr/>
          </p:nvSpPr>
          <p:spPr bwMode="auto">
            <a:xfrm>
              <a:off x="1767389" y="4731302"/>
              <a:ext cx="558712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r>
                <a:rPr lang="en-US" sz="3600" b="1">
                  <a:solidFill>
                    <a:srgbClr val="404040"/>
                  </a:solidFill>
                </a:rPr>
                <a:t>THANK YOU!</a:t>
              </a:r>
            </a:p>
            <a:p>
              <a:pPr algn="ctr" eaLnBrk="1" hangingPunct="1"/>
              <a:r>
                <a:rPr lang="en-US" sz="1800" i="1">
                  <a:solidFill>
                    <a:srgbClr val="404040"/>
                  </a:solidFill>
                </a:rPr>
                <a:t>- sub-headline here -</a:t>
              </a:r>
            </a:p>
          </p:txBody>
        </p:sp>
        <p:grpSp>
          <p:nvGrpSpPr>
            <p:cNvPr id="29699" name="Group 25"/>
            <p:cNvGrpSpPr>
              <a:grpSpLocks/>
            </p:cNvGrpSpPr>
            <p:nvPr/>
          </p:nvGrpSpPr>
          <p:grpSpPr bwMode="auto">
            <a:xfrm>
              <a:off x="2046495" y="1831927"/>
              <a:ext cx="5028908" cy="2899375"/>
              <a:chOff x="890588" y="1185863"/>
              <a:chExt cx="7362825" cy="4244975"/>
            </a:xfrm>
          </p:grpSpPr>
          <p:cxnSp>
            <p:nvCxnSpPr>
              <p:cNvPr id="27" name="Straight Connector 26"/>
              <p:cNvCxnSpPr>
                <a:endCxn id="46" idx="3"/>
              </p:cNvCxnSpPr>
              <p:nvPr/>
            </p:nvCxnSpPr>
            <p:spPr>
              <a:xfrm flipV="1">
                <a:off x="4978683" y="2224809"/>
                <a:ext cx="697168" cy="66009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a:endCxn id="47" idx="1"/>
              </p:cNvCxnSpPr>
              <p:nvPr/>
            </p:nvCxnSpPr>
            <p:spPr>
              <a:xfrm>
                <a:off x="5048399" y="3770442"/>
                <a:ext cx="627451" cy="61825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a:stCxn id="58" idx="1"/>
                <a:endCxn id="44" idx="5"/>
              </p:cNvCxnSpPr>
              <p:nvPr/>
            </p:nvCxnSpPr>
            <p:spPr>
              <a:xfrm flipH="1" flipV="1">
                <a:off x="3449561" y="2224809"/>
                <a:ext cx="664633" cy="66009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a:stCxn id="58" idx="3"/>
                <a:endCxn id="45" idx="7"/>
              </p:cNvCxnSpPr>
              <p:nvPr/>
            </p:nvCxnSpPr>
            <p:spPr>
              <a:xfrm flipH="1">
                <a:off x="3449561" y="3744876"/>
                <a:ext cx="664633" cy="64382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a:stCxn id="43" idx="1"/>
                <a:endCxn id="46" idx="5"/>
              </p:cNvCxnSpPr>
              <p:nvPr/>
            </p:nvCxnSpPr>
            <p:spPr>
              <a:xfrm flipH="1" flipV="1">
                <a:off x="6535691" y="2224809"/>
                <a:ext cx="678577" cy="66009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a:stCxn id="43" idx="3"/>
                <a:endCxn id="47" idx="7"/>
              </p:cNvCxnSpPr>
              <p:nvPr/>
            </p:nvCxnSpPr>
            <p:spPr>
              <a:xfrm flipH="1">
                <a:off x="6535691" y="3744876"/>
                <a:ext cx="678577" cy="64382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a:stCxn id="46" idx="4"/>
                <a:endCxn id="47" idx="0"/>
              </p:cNvCxnSpPr>
              <p:nvPr/>
            </p:nvCxnSpPr>
            <p:spPr>
              <a:xfrm>
                <a:off x="6105770" y="2401453"/>
                <a:ext cx="0" cy="1810599"/>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a:stCxn id="42" idx="6"/>
                <a:endCxn id="43" idx="2"/>
              </p:cNvCxnSpPr>
              <p:nvPr/>
            </p:nvCxnSpPr>
            <p:spPr>
              <a:xfrm>
                <a:off x="2108674" y="3312563"/>
                <a:ext cx="4926653" cy="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a:stCxn id="42" idx="7"/>
                <a:endCxn id="44" idx="3"/>
              </p:cNvCxnSpPr>
              <p:nvPr/>
            </p:nvCxnSpPr>
            <p:spPr>
              <a:xfrm flipV="1">
                <a:off x="1929735" y="2224809"/>
                <a:ext cx="659986" cy="66009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a:stCxn id="42" idx="5"/>
                <a:endCxn id="45" idx="1"/>
              </p:cNvCxnSpPr>
              <p:nvPr/>
            </p:nvCxnSpPr>
            <p:spPr>
              <a:xfrm>
                <a:off x="1929735" y="3744876"/>
                <a:ext cx="659986" cy="64382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stCxn id="44" idx="4"/>
                <a:endCxn id="45" idx="0"/>
              </p:cNvCxnSpPr>
              <p:nvPr/>
            </p:nvCxnSpPr>
            <p:spPr>
              <a:xfrm>
                <a:off x="3019640" y="2401453"/>
                <a:ext cx="0" cy="1810599"/>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2" name="Oval 41"/>
              <p:cNvSpPr/>
              <p:nvPr/>
            </p:nvSpPr>
            <p:spPr>
              <a:xfrm>
                <a:off x="890954" y="2705930"/>
                <a:ext cx="1217720" cy="121559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3" name="Oval 42"/>
              <p:cNvSpPr/>
              <p:nvPr/>
            </p:nvSpPr>
            <p:spPr>
              <a:xfrm>
                <a:off x="7035327" y="2705930"/>
                <a:ext cx="1217720" cy="121559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4" name="Oval 43"/>
              <p:cNvSpPr/>
              <p:nvPr/>
            </p:nvSpPr>
            <p:spPr>
              <a:xfrm>
                <a:off x="2410780" y="1185863"/>
                <a:ext cx="1217720" cy="121559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5" name="Oval 44"/>
              <p:cNvSpPr/>
              <p:nvPr/>
            </p:nvSpPr>
            <p:spPr>
              <a:xfrm>
                <a:off x="2410780" y="4212052"/>
                <a:ext cx="1217720" cy="12179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6" name="Oval 45"/>
              <p:cNvSpPr/>
              <p:nvPr/>
            </p:nvSpPr>
            <p:spPr>
              <a:xfrm>
                <a:off x="5496910" y="1185863"/>
                <a:ext cx="1215397" cy="121559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7" name="Oval 46"/>
              <p:cNvSpPr/>
              <p:nvPr/>
            </p:nvSpPr>
            <p:spPr>
              <a:xfrm>
                <a:off x="5496910" y="4212052"/>
                <a:ext cx="1215397" cy="12179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8" name="Oval 47"/>
              <p:cNvSpPr/>
              <p:nvPr/>
            </p:nvSpPr>
            <p:spPr>
              <a:xfrm>
                <a:off x="5496910" y="2705930"/>
                <a:ext cx="1215397" cy="121559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9" name="Oval 48"/>
              <p:cNvSpPr/>
              <p:nvPr/>
            </p:nvSpPr>
            <p:spPr>
              <a:xfrm>
                <a:off x="2410780" y="2705930"/>
                <a:ext cx="1217720" cy="121559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50" name="Group 165"/>
              <p:cNvGrpSpPr>
                <a:grpSpLocks/>
              </p:cNvGrpSpPr>
              <p:nvPr/>
            </p:nvGrpSpPr>
            <p:grpSpPr bwMode="auto">
              <a:xfrm>
                <a:off x="1312863" y="2852738"/>
                <a:ext cx="354012" cy="968375"/>
                <a:chOff x="-39797" y="1590244"/>
                <a:chExt cx="825079" cy="2412051"/>
              </a:xfrm>
              <a:solidFill>
                <a:schemeClr val="bg1">
                  <a:lumMod val="85000"/>
                </a:schemeClr>
              </a:solidFill>
            </p:grpSpPr>
            <p:sp>
              <p:nvSpPr>
                <p:cNvPr id="195" name="Freeform 1578"/>
                <p:cNvSpPr>
                  <a:spLocks/>
                </p:cNvSpPr>
                <p:nvPr/>
              </p:nvSpPr>
              <p:spPr bwMode="auto">
                <a:xfrm>
                  <a:off x="348692" y="3725502"/>
                  <a:ext cx="403291" cy="193754"/>
                </a:xfrm>
                <a:custGeom>
                  <a:avLst/>
                  <a:gdLst>
                    <a:gd name="T0" fmla="*/ 2147483647 w 470"/>
                    <a:gd name="T1" fmla="*/ 0 h 225"/>
                    <a:gd name="T2" fmla="*/ 2147483647 w 470"/>
                    <a:gd name="T3" fmla="*/ 0 h 225"/>
                    <a:gd name="T4" fmla="*/ 0 w 470"/>
                    <a:gd name="T5" fmla="*/ 2147483647 h 225"/>
                    <a:gd name="T6" fmla="*/ 0 w 470"/>
                    <a:gd name="T7" fmla="*/ 2147483647 h 225"/>
                    <a:gd name="T8" fmla="*/ 0 w 470"/>
                    <a:gd name="T9" fmla="*/ 2147483647 h 225"/>
                    <a:gd name="T10" fmla="*/ 0 w 470"/>
                    <a:gd name="T11" fmla="*/ 2147483647 h 225"/>
                    <a:gd name="T12" fmla="*/ 2147483647 w 470"/>
                    <a:gd name="T13" fmla="*/ 2147483647 h 225"/>
                    <a:gd name="T14" fmla="*/ 2147483647 w 470"/>
                    <a:gd name="T15" fmla="*/ 2147483647 h 225"/>
                    <a:gd name="T16" fmla="*/ 2147483647 w 470"/>
                    <a:gd name="T17" fmla="*/ 2147483647 h 225"/>
                    <a:gd name="T18" fmla="*/ 2147483647 w 470"/>
                    <a:gd name="T19" fmla="*/ 2147483647 h 225"/>
                    <a:gd name="T20" fmla="*/ 2147483647 w 470"/>
                    <a:gd name="T21" fmla="*/ 2147483647 h 225"/>
                    <a:gd name="T22" fmla="*/ 2147483647 w 470"/>
                    <a:gd name="T23" fmla="*/ 2147483647 h 225"/>
                    <a:gd name="T24" fmla="*/ 2147483647 w 470"/>
                    <a:gd name="T25" fmla="*/ 2147483647 h 225"/>
                    <a:gd name="T26" fmla="*/ 2147483647 w 470"/>
                    <a:gd name="T27" fmla="*/ 2147483647 h 225"/>
                    <a:gd name="T28" fmla="*/ 2147483647 w 470"/>
                    <a:gd name="T29" fmla="*/ 2147483647 h 225"/>
                    <a:gd name="T30" fmla="*/ 2147483647 w 470"/>
                    <a:gd name="T31" fmla="*/ 2147483647 h 225"/>
                    <a:gd name="T32" fmla="*/ 2147483647 w 470"/>
                    <a:gd name="T33" fmla="*/ 2147483647 h 225"/>
                    <a:gd name="T34" fmla="*/ 2147483647 w 470"/>
                    <a:gd name="T35" fmla="*/ 2147483647 h 225"/>
                    <a:gd name="T36" fmla="*/ 2147483647 w 470"/>
                    <a:gd name="T37" fmla="*/ 2147483647 h 225"/>
                    <a:gd name="T38" fmla="*/ 2147483647 w 470"/>
                    <a:gd name="T39" fmla="*/ 2147483647 h 225"/>
                    <a:gd name="T40" fmla="*/ 2147483647 w 470"/>
                    <a:gd name="T41" fmla="*/ 2147483647 h 225"/>
                    <a:gd name="T42" fmla="*/ 2147483647 w 470"/>
                    <a:gd name="T43" fmla="*/ 2147483647 h 225"/>
                    <a:gd name="T44" fmla="*/ 2147483647 w 470"/>
                    <a:gd name="T45" fmla="*/ 2147483647 h 225"/>
                    <a:gd name="T46" fmla="*/ 2147483647 w 470"/>
                    <a:gd name="T47" fmla="*/ 2147483647 h 225"/>
                    <a:gd name="T48" fmla="*/ 2147483647 w 470"/>
                    <a:gd name="T49" fmla="*/ 2147483647 h 225"/>
                    <a:gd name="T50" fmla="*/ 2147483647 w 470"/>
                    <a:gd name="T51" fmla="*/ 2147483647 h 225"/>
                    <a:gd name="T52" fmla="*/ 2147483647 w 470"/>
                    <a:gd name="T53" fmla="*/ 2147483647 h 225"/>
                    <a:gd name="T54" fmla="*/ 2147483647 w 470"/>
                    <a:gd name="T55" fmla="*/ 2147483647 h 225"/>
                    <a:gd name="T56" fmla="*/ 2147483647 w 470"/>
                    <a:gd name="T57" fmla="*/ 2147483647 h 225"/>
                    <a:gd name="T58" fmla="*/ 2147483647 w 470"/>
                    <a:gd name="T59" fmla="*/ 2147483647 h 225"/>
                    <a:gd name="T60" fmla="*/ 2147483647 w 470"/>
                    <a:gd name="T61" fmla="*/ 2147483647 h 225"/>
                    <a:gd name="T62" fmla="*/ 2147483647 w 470"/>
                    <a:gd name="T63" fmla="*/ 2147483647 h 225"/>
                    <a:gd name="T64" fmla="*/ 2147483647 w 470"/>
                    <a:gd name="T65" fmla="*/ 2147483647 h 225"/>
                    <a:gd name="T66" fmla="*/ 2147483647 w 470"/>
                    <a:gd name="T67" fmla="*/ 2147483647 h 225"/>
                    <a:gd name="T68" fmla="*/ 2147483647 w 470"/>
                    <a:gd name="T69" fmla="*/ 2147483647 h 225"/>
                    <a:gd name="T70" fmla="*/ 2147483647 w 470"/>
                    <a:gd name="T71" fmla="*/ 2147483647 h 225"/>
                    <a:gd name="T72" fmla="*/ 2147483647 w 470"/>
                    <a:gd name="T73" fmla="*/ 2147483647 h 225"/>
                    <a:gd name="T74" fmla="*/ 2147483647 w 470"/>
                    <a:gd name="T75" fmla="*/ 2147483647 h 225"/>
                    <a:gd name="T76" fmla="*/ 2147483647 w 470"/>
                    <a:gd name="T77" fmla="*/ 2147483647 h 225"/>
                    <a:gd name="T78" fmla="*/ 2147483647 w 470"/>
                    <a:gd name="T79" fmla="*/ 2147483647 h 225"/>
                    <a:gd name="T80" fmla="*/ 2147483647 w 470"/>
                    <a:gd name="T81" fmla="*/ 2147483647 h 225"/>
                    <a:gd name="T82" fmla="*/ 2147483647 w 470"/>
                    <a:gd name="T83" fmla="*/ 2147483647 h 225"/>
                    <a:gd name="T84" fmla="*/ 2147483647 w 470"/>
                    <a:gd name="T85" fmla="*/ 2147483647 h 225"/>
                    <a:gd name="T86" fmla="*/ 2147483647 w 470"/>
                    <a:gd name="T87" fmla="*/ 2147483647 h 225"/>
                    <a:gd name="T88" fmla="*/ 2147483647 w 470"/>
                    <a:gd name="T89" fmla="*/ 2147483647 h 225"/>
                    <a:gd name="T90" fmla="*/ 2147483647 w 470"/>
                    <a:gd name="T91" fmla="*/ 0 h 225"/>
                    <a:gd name="T92" fmla="*/ 2147483647 w 470"/>
                    <a:gd name="T93" fmla="*/ 0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0"/>
                    <a:gd name="T142" fmla="*/ 0 h 225"/>
                    <a:gd name="T143" fmla="*/ 470 w 470"/>
                    <a:gd name="T144" fmla="*/ 225 h 22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0" h="225">
                      <a:moveTo>
                        <a:pt x="16" y="0"/>
                      </a:moveTo>
                      <a:lnTo>
                        <a:pt x="16" y="0"/>
                      </a:lnTo>
                      <a:lnTo>
                        <a:pt x="0" y="77"/>
                      </a:lnTo>
                      <a:lnTo>
                        <a:pt x="0" y="115"/>
                      </a:lnTo>
                      <a:lnTo>
                        <a:pt x="0" y="126"/>
                      </a:lnTo>
                      <a:lnTo>
                        <a:pt x="0" y="137"/>
                      </a:lnTo>
                      <a:lnTo>
                        <a:pt x="5" y="186"/>
                      </a:lnTo>
                      <a:lnTo>
                        <a:pt x="5" y="197"/>
                      </a:lnTo>
                      <a:lnTo>
                        <a:pt x="11" y="203"/>
                      </a:lnTo>
                      <a:lnTo>
                        <a:pt x="16" y="208"/>
                      </a:lnTo>
                      <a:lnTo>
                        <a:pt x="22" y="208"/>
                      </a:lnTo>
                      <a:lnTo>
                        <a:pt x="93" y="214"/>
                      </a:lnTo>
                      <a:lnTo>
                        <a:pt x="126" y="208"/>
                      </a:lnTo>
                      <a:lnTo>
                        <a:pt x="142" y="203"/>
                      </a:lnTo>
                      <a:lnTo>
                        <a:pt x="147" y="197"/>
                      </a:lnTo>
                      <a:lnTo>
                        <a:pt x="147" y="186"/>
                      </a:lnTo>
                      <a:lnTo>
                        <a:pt x="202" y="203"/>
                      </a:lnTo>
                      <a:lnTo>
                        <a:pt x="246" y="219"/>
                      </a:lnTo>
                      <a:lnTo>
                        <a:pt x="284" y="225"/>
                      </a:lnTo>
                      <a:lnTo>
                        <a:pt x="361" y="225"/>
                      </a:lnTo>
                      <a:lnTo>
                        <a:pt x="421" y="225"/>
                      </a:lnTo>
                      <a:lnTo>
                        <a:pt x="470" y="214"/>
                      </a:lnTo>
                      <a:lnTo>
                        <a:pt x="470" y="208"/>
                      </a:lnTo>
                      <a:lnTo>
                        <a:pt x="465" y="192"/>
                      </a:lnTo>
                      <a:lnTo>
                        <a:pt x="454" y="181"/>
                      </a:lnTo>
                      <a:lnTo>
                        <a:pt x="437" y="170"/>
                      </a:lnTo>
                      <a:lnTo>
                        <a:pt x="415" y="159"/>
                      </a:lnTo>
                      <a:lnTo>
                        <a:pt x="388" y="153"/>
                      </a:lnTo>
                      <a:lnTo>
                        <a:pt x="312" y="137"/>
                      </a:lnTo>
                      <a:lnTo>
                        <a:pt x="301" y="132"/>
                      </a:lnTo>
                      <a:lnTo>
                        <a:pt x="284" y="121"/>
                      </a:lnTo>
                      <a:lnTo>
                        <a:pt x="246" y="82"/>
                      </a:lnTo>
                      <a:lnTo>
                        <a:pt x="229" y="39"/>
                      </a:lnTo>
                      <a:lnTo>
                        <a:pt x="175" y="39"/>
                      </a:lnTo>
                      <a:lnTo>
                        <a:pt x="120" y="33"/>
                      </a:lnTo>
                      <a:lnTo>
                        <a:pt x="71" y="22"/>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196" name="Freeform 1579"/>
                <p:cNvSpPr>
                  <a:spLocks/>
                </p:cNvSpPr>
                <p:nvPr/>
              </p:nvSpPr>
              <p:spPr bwMode="auto">
                <a:xfrm>
                  <a:off x="180624" y="1829561"/>
                  <a:ext cx="154381" cy="155257"/>
                </a:xfrm>
                <a:custGeom>
                  <a:avLst/>
                  <a:gdLst>
                    <a:gd name="T0" fmla="*/ 2147483647 w 180"/>
                    <a:gd name="T1" fmla="*/ 0 h 181"/>
                    <a:gd name="T2" fmla="*/ 2147483647 w 180"/>
                    <a:gd name="T3" fmla="*/ 0 h 181"/>
                    <a:gd name="T4" fmla="*/ 0 w 180"/>
                    <a:gd name="T5" fmla="*/ 2147483647 h 181"/>
                    <a:gd name="T6" fmla="*/ 0 w 180"/>
                    <a:gd name="T7" fmla="*/ 2147483647 h 181"/>
                    <a:gd name="T8" fmla="*/ 2147483647 w 180"/>
                    <a:gd name="T9" fmla="*/ 2147483647 h 181"/>
                    <a:gd name="T10" fmla="*/ 2147483647 w 180"/>
                    <a:gd name="T11" fmla="*/ 2147483647 h 181"/>
                    <a:gd name="T12" fmla="*/ 2147483647 w 180"/>
                    <a:gd name="T13" fmla="*/ 2147483647 h 181"/>
                    <a:gd name="T14" fmla="*/ 2147483647 w 180"/>
                    <a:gd name="T15" fmla="*/ 2147483647 h 181"/>
                    <a:gd name="T16" fmla="*/ 2147483647 w 180"/>
                    <a:gd name="T17" fmla="*/ 2147483647 h 181"/>
                    <a:gd name="T18" fmla="*/ 2147483647 w 180"/>
                    <a:gd name="T19" fmla="*/ 2147483647 h 181"/>
                    <a:gd name="T20" fmla="*/ 2147483647 w 180"/>
                    <a:gd name="T21" fmla="*/ 2147483647 h 181"/>
                    <a:gd name="T22" fmla="*/ 2147483647 w 180"/>
                    <a:gd name="T23" fmla="*/ 2147483647 h 181"/>
                    <a:gd name="T24" fmla="*/ 2147483647 w 180"/>
                    <a:gd name="T25" fmla="*/ 2147483647 h 181"/>
                    <a:gd name="T26" fmla="*/ 2147483647 w 180"/>
                    <a:gd name="T27" fmla="*/ 2147483647 h 181"/>
                    <a:gd name="T28" fmla="*/ 2147483647 w 180"/>
                    <a:gd name="T29" fmla="*/ 2147483647 h 181"/>
                    <a:gd name="T30" fmla="*/ 2147483647 w 180"/>
                    <a:gd name="T31" fmla="*/ 0 h 181"/>
                    <a:gd name="T32" fmla="*/ 2147483647 w 180"/>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0"/>
                    <a:gd name="T52" fmla="*/ 0 h 181"/>
                    <a:gd name="T53" fmla="*/ 180 w 180"/>
                    <a:gd name="T54" fmla="*/ 181 h 1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0" h="181">
                      <a:moveTo>
                        <a:pt x="22" y="0"/>
                      </a:moveTo>
                      <a:lnTo>
                        <a:pt x="22" y="0"/>
                      </a:lnTo>
                      <a:lnTo>
                        <a:pt x="0" y="49"/>
                      </a:lnTo>
                      <a:lnTo>
                        <a:pt x="44" y="109"/>
                      </a:lnTo>
                      <a:lnTo>
                        <a:pt x="82" y="153"/>
                      </a:lnTo>
                      <a:lnTo>
                        <a:pt x="109" y="181"/>
                      </a:lnTo>
                      <a:lnTo>
                        <a:pt x="120" y="181"/>
                      </a:lnTo>
                      <a:lnTo>
                        <a:pt x="137" y="175"/>
                      </a:lnTo>
                      <a:lnTo>
                        <a:pt x="158" y="153"/>
                      </a:lnTo>
                      <a:lnTo>
                        <a:pt x="180" y="115"/>
                      </a:lnTo>
                      <a:lnTo>
                        <a:pt x="76" y="27"/>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97" name="Freeform 1580"/>
                <p:cNvSpPr>
                  <a:spLocks noEditPoints="1"/>
                </p:cNvSpPr>
                <p:nvPr/>
              </p:nvSpPr>
              <p:spPr bwMode="auto">
                <a:xfrm>
                  <a:off x="-39797" y="1590244"/>
                  <a:ext cx="825079" cy="2412051"/>
                </a:xfrm>
                <a:custGeom>
                  <a:avLst/>
                  <a:gdLst>
                    <a:gd name="T0" fmla="*/ 2147483647 w 962"/>
                    <a:gd name="T1" fmla="*/ 2147483647 h 2812"/>
                    <a:gd name="T2" fmla="*/ 2147483647 w 962"/>
                    <a:gd name="T3" fmla="*/ 2147483647 h 2812"/>
                    <a:gd name="T4" fmla="*/ 2147483647 w 962"/>
                    <a:gd name="T5" fmla="*/ 2147483647 h 2812"/>
                    <a:gd name="T6" fmla="*/ 2147483647 w 962"/>
                    <a:gd name="T7" fmla="*/ 2147483647 h 2812"/>
                    <a:gd name="T8" fmla="*/ 2147483647 w 962"/>
                    <a:gd name="T9" fmla="*/ 2147483647 h 2812"/>
                    <a:gd name="T10" fmla="*/ 2147483647 w 962"/>
                    <a:gd name="T11" fmla="*/ 2147483647 h 2812"/>
                    <a:gd name="T12" fmla="*/ 2147483647 w 962"/>
                    <a:gd name="T13" fmla="*/ 2147483647 h 2812"/>
                    <a:gd name="T14" fmla="*/ 2147483647 w 962"/>
                    <a:gd name="T15" fmla="*/ 2147483647 h 2812"/>
                    <a:gd name="T16" fmla="*/ 2147483647 w 962"/>
                    <a:gd name="T17" fmla="*/ 2147483647 h 2812"/>
                    <a:gd name="T18" fmla="*/ 2147483647 w 962"/>
                    <a:gd name="T19" fmla="*/ 2147483647 h 2812"/>
                    <a:gd name="T20" fmla="*/ 2147483647 w 962"/>
                    <a:gd name="T21" fmla="*/ 2147483647 h 2812"/>
                    <a:gd name="T22" fmla="*/ 2147483647 w 962"/>
                    <a:gd name="T23" fmla="*/ 2147483647 h 2812"/>
                    <a:gd name="T24" fmla="*/ 2147483647 w 962"/>
                    <a:gd name="T25" fmla="*/ 2147483647 h 2812"/>
                    <a:gd name="T26" fmla="*/ 2147483647 w 962"/>
                    <a:gd name="T27" fmla="*/ 2147483647 h 2812"/>
                    <a:gd name="T28" fmla="*/ 2147483647 w 962"/>
                    <a:gd name="T29" fmla="*/ 2147483647 h 2812"/>
                    <a:gd name="T30" fmla="*/ 2147483647 w 962"/>
                    <a:gd name="T31" fmla="*/ 2147483647 h 2812"/>
                    <a:gd name="T32" fmla="*/ 2147483647 w 962"/>
                    <a:gd name="T33" fmla="*/ 2147483647 h 2812"/>
                    <a:gd name="T34" fmla="*/ 2147483647 w 962"/>
                    <a:gd name="T35" fmla="*/ 2147483647 h 2812"/>
                    <a:gd name="T36" fmla="*/ 2147483647 w 962"/>
                    <a:gd name="T37" fmla="*/ 2147483647 h 2812"/>
                    <a:gd name="T38" fmla="*/ 2147483647 w 962"/>
                    <a:gd name="T39" fmla="*/ 2147483647 h 2812"/>
                    <a:gd name="T40" fmla="*/ 2147483647 w 962"/>
                    <a:gd name="T41" fmla="*/ 2147483647 h 2812"/>
                    <a:gd name="T42" fmla="*/ 2147483647 w 962"/>
                    <a:gd name="T43" fmla="*/ 2147483647 h 2812"/>
                    <a:gd name="T44" fmla="*/ 2147483647 w 962"/>
                    <a:gd name="T45" fmla="*/ 2147483647 h 2812"/>
                    <a:gd name="T46" fmla="*/ 2147483647 w 962"/>
                    <a:gd name="T47" fmla="*/ 2147483647 h 2812"/>
                    <a:gd name="T48" fmla="*/ 2147483647 w 962"/>
                    <a:gd name="T49" fmla="*/ 2147483647 h 2812"/>
                    <a:gd name="T50" fmla="*/ 2147483647 w 962"/>
                    <a:gd name="T51" fmla="*/ 2147483647 h 2812"/>
                    <a:gd name="T52" fmla="*/ 2147483647 w 962"/>
                    <a:gd name="T53" fmla="*/ 2147483647 h 2812"/>
                    <a:gd name="T54" fmla="*/ 2147483647 w 962"/>
                    <a:gd name="T55" fmla="*/ 2147483647 h 2812"/>
                    <a:gd name="T56" fmla="*/ 2147483647 w 962"/>
                    <a:gd name="T57" fmla="*/ 2147483647 h 2812"/>
                    <a:gd name="T58" fmla="*/ 2147483647 w 962"/>
                    <a:gd name="T59" fmla="*/ 2147483647 h 2812"/>
                    <a:gd name="T60" fmla="*/ 2147483647 w 962"/>
                    <a:gd name="T61" fmla="*/ 2147483647 h 2812"/>
                    <a:gd name="T62" fmla="*/ 2147483647 w 962"/>
                    <a:gd name="T63" fmla="*/ 2147483647 h 2812"/>
                    <a:gd name="T64" fmla="*/ 2147483647 w 962"/>
                    <a:gd name="T65" fmla="*/ 2147483647 h 2812"/>
                    <a:gd name="T66" fmla="*/ 2147483647 w 962"/>
                    <a:gd name="T67" fmla="*/ 2147483647 h 2812"/>
                    <a:gd name="T68" fmla="*/ 2147483647 w 962"/>
                    <a:gd name="T69" fmla="*/ 2147483647 h 2812"/>
                    <a:gd name="T70" fmla="*/ 2147483647 w 962"/>
                    <a:gd name="T71" fmla="*/ 2147483647 h 2812"/>
                    <a:gd name="T72" fmla="*/ 2147483647 w 962"/>
                    <a:gd name="T73" fmla="*/ 2147483647 h 2812"/>
                    <a:gd name="T74" fmla="*/ 2147483647 w 962"/>
                    <a:gd name="T75" fmla="*/ 2147483647 h 2812"/>
                    <a:gd name="T76" fmla="*/ 2147483647 w 962"/>
                    <a:gd name="T77" fmla="*/ 2147483647 h 2812"/>
                    <a:gd name="T78" fmla="*/ 2147483647 w 962"/>
                    <a:gd name="T79" fmla="*/ 2147483647 h 2812"/>
                    <a:gd name="T80" fmla="*/ 2147483647 w 962"/>
                    <a:gd name="T81" fmla="*/ 2147483647 h 2812"/>
                    <a:gd name="T82" fmla="*/ 2147483647 w 962"/>
                    <a:gd name="T83" fmla="*/ 2147483647 h 2812"/>
                    <a:gd name="T84" fmla="*/ 2147483647 w 962"/>
                    <a:gd name="T85" fmla="*/ 2147483647 h 2812"/>
                    <a:gd name="T86" fmla="*/ 2147483647 w 962"/>
                    <a:gd name="T87" fmla="*/ 2147483647 h 2812"/>
                    <a:gd name="T88" fmla="*/ 2147483647 w 962"/>
                    <a:gd name="T89" fmla="*/ 2147483647 h 2812"/>
                    <a:gd name="T90" fmla="*/ 2147483647 w 962"/>
                    <a:gd name="T91" fmla="*/ 2147483647 h 2812"/>
                    <a:gd name="T92" fmla="*/ 2147483647 w 962"/>
                    <a:gd name="T93" fmla="*/ 2147483647 h 2812"/>
                    <a:gd name="T94" fmla="*/ 2147483647 w 962"/>
                    <a:gd name="T95" fmla="*/ 2147483647 h 2812"/>
                    <a:gd name="T96" fmla="*/ 2147483647 w 962"/>
                    <a:gd name="T97" fmla="*/ 2147483647 h 2812"/>
                    <a:gd name="T98" fmla="*/ 2147483647 w 962"/>
                    <a:gd name="T99" fmla="*/ 2147483647 h 2812"/>
                    <a:gd name="T100" fmla="*/ 2147483647 w 962"/>
                    <a:gd name="T101" fmla="*/ 2147483647 h 2812"/>
                    <a:gd name="T102" fmla="*/ 2147483647 w 962"/>
                    <a:gd name="T103" fmla="*/ 2147483647 h 2812"/>
                    <a:gd name="T104" fmla="*/ 2147483647 w 962"/>
                    <a:gd name="T105" fmla="*/ 2147483647 h 2812"/>
                    <a:gd name="T106" fmla="*/ 2147483647 w 962"/>
                    <a:gd name="T107" fmla="*/ 2147483647 h 2812"/>
                    <a:gd name="T108" fmla="*/ 2147483647 w 962"/>
                    <a:gd name="T109" fmla="*/ 2147483647 h 2812"/>
                    <a:gd name="T110" fmla="*/ 2147483647 w 962"/>
                    <a:gd name="T111" fmla="*/ 2147483647 h 2812"/>
                    <a:gd name="T112" fmla="*/ 2147483647 w 962"/>
                    <a:gd name="T113" fmla="*/ 2147483647 h 2812"/>
                    <a:gd name="T114" fmla="*/ 2147483647 w 962"/>
                    <a:gd name="T115" fmla="*/ 2147483647 h 2812"/>
                    <a:gd name="T116" fmla="*/ 2147483647 w 962"/>
                    <a:gd name="T117" fmla="*/ 2147483647 h 2812"/>
                    <a:gd name="T118" fmla="*/ 2147483647 w 962"/>
                    <a:gd name="T119" fmla="*/ 2147483647 h 2812"/>
                    <a:gd name="T120" fmla="*/ 2147483647 w 962"/>
                    <a:gd name="T121" fmla="*/ 2147483647 h 2812"/>
                    <a:gd name="T122" fmla="*/ 2147483647 w 962"/>
                    <a:gd name="T123" fmla="*/ 2147483647 h 28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62"/>
                    <a:gd name="T187" fmla="*/ 0 h 2812"/>
                    <a:gd name="T188" fmla="*/ 962 w 962"/>
                    <a:gd name="T189" fmla="*/ 2812 h 28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62" h="2812">
                      <a:moveTo>
                        <a:pt x="880" y="377"/>
                      </a:moveTo>
                      <a:lnTo>
                        <a:pt x="880" y="377"/>
                      </a:lnTo>
                      <a:lnTo>
                        <a:pt x="864" y="372"/>
                      </a:lnTo>
                      <a:lnTo>
                        <a:pt x="842" y="356"/>
                      </a:lnTo>
                      <a:lnTo>
                        <a:pt x="809" y="323"/>
                      </a:lnTo>
                      <a:lnTo>
                        <a:pt x="804" y="312"/>
                      </a:lnTo>
                      <a:lnTo>
                        <a:pt x="798" y="301"/>
                      </a:lnTo>
                      <a:lnTo>
                        <a:pt x="776" y="290"/>
                      </a:lnTo>
                      <a:lnTo>
                        <a:pt x="776" y="279"/>
                      </a:lnTo>
                      <a:lnTo>
                        <a:pt x="766" y="241"/>
                      </a:lnTo>
                      <a:lnTo>
                        <a:pt x="755" y="208"/>
                      </a:lnTo>
                      <a:lnTo>
                        <a:pt x="744" y="191"/>
                      </a:lnTo>
                      <a:lnTo>
                        <a:pt x="727" y="186"/>
                      </a:lnTo>
                      <a:lnTo>
                        <a:pt x="716" y="186"/>
                      </a:lnTo>
                      <a:lnTo>
                        <a:pt x="711" y="186"/>
                      </a:lnTo>
                      <a:lnTo>
                        <a:pt x="700" y="186"/>
                      </a:lnTo>
                      <a:lnTo>
                        <a:pt x="683" y="181"/>
                      </a:lnTo>
                      <a:lnTo>
                        <a:pt x="673" y="181"/>
                      </a:lnTo>
                      <a:lnTo>
                        <a:pt x="667" y="186"/>
                      </a:lnTo>
                      <a:lnTo>
                        <a:pt x="667" y="191"/>
                      </a:lnTo>
                      <a:lnTo>
                        <a:pt x="645" y="186"/>
                      </a:lnTo>
                      <a:lnTo>
                        <a:pt x="634" y="186"/>
                      </a:lnTo>
                      <a:lnTo>
                        <a:pt x="629" y="191"/>
                      </a:lnTo>
                      <a:lnTo>
                        <a:pt x="623" y="197"/>
                      </a:lnTo>
                      <a:lnTo>
                        <a:pt x="612" y="191"/>
                      </a:lnTo>
                      <a:lnTo>
                        <a:pt x="596" y="191"/>
                      </a:lnTo>
                      <a:lnTo>
                        <a:pt x="585" y="197"/>
                      </a:lnTo>
                      <a:lnTo>
                        <a:pt x="574" y="213"/>
                      </a:lnTo>
                      <a:lnTo>
                        <a:pt x="563" y="252"/>
                      </a:lnTo>
                      <a:lnTo>
                        <a:pt x="563" y="257"/>
                      </a:lnTo>
                      <a:lnTo>
                        <a:pt x="574" y="268"/>
                      </a:lnTo>
                      <a:lnTo>
                        <a:pt x="590" y="290"/>
                      </a:lnTo>
                      <a:lnTo>
                        <a:pt x="618" y="312"/>
                      </a:lnTo>
                      <a:lnTo>
                        <a:pt x="623" y="323"/>
                      </a:lnTo>
                      <a:lnTo>
                        <a:pt x="640" y="334"/>
                      </a:lnTo>
                      <a:lnTo>
                        <a:pt x="667" y="345"/>
                      </a:lnTo>
                      <a:lnTo>
                        <a:pt x="705" y="356"/>
                      </a:lnTo>
                      <a:lnTo>
                        <a:pt x="711" y="372"/>
                      </a:lnTo>
                      <a:lnTo>
                        <a:pt x="716" y="377"/>
                      </a:lnTo>
                      <a:lnTo>
                        <a:pt x="716" y="388"/>
                      </a:lnTo>
                      <a:lnTo>
                        <a:pt x="722" y="421"/>
                      </a:lnTo>
                      <a:lnTo>
                        <a:pt x="744" y="465"/>
                      </a:lnTo>
                      <a:lnTo>
                        <a:pt x="771" y="520"/>
                      </a:lnTo>
                      <a:lnTo>
                        <a:pt x="771" y="547"/>
                      </a:lnTo>
                      <a:lnTo>
                        <a:pt x="755" y="536"/>
                      </a:lnTo>
                      <a:lnTo>
                        <a:pt x="722" y="520"/>
                      </a:lnTo>
                      <a:lnTo>
                        <a:pt x="667" y="503"/>
                      </a:lnTo>
                      <a:lnTo>
                        <a:pt x="645" y="481"/>
                      </a:lnTo>
                      <a:lnTo>
                        <a:pt x="607" y="449"/>
                      </a:lnTo>
                      <a:lnTo>
                        <a:pt x="596" y="438"/>
                      </a:lnTo>
                      <a:lnTo>
                        <a:pt x="585" y="432"/>
                      </a:lnTo>
                      <a:lnTo>
                        <a:pt x="574" y="427"/>
                      </a:lnTo>
                      <a:lnTo>
                        <a:pt x="558" y="421"/>
                      </a:lnTo>
                      <a:lnTo>
                        <a:pt x="519" y="421"/>
                      </a:lnTo>
                      <a:lnTo>
                        <a:pt x="497" y="416"/>
                      </a:lnTo>
                      <a:lnTo>
                        <a:pt x="481" y="410"/>
                      </a:lnTo>
                      <a:lnTo>
                        <a:pt x="465" y="405"/>
                      </a:lnTo>
                      <a:lnTo>
                        <a:pt x="459" y="399"/>
                      </a:lnTo>
                      <a:lnTo>
                        <a:pt x="454" y="394"/>
                      </a:lnTo>
                      <a:lnTo>
                        <a:pt x="465" y="399"/>
                      </a:lnTo>
                      <a:lnTo>
                        <a:pt x="487" y="399"/>
                      </a:lnTo>
                      <a:lnTo>
                        <a:pt x="497" y="394"/>
                      </a:lnTo>
                      <a:lnTo>
                        <a:pt x="503" y="383"/>
                      </a:lnTo>
                      <a:lnTo>
                        <a:pt x="508" y="372"/>
                      </a:lnTo>
                      <a:lnTo>
                        <a:pt x="508" y="361"/>
                      </a:lnTo>
                      <a:lnTo>
                        <a:pt x="514" y="356"/>
                      </a:lnTo>
                      <a:lnTo>
                        <a:pt x="519" y="356"/>
                      </a:lnTo>
                      <a:lnTo>
                        <a:pt x="519" y="350"/>
                      </a:lnTo>
                      <a:lnTo>
                        <a:pt x="525" y="345"/>
                      </a:lnTo>
                      <a:lnTo>
                        <a:pt x="519" y="345"/>
                      </a:lnTo>
                      <a:lnTo>
                        <a:pt x="519" y="339"/>
                      </a:lnTo>
                      <a:lnTo>
                        <a:pt x="525" y="339"/>
                      </a:lnTo>
                      <a:lnTo>
                        <a:pt x="530" y="334"/>
                      </a:lnTo>
                      <a:lnTo>
                        <a:pt x="530" y="328"/>
                      </a:lnTo>
                      <a:lnTo>
                        <a:pt x="530" y="317"/>
                      </a:lnTo>
                      <a:lnTo>
                        <a:pt x="530" y="312"/>
                      </a:lnTo>
                      <a:lnTo>
                        <a:pt x="552" y="312"/>
                      </a:lnTo>
                      <a:lnTo>
                        <a:pt x="563" y="312"/>
                      </a:lnTo>
                      <a:lnTo>
                        <a:pt x="563" y="284"/>
                      </a:lnTo>
                      <a:lnTo>
                        <a:pt x="563" y="257"/>
                      </a:lnTo>
                      <a:lnTo>
                        <a:pt x="563" y="252"/>
                      </a:lnTo>
                      <a:lnTo>
                        <a:pt x="563" y="235"/>
                      </a:lnTo>
                      <a:lnTo>
                        <a:pt x="563" y="224"/>
                      </a:lnTo>
                      <a:lnTo>
                        <a:pt x="574" y="213"/>
                      </a:lnTo>
                      <a:lnTo>
                        <a:pt x="574" y="208"/>
                      </a:lnTo>
                      <a:lnTo>
                        <a:pt x="580" y="186"/>
                      </a:lnTo>
                      <a:lnTo>
                        <a:pt x="585" y="164"/>
                      </a:lnTo>
                      <a:lnTo>
                        <a:pt x="580" y="137"/>
                      </a:lnTo>
                      <a:lnTo>
                        <a:pt x="585" y="131"/>
                      </a:lnTo>
                      <a:lnTo>
                        <a:pt x="590" y="126"/>
                      </a:lnTo>
                      <a:lnTo>
                        <a:pt x="601" y="115"/>
                      </a:lnTo>
                      <a:lnTo>
                        <a:pt x="601" y="104"/>
                      </a:lnTo>
                      <a:lnTo>
                        <a:pt x="580" y="77"/>
                      </a:lnTo>
                      <a:lnTo>
                        <a:pt x="580" y="66"/>
                      </a:lnTo>
                      <a:lnTo>
                        <a:pt x="569" y="55"/>
                      </a:lnTo>
                      <a:lnTo>
                        <a:pt x="552" y="44"/>
                      </a:lnTo>
                      <a:lnTo>
                        <a:pt x="530" y="27"/>
                      </a:lnTo>
                      <a:lnTo>
                        <a:pt x="497" y="16"/>
                      </a:lnTo>
                      <a:lnTo>
                        <a:pt x="454" y="5"/>
                      </a:lnTo>
                      <a:lnTo>
                        <a:pt x="394" y="0"/>
                      </a:lnTo>
                      <a:lnTo>
                        <a:pt x="377" y="5"/>
                      </a:lnTo>
                      <a:lnTo>
                        <a:pt x="355" y="11"/>
                      </a:lnTo>
                      <a:lnTo>
                        <a:pt x="333" y="27"/>
                      </a:lnTo>
                      <a:lnTo>
                        <a:pt x="311" y="49"/>
                      </a:lnTo>
                      <a:lnTo>
                        <a:pt x="295" y="82"/>
                      </a:lnTo>
                      <a:lnTo>
                        <a:pt x="290" y="126"/>
                      </a:lnTo>
                      <a:lnTo>
                        <a:pt x="290" y="186"/>
                      </a:lnTo>
                      <a:lnTo>
                        <a:pt x="295" y="191"/>
                      </a:lnTo>
                      <a:lnTo>
                        <a:pt x="301" y="219"/>
                      </a:lnTo>
                      <a:lnTo>
                        <a:pt x="295" y="252"/>
                      </a:lnTo>
                      <a:lnTo>
                        <a:pt x="290" y="268"/>
                      </a:lnTo>
                      <a:lnTo>
                        <a:pt x="284" y="284"/>
                      </a:lnTo>
                      <a:lnTo>
                        <a:pt x="426" y="394"/>
                      </a:lnTo>
                      <a:lnTo>
                        <a:pt x="394" y="427"/>
                      </a:lnTo>
                      <a:lnTo>
                        <a:pt x="366" y="454"/>
                      </a:lnTo>
                      <a:lnTo>
                        <a:pt x="311" y="394"/>
                      </a:lnTo>
                      <a:lnTo>
                        <a:pt x="262" y="339"/>
                      </a:lnTo>
                      <a:lnTo>
                        <a:pt x="257" y="328"/>
                      </a:lnTo>
                      <a:lnTo>
                        <a:pt x="218" y="388"/>
                      </a:lnTo>
                      <a:lnTo>
                        <a:pt x="175" y="421"/>
                      </a:lnTo>
                      <a:lnTo>
                        <a:pt x="136" y="443"/>
                      </a:lnTo>
                      <a:lnTo>
                        <a:pt x="114" y="454"/>
                      </a:lnTo>
                      <a:lnTo>
                        <a:pt x="93" y="454"/>
                      </a:lnTo>
                      <a:lnTo>
                        <a:pt x="82" y="460"/>
                      </a:lnTo>
                      <a:lnTo>
                        <a:pt x="60" y="476"/>
                      </a:lnTo>
                      <a:lnTo>
                        <a:pt x="49" y="492"/>
                      </a:lnTo>
                      <a:lnTo>
                        <a:pt x="43" y="514"/>
                      </a:lnTo>
                      <a:lnTo>
                        <a:pt x="38" y="542"/>
                      </a:lnTo>
                      <a:lnTo>
                        <a:pt x="38" y="580"/>
                      </a:lnTo>
                      <a:lnTo>
                        <a:pt x="38" y="624"/>
                      </a:lnTo>
                      <a:lnTo>
                        <a:pt x="27" y="673"/>
                      </a:lnTo>
                      <a:lnTo>
                        <a:pt x="11" y="733"/>
                      </a:lnTo>
                      <a:lnTo>
                        <a:pt x="11" y="739"/>
                      </a:lnTo>
                      <a:lnTo>
                        <a:pt x="5" y="782"/>
                      </a:lnTo>
                      <a:lnTo>
                        <a:pt x="0" y="903"/>
                      </a:lnTo>
                      <a:lnTo>
                        <a:pt x="0" y="963"/>
                      </a:lnTo>
                      <a:lnTo>
                        <a:pt x="5" y="1018"/>
                      </a:lnTo>
                      <a:lnTo>
                        <a:pt x="16" y="1050"/>
                      </a:lnTo>
                      <a:lnTo>
                        <a:pt x="27" y="1083"/>
                      </a:lnTo>
                      <a:lnTo>
                        <a:pt x="60" y="1143"/>
                      </a:lnTo>
                      <a:lnTo>
                        <a:pt x="93" y="1204"/>
                      </a:lnTo>
                      <a:lnTo>
                        <a:pt x="120" y="1264"/>
                      </a:lnTo>
                      <a:lnTo>
                        <a:pt x="125" y="1264"/>
                      </a:lnTo>
                      <a:lnTo>
                        <a:pt x="136" y="1297"/>
                      </a:lnTo>
                      <a:lnTo>
                        <a:pt x="142" y="1318"/>
                      </a:lnTo>
                      <a:lnTo>
                        <a:pt x="153" y="1346"/>
                      </a:lnTo>
                      <a:lnTo>
                        <a:pt x="175" y="1384"/>
                      </a:lnTo>
                      <a:lnTo>
                        <a:pt x="180" y="1444"/>
                      </a:lnTo>
                      <a:lnTo>
                        <a:pt x="180" y="1483"/>
                      </a:lnTo>
                      <a:lnTo>
                        <a:pt x="180" y="1504"/>
                      </a:lnTo>
                      <a:lnTo>
                        <a:pt x="207" y="1504"/>
                      </a:lnTo>
                      <a:lnTo>
                        <a:pt x="229" y="1504"/>
                      </a:lnTo>
                      <a:lnTo>
                        <a:pt x="240" y="1504"/>
                      </a:lnTo>
                      <a:lnTo>
                        <a:pt x="235" y="1515"/>
                      </a:lnTo>
                      <a:lnTo>
                        <a:pt x="224" y="1548"/>
                      </a:lnTo>
                      <a:lnTo>
                        <a:pt x="213" y="1592"/>
                      </a:lnTo>
                      <a:lnTo>
                        <a:pt x="213" y="1614"/>
                      </a:lnTo>
                      <a:lnTo>
                        <a:pt x="218" y="1641"/>
                      </a:lnTo>
                      <a:lnTo>
                        <a:pt x="224" y="1696"/>
                      </a:lnTo>
                      <a:lnTo>
                        <a:pt x="229" y="1773"/>
                      </a:lnTo>
                      <a:lnTo>
                        <a:pt x="229" y="1882"/>
                      </a:lnTo>
                      <a:lnTo>
                        <a:pt x="224" y="1937"/>
                      </a:lnTo>
                      <a:lnTo>
                        <a:pt x="213" y="1986"/>
                      </a:lnTo>
                      <a:lnTo>
                        <a:pt x="197" y="2062"/>
                      </a:lnTo>
                      <a:lnTo>
                        <a:pt x="191" y="2101"/>
                      </a:lnTo>
                      <a:lnTo>
                        <a:pt x="186" y="2145"/>
                      </a:lnTo>
                      <a:lnTo>
                        <a:pt x="186" y="2205"/>
                      </a:lnTo>
                      <a:lnTo>
                        <a:pt x="186" y="2276"/>
                      </a:lnTo>
                      <a:lnTo>
                        <a:pt x="197" y="2407"/>
                      </a:lnTo>
                      <a:lnTo>
                        <a:pt x="207" y="2495"/>
                      </a:lnTo>
                      <a:lnTo>
                        <a:pt x="213" y="2555"/>
                      </a:lnTo>
                      <a:lnTo>
                        <a:pt x="213" y="2599"/>
                      </a:lnTo>
                      <a:lnTo>
                        <a:pt x="207" y="2631"/>
                      </a:lnTo>
                      <a:lnTo>
                        <a:pt x="207" y="2653"/>
                      </a:lnTo>
                      <a:lnTo>
                        <a:pt x="207" y="2670"/>
                      </a:lnTo>
                      <a:lnTo>
                        <a:pt x="207" y="2730"/>
                      </a:lnTo>
                      <a:lnTo>
                        <a:pt x="268" y="2752"/>
                      </a:lnTo>
                      <a:lnTo>
                        <a:pt x="301" y="2752"/>
                      </a:lnTo>
                      <a:lnTo>
                        <a:pt x="306" y="2763"/>
                      </a:lnTo>
                      <a:lnTo>
                        <a:pt x="328" y="2779"/>
                      </a:lnTo>
                      <a:lnTo>
                        <a:pt x="350" y="2790"/>
                      </a:lnTo>
                      <a:lnTo>
                        <a:pt x="372" y="2801"/>
                      </a:lnTo>
                      <a:lnTo>
                        <a:pt x="399" y="2807"/>
                      </a:lnTo>
                      <a:lnTo>
                        <a:pt x="437" y="2812"/>
                      </a:lnTo>
                      <a:lnTo>
                        <a:pt x="508" y="2807"/>
                      </a:lnTo>
                      <a:lnTo>
                        <a:pt x="541" y="2801"/>
                      </a:lnTo>
                      <a:lnTo>
                        <a:pt x="552" y="2801"/>
                      </a:lnTo>
                      <a:lnTo>
                        <a:pt x="552" y="2796"/>
                      </a:lnTo>
                      <a:lnTo>
                        <a:pt x="552" y="2785"/>
                      </a:lnTo>
                      <a:lnTo>
                        <a:pt x="547" y="2768"/>
                      </a:lnTo>
                      <a:lnTo>
                        <a:pt x="536" y="2752"/>
                      </a:lnTo>
                      <a:lnTo>
                        <a:pt x="470" y="2692"/>
                      </a:lnTo>
                      <a:lnTo>
                        <a:pt x="432" y="2648"/>
                      </a:lnTo>
                      <a:lnTo>
                        <a:pt x="415" y="2631"/>
                      </a:lnTo>
                      <a:lnTo>
                        <a:pt x="404" y="2615"/>
                      </a:lnTo>
                      <a:lnTo>
                        <a:pt x="404" y="2599"/>
                      </a:lnTo>
                      <a:lnTo>
                        <a:pt x="399" y="2588"/>
                      </a:lnTo>
                      <a:lnTo>
                        <a:pt x="394" y="2566"/>
                      </a:lnTo>
                      <a:lnTo>
                        <a:pt x="388" y="2555"/>
                      </a:lnTo>
                      <a:lnTo>
                        <a:pt x="388" y="2528"/>
                      </a:lnTo>
                      <a:lnTo>
                        <a:pt x="394" y="2467"/>
                      </a:lnTo>
                      <a:lnTo>
                        <a:pt x="399" y="2424"/>
                      </a:lnTo>
                      <a:lnTo>
                        <a:pt x="394" y="2402"/>
                      </a:lnTo>
                      <a:lnTo>
                        <a:pt x="383" y="2374"/>
                      </a:lnTo>
                      <a:lnTo>
                        <a:pt x="394" y="2238"/>
                      </a:lnTo>
                      <a:lnTo>
                        <a:pt x="399" y="2145"/>
                      </a:lnTo>
                      <a:lnTo>
                        <a:pt x="404" y="2095"/>
                      </a:lnTo>
                      <a:lnTo>
                        <a:pt x="415" y="2062"/>
                      </a:lnTo>
                      <a:lnTo>
                        <a:pt x="421" y="2013"/>
                      </a:lnTo>
                      <a:lnTo>
                        <a:pt x="432" y="1948"/>
                      </a:lnTo>
                      <a:lnTo>
                        <a:pt x="437" y="1931"/>
                      </a:lnTo>
                      <a:lnTo>
                        <a:pt x="454" y="1893"/>
                      </a:lnTo>
                      <a:lnTo>
                        <a:pt x="476" y="1827"/>
                      </a:lnTo>
                      <a:lnTo>
                        <a:pt x="492" y="1729"/>
                      </a:lnTo>
                      <a:lnTo>
                        <a:pt x="497" y="1723"/>
                      </a:lnTo>
                      <a:lnTo>
                        <a:pt x="503" y="1718"/>
                      </a:lnTo>
                      <a:lnTo>
                        <a:pt x="503" y="1729"/>
                      </a:lnTo>
                      <a:lnTo>
                        <a:pt x="558" y="1893"/>
                      </a:lnTo>
                      <a:lnTo>
                        <a:pt x="569" y="1920"/>
                      </a:lnTo>
                      <a:lnTo>
                        <a:pt x="569" y="1948"/>
                      </a:lnTo>
                      <a:lnTo>
                        <a:pt x="563" y="1980"/>
                      </a:lnTo>
                      <a:lnTo>
                        <a:pt x="547" y="2035"/>
                      </a:lnTo>
                      <a:lnTo>
                        <a:pt x="541" y="2084"/>
                      </a:lnTo>
                      <a:lnTo>
                        <a:pt x="536" y="2145"/>
                      </a:lnTo>
                      <a:lnTo>
                        <a:pt x="519" y="2287"/>
                      </a:lnTo>
                      <a:lnTo>
                        <a:pt x="503" y="2380"/>
                      </a:lnTo>
                      <a:lnTo>
                        <a:pt x="497" y="2429"/>
                      </a:lnTo>
                      <a:lnTo>
                        <a:pt x="481" y="2445"/>
                      </a:lnTo>
                      <a:lnTo>
                        <a:pt x="476" y="2462"/>
                      </a:lnTo>
                      <a:lnTo>
                        <a:pt x="470" y="2506"/>
                      </a:lnTo>
                      <a:lnTo>
                        <a:pt x="519" y="2528"/>
                      </a:lnTo>
                      <a:lnTo>
                        <a:pt x="580" y="2544"/>
                      </a:lnTo>
                      <a:lnTo>
                        <a:pt x="640" y="2555"/>
                      </a:lnTo>
                      <a:lnTo>
                        <a:pt x="694" y="2555"/>
                      </a:lnTo>
                      <a:lnTo>
                        <a:pt x="689" y="2517"/>
                      </a:lnTo>
                      <a:lnTo>
                        <a:pt x="705" y="2484"/>
                      </a:lnTo>
                      <a:lnTo>
                        <a:pt x="716" y="2445"/>
                      </a:lnTo>
                      <a:lnTo>
                        <a:pt x="738" y="2396"/>
                      </a:lnTo>
                      <a:lnTo>
                        <a:pt x="755" y="2331"/>
                      </a:lnTo>
                      <a:lnTo>
                        <a:pt x="771" y="2249"/>
                      </a:lnTo>
                      <a:lnTo>
                        <a:pt x="782" y="2156"/>
                      </a:lnTo>
                      <a:lnTo>
                        <a:pt x="787" y="2041"/>
                      </a:lnTo>
                      <a:lnTo>
                        <a:pt x="787" y="2013"/>
                      </a:lnTo>
                      <a:lnTo>
                        <a:pt x="787" y="1991"/>
                      </a:lnTo>
                      <a:lnTo>
                        <a:pt x="787" y="1980"/>
                      </a:lnTo>
                      <a:lnTo>
                        <a:pt x="793" y="1969"/>
                      </a:lnTo>
                      <a:lnTo>
                        <a:pt x="798" y="1937"/>
                      </a:lnTo>
                      <a:lnTo>
                        <a:pt x="798" y="1882"/>
                      </a:lnTo>
                      <a:lnTo>
                        <a:pt x="798" y="1805"/>
                      </a:lnTo>
                      <a:lnTo>
                        <a:pt x="782" y="1690"/>
                      </a:lnTo>
                      <a:lnTo>
                        <a:pt x="755" y="1559"/>
                      </a:lnTo>
                      <a:lnTo>
                        <a:pt x="722" y="1411"/>
                      </a:lnTo>
                      <a:lnTo>
                        <a:pt x="733" y="1401"/>
                      </a:lnTo>
                      <a:lnTo>
                        <a:pt x="738" y="1390"/>
                      </a:lnTo>
                      <a:lnTo>
                        <a:pt x="744" y="1368"/>
                      </a:lnTo>
                      <a:lnTo>
                        <a:pt x="733" y="1313"/>
                      </a:lnTo>
                      <a:lnTo>
                        <a:pt x="711" y="1220"/>
                      </a:lnTo>
                      <a:lnTo>
                        <a:pt x="683" y="1083"/>
                      </a:lnTo>
                      <a:lnTo>
                        <a:pt x="673" y="1018"/>
                      </a:lnTo>
                      <a:lnTo>
                        <a:pt x="656" y="957"/>
                      </a:lnTo>
                      <a:lnTo>
                        <a:pt x="645" y="914"/>
                      </a:lnTo>
                      <a:lnTo>
                        <a:pt x="634" y="870"/>
                      </a:lnTo>
                      <a:lnTo>
                        <a:pt x="634" y="821"/>
                      </a:lnTo>
                      <a:lnTo>
                        <a:pt x="640" y="777"/>
                      </a:lnTo>
                      <a:lnTo>
                        <a:pt x="634" y="739"/>
                      </a:lnTo>
                      <a:lnTo>
                        <a:pt x="634" y="706"/>
                      </a:lnTo>
                      <a:lnTo>
                        <a:pt x="678" y="717"/>
                      </a:lnTo>
                      <a:lnTo>
                        <a:pt x="776" y="728"/>
                      </a:lnTo>
                      <a:lnTo>
                        <a:pt x="837" y="733"/>
                      </a:lnTo>
                      <a:lnTo>
                        <a:pt x="891" y="728"/>
                      </a:lnTo>
                      <a:lnTo>
                        <a:pt x="913" y="722"/>
                      </a:lnTo>
                      <a:lnTo>
                        <a:pt x="935" y="717"/>
                      </a:lnTo>
                      <a:lnTo>
                        <a:pt x="952" y="706"/>
                      </a:lnTo>
                      <a:lnTo>
                        <a:pt x="962" y="689"/>
                      </a:lnTo>
                      <a:lnTo>
                        <a:pt x="946" y="618"/>
                      </a:lnTo>
                      <a:lnTo>
                        <a:pt x="924" y="520"/>
                      </a:lnTo>
                      <a:lnTo>
                        <a:pt x="880" y="377"/>
                      </a:lnTo>
                      <a:close/>
                      <a:moveTo>
                        <a:pt x="640" y="279"/>
                      </a:moveTo>
                      <a:lnTo>
                        <a:pt x="640" y="279"/>
                      </a:lnTo>
                      <a:lnTo>
                        <a:pt x="634" y="279"/>
                      </a:lnTo>
                      <a:lnTo>
                        <a:pt x="618" y="274"/>
                      </a:lnTo>
                      <a:lnTo>
                        <a:pt x="607" y="263"/>
                      </a:lnTo>
                      <a:lnTo>
                        <a:pt x="596" y="246"/>
                      </a:lnTo>
                      <a:lnTo>
                        <a:pt x="580" y="241"/>
                      </a:lnTo>
                      <a:lnTo>
                        <a:pt x="590" y="230"/>
                      </a:lnTo>
                      <a:lnTo>
                        <a:pt x="596" y="224"/>
                      </a:lnTo>
                      <a:lnTo>
                        <a:pt x="618" y="224"/>
                      </a:lnTo>
                      <a:lnTo>
                        <a:pt x="623" y="230"/>
                      </a:lnTo>
                      <a:lnTo>
                        <a:pt x="623" y="235"/>
                      </a:lnTo>
                      <a:lnTo>
                        <a:pt x="623" y="246"/>
                      </a:lnTo>
                      <a:lnTo>
                        <a:pt x="623" y="252"/>
                      </a:lnTo>
                      <a:lnTo>
                        <a:pt x="629" y="257"/>
                      </a:lnTo>
                      <a:lnTo>
                        <a:pt x="634" y="263"/>
                      </a:lnTo>
                      <a:lnTo>
                        <a:pt x="640" y="263"/>
                      </a:lnTo>
                      <a:lnTo>
                        <a:pt x="645" y="263"/>
                      </a:lnTo>
                      <a:lnTo>
                        <a:pt x="645" y="268"/>
                      </a:lnTo>
                      <a:lnTo>
                        <a:pt x="640" y="279"/>
                      </a:lnTo>
                      <a:close/>
                      <a:moveTo>
                        <a:pt x="235" y="990"/>
                      </a:moveTo>
                      <a:lnTo>
                        <a:pt x="235" y="990"/>
                      </a:lnTo>
                      <a:lnTo>
                        <a:pt x="235" y="1023"/>
                      </a:lnTo>
                      <a:lnTo>
                        <a:pt x="229" y="1067"/>
                      </a:lnTo>
                      <a:lnTo>
                        <a:pt x="224" y="1089"/>
                      </a:lnTo>
                      <a:lnTo>
                        <a:pt x="218" y="1089"/>
                      </a:lnTo>
                      <a:lnTo>
                        <a:pt x="213" y="1083"/>
                      </a:lnTo>
                      <a:lnTo>
                        <a:pt x="213" y="1072"/>
                      </a:lnTo>
                      <a:lnTo>
                        <a:pt x="207" y="1056"/>
                      </a:lnTo>
                      <a:lnTo>
                        <a:pt x="202" y="1045"/>
                      </a:lnTo>
                      <a:lnTo>
                        <a:pt x="191" y="1029"/>
                      </a:lnTo>
                      <a:lnTo>
                        <a:pt x="191" y="1012"/>
                      </a:lnTo>
                      <a:lnTo>
                        <a:pt x="197" y="1001"/>
                      </a:lnTo>
                      <a:lnTo>
                        <a:pt x="202" y="985"/>
                      </a:lnTo>
                      <a:lnTo>
                        <a:pt x="207" y="979"/>
                      </a:lnTo>
                      <a:lnTo>
                        <a:pt x="207" y="963"/>
                      </a:lnTo>
                      <a:lnTo>
                        <a:pt x="207" y="946"/>
                      </a:lnTo>
                      <a:lnTo>
                        <a:pt x="207" y="936"/>
                      </a:lnTo>
                      <a:lnTo>
                        <a:pt x="213" y="930"/>
                      </a:lnTo>
                      <a:lnTo>
                        <a:pt x="224" y="952"/>
                      </a:lnTo>
                      <a:lnTo>
                        <a:pt x="235" y="968"/>
                      </a:lnTo>
                      <a:lnTo>
                        <a:pt x="235" y="9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en-US">
                    <a:latin typeface="+mn-lt"/>
                    <a:ea typeface="+mn-ea"/>
                  </a:endParaRPr>
                </a:p>
              </p:txBody>
            </p:sp>
            <p:sp>
              <p:nvSpPr>
                <p:cNvPr id="198" name="Freeform 1581"/>
                <p:cNvSpPr>
                  <a:spLocks/>
                </p:cNvSpPr>
                <p:nvPr/>
              </p:nvSpPr>
              <p:spPr bwMode="auto">
                <a:xfrm>
                  <a:off x="443070" y="1772949"/>
                  <a:ext cx="9435" cy="37741"/>
                </a:xfrm>
                <a:custGeom>
                  <a:avLst/>
                  <a:gdLst>
                    <a:gd name="T0" fmla="*/ 0 w 11"/>
                    <a:gd name="T1" fmla="*/ 2147483647 h 44"/>
                    <a:gd name="T2" fmla="*/ 0 w 11"/>
                    <a:gd name="T3" fmla="*/ 2147483647 h 44"/>
                    <a:gd name="T4" fmla="*/ 0 w 11"/>
                    <a:gd name="T5" fmla="*/ 2147483647 h 44"/>
                    <a:gd name="T6" fmla="*/ 0 w 11"/>
                    <a:gd name="T7" fmla="*/ 2147483647 h 44"/>
                    <a:gd name="T8" fmla="*/ 0 w 11"/>
                    <a:gd name="T9" fmla="*/ 2147483647 h 44"/>
                    <a:gd name="T10" fmla="*/ 0 w 11"/>
                    <a:gd name="T11" fmla="*/ 2147483647 h 44"/>
                    <a:gd name="T12" fmla="*/ 2147483647 w 11"/>
                    <a:gd name="T13" fmla="*/ 0 h 44"/>
                    <a:gd name="T14" fmla="*/ 2147483647 w 11"/>
                    <a:gd name="T15" fmla="*/ 0 h 44"/>
                    <a:gd name="T16" fmla="*/ 0 w 11"/>
                    <a:gd name="T17" fmla="*/ 2147483647 h 44"/>
                    <a:gd name="T18" fmla="*/ 0 w 11"/>
                    <a:gd name="T19" fmla="*/ 2147483647 h 44"/>
                    <a:gd name="T20" fmla="*/ 0 w 11"/>
                    <a:gd name="T21" fmla="*/ 2147483647 h 44"/>
                    <a:gd name="T22" fmla="*/ 0 w 11"/>
                    <a:gd name="T23" fmla="*/ 2147483647 h 44"/>
                    <a:gd name="T24" fmla="*/ 0 w 11"/>
                    <a:gd name="T25" fmla="*/ 2147483647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44"/>
                    <a:gd name="T41" fmla="*/ 11 w 1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44">
                      <a:moveTo>
                        <a:pt x="0" y="39"/>
                      </a:moveTo>
                      <a:lnTo>
                        <a:pt x="0" y="39"/>
                      </a:lnTo>
                      <a:lnTo>
                        <a:pt x="0" y="44"/>
                      </a:lnTo>
                      <a:lnTo>
                        <a:pt x="0" y="39"/>
                      </a:lnTo>
                      <a:lnTo>
                        <a:pt x="11" y="0"/>
                      </a:lnTo>
                      <a:lnTo>
                        <a:pt x="0" y="11"/>
                      </a:lnTo>
                      <a:lnTo>
                        <a:pt x="0" y="22"/>
                      </a:lnTo>
                      <a:lnTo>
                        <a:pt x="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199" name="Freeform 1582"/>
                <p:cNvSpPr>
                  <a:spLocks noEditPoints="1"/>
                </p:cNvSpPr>
                <p:nvPr/>
              </p:nvSpPr>
              <p:spPr bwMode="auto">
                <a:xfrm>
                  <a:off x="302413" y="1726628"/>
                  <a:ext cx="173251" cy="93497"/>
                </a:xfrm>
                <a:custGeom>
                  <a:avLst/>
                  <a:gdLst>
                    <a:gd name="T0" fmla="*/ 2147483647 w 202"/>
                    <a:gd name="T1" fmla="*/ 2147483647 h 109"/>
                    <a:gd name="T2" fmla="*/ 2147483647 w 202"/>
                    <a:gd name="T3" fmla="*/ 2147483647 h 109"/>
                    <a:gd name="T4" fmla="*/ 2147483647 w 202"/>
                    <a:gd name="T5" fmla="*/ 2147483647 h 109"/>
                    <a:gd name="T6" fmla="*/ 2147483647 w 202"/>
                    <a:gd name="T7" fmla="*/ 2147483647 h 109"/>
                    <a:gd name="T8" fmla="*/ 2147483647 w 202"/>
                    <a:gd name="T9" fmla="*/ 2147483647 h 109"/>
                    <a:gd name="T10" fmla="*/ 2147483647 w 202"/>
                    <a:gd name="T11" fmla="*/ 2147483647 h 109"/>
                    <a:gd name="T12" fmla="*/ 2147483647 w 202"/>
                    <a:gd name="T13" fmla="*/ 2147483647 h 109"/>
                    <a:gd name="T14" fmla="*/ 2147483647 w 202"/>
                    <a:gd name="T15" fmla="*/ 2147483647 h 109"/>
                    <a:gd name="T16" fmla="*/ 2147483647 w 202"/>
                    <a:gd name="T17" fmla="*/ 2147483647 h 109"/>
                    <a:gd name="T18" fmla="*/ 2147483647 w 202"/>
                    <a:gd name="T19" fmla="*/ 2147483647 h 109"/>
                    <a:gd name="T20" fmla="*/ 2147483647 w 202"/>
                    <a:gd name="T21" fmla="*/ 2147483647 h 109"/>
                    <a:gd name="T22" fmla="*/ 2147483647 w 202"/>
                    <a:gd name="T23" fmla="*/ 2147483647 h 109"/>
                    <a:gd name="T24" fmla="*/ 2147483647 w 202"/>
                    <a:gd name="T25" fmla="*/ 2147483647 h 109"/>
                    <a:gd name="T26" fmla="*/ 2147483647 w 202"/>
                    <a:gd name="T27" fmla="*/ 2147483647 h 109"/>
                    <a:gd name="T28" fmla="*/ 2147483647 w 202"/>
                    <a:gd name="T29" fmla="*/ 2147483647 h 109"/>
                    <a:gd name="T30" fmla="*/ 2147483647 w 202"/>
                    <a:gd name="T31" fmla="*/ 0 h 109"/>
                    <a:gd name="T32" fmla="*/ 0 w 202"/>
                    <a:gd name="T33" fmla="*/ 0 h 109"/>
                    <a:gd name="T34" fmla="*/ 0 w 202"/>
                    <a:gd name="T35" fmla="*/ 2147483647 h 109"/>
                    <a:gd name="T36" fmla="*/ 0 w 202"/>
                    <a:gd name="T37" fmla="*/ 2147483647 h 109"/>
                    <a:gd name="T38" fmla="*/ 0 w 202"/>
                    <a:gd name="T39" fmla="*/ 2147483647 h 109"/>
                    <a:gd name="T40" fmla="*/ 2147483647 w 202"/>
                    <a:gd name="T41" fmla="*/ 2147483647 h 109"/>
                    <a:gd name="T42" fmla="*/ 2147483647 w 202"/>
                    <a:gd name="T43" fmla="*/ 2147483647 h 109"/>
                    <a:gd name="T44" fmla="*/ 2147483647 w 202"/>
                    <a:gd name="T45" fmla="*/ 2147483647 h 109"/>
                    <a:gd name="T46" fmla="*/ 2147483647 w 202"/>
                    <a:gd name="T47" fmla="*/ 2147483647 h 109"/>
                    <a:gd name="T48" fmla="*/ 2147483647 w 202"/>
                    <a:gd name="T49" fmla="*/ 2147483647 h 109"/>
                    <a:gd name="T50" fmla="*/ 2147483647 w 202"/>
                    <a:gd name="T51" fmla="*/ 2147483647 h 109"/>
                    <a:gd name="T52" fmla="*/ 2147483647 w 202"/>
                    <a:gd name="T53" fmla="*/ 2147483647 h 109"/>
                    <a:gd name="T54" fmla="*/ 2147483647 w 202"/>
                    <a:gd name="T55" fmla="*/ 2147483647 h 109"/>
                    <a:gd name="T56" fmla="*/ 2147483647 w 202"/>
                    <a:gd name="T57" fmla="*/ 2147483647 h 109"/>
                    <a:gd name="T58" fmla="*/ 2147483647 w 202"/>
                    <a:gd name="T59" fmla="*/ 2147483647 h 109"/>
                    <a:gd name="T60" fmla="*/ 2147483647 w 202"/>
                    <a:gd name="T61" fmla="*/ 2147483647 h 109"/>
                    <a:gd name="T62" fmla="*/ 2147483647 w 202"/>
                    <a:gd name="T63" fmla="*/ 2147483647 h 109"/>
                    <a:gd name="T64" fmla="*/ 2147483647 w 202"/>
                    <a:gd name="T65" fmla="*/ 2147483647 h 109"/>
                    <a:gd name="T66" fmla="*/ 2147483647 w 202"/>
                    <a:gd name="T67" fmla="*/ 2147483647 h 109"/>
                    <a:gd name="T68" fmla="*/ 2147483647 w 202"/>
                    <a:gd name="T69" fmla="*/ 2147483647 h 109"/>
                    <a:gd name="T70" fmla="*/ 2147483647 w 202"/>
                    <a:gd name="T71" fmla="*/ 2147483647 h 109"/>
                    <a:gd name="T72" fmla="*/ 2147483647 w 202"/>
                    <a:gd name="T73" fmla="*/ 2147483647 h 109"/>
                    <a:gd name="T74" fmla="*/ 2147483647 w 202"/>
                    <a:gd name="T75" fmla="*/ 2147483647 h 109"/>
                    <a:gd name="T76" fmla="*/ 2147483647 w 202"/>
                    <a:gd name="T77" fmla="*/ 2147483647 h 109"/>
                    <a:gd name="T78" fmla="*/ 2147483647 w 202"/>
                    <a:gd name="T79" fmla="*/ 2147483647 h 109"/>
                    <a:gd name="T80" fmla="*/ 2147483647 w 202"/>
                    <a:gd name="T81" fmla="*/ 2147483647 h 109"/>
                    <a:gd name="T82" fmla="*/ 2147483647 w 202"/>
                    <a:gd name="T83" fmla="*/ 2147483647 h 109"/>
                    <a:gd name="T84" fmla="*/ 2147483647 w 202"/>
                    <a:gd name="T85" fmla="*/ 2147483647 h 109"/>
                    <a:gd name="T86" fmla="*/ 2147483647 w 202"/>
                    <a:gd name="T87" fmla="*/ 2147483647 h 109"/>
                    <a:gd name="T88" fmla="*/ 2147483647 w 202"/>
                    <a:gd name="T89" fmla="*/ 2147483647 h 109"/>
                    <a:gd name="T90" fmla="*/ 2147483647 w 202"/>
                    <a:gd name="T91" fmla="*/ 2147483647 h 109"/>
                    <a:gd name="T92" fmla="*/ 2147483647 w 202"/>
                    <a:gd name="T93" fmla="*/ 2147483647 h 109"/>
                    <a:gd name="T94" fmla="*/ 2147483647 w 202"/>
                    <a:gd name="T95" fmla="*/ 2147483647 h 109"/>
                    <a:gd name="T96" fmla="*/ 2147483647 w 202"/>
                    <a:gd name="T97" fmla="*/ 2147483647 h 109"/>
                    <a:gd name="T98" fmla="*/ 2147483647 w 202"/>
                    <a:gd name="T99" fmla="*/ 2147483647 h 109"/>
                    <a:gd name="T100" fmla="*/ 2147483647 w 202"/>
                    <a:gd name="T101" fmla="*/ 2147483647 h 109"/>
                    <a:gd name="T102" fmla="*/ 2147483647 w 202"/>
                    <a:gd name="T103" fmla="*/ 2147483647 h 109"/>
                    <a:gd name="T104" fmla="*/ 2147483647 w 202"/>
                    <a:gd name="T105" fmla="*/ 2147483647 h 109"/>
                    <a:gd name="T106" fmla="*/ 2147483647 w 202"/>
                    <a:gd name="T107" fmla="*/ 2147483647 h 109"/>
                    <a:gd name="T108" fmla="*/ 2147483647 w 202"/>
                    <a:gd name="T109" fmla="*/ 2147483647 h 109"/>
                    <a:gd name="T110" fmla="*/ 2147483647 w 202"/>
                    <a:gd name="T111" fmla="*/ 2147483647 h 109"/>
                    <a:gd name="T112" fmla="*/ 2147483647 w 202"/>
                    <a:gd name="T113" fmla="*/ 2147483647 h 109"/>
                    <a:gd name="T114" fmla="*/ 2147483647 w 202"/>
                    <a:gd name="T115" fmla="*/ 2147483647 h 109"/>
                    <a:gd name="T116" fmla="*/ 2147483647 w 202"/>
                    <a:gd name="T117" fmla="*/ 2147483647 h 1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2"/>
                    <a:gd name="T178" fmla="*/ 0 h 109"/>
                    <a:gd name="T179" fmla="*/ 202 w 202"/>
                    <a:gd name="T180" fmla="*/ 109 h 1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2" h="109">
                      <a:moveTo>
                        <a:pt x="202" y="71"/>
                      </a:moveTo>
                      <a:lnTo>
                        <a:pt x="202" y="71"/>
                      </a:lnTo>
                      <a:lnTo>
                        <a:pt x="202" y="60"/>
                      </a:lnTo>
                      <a:lnTo>
                        <a:pt x="197" y="54"/>
                      </a:lnTo>
                      <a:lnTo>
                        <a:pt x="175" y="38"/>
                      </a:lnTo>
                      <a:lnTo>
                        <a:pt x="148" y="32"/>
                      </a:lnTo>
                      <a:lnTo>
                        <a:pt x="137" y="38"/>
                      </a:lnTo>
                      <a:lnTo>
                        <a:pt x="131" y="43"/>
                      </a:lnTo>
                      <a:lnTo>
                        <a:pt x="126" y="43"/>
                      </a:lnTo>
                      <a:lnTo>
                        <a:pt x="115" y="38"/>
                      </a:lnTo>
                      <a:lnTo>
                        <a:pt x="55" y="11"/>
                      </a:lnTo>
                      <a:lnTo>
                        <a:pt x="16" y="0"/>
                      </a:lnTo>
                      <a:lnTo>
                        <a:pt x="0" y="0"/>
                      </a:lnTo>
                      <a:lnTo>
                        <a:pt x="0" y="5"/>
                      </a:lnTo>
                      <a:lnTo>
                        <a:pt x="11" y="5"/>
                      </a:lnTo>
                      <a:lnTo>
                        <a:pt x="49" y="22"/>
                      </a:lnTo>
                      <a:lnTo>
                        <a:pt x="82" y="43"/>
                      </a:lnTo>
                      <a:lnTo>
                        <a:pt x="120" y="65"/>
                      </a:lnTo>
                      <a:lnTo>
                        <a:pt x="115" y="76"/>
                      </a:lnTo>
                      <a:lnTo>
                        <a:pt x="120" y="87"/>
                      </a:lnTo>
                      <a:lnTo>
                        <a:pt x="126" y="98"/>
                      </a:lnTo>
                      <a:lnTo>
                        <a:pt x="142" y="109"/>
                      </a:lnTo>
                      <a:lnTo>
                        <a:pt x="159" y="109"/>
                      </a:lnTo>
                      <a:lnTo>
                        <a:pt x="175" y="109"/>
                      </a:lnTo>
                      <a:lnTo>
                        <a:pt x="181" y="104"/>
                      </a:lnTo>
                      <a:lnTo>
                        <a:pt x="191" y="98"/>
                      </a:lnTo>
                      <a:lnTo>
                        <a:pt x="202" y="82"/>
                      </a:lnTo>
                      <a:lnTo>
                        <a:pt x="202" y="71"/>
                      </a:lnTo>
                      <a:close/>
                      <a:moveTo>
                        <a:pt x="77" y="82"/>
                      </a:moveTo>
                      <a:lnTo>
                        <a:pt x="77" y="82"/>
                      </a:lnTo>
                      <a:lnTo>
                        <a:pt x="60" y="71"/>
                      </a:lnTo>
                      <a:lnTo>
                        <a:pt x="55" y="65"/>
                      </a:lnTo>
                      <a:lnTo>
                        <a:pt x="55" y="49"/>
                      </a:lnTo>
                      <a:lnTo>
                        <a:pt x="60" y="38"/>
                      </a:lnTo>
                      <a:lnTo>
                        <a:pt x="66" y="27"/>
                      </a:lnTo>
                      <a:lnTo>
                        <a:pt x="77" y="22"/>
                      </a:lnTo>
                      <a:lnTo>
                        <a:pt x="82" y="22"/>
                      </a:lnTo>
                      <a:lnTo>
                        <a:pt x="93" y="27"/>
                      </a:lnTo>
                      <a:lnTo>
                        <a:pt x="115" y="38"/>
                      </a:lnTo>
                      <a:lnTo>
                        <a:pt x="120" y="49"/>
                      </a:lnTo>
                      <a:lnTo>
                        <a:pt x="115" y="60"/>
                      </a:lnTo>
                      <a:lnTo>
                        <a:pt x="109" y="76"/>
                      </a:lnTo>
                      <a:lnTo>
                        <a:pt x="98" y="82"/>
                      </a:lnTo>
                      <a:lnTo>
                        <a:pt x="7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200" name="Freeform 1583"/>
                <p:cNvSpPr>
                  <a:spLocks/>
                </p:cNvSpPr>
                <p:nvPr/>
              </p:nvSpPr>
              <p:spPr bwMode="auto">
                <a:xfrm>
                  <a:off x="288691" y="1918766"/>
                  <a:ext cx="112354" cy="385137"/>
                </a:xfrm>
                <a:custGeom>
                  <a:avLst/>
                  <a:gdLst>
                    <a:gd name="T0" fmla="*/ 0 w 131"/>
                    <a:gd name="T1" fmla="*/ 2147483647 h 449"/>
                    <a:gd name="T2" fmla="*/ 0 w 131"/>
                    <a:gd name="T3" fmla="*/ 2147483647 h 449"/>
                    <a:gd name="T4" fmla="*/ 2147483647 w 131"/>
                    <a:gd name="T5" fmla="*/ 2147483647 h 449"/>
                    <a:gd name="T6" fmla="*/ 2147483647 w 131"/>
                    <a:gd name="T7" fmla="*/ 2147483647 h 449"/>
                    <a:gd name="T8" fmla="*/ 2147483647 w 131"/>
                    <a:gd name="T9" fmla="*/ 2147483647 h 449"/>
                    <a:gd name="T10" fmla="*/ 2147483647 w 131"/>
                    <a:gd name="T11" fmla="*/ 2147483647 h 449"/>
                    <a:gd name="T12" fmla="*/ 2147483647 w 131"/>
                    <a:gd name="T13" fmla="*/ 2147483647 h 449"/>
                    <a:gd name="T14" fmla="*/ 2147483647 w 131"/>
                    <a:gd name="T15" fmla="*/ 2147483647 h 449"/>
                    <a:gd name="T16" fmla="*/ 2147483647 w 131"/>
                    <a:gd name="T17" fmla="*/ 2147483647 h 449"/>
                    <a:gd name="T18" fmla="*/ 2147483647 w 131"/>
                    <a:gd name="T19" fmla="*/ 2147483647 h 449"/>
                    <a:gd name="T20" fmla="*/ 2147483647 w 131"/>
                    <a:gd name="T21" fmla="*/ 2147483647 h 449"/>
                    <a:gd name="T22" fmla="*/ 2147483647 w 131"/>
                    <a:gd name="T23" fmla="*/ 2147483647 h 449"/>
                    <a:gd name="T24" fmla="*/ 2147483647 w 131"/>
                    <a:gd name="T25" fmla="*/ 2147483647 h 449"/>
                    <a:gd name="T26" fmla="*/ 2147483647 w 131"/>
                    <a:gd name="T27" fmla="*/ 2147483647 h 449"/>
                    <a:gd name="T28" fmla="*/ 2147483647 w 131"/>
                    <a:gd name="T29" fmla="*/ 2147483647 h 449"/>
                    <a:gd name="T30" fmla="*/ 2147483647 w 131"/>
                    <a:gd name="T31" fmla="*/ 2147483647 h 449"/>
                    <a:gd name="T32" fmla="*/ 2147483647 w 131"/>
                    <a:gd name="T33" fmla="*/ 2147483647 h 449"/>
                    <a:gd name="T34" fmla="*/ 2147483647 w 131"/>
                    <a:gd name="T35" fmla="*/ 2147483647 h 449"/>
                    <a:gd name="T36" fmla="*/ 2147483647 w 131"/>
                    <a:gd name="T37" fmla="*/ 2147483647 h 449"/>
                    <a:gd name="T38" fmla="*/ 2147483647 w 131"/>
                    <a:gd name="T39" fmla="*/ 2147483647 h 449"/>
                    <a:gd name="T40" fmla="*/ 2147483647 w 131"/>
                    <a:gd name="T41" fmla="*/ 2147483647 h 449"/>
                    <a:gd name="T42" fmla="*/ 2147483647 w 131"/>
                    <a:gd name="T43" fmla="*/ 2147483647 h 449"/>
                    <a:gd name="T44" fmla="*/ 2147483647 w 131"/>
                    <a:gd name="T45" fmla="*/ 2147483647 h 449"/>
                    <a:gd name="T46" fmla="*/ 2147483647 w 131"/>
                    <a:gd name="T47" fmla="*/ 2147483647 h 449"/>
                    <a:gd name="T48" fmla="*/ 2147483647 w 131"/>
                    <a:gd name="T49" fmla="*/ 2147483647 h 449"/>
                    <a:gd name="T50" fmla="*/ 2147483647 w 131"/>
                    <a:gd name="T51" fmla="*/ 2147483647 h 449"/>
                    <a:gd name="T52" fmla="*/ 2147483647 w 131"/>
                    <a:gd name="T53" fmla="*/ 2147483647 h 449"/>
                    <a:gd name="T54" fmla="*/ 2147483647 w 131"/>
                    <a:gd name="T55" fmla="*/ 2147483647 h 449"/>
                    <a:gd name="T56" fmla="*/ 2147483647 w 131"/>
                    <a:gd name="T57" fmla="*/ 0 h 449"/>
                    <a:gd name="T58" fmla="*/ 2147483647 w 131"/>
                    <a:gd name="T59" fmla="*/ 0 h 449"/>
                    <a:gd name="T60" fmla="*/ 2147483647 w 131"/>
                    <a:gd name="T61" fmla="*/ 2147483647 h 449"/>
                    <a:gd name="T62" fmla="*/ 2147483647 w 131"/>
                    <a:gd name="T63" fmla="*/ 2147483647 h 449"/>
                    <a:gd name="T64" fmla="*/ 0 w 131"/>
                    <a:gd name="T65" fmla="*/ 2147483647 h 44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1"/>
                    <a:gd name="T100" fmla="*/ 0 h 449"/>
                    <a:gd name="T101" fmla="*/ 131 w 131"/>
                    <a:gd name="T102" fmla="*/ 449 h 44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1" h="449">
                      <a:moveTo>
                        <a:pt x="0" y="55"/>
                      </a:moveTo>
                      <a:lnTo>
                        <a:pt x="0" y="55"/>
                      </a:lnTo>
                      <a:lnTo>
                        <a:pt x="11" y="60"/>
                      </a:lnTo>
                      <a:lnTo>
                        <a:pt x="21" y="77"/>
                      </a:lnTo>
                      <a:lnTo>
                        <a:pt x="32" y="104"/>
                      </a:lnTo>
                      <a:lnTo>
                        <a:pt x="54" y="186"/>
                      </a:lnTo>
                      <a:lnTo>
                        <a:pt x="76" y="273"/>
                      </a:lnTo>
                      <a:lnTo>
                        <a:pt x="98" y="323"/>
                      </a:lnTo>
                      <a:lnTo>
                        <a:pt x="120" y="372"/>
                      </a:lnTo>
                      <a:lnTo>
                        <a:pt x="125" y="410"/>
                      </a:lnTo>
                      <a:lnTo>
                        <a:pt x="125" y="449"/>
                      </a:lnTo>
                      <a:lnTo>
                        <a:pt x="131" y="399"/>
                      </a:lnTo>
                      <a:lnTo>
                        <a:pt x="131" y="350"/>
                      </a:lnTo>
                      <a:lnTo>
                        <a:pt x="120" y="235"/>
                      </a:lnTo>
                      <a:lnTo>
                        <a:pt x="109" y="126"/>
                      </a:lnTo>
                      <a:lnTo>
                        <a:pt x="93" y="27"/>
                      </a:lnTo>
                      <a:lnTo>
                        <a:pt x="87" y="22"/>
                      </a:lnTo>
                      <a:lnTo>
                        <a:pt x="76" y="22"/>
                      </a:lnTo>
                      <a:lnTo>
                        <a:pt x="60" y="22"/>
                      </a:lnTo>
                      <a:lnTo>
                        <a:pt x="49" y="16"/>
                      </a:lnTo>
                      <a:lnTo>
                        <a:pt x="38" y="5"/>
                      </a:lnTo>
                      <a:lnTo>
                        <a:pt x="32" y="5"/>
                      </a:lnTo>
                      <a:lnTo>
                        <a:pt x="21" y="0"/>
                      </a:lnTo>
                      <a:lnTo>
                        <a:pt x="11" y="16"/>
                      </a:lnTo>
                      <a:lnTo>
                        <a:pt x="5" y="44"/>
                      </a:lnTo>
                      <a:lnTo>
                        <a:pt x="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201" name="Freeform 1584"/>
                <p:cNvSpPr>
                  <a:spLocks/>
                </p:cNvSpPr>
                <p:nvPr/>
              </p:nvSpPr>
              <p:spPr bwMode="auto">
                <a:xfrm>
                  <a:off x="316135" y="1923054"/>
                  <a:ext cx="108067" cy="408298"/>
                </a:xfrm>
                <a:custGeom>
                  <a:avLst/>
                  <a:gdLst>
                    <a:gd name="T0" fmla="*/ 2147483647 w 126"/>
                    <a:gd name="T1" fmla="*/ 2147483647 h 476"/>
                    <a:gd name="T2" fmla="*/ 0 w 126"/>
                    <a:gd name="T3" fmla="*/ 2147483647 h 476"/>
                    <a:gd name="T4" fmla="*/ 2147483647 w 126"/>
                    <a:gd name="T5" fmla="*/ 2147483647 h 476"/>
                    <a:gd name="T6" fmla="*/ 2147483647 w 126"/>
                    <a:gd name="T7" fmla="*/ 2147483647 h 476"/>
                    <a:gd name="T8" fmla="*/ 2147483647 w 126"/>
                    <a:gd name="T9" fmla="*/ 2147483647 h 476"/>
                    <a:gd name="T10" fmla="*/ 2147483647 w 126"/>
                    <a:gd name="T11" fmla="*/ 2147483647 h 476"/>
                    <a:gd name="T12" fmla="*/ 2147483647 w 126"/>
                    <a:gd name="T13" fmla="*/ 2147483647 h 476"/>
                    <a:gd name="T14" fmla="*/ 2147483647 w 126"/>
                    <a:gd name="T15" fmla="*/ 2147483647 h 476"/>
                    <a:gd name="T16" fmla="*/ 2147483647 w 126"/>
                    <a:gd name="T17" fmla="*/ 2147483647 h 476"/>
                    <a:gd name="T18" fmla="*/ 2147483647 w 126"/>
                    <a:gd name="T19" fmla="*/ 2147483647 h 476"/>
                    <a:gd name="T20" fmla="*/ 2147483647 w 126"/>
                    <a:gd name="T21" fmla="*/ 2147483647 h 476"/>
                    <a:gd name="T22" fmla="*/ 2147483647 w 126"/>
                    <a:gd name="T23" fmla="*/ 2147483647 h 476"/>
                    <a:gd name="T24" fmla="*/ 2147483647 w 126"/>
                    <a:gd name="T25" fmla="*/ 2147483647 h 476"/>
                    <a:gd name="T26" fmla="*/ 2147483647 w 126"/>
                    <a:gd name="T27" fmla="*/ 2147483647 h 476"/>
                    <a:gd name="T28" fmla="*/ 2147483647 w 126"/>
                    <a:gd name="T29" fmla="*/ 2147483647 h 476"/>
                    <a:gd name="T30" fmla="*/ 2147483647 w 126"/>
                    <a:gd name="T31" fmla="*/ 2147483647 h 476"/>
                    <a:gd name="T32" fmla="*/ 2147483647 w 126"/>
                    <a:gd name="T33" fmla="*/ 2147483647 h 476"/>
                    <a:gd name="T34" fmla="*/ 2147483647 w 126"/>
                    <a:gd name="T35" fmla="*/ 2147483647 h 476"/>
                    <a:gd name="T36" fmla="*/ 2147483647 w 126"/>
                    <a:gd name="T37" fmla="*/ 0 h 476"/>
                    <a:gd name="T38" fmla="*/ 2147483647 w 126"/>
                    <a:gd name="T39" fmla="*/ 0 h 476"/>
                    <a:gd name="T40" fmla="*/ 2147483647 w 126"/>
                    <a:gd name="T41" fmla="*/ 2147483647 h 476"/>
                    <a:gd name="T42" fmla="*/ 2147483647 w 126"/>
                    <a:gd name="T43" fmla="*/ 2147483647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6"/>
                    <a:gd name="T67" fmla="*/ 0 h 476"/>
                    <a:gd name="T68" fmla="*/ 126 w 126"/>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6" h="476">
                      <a:moveTo>
                        <a:pt x="11" y="6"/>
                      </a:moveTo>
                      <a:lnTo>
                        <a:pt x="0" y="17"/>
                      </a:lnTo>
                      <a:lnTo>
                        <a:pt x="22" y="55"/>
                      </a:lnTo>
                      <a:lnTo>
                        <a:pt x="28" y="88"/>
                      </a:lnTo>
                      <a:lnTo>
                        <a:pt x="39" y="121"/>
                      </a:lnTo>
                      <a:lnTo>
                        <a:pt x="44" y="214"/>
                      </a:lnTo>
                      <a:lnTo>
                        <a:pt x="44" y="323"/>
                      </a:lnTo>
                      <a:lnTo>
                        <a:pt x="77" y="444"/>
                      </a:lnTo>
                      <a:lnTo>
                        <a:pt x="99" y="476"/>
                      </a:lnTo>
                      <a:lnTo>
                        <a:pt x="126" y="372"/>
                      </a:lnTo>
                      <a:lnTo>
                        <a:pt x="82" y="148"/>
                      </a:lnTo>
                      <a:lnTo>
                        <a:pt x="44" y="50"/>
                      </a:lnTo>
                      <a:lnTo>
                        <a:pt x="50" y="17"/>
                      </a:lnTo>
                      <a:lnTo>
                        <a:pt x="39" y="6"/>
                      </a:lnTo>
                      <a:lnTo>
                        <a:pt x="22" y="0"/>
                      </a:lnTo>
                      <a:lnTo>
                        <a:pt x="17" y="0"/>
                      </a:ln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nvGrpSpPr>
              <p:cNvPr id="51" name="Gruppe 291"/>
              <p:cNvGrpSpPr>
                <a:grpSpLocks/>
              </p:cNvGrpSpPr>
              <p:nvPr/>
            </p:nvGrpSpPr>
            <p:grpSpPr bwMode="auto">
              <a:xfrm>
                <a:off x="2727325" y="1208088"/>
                <a:ext cx="600075" cy="1108075"/>
                <a:chOff x="-1" y="-1241699"/>
                <a:chExt cx="5000630" cy="9231491"/>
              </a:xfrm>
              <a:solidFill>
                <a:schemeClr val="bg1">
                  <a:lumMod val="85000"/>
                </a:schemeClr>
              </a:solidFill>
            </p:grpSpPr>
            <p:grpSp>
              <p:nvGrpSpPr>
                <p:cNvPr id="84" name="Gruppe 111"/>
                <p:cNvGrpSpPr/>
                <p:nvPr/>
              </p:nvGrpSpPr>
              <p:grpSpPr>
                <a:xfrm>
                  <a:off x="-1" y="-1241699"/>
                  <a:ext cx="5000630" cy="9231491"/>
                  <a:chOff x="3295650" y="3451225"/>
                  <a:chExt cx="1392238" cy="2570163"/>
                </a:xfrm>
                <a:grpFill/>
              </p:grpSpPr>
              <p:sp>
                <p:nvSpPr>
                  <p:cNvPr id="88" name="Freeform 207"/>
                  <p:cNvSpPr>
                    <a:spLocks/>
                  </p:cNvSpPr>
                  <p:nvPr/>
                </p:nvSpPr>
                <p:spPr bwMode="auto">
                  <a:xfrm>
                    <a:off x="4586288" y="4176713"/>
                    <a:ext cx="30162" cy="30162"/>
                  </a:xfrm>
                  <a:custGeom>
                    <a:avLst/>
                    <a:gdLst>
                      <a:gd name="T0" fmla="*/ 20637 w 19"/>
                      <a:gd name="T1" fmla="*/ 0 h 19"/>
                      <a:gd name="T2" fmla="*/ 20637 w 19"/>
                      <a:gd name="T3" fmla="*/ 0 h 19"/>
                      <a:gd name="T4" fmla="*/ 20637 w 19"/>
                      <a:gd name="T5" fmla="*/ 9525 h 19"/>
                      <a:gd name="T6" fmla="*/ 9525 w 19"/>
                      <a:gd name="T7" fmla="*/ 9525 h 19"/>
                      <a:gd name="T8" fmla="*/ 0 w 19"/>
                      <a:gd name="T9" fmla="*/ 0 h 19"/>
                      <a:gd name="T10" fmla="*/ 0 w 19"/>
                      <a:gd name="T11" fmla="*/ 0 h 19"/>
                      <a:gd name="T12" fmla="*/ 0 w 19"/>
                      <a:gd name="T13" fmla="*/ 30162 h 19"/>
                      <a:gd name="T14" fmla="*/ 0 w 19"/>
                      <a:gd name="T15" fmla="*/ 30162 h 19"/>
                      <a:gd name="T16" fmla="*/ 9525 w 19"/>
                      <a:gd name="T17" fmla="*/ 30162 h 19"/>
                      <a:gd name="T18" fmla="*/ 30162 w 19"/>
                      <a:gd name="T19" fmla="*/ 20637 h 19"/>
                      <a:gd name="T20" fmla="*/ 30162 w 19"/>
                      <a:gd name="T21" fmla="*/ 9525 h 19"/>
                      <a:gd name="T22" fmla="*/ 20637 w 19"/>
                      <a:gd name="T23" fmla="*/ 0 h 19"/>
                      <a:gd name="T24" fmla="*/ 206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3" y="0"/>
                        </a:moveTo>
                        <a:lnTo>
                          <a:pt x="13" y="0"/>
                        </a:lnTo>
                        <a:lnTo>
                          <a:pt x="13" y="6"/>
                        </a:lnTo>
                        <a:lnTo>
                          <a:pt x="6" y="6"/>
                        </a:lnTo>
                        <a:lnTo>
                          <a:pt x="0" y="0"/>
                        </a:lnTo>
                        <a:lnTo>
                          <a:pt x="0" y="19"/>
                        </a:lnTo>
                        <a:lnTo>
                          <a:pt x="6" y="19"/>
                        </a:lnTo>
                        <a:lnTo>
                          <a:pt x="19" y="13"/>
                        </a:lnTo>
                        <a:lnTo>
                          <a:pt x="19" y="6"/>
                        </a:lnTo>
                        <a:lnTo>
                          <a:pt x="13"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89" name="Freeform 212"/>
                  <p:cNvSpPr>
                    <a:spLocks/>
                  </p:cNvSpPr>
                  <p:nvPr/>
                </p:nvSpPr>
                <p:spPr bwMode="auto">
                  <a:xfrm>
                    <a:off x="4465638" y="4348163"/>
                    <a:ext cx="80962" cy="20637"/>
                  </a:xfrm>
                  <a:custGeom>
                    <a:avLst/>
                    <a:gdLst>
                      <a:gd name="T0" fmla="*/ 0 w 51"/>
                      <a:gd name="T1" fmla="*/ 0 h 13"/>
                      <a:gd name="T2" fmla="*/ 0 w 51"/>
                      <a:gd name="T3" fmla="*/ 0 h 13"/>
                      <a:gd name="T4" fmla="*/ 0 w 51"/>
                      <a:gd name="T5" fmla="*/ 9525 h 13"/>
                      <a:gd name="T6" fmla="*/ 9525 w 51"/>
                      <a:gd name="T7" fmla="*/ 20637 h 13"/>
                      <a:gd name="T8" fmla="*/ 30162 w 51"/>
                      <a:gd name="T9" fmla="*/ 20637 h 13"/>
                      <a:gd name="T10" fmla="*/ 50800 w 51"/>
                      <a:gd name="T11" fmla="*/ 20637 h 13"/>
                      <a:gd name="T12" fmla="*/ 80962 w 51"/>
                      <a:gd name="T13" fmla="*/ 20637 h 13"/>
                      <a:gd name="T14" fmla="*/ 80962 w 51"/>
                      <a:gd name="T15" fmla="*/ 20637 h 13"/>
                      <a:gd name="T16" fmla="*/ 80962 w 51"/>
                      <a:gd name="T17" fmla="*/ 9525 h 13"/>
                      <a:gd name="T18" fmla="*/ 69850 w 51"/>
                      <a:gd name="T19" fmla="*/ 0 h 13"/>
                      <a:gd name="T20" fmla="*/ 39687 w 51"/>
                      <a:gd name="T21" fmla="*/ 0 h 13"/>
                      <a:gd name="T22" fmla="*/ 9525 w 51"/>
                      <a:gd name="T23" fmla="*/ 0 h 13"/>
                      <a:gd name="T24" fmla="*/ 0 w 51"/>
                      <a:gd name="T25" fmla="*/ 0 h 13"/>
                      <a:gd name="T26" fmla="*/ 0 w 51"/>
                      <a:gd name="T27" fmla="*/ 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13"/>
                      <a:gd name="T44" fmla="*/ 51 w 5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13">
                        <a:moveTo>
                          <a:pt x="0" y="0"/>
                        </a:moveTo>
                        <a:lnTo>
                          <a:pt x="0" y="0"/>
                        </a:lnTo>
                        <a:lnTo>
                          <a:pt x="0" y="6"/>
                        </a:lnTo>
                        <a:lnTo>
                          <a:pt x="6" y="13"/>
                        </a:lnTo>
                        <a:lnTo>
                          <a:pt x="19" y="13"/>
                        </a:lnTo>
                        <a:lnTo>
                          <a:pt x="32" y="13"/>
                        </a:lnTo>
                        <a:lnTo>
                          <a:pt x="51" y="13"/>
                        </a:lnTo>
                        <a:lnTo>
                          <a:pt x="51" y="6"/>
                        </a:lnTo>
                        <a:lnTo>
                          <a:pt x="44" y="0"/>
                        </a:lnTo>
                        <a:lnTo>
                          <a:pt x="25" y="0"/>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0" name="Freeform 214"/>
                  <p:cNvSpPr>
                    <a:spLocks/>
                  </p:cNvSpPr>
                  <p:nvPr/>
                </p:nvSpPr>
                <p:spPr bwMode="auto">
                  <a:xfrm>
                    <a:off x="4475163" y="4378325"/>
                    <a:ext cx="71437" cy="30163"/>
                  </a:xfrm>
                  <a:custGeom>
                    <a:avLst/>
                    <a:gdLst>
                      <a:gd name="T0" fmla="*/ 0 w 45"/>
                      <a:gd name="T1" fmla="*/ 0 h 19"/>
                      <a:gd name="T2" fmla="*/ 0 w 45"/>
                      <a:gd name="T3" fmla="*/ 0 h 19"/>
                      <a:gd name="T4" fmla="*/ 0 w 45"/>
                      <a:gd name="T5" fmla="*/ 30163 h 19"/>
                      <a:gd name="T6" fmla="*/ 0 w 45"/>
                      <a:gd name="T7" fmla="*/ 30163 h 19"/>
                      <a:gd name="T8" fmla="*/ 41275 w 45"/>
                      <a:gd name="T9" fmla="*/ 20638 h 19"/>
                      <a:gd name="T10" fmla="*/ 71437 w 45"/>
                      <a:gd name="T11" fmla="*/ 20638 h 19"/>
                      <a:gd name="T12" fmla="*/ 71437 w 45"/>
                      <a:gd name="T13" fmla="*/ 20638 h 19"/>
                      <a:gd name="T14" fmla="*/ 60325 w 45"/>
                      <a:gd name="T15" fmla="*/ 0 h 19"/>
                      <a:gd name="T16" fmla="*/ 41275 w 45"/>
                      <a:gd name="T17" fmla="*/ 0 h 19"/>
                      <a:gd name="T18" fmla="*/ 0 w 45"/>
                      <a:gd name="T19" fmla="*/ 0 h 19"/>
                      <a:gd name="T20" fmla="*/ 0 w 45"/>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9"/>
                      <a:gd name="T35" fmla="*/ 45 w 45"/>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9">
                        <a:moveTo>
                          <a:pt x="0" y="0"/>
                        </a:moveTo>
                        <a:lnTo>
                          <a:pt x="0" y="0"/>
                        </a:lnTo>
                        <a:lnTo>
                          <a:pt x="0" y="19"/>
                        </a:lnTo>
                        <a:lnTo>
                          <a:pt x="26" y="13"/>
                        </a:lnTo>
                        <a:lnTo>
                          <a:pt x="45" y="13"/>
                        </a:lnTo>
                        <a:lnTo>
                          <a:pt x="38" y="0"/>
                        </a:lnTo>
                        <a:lnTo>
                          <a:pt x="2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1" name="Freeform 216"/>
                  <p:cNvSpPr>
                    <a:spLocks/>
                  </p:cNvSpPr>
                  <p:nvPr/>
                </p:nvSpPr>
                <p:spPr bwMode="auto">
                  <a:xfrm>
                    <a:off x="4465638" y="4408488"/>
                    <a:ext cx="60325" cy="20637"/>
                  </a:xfrm>
                  <a:custGeom>
                    <a:avLst/>
                    <a:gdLst>
                      <a:gd name="T0" fmla="*/ 60325 w 38"/>
                      <a:gd name="T1" fmla="*/ 20637 h 13"/>
                      <a:gd name="T2" fmla="*/ 60325 w 38"/>
                      <a:gd name="T3" fmla="*/ 20637 h 13"/>
                      <a:gd name="T4" fmla="*/ 60325 w 38"/>
                      <a:gd name="T5" fmla="*/ 11112 h 13"/>
                      <a:gd name="T6" fmla="*/ 50800 w 38"/>
                      <a:gd name="T7" fmla="*/ 0 h 13"/>
                      <a:gd name="T8" fmla="*/ 30163 w 38"/>
                      <a:gd name="T9" fmla="*/ 0 h 13"/>
                      <a:gd name="T10" fmla="*/ 0 w 38"/>
                      <a:gd name="T11" fmla="*/ 0 h 13"/>
                      <a:gd name="T12" fmla="*/ 0 w 38"/>
                      <a:gd name="T13" fmla="*/ 11112 h 13"/>
                      <a:gd name="T14" fmla="*/ 0 w 38"/>
                      <a:gd name="T15" fmla="*/ 20637 h 13"/>
                      <a:gd name="T16" fmla="*/ 0 w 38"/>
                      <a:gd name="T17" fmla="*/ 20637 h 13"/>
                      <a:gd name="T18" fmla="*/ 9525 w 38"/>
                      <a:gd name="T19" fmla="*/ 20637 h 13"/>
                      <a:gd name="T20" fmla="*/ 30163 w 38"/>
                      <a:gd name="T21" fmla="*/ 20637 h 13"/>
                      <a:gd name="T22" fmla="*/ 50800 w 38"/>
                      <a:gd name="T23" fmla="*/ 11112 h 13"/>
                      <a:gd name="T24" fmla="*/ 60325 w 38"/>
                      <a:gd name="T25" fmla="*/ 20637 h 13"/>
                      <a:gd name="T26" fmla="*/ 60325 w 38"/>
                      <a:gd name="T27" fmla="*/ 2063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13"/>
                      <a:gd name="T44" fmla="*/ 38 w 38"/>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13">
                        <a:moveTo>
                          <a:pt x="38" y="13"/>
                        </a:moveTo>
                        <a:lnTo>
                          <a:pt x="38" y="13"/>
                        </a:lnTo>
                        <a:lnTo>
                          <a:pt x="38" y="7"/>
                        </a:lnTo>
                        <a:lnTo>
                          <a:pt x="32" y="0"/>
                        </a:lnTo>
                        <a:lnTo>
                          <a:pt x="19" y="0"/>
                        </a:lnTo>
                        <a:lnTo>
                          <a:pt x="0" y="0"/>
                        </a:lnTo>
                        <a:lnTo>
                          <a:pt x="0" y="7"/>
                        </a:lnTo>
                        <a:lnTo>
                          <a:pt x="0" y="13"/>
                        </a:lnTo>
                        <a:lnTo>
                          <a:pt x="6" y="13"/>
                        </a:lnTo>
                        <a:lnTo>
                          <a:pt x="19" y="13"/>
                        </a:lnTo>
                        <a:lnTo>
                          <a:pt x="32" y="7"/>
                        </a:lnTo>
                        <a:lnTo>
                          <a:pt x="38"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2" name="Freeform 219"/>
                  <p:cNvSpPr>
                    <a:spLocks/>
                  </p:cNvSpPr>
                  <p:nvPr/>
                </p:nvSpPr>
                <p:spPr bwMode="auto">
                  <a:xfrm>
                    <a:off x="4475163" y="4176713"/>
                    <a:ext cx="50800" cy="30162"/>
                  </a:xfrm>
                  <a:custGeom>
                    <a:avLst/>
                    <a:gdLst>
                      <a:gd name="T0" fmla="*/ 50800 w 32"/>
                      <a:gd name="T1" fmla="*/ 30162 h 19"/>
                      <a:gd name="T2" fmla="*/ 50800 w 32"/>
                      <a:gd name="T3" fmla="*/ 30162 h 19"/>
                      <a:gd name="T4" fmla="*/ 50800 w 32"/>
                      <a:gd name="T5" fmla="*/ 9525 h 19"/>
                      <a:gd name="T6" fmla="*/ 41275 w 32"/>
                      <a:gd name="T7" fmla="*/ 0 h 19"/>
                      <a:gd name="T8" fmla="*/ 41275 w 32"/>
                      <a:gd name="T9" fmla="*/ 0 h 19"/>
                      <a:gd name="T10" fmla="*/ 30162 w 32"/>
                      <a:gd name="T11" fmla="*/ 9525 h 19"/>
                      <a:gd name="T12" fmla="*/ 11112 w 32"/>
                      <a:gd name="T13" fmla="*/ 20637 h 19"/>
                      <a:gd name="T14" fmla="*/ 0 w 32"/>
                      <a:gd name="T15" fmla="*/ 20637 h 19"/>
                      <a:gd name="T16" fmla="*/ 0 w 32"/>
                      <a:gd name="T17" fmla="*/ 30162 h 19"/>
                      <a:gd name="T18" fmla="*/ 0 w 32"/>
                      <a:gd name="T19" fmla="*/ 30162 h 19"/>
                      <a:gd name="T20" fmla="*/ 11112 w 32"/>
                      <a:gd name="T21" fmla="*/ 30162 h 19"/>
                      <a:gd name="T22" fmla="*/ 20637 w 32"/>
                      <a:gd name="T23" fmla="*/ 30162 h 19"/>
                      <a:gd name="T24" fmla="*/ 50800 w 32"/>
                      <a:gd name="T25" fmla="*/ 30162 h 19"/>
                      <a:gd name="T26" fmla="*/ 50800 w 32"/>
                      <a:gd name="T27" fmla="*/ 3016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9"/>
                      <a:gd name="T44" fmla="*/ 32 w 3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9">
                        <a:moveTo>
                          <a:pt x="32" y="19"/>
                        </a:moveTo>
                        <a:lnTo>
                          <a:pt x="32" y="19"/>
                        </a:lnTo>
                        <a:lnTo>
                          <a:pt x="32" y="6"/>
                        </a:lnTo>
                        <a:lnTo>
                          <a:pt x="26" y="0"/>
                        </a:lnTo>
                        <a:lnTo>
                          <a:pt x="19" y="6"/>
                        </a:lnTo>
                        <a:lnTo>
                          <a:pt x="7" y="13"/>
                        </a:lnTo>
                        <a:lnTo>
                          <a:pt x="0" y="13"/>
                        </a:lnTo>
                        <a:lnTo>
                          <a:pt x="0" y="19"/>
                        </a:lnTo>
                        <a:lnTo>
                          <a:pt x="7" y="19"/>
                        </a:lnTo>
                        <a:lnTo>
                          <a:pt x="13" y="19"/>
                        </a:lnTo>
                        <a:lnTo>
                          <a:pt x="32"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3" name="Freeform 220"/>
                  <p:cNvSpPr>
                    <a:spLocks/>
                  </p:cNvSpPr>
                  <p:nvPr/>
                </p:nvSpPr>
                <p:spPr bwMode="auto">
                  <a:xfrm>
                    <a:off x="4586288" y="4176713"/>
                    <a:ext cx="30162" cy="30162"/>
                  </a:xfrm>
                  <a:custGeom>
                    <a:avLst/>
                    <a:gdLst>
                      <a:gd name="T0" fmla="*/ 20637 w 19"/>
                      <a:gd name="T1" fmla="*/ 0 h 19"/>
                      <a:gd name="T2" fmla="*/ 20637 w 19"/>
                      <a:gd name="T3" fmla="*/ 0 h 19"/>
                      <a:gd name="T4" fmla="*/ 20637 w 19"/>
                      <a:gd name="T5" fmla="*/ 9525 h 19"/>
                      <a:gd name="T6" fmla="*/ 9525 w 19"/>
                      <a:gd name="T7" fmla="*/ 9525 h 19"/>
                      <a:gd name="T8" fmla="*/ 0 w 19"/>
                      <a:gd name="T9" fmla="*/ 0 h 19"/>
                      <a:gd name="T10" fmla="*/ 0 w 19"/>
                      <a:gd name="T11" fmla="*/ 0 h 19"/>
                      <a:gd name="T12" fmla="*/ 0 w 19"/>
                      <a:gd name="T13" fmla="*/ 30162 h 19"/>
                      <a:gd name="T14" fmla="*/ 0 w 19"/>
                      <a:gd name="T15" fmla="*/ 30162 h 19"/>
                      <a:gd name="T16" fmla="*/ 9525 w 19"/>
                      <a:gd name="T17" fmla="*/ 30162 h 19"/>
                      <a:gd name="T18" fmla="*/ 30162 w 19"/>
                      <a:gd name="T19" fmla="*/ 20637 h 19"/>
                      <a:gd name="T20" fmla="*/ 30162 w 19"/>
                      <a:gd name="T21" fmla="*/ 9525 h 19"/>
                      <a:gd name="T22" fmla="*/ 20637 w 19"/>
                      <a:gd name="T23" fmla="*/ 0 h 19"/>
                      <a:gd name="T24" fmla="*/ 206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3" y="0"/>
                        </a:moveTo>
                        <a:lnTo>
                          <a:pt x="13" y="0"/>
                        </a:lnTo>
                        <a:lnTo>
                          <a:pt x="13" y="6"/>
                        </a:lnTo>
                        <a:lnTo>
                          <a:pt x="6" y="6"/>
                        </a:lnTo>
                        <a:lnTo>
                          <a:pt x="0" y="0"/>
                        </a:lnTo>
                        <a:lnTo>
                          <a:pt x="0" y="19"/>
                        </a:lnTo>
                        <a:lnTo>
                          <a:pt x="6" y="19"/>
                        </a:lnTo>
                        <a:lnTo>
                          <a:pt x="19" y="13"/>
                        </a:lnTo>
                        <a:lnTo>
                          <a:pt x="19" y="6"/>
                        </a:lnTo>
                        <a:lnTo>
                          <a:pt x="13"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4" name="Freeform 226"/>
                  <p:cNvSpPr>
                    <a:spLocks/>
                  </p:cNvSpPr>
                  <p:nvPr/>
                </p:nvSpPr>
                <p:spPr bwMode="auto">
                  <a:xfrm>
                    <a:off x="4465638" y="4348163"/>
                    <a:ext cx="80962" cy="20637"/>
                  </a:xfrm>
                  <a:custGeom>
                    <a:avLst/>
                    <a:gdLst>
                      <a:gd name="T0" fmla="*/ 0 w 51"/>
                      <a:gd name="T1" fmla="*/ 0 h 13"/>
                      <a:gd name="T2" fmla="*/ 0 w 51"/>
                      <a:gd name="T3" fmla="*/ 0 h 13"/>
                      <a:gd name="T4" fmla="*/ 0 w 51"/>
                      <a:gd name="T5" fmla="*/ 9525 h 13"/>
                      <a:gd name="T6" fmla="*/ 9525 w 51"/>
                      <a:gd name="T7" fmla="*/ 20637 h 13"/>
                      <a:gd name="T8" fmla="*/ 30162 w 51"/>
                      <a:gd name="T9" fmla="*/ 20637 h 13"/>
                      <a:gd name="T10" fmla="*/ 50800 w 51"/>
                      <a:gd name="T11" fmla="*/ 20637 h 13"/>
                      <a:gd name="T12" fmla="*/ 80962 w 51"/>
                      <a:gd name="T13" fmla="*/ 20637 h 13"/>
                      <a:gd name="T14" fmla="*/ 80962 w 51"/>
                      <a:gd name="T15" fmla="*/ 20637 h 13"/>
                      <a:gd name="T16" fmla="*/ 80962 w 51"/>
                      <a:gd name="T17" fmla="*/ 9525 h 13"/>
                      <a:gd name="T18" fmla="*/ 69850 w 51"/>
                      <a:gd name="T19" fmla="*/ 0 h 13"/>
                      <a:gd name="T20" fmla="*/ 39687 w 51"/>
                      <a:gd name="T21" fmla="*/ 0 h 13"/>
                      <a:gd name="T22" fmla="*/ 9525 w 51"/>
                      <a:gd name="T23" fmla="*/ 0 h 13"/>
                      <a:gd name="T24" fmla="*/ 0 w 51"/>
                      <a:gd name="T25" fmla="*/ 0 h 13"/>
                      <a:gd name="T26" fmla="*/ 0 w 51"/>
                      <a:gd name="T27" fmla="*/ 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13"/>
                      <a:gd name="T44" fmla="*/ 51 w 5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13">
                        <a:moveTo>
                          <a:pt x="0" y="0"/>
                        </a:moveTo>
                        <a:lnTo>
                          <a:pt x="0" y="0"/>
                        </a:lnTo>
                        <a:lnTo>
                          <a:pt x="0" y="6"/>
                        </a:lnTo>
                        <a:lnTo>
                          <a:pt x="6" y="13"/>
                        </a:lnTo>
                        <a:lnTo>
                          <a:pt x="19" y="13"/>
                        </a:lnTo>
                        <a:lnTo>
                          <a:pt x="32" y="13"/>
                        </a:lnTo>
                        <a:lnTo>
                          <a:pt x="51" y="13"/>
                        </a:lnTo>
                        <a:lnTo>
                          <a:pt x="51" y="6"/>
                        </a:lnTo>
                        <a:lnTo>
                          <a:pt x="44" y="0"/>
                        </a:lnTo>
                        <a:lnTo>
                          <a:pt x="25" y="0"/>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5" name="Freeform 228"/>
                  <p:cNvSpPr>
                    <a:spLocks/>
                  </p:cNvSpPr>
                  <p:nvPr/>
                </p:nvSpPr>
                <p:spPr bwMode="auto">
                  <a:xfrm>
                    <a:off x="4475163" y="4378325"/>
                    <a:ext cx="71437" cy="30163"/>
                  </a:xfrm>
                  <a:custGeom>
                    <a:avLst/>
                    <a:gdLst>
                      <a:gd name="T0" fmla="*/ 0 w 45"/>
                      <a:gd name="T1" fmla="*/ 0 h 19"/>
                      <a:gd name="T2" fmla="*/ 0 w 45"/>
                      <a:gd name="T3" fmla="*/ 0 h 19"/>
                      <a:gd name="T4" fmla="*/ 0 w 45"/>
                      <a:gd name="T5" fmla="*/ 30163 h 19"/>
                      <a:gd name="T6" fmla="*/ 0 w 45"/>
                      <a:gd name="T7" fmla="*/ 30163 h 19"/>
                      <a:gd name="T8" fmla="*/ 41275 w 45"/>
                      <a:gd name="T9" fmla="*/ 20638 h 19"/>
                      <a:gd name="T10" fmla="*/ 71437 w 45"/>
                      <a:gd name="T11" fmla="*/ 20638 h 19"/>
                      <a:gd name="T12" fmla="*/ 71437 w 45"/>
                      <a:gd name="T13" fmla="*/ 20638 h 19"/>
                      <a:gd name="T14" fmla="*/ 60325 w 45"/>
                      <a:gd name="T15" fmla="*/ 0 h 19"/>
                      <a:gd name="T16" fmla="*/ 41275 w 45"/>
                      <a:gd name="T17" fmla="*/ 0 h 19"/>
                      <a:gd name="T18" fmla="*/ 0 w 45"/>
                      <a:gd name="T19" fmla="*/ 0 h 19"/>
                      <a:gd name="T20" fmla="*/ 0 w 45"/>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9"/>
                      <a:gd name="T35" fmla="*/ 45 w 45"/>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9">
                        <a:moveTo>
                          <a:pt x="0" y="0"/>
                        </a:moveTo>
                        <a:lnTo>
                          <a:pt x="0" y="0"/>
                        </a:lnTo>
                        <a:lnTo>
                          <a:pt x="0" y="19"/>
                        </a:lnTo>
                        <a:lnTo>
                          <a:pt x="26" y="13"/>
                        </a:lnTo>
                        <a:lnTo>
                          <a:pt x="45" y="13"/>
                        </a:lnTo>
                        <a:lnTo>
                          <a:pt x="38" y="0"/>
                        </a:lnTo>
                        <a:lnTo>
                          <a:pt x="2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6" name="Freeform 231"/>
                  <p:cNvSpPr>
                    <a:spLocks/>
                  </p:cNvSpPr>
                  <p:nvPr/>
                </p:nvSpPr>
                <p:spPr bwMode="auto">
                  <a:xfrm>
                    <a:off x="4475163" y="4498975"/>
                    <a:ext cx="50800" cy="30163"/>
                  </a:xfrm>
                  <a:custGeom>
                    <a:avLst/>
                    <a:gdLst>
                      <a:gd name="T0" fmla="*/ 50800 w 32"/>
                      <a:gd name="T1" fmla="*/ 30163 h 19"/>
                      <a:gd name="T2" fmla="*/ 50800 w 32"/>
                      <a:gd name="T3" fmla="*/ 30163 h 19"/>
                      <a:gd name="T4" fmla="*/ 50800 w 32"/>
                      <a:gd name="T5" fmla="*/ 11113 h 19"/>
                      <a:gd name="T6" fmla="*/ 41275 w 32"/>
                      <a:gd name="T7" fmla="*/ 0 h 19"/>
                      <a:gd name="T8" fmla="*/ 41275 w 32"/>
                      <a:gd name="T9" fmla="*/ 0 h 19"/>
                      <a:gd name="T10" fmla="*/ 30162 w 32"/>
                      <a:gd name="T11" fmla="*/ 11113 h 19"/>
                      <a:gd name="T12" fmla="*/ 11112 w 32"/>
                      <a:gd name="T13" fmla="*/ 20638 h 19"/>
                      <a:gd name="T14" fmla="*/ 0 w 32"/>
                      <a:gd name="T15" fmla="*/ 20638 h 19"/>
                      <a:gd name="T16" fmla="*/ 0 w 32"/>
                      <a:gd name="T17" fmla="*/ 30163 h 19"/>
                      <a:gd name="T18" fmla="*/ 0 w 32"/>
                      <a:gd name="T19" fmla="*/ 30163 h 19"/>
                      <a:gd name="T20" fmla="*/ 11112 w 32"/>
                      <a:gd name="T21" fmla="*/ 30163 h 19"/>
                      <a:gd name="T22" fmla="*/ 20637 w 32"/>
                      <a:gd name="T23" fmla="*/ 30163 h 19"/>
                      <a:gd name="T24" fmla="*/ 50800 w 32"/>
                      <a:gd name="T25" fmla="*/ 30163 h 19"/>
                      <a:gd name="T26" fmla="*/ 50800 w 32"/>
                      <a:gd name="T27" fmla="*/ 30163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9"/>
                      <a:gd name="T44" fmla="*/ 32 w 3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9">
                        <a:moveTo>
                          <a:pt x="32" y="19"/>
                        </a:moveTo>
                        <a:lnTo>
                          <a:pt x="32" y="19"/>
                        </a:lnTo>
                        <a:lnTo>
                          <a:pt x="32" y="7"/>
                        </a:lnTo>
                        <a:lnTo>
                          <a:pt x="26" y="0"/>
                        </a:lnTo>
                        <a:lnTo>
                          <a:pt x="19" y="7"/>
                        </a:lnTo>
                        <a:lnTo>
                          <a:pt x="7" y="13"/>
                        </a:lnTo>
                        <a:lnTo>
                          <a:pt x="0" y="13"/>
                        </a:lnTo>
                        <a:lnTo>
                          <a:pt x="0" y="19"/>
                        </a:lnTo>
                        <a:lnTo>
                          <a:pt x="7" y="19"/>
                        </a:lnTo>
                        <a:lnTo>
                          <a:pt x="13" y="19"/>
                        </a:lnTo>
                        <a:lnTo>
                          <a:pt x="32"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7" name="Freeform 234"/>
                  <p:cNvSpPr>
                    <a:spLocks/>
                  </p:cNvSpPr>
                  <p:nvPr/>
                </p:nvSpPr>
                <p:spPr bwMode="auto">
                  <a:xfrm>
                    <a:off x="4465638" y="4579938"/>
                    <a:ext cx="80962" cy="20637"/>
                  </a:xfrm>
                  <a:custGeom>
                    <a:avLst/>
                    <a:gdLst>
                      <a:gd name="T0" fmla="*/ 80962 w 51"/>
                      <a:gd name="T1" fmla="*/ 0 h 13"/>
                      <a:gd name="T2" fmla="*/ 80962 w 51"/>
                      <a:gd name="T3" fmla="*/ 0 h 13"/>
                      <a:gd name="T4" fmla="*/ 39687 w 51"/>
                      <a:gd name="T5" fmla="*/ 0 h 13"/>
                      <a:gd name="T6" fmla="*/ 20637 w 51"/>
                      <a:gd name="T7" fmla="*/ 0 h 13"/>
                      <a:gd name="T8" fmla="*/ 0 w 51"/>
                      <a:gd name="T9" fmla="*/ 20637 h 13"/>
                      <a:gd name="T10" fmla="*/ 0 w 51"/>
                      <a:gd name="T11" fmla="*/ 20637 h 13"/>
                      <a:gd name="T12" fmla="*/ 50800 w 51"/>
                      <a:gd name="T13" fmla="*/ 20637 h 13"/>
                      <a:gd name="T14" fmla="*/ 69850 w 51"/>
                      <a:gd name="T15" fmla="*/ 9525 h 13"/>
                      <a:gd name="T16" fmla="*/ 80962 w 51"/>
                      <a:gd name="T17" fmla="*/ 0 h 13"/>
                      <a:gd name="T18" fmla="*/ 80962 w 5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13"/>
                      <a:gd name="T32" fmla="*/ 51 w 5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13">
                        <a:moveTo>
                          <a:pt x="51" y="0"/>
                        </a:moveTo>
                        <a:lnTo>
                          <a:pt x="51" y="0"/>
                        </a:lnTo>
                        <a:lnTo>
                          <a:pt x="25" y="0"/>
                        </a:lnTo>
                        <a:lnTo>
                          <a:pt x="13" y="0"/>
                        </a:lnTo>
                        <a:lnTo>
                          <a:pt x="0" y="13"/>
                        </a:lnTo>
                        <a:lnTo>
                          <a:pt x="32" y="13"/>
                        </a:lnTo>
                        <a:lnTo>
                          <a:pt x="44" y="6"/>
                        </a:lnTo>
                        <a:lnTo>
                          <a:pt x="51"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8" name="Freeform 236"/>
                  <p:cNvSpPr>
                    <a:spLocks/>
                  </p:cNvSpPr>
                  <p:nvPr/>
                </p:nvSpPr>
                <p:spPr bwMode="auto">
                  <a:xfrm>
                    <a:off x="4465638" y="4610100"/>
                    <a:ext cx="60325" cy="20638"/>
                  </a:xfrm>
                  <a:custGeom>
                    <a:avLst/>
                    <a:gdLst>
                      <a:gd name="T0" fmla="*/ 9525 w 38"/>
                      <a:gd name="T1" fmla="*/ 20638 h 13"/>
                      <a:gd name="T2" fmla="*/ 9525 w 38"/>
                      <a:gd name="T3" fmla="*/ 20638 h 13"/>
                      <a:gd name="T4" fmla="*/ 30163 w 38"/>
                      <a:gd name="T5" fmla="*/ 20638 h 13"/>
                      <a:gd name="T6" fmla="*/ 60325 w 38"/>
                      <a:gd name="T7" fmla="*/ 20638 h 13"/>
                      <a:gd name="T8" fmla="*/ 60325 w 38"/>
                      <a:gd name="T9" fmla="*/ 20638 h 13"/>
                      <a:gd name="T10" fmla="*/ 60325 w 38"/>
                      <a:gd name="T11" fmla="*/ 0 h 13"/>
                      <a:gd name="T12" fmla="*/ 60325 w 38"/>
                      <a:gd name="T13" fmla="*/ 0 h 13"/>
                      <a:gd name="T14" fmla="*/ 60325 w 38"/>
                      <a:gd name="T15" fmla="*/ 0 h 13"/>
                      <a:gd name="T16" fmla="*/ 50800 w 38"/>
                      <a:gd name="T17" fmla="*/ 0 h 13"/>
                      <a:gd name="T18" fmla="*/ 50800 w 38"/>
                      <a:gd name="T19" fmla="*/ 0 h 13"/>
                      <a:gd name="T20" fmla="*/ 39687 w 38"/>
                      <a:gd name="T21" fmla="*/ 0 h 13"/>
                      <a:gd name="T22" fmla="*/ 20637 w 38"/>
                      <a:gd name="T23" fmla="*/ 11113 h 13"/>
                      <a:gd name="T24" fmla="*/ 0 w 38"/>
                      <a:gd name="T25" fmla="*/ 11113 h 13"/>
                      <a:gd name="T26" fmla="*/ 0 w 38"/>
                      <a:gd name="T27" fmla="*/ 11113 h 13"/>
                      <a:gd name="T28" fmla="*/ 9525 w 38"/>
                      <a:gd name="T29" fmla="*/ 20638 h 13"/>
                      <a:gd name="T30" fmla="*/ 9525 w 38"/>
                      <a:gd name="T31" fmla="*/ 20638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3"/>
                      <a:gd name="T50" fmla="*/ 38 w 38"/>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3">
                        <a:moveTo>
                          <a:pt x="6" y="13"/>
                        </a:moveTo>
                        <a:lnTo>
                          <a:pt x="6" y="13"/>
                        </a:lnTo>
                        <a:lnTo>
                          <a:pt x="19" y="13"/>
                        </a:lnTo>
                        <a:lnTo>
                          <a:pt x="38" y="13"/>
                        </a:lnTo>
                        <a:lnTo>
                          <a:pt x="38" y="0"/>
                        </a:lnTo>
                        <a:lnTo>
                          <a:pt x="32" y="0"/>
                        </a:lnTo>
                        <a:lnTo>
                          <a:pt x="25" y="0"/>
                        </a:lnTo>
                        <a:lnTo>
                          <a:pt x="13" y="7"/>
                        </a:lnTo>
                        <a:lnTo>
                          <a:pt x="0" y="7"/>
                        </a:lnTo>
                        <a:lnTo>
                          <a:pt x="6"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99" name="Freeform 238"/>
                  <p:cNvSpPr>
                    <a:spLocks/>
                  </p:cNvSpPr>
                  <p:nvPr/>
                </p:nvSpPr>
                <p:spPr bwMode="auto">
                  <a:xfrm>
                    <a:off x="4465638" y="4540250"/>
                    <a:ext cx="60325" cy="30163"/>
                  </a:xfrm>
                  <a:custGeom>
                    <a:avLst/>
                    <a:gdLst>
                      <a:gd name="T0" fmla="*/ 50800 w 38"/>
                      <a:gd name="T1" fmla="*/ 0 h 19"/>
                      <a:gd name="T2" fmla="*/ 50800 w 38"/>
                      <a:gd name="T3" fmla="*/ 0 h 19"/>
                      <a:gd name="T4" fmla="*/ 50800 w 38"/>
                      <a:gd name="T5" fmla="*/ 9525 h 19"/>
                      <a:gd name="T6" fmla="*/ 50800 w 38"/>
                      <a:gd name="T7" fmla="*/ 9525 h 19"/>
                      <a:gd name="T8" fmla="*/ 30163 w 38"/>
                      <a:gd name="T9" fmla="*/ 9525 h 19"/>
                      <a:gd name="T10" fmla="*/ 9525 w 38"/>
                      <a:gd name="T11" fmla="*/ 9525 h 19"/>
                      <a:gd name="T12" fmla="*/ 0 w 38"/>
                      <a:gd name="T13" fmla="*/ 9525 h 19"/>
                      <a:gd name="T14" fmla="*/ 0 w 38"/>
                      <a:gd name="T15" fmla="*/ 30163 h 19"/>
                      <a:gd name="T16" fmla="*/ 0 w 38"/>
                      <a:gd name="T17" fmla="*/ 30163 h 19"/>
                      <a:gd name="T18" fmla="*/ 50800 w 38"/>
                      <a:gd name="T19" fmla="*/ 30163 h 19"/>
                      <a:gd name="T20" fmla="*/ 60325 w 38"/>
                      <a:gd name="T21" fmla="*/ 19050 h 19"/>
                      <a:gd name="T22" fmla="*/ 50800 w 38"/>
                      <a:gd name="T23" fmla="*/ 0 h 19"/>
                      <a:gd name="T24" fmla="*/ 5080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32" y="0"/>
                        </a:moveTo>
                        <a:lnTo>
                          <a:pt x="32" y="0"/>
                        </a:lnTo>
                        <a:lnTo>
                          <a:pt x="32" y="6"/>
                        </a:lnTo>
                        <a:lnTo>
                          <a:pt x="19" y="6"/>
                        </a:lnTo>
                        <a:lnTo>
                          <a:pt x="6" y="6"/>
                        </a:lnTo>
                        <a:lnTo>
                          <a:pt x="0" y="6"/>
                        </a:lnTo>
                        <a:lnTo>
                          <a:pt x="0" y="19"/>
                        </a:lnTo>
                        <a:lnTo>
                          <a:pt x="32" y="19"/>
                        </a:lnTo>
                        <a:lnTo>
                          <a:pt x="38" y="12"/>
                        </a:lnTo>
                        <a:lnTo>
                          <a:pt x="32"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0" name="Freeform 241"/>
                  <p:cNvSpPr>
                    <a:spLocks/>
                  </p:cNvSpPr>
                  <p:nvPr/>
                </p:nvSpPr>
                <p:spPr bwMode="auto">
                  <a:xfrm>
                    <a:off x="4465638" y="4579938"/>
                    <a:ext cx="80962" cy="20637"/>
                  </a:xfrm>
                  <a:custGeom>
                    <a:avLst/>
                    <a:gdLst>
                      <a:gd name="T0" fmla="*/ 80962 w 51"/>
                      <a:gd name="T1" fmla="*/ 0 h 13"/>
                      <a:gd name="T2" fmla="*/ 80962 w 51"/>
                      <a:gd name="T3" fmla="*/ 0 h 13"/>
                      <a:gd name="T4" fmla="*/ 39687 w 51"/>
                      <a:gd name="T5" fmla="*/ 0 h 13"/>
                      <a:gd name="T6" fmla="*/ 20637 w 51"/>
                      <a:gd name="T7" fmla="*/ 0 h 13"/>
                      <a:gd name="T8" fmla="*/ 0 w 51"/>
                      <a:gd name="T9" fmla="*/ 20637 h 13"/>
                      <a:gd name="T10" fmla="*/ 0 w 51"/>
                      <a:gd name="T11" fmla="*/ 20637 h 13"/>
                      <a:gd name="T12" fmla="*/ 50800 w 51"/>
                      <a:gd name="T13" fmla="*/ 20637 h 13"/>
                      <a:gd name="T14" fmla="*/ 69850 w 51"/>
                      <a:gd name="T15" fmla="*/ 9525 h 13"/>
                      <a:gd name="T16" fmla="*/ 80962 w 51"/>
                      <a:gd name="T17" fmla="*/ 0 h 13"/>
                      <a:gd name="T18" fmla="*/ 80962 w 5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13"/>
                      <a:gd name="T32" fmla="*/ 51 w 5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13">
                        <a:moveTo>
                          <a:pt x="51" y="0"/>
                        </a:moveTo>
                        <a:lnTo>
                          <a:pt x="51" y="0"/>
                        </a:lnTo>
                        <a:lnTo>
                          <a:pt x="25" y="0"/>
                        </a:lnTo>
                        <a:lnTo>
                          <a:pt x="13" y="0"/>
                        </a:lnTo>
                        <a:lnTo>
                          <a:pt x="0" y="13"/>
                        </a:lnTo>
                        <a:lnTo>
                          <a:pt x="32" y="13"/>
                        </a:lnTo>
                        <a:lnTo>
                          <a:pt x="44" y="6"/>
                        </a:lnTo>
                        <a:lnTo>
                          <a:pt x="51"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1" name="Freeform 243"/>
                  <p:cNvSpPr>
                    <a:spLocks/>
                  </p:cNvSpPr>
                  <p:nvPr/>
                </p:nvSpPr>
                <p:spPr bwMode="auto">
                  <a:xfrm>
                    <a:off x="4465638" y="4610100"/>
                    <a:ext cx="60325" cy="20638"/>
                  </a:xfrm>
                  <a:custGeom>
                    <a:avLst/>
                    <a:gdLst>
                      <a:gd name="T0" fmla="*/ 9525 w 38"/>
                      <a:gd name="T1" fmla="*/ 20638 h 13"/>
                      <a:gd name="T2" fmla="*/ 9525 w 38"/>
                      <a:gd name="T3" fmla="*/ 20638 h 13"/>
                      <a:gd name="T4" fmla="*/ 30163 w 38"/>
                      <a:gd name="T5" fmla="*/ 20638 h 13"/>
                      <a:gd name="T6" fmla="*/ 60325 w 38"/>
                      <a:gd name="T7" fmla="*/ 20638 h 13"/>
                      <a:gd name="T8" fmla="*/ 60325 w 38"/>
                      <a:gd name="T9" fmla="*/ 20638 h 13"/>
                      <a:gd name="T10" fmla="*/ 60325 w 38"/>
                      <a:gd name="T11" fmla="*/ 0 h 13"/>
                      <a:gd name="T12" fmla="*/ 60325 w 38"/>
                      <a:gd name="T13" fmla="*/ 0 h 13"/>
                      <a:gd name="T14" fmla="*/ 60325 w 38"/>
                      <a:gd name="T15" fmla="*/ 0 h 13"/>
                      <a:gd name="T16" fmla="*/ 50800 w 38"/>
                      <a:gd name="T17" fmla="*/ 0 h 13"/>
                      <a:gd name="T18" fmla="*/ 50800 w 38"/>
                      <a:gd name="T19" fmla="*/ 0 h 13"/>
                      <a:gd name="T20" fmla="*/ 39687 w 38"/>
                      <a:gd name="T21" fmla="*/ 0 h 13"/>
                      <a:gd name="T22" fmla="*/ 20637 w 38"/>
                      <a:gd name="T23" fmla="*/ 11113 h 13"/>
                      <a:gd name="T24" fmla="*/ 0 w 38"/>
                      <a:gd name="T25" fmla="*/ 11113 h 13"/>
                      <a:gd name="T26" fmla="*/ 0 w 38"/>
                      <a:gd name="T27" fmla="*/ 11113 h 13"/>
                      <a:gd name="T28" fmla="*/ 9525 w 38"/>
                      <a:gd name="T29" fmla="*/ 20638 h 13"/>
                      <a:gd name="T30" fmla="*/ 9525 w 38"/>
                      <a:gd name="T31" fmla="*/ 20638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3"/>
                      <a:gd name="T50" fmla="*/ 38 w 38"/>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3">
                        <a:moveTo>
                          <a:pt x="6" y="13"/>
                        </a:moveTo>
                        <a:lnTo>
                          <a:pt x="6" y="13"/>
                        </a:lnTo>
                        <a:lnTo>
                          <a:pt x="19" y="13"/>
                        </a:lnTo>
                        <a:lnTo>
                          <a:pt x="38" y="13"/>
                        </a:lnTo>
                        <a:lnTo>
                          <a:pt x="38" y="0"/>
                        </a:lnTo>
                        <a:lnTo>
                          <a:pt x="32" y="0"/>
                        </a:lnTo>
                        <a:lnTo>
                          <a:pt x="25" y="0"/>
                        </a:lnTo>
                        <a:lnTo>
                          <a:pt x="13" y="7"/>
                        </a:lnTo>
                        <a:lnTo>
                          <a:pt x="0" y="7"/>
                        </a:lnTo>
                        <a:lnTo>
                          <a:pt x="6"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2" name="Freeform 245"/>
                  <p:cNvSpPr>
                    <a:spLocks/>
                  </p:cNvSpPr>
                  <p:nvPr/>
                </p:nvSpPr>
                <p:spPr bwMode="auto">
                  <a:xfrm>
                    <a:off x="4465638" y="4540250"/>
                    <a:ext cx="60325" cy="30163"/>
                  </a:xfrm>
                  <a:custGeom>
                    <a:avLst/>
                    <a:gdLst>
                      <a:gd name="T0" fmla="*/ 50800 w 38"/>
                      <a:gd name="T1" fmla="*/ 0 h 19"/>
                      <a:gd name="T2" fmla="*/ 50800 w 38"/>
                      <a:gd name="T3" fmla="*/ 0 h 19"/>
                      <a:gd name="T4" fmla="*/ 50800 w 38"/>
                      <a:gd name="T5" fmla="*/ 9525 h 19"/>
                      <a:gd name="T6" fmla="*/ 50800 w 38"/>
                      <a:gd name="T7" fmla="*/ 9525 h 19"/>
                      <a:gd name="T8" fmla="*/ 30163 w 38"/>
                      <a:gd name="T9" fmla="*/ 9525 h 19"/>
                      <a:gd name="T10" fmla="*/ 9525 w 38"/>
                      <a:gd name="T11" fmla="*/ 9525 h 19"/>
                      <a:gd name="T12" fmla="*/ 0 w 38"/>
                      <a:gd name="T13" fmla="*/ 9525 h 19"/>
                      <a:gd name="T14" fmla="*/ 0 w 38"/>
                      <a:gd name="T15" fmla="*/ 30163 h 19"/>
                      <a:gd name="T16" fmla="*/ 0 w 38"/>
                      <a:gd name="T17" fmla="*/ 30163 h 19"/>
                      <a:gd name="T18" fmla="*/ 50800 w 38"/>
                      <a:gd name="T19" fmla="*/ 30163 h 19"/>
                      <a:gd name="T20" fmla="*/ 60325 w 38"/>
                      <a:gd name="T21" fmla="*/ 19050 h 19"/>
                      <a:gd name="T22" fmla="*/ 50800 w 38"/>
                      <a:gd name="T23" fmla="*/ 0 h 19"/>
                      <a:gd name="T24" fmla="*/ 5080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32" y="0"/>
                        </a:moveTo>
                        <a:lnTo>
                          <a:pt x="32" y="0"/>
                        </a:lnTo>
                        <a:lnTo>
                          <a:pt x="32" y="6"/>
                        </a:lnTo>
                        <a:lnTo>
                          <a:pt x="19" y="6"/>
                        </a:lnTo>
                        <a:lnTo>
                          <a:pt x="6" y="6"/>
                        </a:lnTo>
                        <a:lnTo>
                          <a:pt x="0" y="6"/>
                        </a:lnTo>
                        <a:lnTo>
                          <a:pt x="0" y="19"/>
                        </a:lnTo>
                        <a:lnTo>
                          <a:pt x="32" y="19"/>
                        </a:lnTo>
                        <a:lnTo>
                          <a:pt x="38" y="12"/>
                        </a:lnTo>
                        <a:lnTo>
                          <a:pt x="32"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3" name="Freeform 281"/>
                  <p:cNvSpPr>
                    <a:spLocks/>
                  </p:cNvSpPr>
                  <p:nvPr/>
                </p:nvSpPr>
                <p:spPr bwMode="auto">
                  <a:xfrm>
                    <a:off x="3629025" y="34512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4" name="Freeform 282"/>
                  <p:cNvSpPr>
                    <a:spLocks/>
                  </p:cNvSpPr>
                  <p:nvPr/>
                </p:nvSpPr>
                <p:spPr bwMode="auto">
                  <a:xfrm>
                    <a:off x="3629025" y="3511550"/>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w 1588"/>
                      <a:gd name="T19" fmla="*/ 0 h 15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8"/>
                      <a:gd name="T31" fmla="*/ 0 h 1588"/>
                      <a:gd name="T32" fmla="*/ 1588 w 1588"/>
                      <a:gd name="T33" fmla="*/ 1588 h 15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5" name="Freeform 283"/>
                  <p:cNvSpPr>
                    <a:spLocks/>
                  </p:cNvSpPr>
                  <p:nvPr/>
                </p:nvSpPr>
                <p:spPr bwMode="auto">
                  <a:xfrm>
                    <a:off x="3629025" y="351155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6" name="Rectangle 284"/>
                  <p:cNvSpPr>
                    <a:spLocks noChangeArrowheads="1"/>
                  </p:cNvSpPr>
                  <p:nvPr/>
                </p:nvSpPr>
                <p:spPr bwMode="auto">
                  <a:xfrm>
                    <a:off x="3629025" y="352107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07" name="Freeform 285"/>
                  <p:cNvSpPr>
                    <a:spLocks/>
                  </p:cNvSpPr>
                  <p:nvPr/>
                </p:nvSpPr>
                <p:spPr bwMode="auto">
                  <a:xfrm>
                    <a:off x="3608388" y="353218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8" name="Freeform 286"/>
                  <p:cNvSpPr>
                    <a:spLocks/>
                  </p:cNvSpPr>
                  <p:nvPr/>
                </p:nvSpPr>
                <p:spPr bwMode="auto">
                  <a:xfrm>
                    <a:off x="3629025" y="3532188"/>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09" name="Freeform 287"/>
                  <p:cNvSpPr>
                    <a:spLocks/>
                  </p:cNvSpPr>
                  <p:nvPr/>
                </p:nvSpPr>
                <p:spPr bwMode="auto">
                  <a:xfrm>
                    <a:off x="3648075" y="3551238"/>
                    <a:ext cx="1588"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8"/>
                      <a:gd name="T28" fmla="*/ 0 h 1588"/>
                      <a:gd name="T29" fmla="*/ 1588 w 1588"/>
                      <a:gd name="T30" fmla="*/ 1588 h 15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10" name="Rectangle 290"/>
                  <p:cNvSpPr>
                    <a:spLocks noChangeArrowheads="1"/>
                  </p:cNvSpPr>
                  <p:nvPr/>
                </p:nvSpPr>
                <p:spPr bwMode="auto">
                  <a:xfrm>
                    <a:off x="3648075" y="38338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11" name="Freeform 291"/>
                  <p:cNvSpPr>
                    <a:spLocks/>
                  </p:cNvSpPr>
                  <p:nvPr/>
                </p:nvSpPr>
                <p:spPr bwMode="auto">
                  <a:xfrm>
                    <a:off x="3659188" y="3833813"/>
                    <a:ext cx="1587" cy="11112"/>
                  </a:xfrm>
                  <a:custGeom>
                    <a:avLst/>
                    <a:gdLst>
                      <a:gd name="T0" fmla="*/ 0 w 1588"/>
                      <a:gd name="T1" fmla="*/ 11112 h 7"/>
                      <a:gd name="T2" fmla="*/ 0 w 1588"/>
                      <a:gd name="T3" fmla="*/ 11112 h 7"/>
                      <a:gd name="T4" fmla="*/ 0 w 1588"/>
                      <a:gd name="T5" fmla="*/ 0 h 7"/>
                      <a:gd name="T6" fmla="*/ 0 w 1588"/>
                      <a:gd name="T7" fmla="*/ 11112 h 7"/>
                      <a:gd name="T8" fmla="*/ 0 w 1588"/>
                      <a:gd name="T9" fmla="*/ 11112 h 7"/>
                      <a:gd name="T10" fmla="*/ 0 60000 65536"/>
                      <a:gd name="T11" fmla="*/ 0 60000 65536"/>
                      <a:gd name="T12" fmla="*/ 0 60000 65536"/>
                      <a:gd name="T13" fmla="*/ 0 60000 65536"/>
                      <a:gd name="T14" fmla="*/ 0 60000 65536"/>
                      <a:gd name="T15" fmla="*/ 0 w 1588"/>
                      <a:gd name="T16" fmla="*/ 0 h 7"/>
                      <a:gd name="T17" fmla="*/ 1588 w 1588"/>
                      <a:gd name="T18" fmla="*/ 7 h 7"/>
                    </a:gdLst>
                    <a:ahLst/>
                    <a:cxnLst>
                      <a:cxn ang="T10">
                        <a:pos x="T0" y="T1"/>
                      </a:cxn>
                      <a:cxn ang="T11">
                        <a:pos x="T2" y="T3"/>
                      </a:cxn>
                      <a:cxn ang="T12">
                        <a:pos x="T4" y="T5"/>
                      </a:cxn>
                      <a:cxn ang="T13">
                        <a:pos x="T6" y="T7"/>
                      </a:cxn>
                      <a:cxn ang="T14">
                        <a:pos x="T8" y="T9"/>
                      </a:cxn>
                    </a:cxnLst>
                    <a:rect l="T15" t="T16" r="T17" b="T18"/>
                    <a:pathLst>
                      <a:path w="1588" h="7">
                        <a:moveTo>
                          <a:pt x="0" y="7"/>
                        </a:moveTo>
                        <a:lnTo>
                          <a:pt x="0" y="7"/>
                        </a:lnTo>
                        <a:lnTo>
                          <a:pt x="0" y="0"/>
                        </a:lnTo>
                        <a:lnTo>
                          <a:pt x="0"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12" name="Rectangle 292"/>
                  <p:cNvSpPr>
                    <a:spLocks noChangeArrowheads="1"/>
                  </p:cNvSpPr>
                  <p:nvPr/>
                </p:nvSpPr>
                <p:spPr bwMode="auto">
                  <a:xfrm>
                    <a:off x="3538538" y="384492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13" name="Rectangle 293"/>
                  <p:cNvSpPr>
                    <a:spLocks noChangeArrowheads="1"/>
                  </p:cNvSpPr>
                  <p:nvPr/>
                </p:nvSpPr>
                <p:spPr bwMode="auto">
                  <a:xfrm>
                    <a:off x="3659188" y="384492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14" name="Freeform 294"/>
                  <p:cNvSpPr>
                    <a:spLocks/>
                  </p:cNvSpPr>
                  <p:nvPr/>
                </p:nvSpPr>
                <p:spPr bwMode="auto">
                  <a:xfrm>
                    <a:off x="3648075" y="38449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15" name="Freeform 295"/>
                  <p:cNvSpPr>
                    <a:spLocks/>
                  </p:cNvSpPr>
                  <p:nvPr/>
                </p:nvSpPr>
                <p:spPr bwMode="auto">
                  <a:xfrm>
                    <a:off x="3648075" y="38449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16" name="Rectangle 296"/>
                  <p:cNvSpPr>
                    <a:spLocks noChangeArrowheads="1"/>
                  </p:cNvSpPr>
                  <p:nvPr/>
                </p:nvSpPr>
                <p:spPr bwMode="auto">
                  <a:xfrm>
                    <a:off x="3659188"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17" name="Freeform 297"/>
                  <p:cNvSpPr>
                    <a:spLocks/>
                  </p:cNvSpPr>
                  <p:nvPr/>
                </p:nvSpPr>
                <p:spPr bwMode="auto">
                  <a:xfrm>
                    <a:off x="3638550" y="39147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18" name="Rectangle 298"/>
                  <p:cNvSpPr>
                    <a:spLocks noChangeArrowheads="1"/>
                  </p:cNvSpPr>
                  <p:nvPr/>
                </p:nvSpPr>
                <p:spPr bwMode="auto">
                  <a:xfrm>
                    <a:off x="3668713"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19" name="Freeform 299"/>
                  <p:cNvSpPr>
                    <a:spLocks/>
                  </p:cNvSpPr>
                  <p:nvPr/>
                </p:nvSpPr>
                <p:spPr bwMode="auto">
                  <a:xfrm>
                    <a:off x="3679825" y="391477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20" name="Rectangle 300"/>
                  <p:cNvSpPr>
                    <a:spLocks noChangeArrowheads="1"/>
                  </p:cNvSpPr>
                  <p:nvPr/>
                </p:nvSpPr>
                <p:spPr bwMode="auto">
                  <a:xfrm>
                    <a:off x="3709988" y="3914775"/>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21" name="Freeform 301"/>
                  <p:cNvSpPr>
                    <a:spLocks/>
                  </p:cNvSpPr>
                  <p:nvPr/>
                </p:nvSpPr>
                <p:spPr bwMode="auto">
                  <a:xfrm>
                    <a:off x="3587750" y="3914775"/>
                    <a:ext cx="1588" cy="30163"/>
                  </a:xfrm>
                  <a:custGeom>
                    <a:avLst/>
                    <a:gdLst>
                      <a:gd name="T0" fmla="*/ 0 w 1588"/>
                      <a:gd name="T1" fmla="*/ 30163 h 19"/>
                      <a:gd name="T2" fmla="*/ 0 w 1588"/>
                      <a:gd name="T3" fmla="*/ 30163 h 19"/>
                      <a:gd name="T4" fmla="*/ 0 w 1588"/>
                      <a:gd name="T5" fmla="*/ 0 h 19"/>
                      <a:gd name="T6" fmla="*/ 0 w 1588"/>
                      <a:gd name="T7" fmla="*/ 0 h 19"/>
                      <a:gd name="T8" fmla="*/ 0 w 1588"/>
                      <a:gd name="T9" fmla="*/ 30163 h 19"/>
                      <a:gd name="T10" fmla="*/ 0 w 1588"/>
                      <a:gd name="T11" fmla="*/ 30163 h 19"/>
                      <a:gd name="T12" fmla="*/ 0 60000 65536"/>
                      <a:gd name="T13" fmla="*/ 0 60000 65536"/>
                      <a:gd name="T14" fmla="*/ 0 60000 65536"/>
                      <a:gd name="T15" fmla="*/ 0 60000 65536"/>
                      <a:gd name="T16" fmla="*/ 0 60000 65536"/>
                      <a:gd name="T17" fmla="*/ 0 60000 65536"/>
                      <a:gd name="T18" fmla="*/ 0 w 1588"/>
                      <a:gd name="T19" fmla="*/ 0 h 19"/>
                      <a:gd name="T20" fmla="*/ 1588 w 1588"/>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588" h="19">
                        <a:moveTo>
                          <a:pt x="0" y="19"/>
                        </a:moveTo>
                        <a:lnTo>
                          <a:pt x="0" y="19"/>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22" name="Freeform 302"/>
                  <p:cNvSpPr>
                    <a:spLocks/>
                  </p:cNvSpPr>
                  <p:nvPr/>
                </p:nvSpPr>
                <p:spPr bwMode="auto">
                  <a:xfrm>
                    <a:off x="3698875" y="391477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9525 h 6"/>
                      <a:gd name="T12" fmla="*/ 0 w 1588"/>
                      <a:gd name="T13" fmla="*/ 0 h 6"/>
                      <a:gd name="T14" fmla="*/ 0 w 1588"/>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6"/>
                      <a:gd name="T26" fmla="*/ 1588 w 158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23" name="Freeform 303"/>
                  <p:cNvSpPr>
                    <a:spLocks/>
                  </p:cNvSpPr>
                  <p:nvPr/>
                </p:nvSpPr>
                <p:spPr bwMode="auto">
                  <a:xfrm>
                    <a:off x="3587750" y="3924300"/>
                    <a:ext cx="1588"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11113 h 13"/>
                      <a:gd name="T10" fmla="*/ 0 w 1588"/>
                      <a:gd name="T11" fmla="*/ 20638 h 13"/>
                      <a:gd name="T12" fmla="*/ 0 w 1588"/>
                      <a:gd name="T13" fmla="*/ 20638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7"/>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24" name="Rectangle 304"/>
                  <p:cNvSpPr>
                    <a:spLocks noChangeArrowheads="1"/>
                  </p:cNvSpPr>
                  <p:nvPr/>
                </p:nvSpPr>
                <p:spPr bwMode="auto">
                  <a:xfrm>
                    <a:off x="3659188" y="3924300"/>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25" name="Freeform 305"/>
                  <p:cNvSpPr>
                    <a:spLocks/>
                  </p:cNvSpPr>
                  <p:nvPr/>
                </p:nvSpPr>
                <p:spPr bwMode="auto">
                  <a:xfrm>
                    <a:off x="3578225" y="3924300"/>
                    <a:ext cx="1588" cy="30163"/>
                  </a:xfrm>
                  <a:custGeom>
                    <a:avLst/>
                    <a:gdLst>
                      <a:gd name="T0" fmla="*/ 0 w 1588"/>
                      <a:gd name="T1" fmla="*/ 30163 h 19"/>
                      <a:gd name="T2" fmla="*/ 0 w 1588"/>
                      <a:gd name="T3" fmla="*/ 30163 h 19"/>
                      <a:gd name="T4" fmla="*/ 0 w 1588"/>
                      <a:gd name="T5" fmla="*/ 0 h 19"/>
                      <a:gd name="T6" fmla="*/ 0 w 1588"/>
                      <a:gd name="T7" fmla="*/ 0 h 19"/>
                      <a:gd name="T8" fmla="*/ 0 w 1588"/>
                      <a:gd name="T9" fmla="*/ 20638 h 19"/>
                      <a:gd name="T10" fmla="*/ 0 w 1588"/>
                      <a:gd name="T11" fmla="*/ 30163 h 19"/>
                      <a:gd name="T12" fmla="*/ 0 w 1588"/>
                      <a:gd name="T13" fmla="*/ 30163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0"/>
                        </a:lnTo>
                        <a:lnTo>
                          <a:pt x="0" y="13"/>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26" name="Freeform 306"/>
                  <p:cNvSpPr>
                    <a:spLocks/>
                  </p:cNvSpPr>
                  <p:nvPr/>
                </p:nvSpPr>
                <p:spPr bwMode="auto">
                  <a:xfrm>
                    <a:off x="3568700" y="3924300"/>
                    <a:ext cx="9525" cy="30163"/>
                  </a:xfrm>
                  <a:custGeom>
                    <a:avLst/>
                    <a:gdLst>
                      <a:gd name="T0" fmla="*/ 0 w 6"/>
                      <a:gd name="T1" fmla="*/ 0 h 19"/>
                      <a:gd name="T2" fmla="*/ 0 w 6"/>
                      <a:gd name="T3" fmla="*/ 0 h 19"/>
                      <a:gd name="T4" fmla="*/ 0 w 6"/>
                      <a:gd name="T5" fmla="*/ 20638 h 19"/>
                      <a:gd name="T6" fmla="*/ 9525 w 6"/>
                      <a:gd name="T7" fmla="*/ 30163 h 19"/>
                      <a:gd name="T8" fmla="*/ 9525 w 6"/>
                      <a:gd name="T9" fmla="*/ 30163 h 19"/>
                      <a:gd name="T10" fmla="*/ 0 w 6"/>
                      <a:gd name="T11" fmla="*/ 0 h 19"/>
                      <a:gd name="T12" fmla="*/ 0 w 6"/>
                      <a:gd name="T13" fmla="*/ 0 h 19"/>
                      <a:gd name="T14" fmla="*/ 0 60000 65536"/>
                      <a:gd name="T15" fmla="*/ 0 60000 65536"/>
                      <a:gd name="T16" fmla="*/ 0 60000 65536"/>
                      <a:gd name="T17" fmla="*/ 0 60000 65536"/>
                      <a:gd name="T18" fmla="*/ 0 60000 65536"/>
                      <a:gd name="T19" fmla="*/ 0 60000 65536"/>
                      <a:gd name="T20" fmla="*/ 0 60000 65536"/>
                      <a:gd name="T21" fmla="*/ 0 w 6"/>
                      <a:gd name="T22" fmla="*/ 0 h 19"/>
                      <a:gd name="T23" fmla="*/ 6 w 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9">
                        <a:moveTo>
                          <a:pt x="0" y="0"/>
                        </a:moveTo>
                        <a:lnTo>
                          <a:pt x="0" y="0"/>
                        </a:lnTo>
                        <a:lnTo>
                          <a:pt x="0" y="13"/>
                        </a:lnTo>
                        <a:lnTo>
                          <a:pt x="6" y="19"/>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27" name="Rectangle 307"/>
                  <p:cNvSpPr>
                    <a:spLocks noChangeArrowheads="1"/>
                  </p:cNvSpPr>
                  <p:nvPr/>
                </p:nvSpPr>
                <p:spPr bwMode="auto">
                  <a:xfrm>
                    <a:off x="3648075" y="39354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28" name="Rectangle 308"/>
                  <p:cNvSpPr>
                    <a:spLocks noChangeArrowheads="1"/>
                  </p:cNvSpPr>
                  <p:nvPr/>
                </p:nvSpPr>
                <p:spPr bwMode="auto">
                  <a:xfrm>
                    <a:off x="3648075" y="393541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29" name="Freeform 309"/>
                  <p:cNvSpPr>
                    <a:spLocks/>
                  </p:cNvSpPr>
                  <p:nvPr/>
                </p:nvSpPr>
                <p:spPr bwMode="auto">
                  <a:xfrm>
                    <a:off x="3557588" y="3944938"/>
                    <a:ext cx="1587" cy="9525"/>
                  </a:xfrm>
                  <a:custGeom>
                    <a:avLst/>
                    <a:gdLst>
                      <a:gd name="T0" fmla="*/ 0 w 1588"/>
                      <a:gd name="T1" fmla="*/ 0 h 6"/>
                      <a:gd name="T2" fmla="*/ 0 w 1588"/>
                      <a:gd name="T3" fmla="*/ 0 h 6"/>
                      <a:gd name="T4" fmla="*/ 0 w 1588"/>
                      <a:gd name="T5" fmla="*/ 0 h 6"/>
                      <a:gd name="T6" fmla="*/ 0 w 1588"/>
                      <a:gd name="T7" fmla="*/ 0 h 6"/>
                      <a:gd name="T8" fmla="*/ 0 w 1588"/>
                      <a:gd name="T9" fmla="*/ 9525 h 6"/>
                      <a:gd name="T10" fmla="*/ 0 w 1588"/>
                      <a:gd name="T11" fmla="*/ 9525 h 6"/>
                      <a:gd name="T12" fmla="*/ 0 w 1588"/>
                      <a:gd name="T13" fmla="*/ 0 h 6"/>
                      <a:gd name="T14" fmla="*/ 0 w 1588"/>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6"/>
                      <a:gd name="T26" fmla="*/ 1588 w 158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0" name="Freeform 310"/>
                  <p:cNvSpPr>
                    <a:spLocks/>
                  </p:cNvSpPr>
                  <p:nvPr/>
                </p:nvSpPr>
                <p:spPr bwMode="auto">
                  <a:xfrm>
                    <a:off x="3557588" y="3954463"/>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1" name="Freeform 311"/>
                  <p:cNvSpPr>
                    <a:spLocks/>
                  </p:cNvSpPr>
                  <p:nvPr/>
                </p:nvSpPr>
                <p:spPr bwMode="auto">
                  <a:xfrm>
                    <a:off x="3557588" y="3954463"/>
                    <a:ext cx="11112" cy="11112"/>
                  </a:xfrm>
                  <a:custGeom>
                    <a:avLst/>
                    <a:gdLst>
                      <a:gd name="T0" fmla="*/ 11112 w 7"/>
                      <a:gd name="T1" fmla="*/ 0 h 7"/>
                      <a:gd name="T2" fmla="*/ 11112 w 7"/>
                      <a:gd name="T3" fmla="*/ 0 h 7"/>
                      <a:gd name="T4" fmla="*/ 0 w 7"/>
                      <a:gd name="T5" fmla="*/ 0 h 7"/>
                      <a:gd name="T6" fmla="*/ 0 w 7"/>
                      <a:gd name="T7" fmla="*/ 11112 h 7"/>
                      <a:gd name="T8" fmla="*/ 0 w 7"/>
                      <a:gd name="T9" fmla="*/ 11112 h 7"/>
                      <a:gd name="T10" fmla="*/ 11112 w 7"/>
                      <a:gd name="T11" fmla="*/ 11112 h 7"/>
                      <a:gd name="T12" fmla="*/ 11112 w 7"/>
                      <a:gd name="T13" fmla="*/ 0 h 7"/>
                      <a:gd name="T14" fmla="*/ 11112 w 7"/>
                      <a:gd name="T15" fmla="*/ 0 h 7"/>
                      <a:gd name="T16" fmla="*/ 11112 w 7"/>
                      <a:gd name="T17" fmla="*/ 0 h 7"/>
                      <a:gd name="T18" fmla="*/ 11112 w 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7" y="0"/>
                        </a:moveTo>
                        <a:lnTo>
                          <a:pt x="7" y="0"/>
                        </a:lnTo>
                        <a:lnTo>
                          <a:pt x="0" y="0"/>
                        </a:lnTo>
                        <a:lnTo>
                          <a:pt x="0" y="7"/>
                        </a:lnTo>
                        <a:lnTo>
                          <a:pt x="7" y="7"/>
                        </a:lnTo>
                        <a:lnTo>
                          <a:pt x="7"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2" name="Freeform 312"/>
                  <p:cNvSpPr>
                    <a:spLocks/>
                  </p:cNvSpPr>
                  <p:nvPr/>
                </p:nvSpPr>
                <p:spPr bwMode="auto">
                  <a:xfrm>
                    <a:off x="3587750" y="3954463"/>
                    <a:ext cx="1588" cy="20637"/>
                  </a:xfrm>
                  <a:custGeom>
                    <a:avLst/>
                    <a:gdLst>
                      <a:gd name="T0" fmla="*/ 0 w 1588"/>
                      <a:gd name="T1" fmla="*/ 20637 h 13"/>
                      <a:gd name="T2" fmla="*/ 0 w 1588"/>
                      <a:gd name="T3" fmla="*/ 20637 h 13"/>
                      <a:gd name="T4" fmla="*/ 0 w 1588"/>
                      <a:gd name="T5" fmla="*/ 11112 h 13"/>
                      <a:gd name="T6" fmla="*/ 0 w 1588"/>
                      <a:gd name="T7" fmla="*/ 0 h 13"/>
                      <a:gd name="T8" fmla="*/ 0 w 1588"/>
                      <a:gd name="T9" fmla="*/ 0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7"/>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3" name="Freeform 313"/>
                  <p:cNvSpPr>
                    <a:spLocks/>
                  </p:cNvSpPr>
                  <p:nvPr/>
                </p:nvSpPr>
                <p:spPr bwMode="auto">
                  <a:xfrm>
                    <a:off x="3587750" y="3954463"/>
                    <a:ext cx="1588" cy="30162"/>
                  </a:xfrm>
                  <a:custGeom>
                    <a:avLst/>
                    <a:gdLst>
                      <a:gd name="T0" fmla="*/ 0 w 1588"/>
                      <a:gd name="T1" fmla="*/ 30162 h 19"/>
                      <a:gd name="T2" fmla="*/ 0 w 1588"/>
                      <a:gd name="T3" fmla="*/ 30162 h 19"/>
                      <a:gd name="T4" fmla="*/ 0 w 1588"/>
                      <a:gd name="T5" fmla="*/ 11112 h 19"/>
                      <a:gd name="T6" fmla="*/ 0 w 1588"/>
                      <a:gd name="T7" fmla="*/ 0 h 19"/>
                      <a:gd name="T8" fmla="*/ 0 w 1588"/>
                      <a:gd name="T9" fmla="*/ 0 h 19"/>
                      <a:gd name="T10" fmla="*/ 0 w 1588"/>
                      <a:gd name="T11" fmla="*/ 30162 h 19"/>
                      <a:gd name="T12" fmla="*/ 0 w 1588"/>
                      <a:gd name="T13" fmla="*/ 30162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7"/>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4" name="Freeform 314"/>
                  <p:cNvSpPr>
                    <a:spLocks/>
                  </p:cNvSpPr>
                  <p:nvPr/>
                </p:nvSpPr>
                <p:spPr bwMode="auto">
                  <a:xfrm>
                    <a:off x="3578225" y="3965575"/>
                    <a:ext cx="1588" cy="19050"/>
                  </a:xfrm>
                  <a:custGeom>
                    <a:avLst/>
                    <a:gdLst>
                      <a:gd name="T0" fmla="*/ 0 w 1588"/>
                      <a:gd name="T1" fmla="*/ 0 h 12"/>
                      <a:gd name="T2" fmla="*/ 0 w 1588"/>
                      <a:gd name="T3" fmla="*/ 0 h 12"/>
                      <a:gd name="T4" fmla="*/ 0 w 1588"/>
                      <a:gd name="T5" fmla="*/ 9525 h 12"/>
                      <a:gd name="T6" fmla="*/ 0 w 1588"/>
                      <a:gd name="T7" fmla="*/ 19050 h 12"/>
                      <a:gd name="T8" fmla="*/ 0 w 1588"/>
                      <a:gd name="T9" fmla="*/ 19050 h 12"/>
                      <a:gd name="T10" fmla="*/ 0 w 1588"/>
                      <a:gd name="T11" fmla="*/ 9525 h 12"/>
                      <a:gd name="T12" fmla="*/ 0 w 1588"/>
                      <a:gd name="T13" fmla="*/ 0 h 12"/>
                      <a:gd name="T14" fmla="*/ 0 w 1588"/>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12"/>
                      <a:gd name="T26" fmla="*/ 1588 w 158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12">
                        <a:moveTo>
                          <a:pt x="0" y="0"/>
                        </a:moveTo>
                        <a:lnTo>
                          <a:pt x="0" y="0"/>
                        </a:lnTo>
                        <a:lnTo>
                          <a:pt x="0" y="6"/>
                        </a:lnTo>
                        <a:lnTo>
                          <a:pt x="0" y="12"/>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5" name="Freeform 315"/>
                  <p:cNvSpPr>
                    <a:spLocks/>
                  </p:cNvSpPr>
                  <p:nvPr/>
                </p:nvSpPr>
                <p:spPr bwMode="auto">
                  <a:xfrm>
                    <a:off x="3568700" y="3965575"/>
                    <a:ext cx="9525" cy="19050"/>
                  </a:xfrm>
                  <a:custGeom>
                    <a:avLst/>
                    <a:gdLst>
                      <a:gd name="T0" fmla="*/ 9525 w 6"/>
                      <a:gd name="T1" fmla="*/ 19050 h 12"/>
                      <a:gd name="T2" fmla="*/ 9525 w 6"/>
                      <a:gd name="T3" fmla="*/ 19050 h 12"/>
                      <a:gd name="T4" fmla="*/ 0 w 6"/>
                      <a:gd name="T5" fmla="*/ 0 h 12"/>
                      <a:gd name="T6" fmla="*/ 0 w 6"/>
                      <a:gd name="T7" fmla="*/ 0 h 12"/>
                      <a:gd name="T8" fmla="*/ 9525 w 6"/>
                      <a:gd name="T9" fmla="*/ 19050 h 12"/>
                      <a:gd name="T10" fmla="*/ 9525 w 6"/>
                      <a:gd name="T11" fmla="*/ 1905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6" y="12"/>
                        </a:moveTo>
                        <a:lnTo>
                          <a:pt x="6" y="12"/>
                        </a:lnTo>
                        <a:lnTo>
                          <a:pt x="0" y="0"/>
                        </a:lnTo>
                        <a:lnTo>
                          <a:pt x="6" y="12"/>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6" name="Freeform 316"/>
                  <p:cNvSpPr>
                    <a:spLocks/>
                  </p:cNvSpPr>
                  <p:nvPr/>
                </p:nvSpPr>
                <p:spPr bwMode="auto">
                  <a:xfrm>
                    <a:off x="3648075" y="39655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7" name="Freeform 317"/>
                  <p:cNvSpPr>
                    <a:spLocks/>
                  </p:cNvSpPr>
                  <p:nvPr/>
                </p:nvSpPr>
                <p:spPr bwMode="auto">
                  <a:xfrm>
                    <a:off x="3568700" y="3965575"/>
                    <a:ext cx="1588" cy="30163"/>
                  </a:xfrm>
                  <a:custGeom>
                    <a:avLst/>
                    <a:gdLst>
                      <a:gd name="T0" fmla="*/ 0 w 1588"/>
                      <a:gd name="T1" fmla="*/ 30163 h 19"/>
                      <a:gd name="T2" fmla="*/ 0 w 1588"/>
                      <a:gd name="T3" fmla="*/ 30163 h 19"/>
                      <a:gd name="T4" fmla="*/ 0 w 1588"/>
                      <a:gd name="T5" fmla="*/ 19050 h 19"/>
                      <a:gd name="T6" fmla="*/ 0 w 1588"/>
                      <a:gd name="T7" fmla="*/ 0 h 19"/>
                      <a:gd name="T8" fmla="*/ 0 w 1588"/>
                      <a:gd name="T9" fmla="*/ 0 h 19"/>
                      <a:gd name="T10" fmla="*/ 0 w 1588"/>
                      <a:gd name="T11" fmla="*/ 30163 h 19"/>
                      <a:gd name="T12" fmla="*/ 0 w 1588"/>
                      <a:gd name="T13" fmla="*/ 30163 h 19"/>
                      <a:gd name="T14" fmla="*/ 0 60000 65536"/>
                      <a:gd name="T15" fmla="*/ 0 60000 65536"/>
                      <a:gd name="T16" fmla="*/ 0 60000 65536"/>
                      <a:gd name="T17" fmla="*/ 0 60000 65536"/>
                      <a:gd name="T18" fmla="*/ 0 60000 65536"/>
                      <a:gd name="T19" fmla="*/ 0 60000 65536"/>
                      <a:gd name="T20" fmla="*/ 0 60000 65536"/>
                      <a:gd name="T21" fmla="*/ 0 w 1588"/>
                      <a:gd name="T22" fmla="*/ 0 h 19"/>
                      <a:gd name="T23" fmla="*/ 1588 w 158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9">
                        <a:moveTo>
                          <a:pt x="0" y="19"/>
                        </a:moveTo>
                        <a:lnTo>
                          <a:pt x="0" y="19"/>
                        </a:lnTo>
                        <a:lnTo>
                          <a:pt x="0" y="12"/>
                        </a:lnTo>
                        <a:lnTo>
                          <a:pt x="0" y="0"/>
                        </a:lnTo>
                        <a:lnTo>
                          <a:pt x="0" y="1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8" name="Freeform 318"/>
                  <p:cNvSpPr>
                    <a:spLocks/>
                  </p:cNvSpPr>
                  <p:nvPr/>
                </p:nvSpPr>
                <p:spPr bwMode="auto">
                  <a:xfrm>
                    <a:off x="3557588" y="3975100"/>
                    <a:ext cx="1587"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9525 h 13"/>
                      <a:gd name="T10" fmla="*/ 0 w 1588"/>
                      <a:gd name="T11" fmla="*/ 20638 h 13"/>
                      <a:gd name="T12" fmla="*/ 0 w 1588"/>
                      <a:gd name="T13" fmla="*/ 20638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39" name="Freeform 319"/>
                  <p:cNvSpPr>
                    <a:spLocks/>
                  </p:cNvSpPr>
                  <p:nvPr/>
                </p:nvSpPr>
                <p:spPr bwMode="auto">
                  <a:xfrm>
                    <a:off x="3659188" y="3984625"/>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40" name="Freeform 320"/>
                  <p:cNvSpPr>
                    <a:spLocks/>
                  </p:cNvSpPr>
                  <p:nvPr/>
                </p:nvSpPr>
                <p:spPr bwMode="auto">
                  <a:xfrm>
                    <a:off x="3729038" y="3984625"/>
                    <a:ext cx="1587"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20638 h 13"/>
                      <a:gd name="T10" fmla="*/ 0 w 1588"/>
                      <a:gd name="T11" fmla="*/ 20638 h 13"/>
                      <a:gd name="T12" fmla="*/ 0 60000 65536"/>
                      <a:gd name="T13" fmla="*/ 0 60000 65536"/>
                      <a:gd name="T14" fmla="*/ 0 60000 65536"/>
                      <a:gd name="T15" fmla="*/ 0 60000 65536"/>
                      <a:gd name="T16" fmla="*/ 0 60000 65536"/>
                      <a:gd name="T17" fmla="*/ 0 60000 65536"/>
                      <a:gd name="T18" fmla="*/ 0 w 1588"/>
                      <a:gd name="T19" fmla="*/ 0 h 13"/>
                      <a:gd name="T20" fmla="*/ 1588 w 158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88" h="13">
                        <a:moveTo>
                          <a:pt x="0" y="13"/>
                        </a:moveTo>
                        <a:lnTo>
                          <a:pt x="0" y="13"/>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41" name="Freeform 322"/>
                  <p:cNvSpPr>
                    <a:spLocks/>
                  </p:cNvSpPr>
                  <p:nvPr/>
                </p:nvSpPr>
                <p:spPr bwMode="auto">
                  <a:xfrm>
                    <a:off x="3659188" y="399573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42" name="Rectangle 323"/>
                  <p:cNvSpPr>
                    <a:spLocks noChangeArrowheads="1"/>
                  </p:cNvSpPr>
                  <p:nvPr/>
                </p:nvSpPr>
                <p:spPr bwMode="auto">
                  <a:xfrm>
                    <a:off x="3648075" y="3995738"/>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43" name="Freeform 324"/>
                  <p:cNvSpPr>
                    <a:spLocks/>
                  </p:cNvSpPr>
                  <p:nvPr/>
                </p:nvSpPr>
                <p:spPr bwMode="auto">
                  <a:xfrm>
                    <a:off x="3538538" y="3995738"/>
                    <a:ext cx="1587" cy="1587"/>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44" name="Freeform 325"/>
                  <p:cNvSpPr>
                    <a:spLocks/>
                  </p:cNvSpPr>
                  <p:nvPr/>
                </p:nvSpPr>
                <p:spPr bwMode="auto">
                  <a:xfrm>
                    <a:off x="3587750" y="3995738"/>
                    <a:ext cx="1588" cy="20637"/>
                  </a:xfrm>
                  <a:custGeom>
                    <a:avLst/>
                    <a:gdLst>
                      <a:gd name="T0" fmla="*/ 0 w 1588"/>
                      <a:gd name="T1" fmla="*/ 20637 h 13"/>
                      <a:gd name="T2" fmla="*/ 0 w 1588"/>
                      <a:gd name="T3" fmla="*/ 20637 h 13"/>
                      <a:gd name="T4" fmla="*/ 0 w 1588"/>
                      <a:gd name="T5" fmla="*/ 0 h 13"/>
                      <a:gd name="T6" fmla="*/ 0 w 1588"/>
                      <a:gd name="T7" fmla="*/ 0 h 13"/>
                      <a:gd name="T8" fmla="*/ 0 w 1588"/>
                      <a:gd name="T9" fmla="*/ 9525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45" name="Rectangle 326"/>
                  <p:cNvSpPr>
                    <a:spLocks noChangeArrowheads="1"/>
                  </p:cNvSpPr>
                  <p:nvPr/>
                </p:nvSpPr>
                <p:spPr bwMode="auto">
                  <a:xfrm>
                    <a:off x="3538538" y="3995738"/>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46" name="Freeform 327"/>
                  <p:cNvSpPr>
                    <a:spLocks/>
                  </p:cNvSpPr>
                  <p:nvPr/>
                </p:nvSpPr>
                <p:spPr bwMode="auto">
                  <a:xfrm>
                    <a:off x="3587750" y="4005263"/>
                    <a:ext cx="11113" cy="11112"/>
                  </a:xfrm>
                  <a:custGeom>
                    <a:avLst/>
                    <a:gdLst>
                      <a:gd name="T0" fmla="*/ 0 w 7"/>
                      <a:gd name="T1" fmla="*/ 11112 h 7"/>
                      <a:gd name="T2" fmla="*/ 0 w 7"/>
                      <a:gd name="T3" fmla="*/ 11112 h 7"/>
                      <a:gd name="T4" fmla="*/ 11113 w 7"/>
                      <a:gd name="T5" fmla="*/ 0 h 7"/>
                      <a:gd name="T6" fmla="*/ 0 w 7"/>
                      <a:gd name="T7" fmla="*/ 0 h 7"/>
                      <a:gd name="T8" fmla="*/ 0 w 7"/>
                      <a:gd name="T9" fmla="*/ 0 h 7"/>
                      <a:gd name="T10" fmla="*/ 0 w 7"/>
                      <a:gd name="T11" fmla="*/ 11112 h 7"/>
                      <a:gd name="T12" fmla="*/ 0 w 7"/>
                      <a:gd name="T13" fmla="*/ 11112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0" y="7"/>
                        </a:moveTo>
                        <a:lnTo>
                          <a:pt x="0" y="7"/>
                        </a:lnTo>
                        <a:lnTo>
                          <a:pt x="7" y="0"/>
                        </a:lnTo>
                        <a:lnTo>
                          <a:pt x="0" y="0"/>
                        </a:lnTo>
                        <a:lnTo>
                          <a:pt x="0"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47" name="Rectangle 328"/>
                  <p:cNvSpPr>
                    <a:spLocks noChangeArrowheads="1"/>
                  </p:cNvSpPr>
                  <p:nvPr/>
                </p:nvSpPr>
                <p:spPr bwMode="auto">
                  <a:xfrm>
                    <a:off x="3527425" y="400526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48" name="Freeform 329"/>
                  <p:cNvSpPr>
                    <a:spLocks/>
                  </p:cNvSpPr>
                  <p:nvPr/>
                </p:nvSpPr>
                <p:spPr bwMode="auto">
                  <a:xfrm>
                    <a:off x="3578225" y="4005263"/>
                    <a:ext cx="1588" cy="11112"/>
                  </a:xfrm>
                  <a:custGeom>
                    <a:avLst/>
                    <a:gdLst>
                      <a:gd name="T0" fmla="*/ 0 w 1588"/>
                      <a:gd name="T1" fmla="*/ 0 h 7"/>
                      <a:gd name="T2" fmla="*/ 0 w 1588"/>
                      <a:gd name="T3" fmla="*/ 0 h 7"/>
                      <a:gd name="T4" fmla="*/ 0 w 1588"/>
                      <a:gd name="T5" fmla="*/ 0 h 7"/>
                      <a:gd name="T6" fmla="*/ 0 w 1588"/>
                      <a:gd name="T7" fmla="*/ 11112 h 7"/>
                      <a:gd name="T8" fmla="*/ 0 w 1588"/>
                      <a:gd name="T9" fmla="*/ 11112 h 7"/>
                      <a:gd name="T10" fmla="*/ 0 w 1588"/>
                      <a:gd name="T11" fmla="*/ 0 h 7"/>
                      <a:gd name="T12" fmla="*/ 0 w 1588"/>
                      <a:gd name="T13" fmla="*/ 0 h 7"/>
                      <a:gd name="T14" fmla="*/ 0 60000 65536"/>
                      <a:gd name="T15" fmla="*/ 0 60000 65536"/>
                      <a:gd name="T16" fmla="*/ 0 60000 65536"/>
                      <a:gd name="T17" fmla="*/ 0 60000 65536"/>
                      <a:gd name="T18" fmla="*/ 0 60000 65536"/>
                      <a:gd name="T19" fmla="*/ 0 60000 65536"/>
                      <a:gd name="T20" fmla="*/ 0 60000 65536"/>
                      <a:gd name="T21" fmla="*/ 0 w 1588"/>
                      <a:gd name="T22" fmla="*/ 0 h 7"/>
                      <a:gd name="T23" fmla="*/ 1588 w 158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7">
                        <a:moveTo>
                          <a:pt x="0" y="0"/>
                        </a:moveTo>
                        <a:lnTo>
                          <a:pt x="0" y="0"/>
                        </a:lnTo>
                        <a:lnTo>
                          <a:pt x="0" y="7"/>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49" name="Freeform 330"/>
                  <p:cNvSpPr>
                    <a:spLocks/>
                  </p:cNvSpPr>
                  <p:nvPr/>
                </p:nvSpPr>
                <p:spPr bwMode="auto">
                  <a:xfrm>
                    <a:off x="3568700" y="4005263"/>
                    <a:ext cx="9525" cy="20637"/>
                  </a:xfrm>
                  <a:custGeom>
                    <a:avLst/>
                    <a:gdLst>
                      <a:gd name="T0" fmla="*/ 9525 w 6"/>
                      <a:gd name="T1" fmla="*/ 0 h 13"/>
                      <a:gd name="T2" fmla="*/ 9525 w 6"/>
                      <a:gd name="T3" fmla="*/ 0 h 13"/>
                      <a:gd name="T4" fmla="*/ 0 w 6"/>
                      <a:gd name="T5" fmla="*/ 0 h 13"/>
                      <a:gd name="T6" fmla="*/ 9525 w 6"/>
                      <a:gd name="T7" fmla="*/ 20637 h 13"/>
                      <a:gd name="T8" fmla="*/ 9525 w 6"/>
                      <a:gd name="T9" fmla="*/ 20637 h 13"/>
                      <a:gd name="T10" fmla="*/ 9525 w 6"/>
                      <a:gd name="T11" fmla="*/ 0 h 13"/>
                      <a:gd name="T12" fmla="*/ 9525 w 6"/>
                      <a:gd name="T13" fmla="*/ 0 h 13"/>
                      <a:gd name="T14" fmla="*/ 0 60000 65536"/>
                      <a:gd name="T15" fmla="*/ 0 60000 65536"/>
                      <a:gd name="T16" fmla="*/ 0 60000 65536"/>
                      <a:gd name="T17" fmla="*/ 0 60000 65536"/>
                      <a:gd name="T18" fmla="*/ 0 60000 65536"/>
                      <a:gd name="T19" fmla="*/ 0 60000 65536"/>
                      <a:gd name="T20" fmla="*/ 0 60000 65536"/>
                      <a:gd name="T21" fmla="*/ 0 w 6"/>
                      <a:gd name="T22" fmla="*/ 0 h 13"/>
                      <a:gd name="T23" fmla="*/ 6 w 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3">
                        <a:moveTo>
                          <a:pt x="6" y="0"/>
                        </a:moveTo>
                        <a:lnTo>
                          <a:pt x="6" y="0"/>
                        </a:lnTo>
                        <a:lnTo>
                          <a:pt x="0" y="0"/>
                        </a:lnTo>
                        <a:lnTo>
                          <a:pt x="6" y="13"/>
                        </a:lnTo>
                        <a:lnTo>
                          <a:pt x="6"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50" name="Freeform 331"/>
                  <p:cNvSpPr>
                    <a:spLocks/>
                  </p:cNvSpPr>
                  <p:nvPr/>
                </p:nvSpPr>
                <p:spPr bwMode="auto">
                  <a:xfrm>
                    <a:off x="3648075" y="4005263"/>
                    <a:ext cx="11113" cy="11112"/>
                  </a:xfrm>
                  <a:custGeom>
                    <a:avLst/>
                    <a:gdLst>
                      <a:gd name="T0" fmla="*/ 0 w 7"/>
                      <a:gd name="T1" fmla="*/ 0 h 7"/>
                      <a:gd name="T2" fmla="*/ 0 w 7"/>
                      <a:gd name="T3" fmla="*/ 0 h 7"/>
                      <a:gd name="T4" fmla="*/ 0 w 7"/>
                      <a:gd name="T5" fmla="*/ 11112 h 7"/>
                      <a:gd name="T6" fmla="*/ 0 w 7"/>
                      <a:gd name="T7" fmla="*/ 11112 h 7"/>
                      <a:gd name="T8" fmla="*/ 0 w 7"/>
                      <a:gd name="T9" fmla="*/ 0 h 7"/>
                      <a:gd name="T10" fmla="*/ 0 w 7"/>
                      <a:gd name="T11" fmla="*/ 0 h 7"/>
                      <a:gd name="T12" fmla="*/ 11113 w 7"/>
                      <a:gd name="T13" fmla="*/ 0 h 7"/>
                      <a:gd name="T14" fmla="*/ 11113 w 7"/>
                      <a:gd name="T15" fmla="*/ 0 h 7"/>
                      <a:gd name="T16" fmla="*/ 0 w 7"/>
                      <a:gd name="T17" fmla="*/ 0 h 7"/>
                      <a:gd name="T18" fmla="*/ 0 w 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0" y="0"/>
                        </a:moveTo>
                        <a:lnTo>
                          <a:pt x="0" y="0"/>
                        </a:lnTo>
                        <a:lnTo>
                          <a:pt x="0" y="7"/>
                        </a:lnTo>
                        <a:lnTo>
                          <a:pt x="0" y="0"/>
                        </a:lnTo>
                        <a:lnTo>
                          <a:pt x="7"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51" name="Rectangle 332"/>
                  <p:cNvSpPr>
                    <a:spLocks noChangeArrowheads="1"/>
                  </p:cNvSpPr>
                  <p:nvPr/>
                </p:nvSpPr>
                <p:spPr bwMode="auto">
                  <a:xfrm>
                    <a:off x="3648075" y="4005263"/>
                    <a:ext cx="1588"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52" name="Rectangle 333"/>
                  <p:cNvSpPr>
                    <a:spLocks noChangeArrowheads="1"/>
                  </p:cNvSpPr>
                  <p:nvPr/>
                </p:nvSpPr>
                <p:spPr bwMode="auto">
                  <a:xfrm>
                    <a:off x="3779838" y="4005263"/>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53" name="Freeform 334"/>
                  <p:cNvSpPr>
                    <a:spLocks/>
                  </p:cNvSpPr>
                  <p:nvPr/>
                </p:nvSpPr>
                <p:spPr bwMode="auto">
                  <a:xfrm>
                    <a:off x="3729038" y="4016375"/>
                    <a:ext cx="1587"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54" name="Rectangle 335"/>
                  <p:cNvSpPr>
                    <a:spLocks noChangeArrowheads="1"/>
                  </p:cNvSpPr>
                  <p:nvPr/>
                </p:nvSpPr>
                <p:spPr bwMode="auto">
                  <a:xfrm>
                    <a:off x="3648075" y="401637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55" name="Freeform 336"/>
                  <p:cNvSpPr>
                    <a:spLocks/>
                  </p:cNvSpPr>
                  <p:nvPr/>
                </p:nvSpPr>
                <p:spPr bwMode="auto">
                  <a:xfrm>
                    <a:off x="3729038" y="401637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56" name="Freeform 337"/>
                  <p:cNvSpPr>
                    <a:spLocks/>
                  </p:cNvSpPr>
                  <p:nvPr/>
                </p:nvSpPr>
                <p:spPr bwMode="auto">
                  <a:xfrm>
                    <a:off x="3648075" y="401637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w 1588"/>
                      <a:gd name="T15" fmla="*/ 0 h 1588"/>
                      <a:gd name="T16" fmla="*/ 0 w 1588"/>
                      <a:gd name="T17" fmla="*/ 0 h 1588"/>
                      <a:gd name="T18" fmla="*/ 0 w 1588"/>
                      <a:gd name="T19" fmla="*/ 0 h 15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8"/>
                      <a:gd name="T31" fmla="*/ 0 h 1588"/>
                      <a:gd name="T32" fmla="*/ 1588 w 1588"/>
                      <a:gd name="T33" fmla="*/ 1588 h 15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57" name="Freeform 338"/>
                  <p:cNvSpPr>
                    <a:spLocks/>
                  </p:cNvSpPr>
                  <p:nvPr/>
                </p:nvSpPr>
                <p:spPr bwMode="auto">
                  <a:xfrm>
                    <a:off x="3648075" y="4016375"/>
                    <a:ext cx="1588" cy="9525"/>
                  </a:xfrm>
                  <a:custGeom>
                    <a:avLst/>
                    <a:gdLst>
                      <a:gd name="T0" fmla="*/ 0 w 1588"/>
                      <a:gd name="T1" fmla="*/ 0 h 6"/>
                      <a:gd name="T2" fmla="*/ 0 w 1588"/>
                      <a:gd name="T3" fmla="*/ 0 h 6"/>
                      <a:gd name="T4" fmla="*/ 0 w 1588"/>
                      <a:gd name="T5" fmla="*/ 9525 h 6"/>
                      <a:gd name="T6" fmla="*/ 0 w 1588"/>
                      <a:gd name="T7" fmla="*/ 0 h 6"/>
                      <a:gd name="T8" fmla="*/ 0 w 1588"/>
                      <a:gd name="T9" fmla="*/ 0 h 6"/>
                      <a:gd name="T10" fmla="*/ 0 60000 65536"/>
                      <a:gd name="T11" fmla="*/ 0 60000 65536"/>
                      <a:gd name="T12" fmla="*/ 0 60000 65536"/>
                      <a:gd name="T13" fmla="*/ 0 60000 65536"/>
                      <a:gd name="T14" fmla="*/ 0 60000 65536"/>
                      <a:gd name="T15" fmla="*/ 0 w 1588"/>
                      <a:gd name="T16" fmla="*/ 0 h 6"/>
                      <a:gd name="T17" fmla="*/ 1588 w 1588"/>
                      <a:gd name="T18" fmla="*/ 6 h 6"/>
                    </a:gdLst>
                    <a:ahLst/>
                    <a:cxnLst>
                      <a:cxn ang="T10">
                        <a:pos x="T0" y="T1"/>
                      </a:cxn>
                      <a:cxn ang="T11">
                        <a:pos x="T2" y="T3"/>
                      </a:cxn>
                      <a:cxn ang="T12">
                        <a:pos x="T4" y="T5"/>
                      </a:cxn>
                      <a:cxn ang="T13">
                        <a:pos x="T6" y="T7"/>
                      </a:cxn>
                      <a:cxn ang="T14">
                        <a:pos x="T8" y="T9"/>
                      </a:cxn>
                    </a:cxnLst>
                    <a:rect l="T15" t="T16" r="T17" b="T18"/>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58" name="Rectangle 339"/>
                  <p:cNvSpPr>
                    <a:spLocks noChangeArrowheads="1"/>
                  </p:cNvSpPr>
                  <p:nvPr/>
                </p:nvSpPr>
                <p:spPr bwMode="auto">
                  <a:xfrm>
                    <a:off x="3587750" y="40259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59" name="Freeform 340"/>
                  <p:cNvSpPr>
                    <a:spLocks/>
                  </p:cNvSpPr>
                  <p:nvPr/>
                </p:nvSpPr>
                <p:spPr bwMode="auto">
                  <a:xfrm>
                    <a:off x="3587750" y="4025900"/>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60" name="Freeform 341"/>
                  <p:cNvSpPr>
                    <a:spLocks/>
                  </p:cNvSpPr>
                  <p:nvPr/>
                </p:nvSpPr>
                <p:spPr bwMode="auto">
                  <a:xfrm>
                    <a:off x="3587750" y="4025900"/>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61" name="Rectangle 342"/>
                  <p:cNvSpPr>
                    <a:spLocks noChangeArrowheads="1"/>
                  </p:cNvSpPr>
                  <p:nvPr/>
                </p:nvSpPr>
                <p:spPr bwMode="auto">
                  <a:xfrm>
                    <a:off x="3578225" y="40259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62" name="Freeform 343"/>
                  <p:cNvSpPr>
                    <a:spLocks/>
                  </p:cNvSpPr>
                  <p:nvPr/>
                </p:nvSpPr>
                <p:spPr bwMode="auto">
                  <a:xfrm>
                    <a:off x="3578225" y="4025900"/>
                    <a:ext cx="1588" cy="20638"/>
                  </a:xfrm>
                  <a:custGeom>
                    <a:avLst/>
                    <a:gdLst>
                      <a:gd name="T0" fmla="*/ 0 w 1588"/>
                      <a:gd name="T1" fmla="*/ 20638 h 13"/>
                      <a:gd name="T2" fmla="*/ 0 w 1588"/>
                      <a:gd name="T3" fmla="*/ 20638 h 13"/>
                      <a:gd name="T4" fmla="*/ 0 w 1588"/>
                      <a:gd name="T5" fmla="*/ 0 h 13"/>
                      <a:gd name="T6" fmla="*/ 0 w 1588"/>
                      <a:gd name="T7" fmla="*/ 0 h 13"/>
                      <a:gd name="T8" fmla="*/ 0 w 1588"/>
                      <a:gd name="T9" fmla="*/ 20638 h 13"/>
                      <a:gd name="T10" fmla="*/ 0 w 1588"/>
                      <a:gd name="T11" fmla="*/ 20638 h 13"/>
                      <a:gd name="T12" fmla="*/ 0 60000 65536"/>
                      <a:gd name="T13" fmla="*/ 0 60000 65536"/>
                      <a:gd name="T14" fmla="*/ 0 60000 65536"/>
                      <a:gd name="T15" fmla="*/ 0 60000 65536"/>
                      <a:gd name="T16" fmla="*/ 0 60000 65536"/>
                      <a:gd name="T17" fmla="*/ 0 60000 65536"/>
                      <a:gd name="T18" fmla="*/ 0 w 1588"/>
                      <a:gd name="T19" fmla="*/ 0 h 13"/>
                      <a:gd name="T20" fmla="*/ 1588 w 158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88" h="13">
                        <a:moveTo>
                          <a:pt x="0" y="13"/>
                        </a:moveTo>
                        <a:lnTo>
                          <a:pt x="0" y="13"/>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63" name="Freeform 344"/>
                  <p:cNvSpPr>
                    <a:spLocks/>
                  </p:cNvSpPr>
                  <p:nvPr/>
                </p:nvSpPr>
                <p:spPr bwMode="auto">
                  <a:xfrm>
                    <a:off x="3648075" y="40259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64" name="Freeform 345"/>
                  <p:cNvSpPr>
                    <a:spLocks/>
                  </p:cNvSpPr>
                  <p:nvPr/>
                </p:nvSpPr>
                <p:spPr bwMode="auto">
                  <a:xfrm>
                    <a:off x="3568700" y="4025900"/>
                    <a:ext cx="9525" cy="20638"/>
                  </a:xfrm>
                  <a:custGeom>
                    <a:avLst/>
                    <a:gdLst>
                      <a:gd name="T0" fmla="*/ 0 w 6"/>
                      <a:gd name="T1" fmla="*/ 0 h 13"/>
                      <a:gd name="T2" fmla="*/ 0 w 6"/>
                      <a:gd name="T3" fmla="*/ 0 h 13"/>
                      <a:gd name="T4" fmla="*/ 0 w 6"/>
                      <a:gd name="T5" fmla="*/ 9525 h 13"/>
                      <a:gd name="T6" fmla="*/ 9525 w 6"/>
                      <a:gd name="T7" fmla="*/ 20638 h 13"/>
                      <a:gd name="T8" fmla="*/ 9525 w 6"/>
                      <a:gd name="T9" fmla="*/ 20638 h 13"/>
                      <a:gd name="T10" fmla="*/ 9525 w 6"/>
                      <a:gd name="T11" fmla="*/ 9525 h 13"/>
                      <a:gd name="T12" fmla="*/ 0 w 6"/>
                      <a:gd name="T13" fmla="*/ 0 h 13"/>
                      <a:gd name="T14" fmla="*/ 0 w 6"/>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3"/>
                      <a:gd name="T26" fmla="*/ 6 w 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3">
                        <a:moveTo>
                          <a:pt x="0" y="0"/>
                        </a:moveTo>
                        <a:lnTo>
                          <a:pt x="0" y="0"/>
                        </a:lnTo>
                        <a:lnTo>
                          <a:pt x="0" y="6"/>
                        </a:lnTo>
                        <a:lnTo>
                          <a:pt x="6" y="13"/>
                        </a:lnTo>
                        <a:lnTo>
                          <a:pt x="6"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65" name="Freeform 346"/>
                  <p:cNvSpPr>
                    <a:spLocks/>
                  </p:cNvSpPr>
                  <p:nvPr/>
                </p:nvSpPr>
                <p:spPr bwMode="auto">
                  <a:xfrm>
                    <a:off x="3587750" y="40259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66" name="Freeform 347"/>
                  <p:cNvSpPr>
                    <a:spLocks/>
                  </p:cNvSpPr>
                  <p:nvPr/>
                </p:nvSpPr>
                <p:spPr bwMode="auto">
                  <a:xfrm>
                    <a:off x="3527425" y="4035425"/>
                    <a:ext cx="11113" cy="11113"/>
                  </a:xfrm>
                  <a:custGeom>
                    <a:avLst/>
                    <a:gdLst>
                      <a:gd name="T0" fmla="*/ 11113 w 7"/>
                      <a:gd name="T1" fmla="*/ 11113 h 7"/>
                      <a:gd name="T2" fmla="*/ 11113 w 7"/>
                      <a:gd name="T3" fmla="*/ 11113 h 7"/>
                      <a:gd name="T4" fmla="*/ 11113 w 7"/>
                      <a:gd name="T5" fmla="*/ 0 h 7"/>
                      <a:gd name="T6" fmla="*/ 11113 w 7"/>
                      <a:gd name="T7" fmla="*/ 0 h 7"/>
                      <a:gd name="T8" fmla="*/ 0 w 7"/>
                      <a:gd name="T9" fmla="*/ 0 h 7"/>
                      <a:gd name="T10" fmla="*/ 0 w 7"/>
                      <a:gd name="T11" fmla="*/ 0 h 7"/>
                      <a:gd name="T12" fmla="*/ 0 w 7"/>
                      <a:gd name="T13" fmla="*/ 11113 h 7"/>
                      <a:gd name="T14" fmla="*/ 0 w 7"/>
                      <a:gd name="T15" fmla="*/ 11113 h 7"/>
                      <a:gd name="T16" fmla="*/ 11113 w 7"/>
                      <a:gd name="T17" fmla="*/ 11113 h 7"/>
                      <a:gd name="T18" fmla="*/ 11113 w 7"/>
                      <a:gd name="T19" fmla="*/ 11113 h 7"/>
                      <a:gd name="T20" fmla="*/ 11113 w 7"/>
                      <a:gd name="T21" fmla="*/ 11113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7"/>
                      <a:gd name="T35" fmla="*/ 7 w 7"/>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7">
                        <a:moveTo>
                          <a:pt x="7" y="7"/>
                        </a:moveTo>
                        <a:lnTo>
                          <a:pt x="7" y="7"/>
                        </a:lnTo>
                        <a:lnTo>
                          <a:pt x="7" y="0"/>
                        </a:lnTo>
                        <a:lnTo>
                          <a:pt x="0" y="0"/>
                        </a:lnTo>
                        <a:lnTo>
                          <a:pt x="0" y="7"/>
                        </a:lnTo>
                        <a:lnTo>
                          <a:pt x="7" y="7"/>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67" name="Rectangle 348"/>
                  <p:cNvSpPr>
                    <a:spLocks noChangeArrowheads="1"/>
                  </p:cNvSpPr>
                  <p:nvPr/>
                </p:nvSpPr>
                <p:spPr bwMode="auto">
                  <a:xfrm>
                    <a:off x="3648075" y="4035425"/>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68" name="Freeform 349"/>
                  <p:cNvSpPr>
                    <a:spLocks/>
                  </p:cNvSpPr>
                  <p:nvPr/>
                </p:nvSpPr>
                <p:spPr bwMode="auto">
                  <a:xfrm>
                    <a:off x="3648075" y="4035425"/>
                    <a:ext cx="1588"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69" name="Freeform 350"/>
                  <p:cNvSpPr>
                    <a:spLocks/>
                  </p:cNvSpPr>
                  <p:nvPr/>
                </p:nvSpPr>
                <p:spPr bwMode="auto">
                  <a:xfrm>
                    <a:off x="3729038" y="4035425"/>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60000 65536"/>
                      <a:gd name="T13" fmla="*/ 0 60000 65536"/>
                      <a:gd name="T14" fmla="*/ 0 60000 65536"/>
                      <a:gd name="T15" fmla="*/ 0 60000 65536"/>
                      <a:gd name="T16" fmla="*/ 0 60000 65536"/>
                      <a:gd name="T17" fmla="*/ 0 60000 65536"/>
                      <a:gd name="T18" fmla="*/ 0 w 1588"/>
                      <a:gd name="T19" fmla="*/ 0 h 1588"/>
                      <a:gd name="T20" fmla="*/ 1588 w 1588"/>
                      <a:gd name="T21" fmla="*/ 1588 h 1588"/>
                    </a:gdLst>
                    <a:ahLst/>
                    <a:cxnLst>
                      <a:cxn ang="T12">
                        <a:pos x="T0" y="T1"/>
                      </a:cxn>
                      <a:cxn ang="T13">
                        <a:pos x="T2" y="T3"/>
                      </a:cxn>
                      <a:cxn ang="T14">
                        <a:pos x="T4" y="T5"/>
                      </a:cxn>
                      <a:cxn ang="T15">
                        <a:pos x="T6" y="T7"/>
                      </a:cxn>
                      <a:cxn ang="T16">
                        <a:pos x="T8" y="T9"/>
                      </a:cxn>
                      <a:cxn ang="T17">
                        <a:pos x="T10" y="T11"/>
                      </a:cxn>
                    </a:cxnLst>
                    <a:rect l="T18" t="T19" r="T20" b="T21"/>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0" name="Freeform 351"/>
                  <p:cNvSpPr>
                    <a:spLocks/>
                  </p:cNvSpPr>
                  <p:nvPr/>
                </p:nvSpPr>
                <p:spPr bwMode="auto">
                  <a:xfrm>
                    <a:off x="3587750" y="4046538"/>
                    <a:ext cx="11113" cy="19050"/>
                  </a:xfrm>
                  <a:custGeom>
                    <a:avLst/>
                    <a:gdLst>
                      <a:gd name="T0" fmla="*/ 0 w 7"/>
                      <a:gd name="T1" fmla="*/ 0 h 12"/>
                      <a:gd name="T2" fmla="*/ 0 w 7"/>
                      <a:gd name="T3" fmla="*/ 0 h 12"/>
                      <a:gd name="T4" fmla="*/ 0 w 7"/>
                      <a:gd name="T5" fmla="*/ 9525 h 12"/>
                      <a:gd name="T6" fmla="*/ 11113 w 7"/>
                      <a:gd name="T7" fmla="*/ 19050 h 12"/>
                      <a:gd name="T8" fmla="*/ 11113 w 7"/>
                      <a:gd name="T9" fmla="*/ 19050 h 12"/>
                      <a:gd name="T10" fmla="*/ 0 w 7"/>
                      <a:gd name="T11" fmla="*/ 0 h 12"/>
                      <a:gd name="T12" fmla="*/ 0 w 7"/>
                      <a:gd name="T13" fmla="*/ 0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0"/>
                        </a:moveTo>
                        <a:lnTo>
                          <a:pt x="0" y="0"/>
                        </a:lnTo>
                        <a:lnTo>
                          <a:pt x="0" y="6"/>
                        </a:lnTo>
                        <a:lnTo>
                          <a:pt x="7" y="12"/>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1" name="Freeform 352"/>
                  <p:cNvSpPr>
                    <a:spLocks/>
                  </p:cNvSpPr>
                  <p:nvPr/>
                </p:nvSpPr>
                <p:spPr bwMode="auto">
                  <a:xfrm>
                    <a:off x="3729038" y="4046538"/>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2" name="Freeform 353"/>
                  <p:cNvSpPr>
                    <a:spLocks/>
                  </p:cNvSpPr>
                  <p:nvPr/>
                </p:nvSpPr>
                <p:spPr bwMode="auto">
                  <a:xfrm>
                    <a:off x="3729038" y="4046538"/>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3" name="Freeform 354"/>
                  <p:cNvSpPr>
                    <a:spLocks/>
                  </p:cNvSpPr>
                  <p:nvPr/>
                </p:nvSpPr>
                <p:spPr bwMode="auto">
                  <a:xfrm>
                    <a:off x="3578225" y="4056063"/>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w 1588"/>
                      <a:gd name="T13" fmla="*/ 9525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4" name="Freeform 355"/>
                  <p:cNvSpPr>
                    <a:spLocks/>
                  </p:cNvSpPr>
                  <p:nvPr/>
                </p:nvSpPr>
                <p:spPr bwMode="auto">
                  <a:xfrm>
                    <a:off x="3587750" y="4056063"/>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5" name="Freeform 356"/>
                  <p:cNvSpPr>
                    <a:spLocks/>
                  </p:cNvSpPr>
                  <p:nvPr/>
                </p:nvSpPr>
                <p:spPr bwMode="auto">
                  <a:xfrm>
                    <a:off x="3568700" y="4056063"/>
                    <a:ext cx="9525" cy="9525"/>
                  </a:xfrm>
                  <a:custGeom>
                    <a:avLst/>
                    <a:gdLst>
                      <a:gd name="T0" fmla="*/ 0 w 6"/>
                      <a:gd name="T1" fmla="*/ 0 h 6"/>
                      <a:gd name="T2" fmla="*/ 0 w 6"/>
                      <a:gd name="T3" fmla="*/ 0 h 6"/>
                      <a:gd name="T4" fmla="*/ 0 w 6"/>
                      <a:gd name="T5" fmla="*/ 9525 h 6"/>
                      <a:gd name="T6" fmla="*/ 9525 w 6"/>
                      <a:gd name="T7" fmla="*/ 9525 h 6"/>
                      <a:gd name="T8" fmla="*/ 9525 w 6"/>
                      <a:gd name="T9" fmla="*/ 9525 h 6"/>
                      <a:gd name="T10" fmla="*/ 9525 w 6"/>
                      <a:gd name="T11" fmla="*/ 0 h 6"/>
                      <a:gd name="T12" fmla="*/ 0 w 6"/>
                      <a:gd name="T13" fmla="*/ 0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0"/>
                        </a:moveTo>
                        <a:lnTo>
                          <a:pt x="0" y="0"/>
                        </a:lnTo>
                        <a:lnTo>
                          <a:pt x="0" y="6"/>
                        </a:lnTo>
                        <a:lnTo>
                          <a:pt x="6" y="6"/>
                        </a:lnTo>
                        <a:lnTo>
                          <a:pt x="6" y="0"/>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6" name="Freeform 357"/>
                  <p:cNvSpPr>
                    <a:spLocks/>
                  </p:cNvSpPr>
                  <p:nvPr/>
                </p:nvSpPr>
                <p:spPr bwMode="auto">
                  <a:xfrm>
                    <a:off x="3568700" y="4056063"/>
                    <a:ext cx="1588" cy="20637"/>
                  </a:xfrm>
                  <a:custGeom>
                    <a:avLst/>
                    <a:gdLst>
                      <a:gd name="T0" fmla="*/ 0 w 1588"/>
                      <a:gd name="T1" fmla="*/ 20637 h 13"/>
                      <a:gd name="T2" fmla="*/ 0 w 1588"/>
                      <a:gd name="T3" fmla="*/ 20637 h 13"/>
                      <a:gd name="T4" fmla="*/ 0 w 1588"/>
                      <a:gd name="T5" fmla="*/ 9525 h 13"/>
                      <a:gd name="T6" fmla="*/ 0 w 1588"/>
                      <a:gd name="T7" fmla="*/ 0 h 13"/>
                      <a:gd name="T8" fmla="*/ 0 w 1588"/>
                      <a:gd name="T9" fmla="*/ 0 h 13"/>
                      <a:gd name="T10" fmla="*/ 0 w 1588"/>
                      <a:gd name="T11" fmla="*/ 9525 h 13"/>
                      <a:gd name="T12" fmla="*/ 0 w 1588"/>
                      <a:gd name="T13" fmla="*/ 20637 h 13"/>
                      <a:gd name="T14" fmla="*/ 0 w 1588"/>
                      <a:gd name="T15" fmla="*/ 20637 h 13"/>
                      <a:gd name="T16" fmla="*/ 0 60000 65536"/>
                      <a:gd name="T17" fmla="*/ 0 60000 65536"/>
                      <a:gd name="T18" fmla="*/ 0 60000 65536"/>
                      <a:gd name="T19" fmla="*/ 0 60000 65536"/>
                      <a:gd name="T20" fmla="*/ 0 60000 65536"/>
                      <a:gd name="T21" fmla="*/ 0 60000 65536"/>
                      <a:gd name="T22" fmla="*/ 0 60000 65536"/>
                      <a:gd name="T23" fmla="*/ 0 60000 65536"/>
                      <a:gd name="T24" fmla="*/ 0 w 1588"/>
                      <a:gd name="T25" fmla="*/ 0 h 13"/>
                      <a:gd name="T26" fmla="*/ 1588 w 158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8" h="13">
                        <a:moveTo>
                          <a:pt x="0" y="13"/>
                        </a:moveTo>
                        <a:lnTo>
                          <a:pt x="0" y="13"/>
                        </a:lnTo>
                        <a:lnTo>
                          <a:pt x="0" y="6"/>
                        </a:lnTo>
                        <a:lnTo>
                          <a:pt x="0" y="0"/>
                        </a:lnTo>
                        <a:lnTo>
                          <a:pt x="0" y="6"/>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7" name="Freeform 358"/>
                  <p:cNvSpPr>
                    <a:spLocks/>
                  </p:cNvSpPr>
                  <p:nvPr/>
                </p:nvSpPr>
                <p:spPr bwMode="auto">
                  <a:xfrm>
                    <a:off x="3557588" y="4056063"/>
                    <a:ext cx="1587" cy="20637"/>
                  </a:xfrm>
                  <a:custGeom>
                    <a:avLst/>
                    <a:gdLst>
                      <a:gd name="T0" fmla="*/ 0 w 1588"/>
                      <a:gd name="T1" fmla="*/ 20637 h 13"/>
                      <a:gd name="T2" fmla="*/ 0 w 1588"/>
                      <a:gd name="T3" fmla="*/ 20637 h 13"/>
                      <a:gd name="T4" fmla="*/ 0 w 1588"/>
                      <a:gd name="T5" fmla="*/ 9525 h 13"/>
                      <a:gd name="T6" fmla="*/ 0 w 1588"/>
                      <a:gd name="T7" fmla="*/ 0 h 13"/>
                      <a:gd name="T8" fmla="*/ 0 w 1588"/>
                      <a:gd name="T9" fmla="*/ 0 h 13"/>
                      <a:gd name="T10" fmla="*/ 0 w 1588"/>
                      <a:gd name="T11" fmla="*/ 20637 h 13"/>
                      <a:gd name="T12" fmla="*/ 0 w 1588"/>
                      <a:gd name="T13" fmla="*/ 20637 h 13"/>
                      <a:gd name="T14" fmla="*/ 0 60000 65536"/>
                      <a:gd name="T15" fmla="*/ 0 60000 65536"/>
                      <a:gd name="T16" fmla="*/ 0 60000 65536"/>
                      <a:gd name="T17" fmla="*/ 0 60000 65536"/>
                      <a:gd name="T18" fmla="*/ 0 60000 65536"/>
                      <a:gd name="T19" fmla="*/ 0 60000 65536"/>
                      <a:gd name="T20" fmla="*/ 0 60000 65536"/>
                      <a:gd name="T21" fmla="*/ 0 w 1588"/>
                      <a:gd name="T22" fmla="*/ 0 h 13"/>
                      <a:gd name="T23" fmla="*/ 1588 w 1588"/>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3">
                        <a:moveTo>
                          <a:pt x="0" y="13"/>
                        </a:moveTo>
                        <a:lnTo>
                          <a:pt x="0" y="13"/>
                        </a:lnTo>
                        <a:lnTo>
                          <a:pt x="0" y="6"/>
                        </a:lnTo>
                        <a:lnTo>
                          <a:pt x="0" y="0"/>
                        </a:lnTo>
                        <a:lnTo>
                          <a:pt x="0" y="13"/>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78" name="Rectangle 359"/>
                  <p:cNvSpPr>
                    <a:spLocks noChangeArrowheads="1"/>
                  </p:cNvSpPr>
                  <p:nvPr/>
                </p:nvSpPr>
                <p:spPr bwMode="auto">
                  <a:xfrm>
                    <a:off x="3729038" y="4065588"/>
                    <a:ext cx="1587" cy="1587"/>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79" name="Freeform 360"/>
                  <p:cNvSpPr>
                    <a:spLocks/>
                  </p:cNvSpPr>
                  <p:nvPr/>
                </p:nvSpPr>
                <p:spPr bwMode="auto">
                  <a:xfrm>
                    <a:off x="3729038" y="4065588"/>
                    <a:ext cx="1587" cy="11112"/>
                  </a:xfrm>
                  <a:custGeom>
                    <a:avLst/>
                    <a:gdLst>
                      <a:gd name="T0" fmla="*/ 0 w 1588"/>
                      <a:gd name="T1" fmla="*/ 0 h 7"/>
                      <a:gd name="T2" fmla="*/ 0 w 1588"/>
                      <a:gd name="T3" fmla="*/ 0 h 7"/>
                      <a:gd name="T4" fmla="*/ 0 w 1588"/>
                      <a:gd name="T5" fmla="*/ 11112 h 7"/>
                      <a:gd name="T6" fmla="*/ 0 w 1588"/>
                      <a:gd name="T7" fmla="*/ 11112 h 7"/>
                      <a:gd name="T8" fmla="*/ 0 w 1588"/>
                      <a:gd name="T9" fmla="*/ 0 h 7"/>
                      <a:gd name="T10" fmla="*/ 0 w 1588"/>
                      <a:gd name="T11" fmla="*/ 0 h 7"/>
                      <a:gd name="T12" fmla="*/ 0 60000 65536"/>
                      <a:gd name="T13" fmla="*/ 0 60000 65536"/>
                      <a:gd name="T14" fmla="*/ 0 60000 65536"/>
                      <a:gd name="T15" fmla="*/ 0 60000 65536"/>
                      <a:gd name="T16" fmla="*/ 0 60000 65536"/>
                      <a:gd name="T17" fmla="*/ 0 60000 65536"/>
                      <a:gd name="T18" fmla="*/ 0 w 1588"/>
                      <a:gd name="T19" fmla="*/ 0 h 7"/>
                      <a:gd name="T20" fmla="*/ 1588 w 1588"/>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88" h="7">
                        <a:moveTo>
                          <a:pt x="0" y="0"/>
                        </a:moveTo>
                        <a:lnTo>
                          <a:pt x="0" y="0"/>
                        </a:lnTo>
                        <a:lnTo>
                          <a:pt x="0" y="7"/>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0" name="Freeform 361"/>
                  <p:cNvSpPr>
                    <a:spLocks/>
                  </p:cNvSpPr>
                  <p:nvPr/>
                </p:nvSpPr>
                <p:spPr bwMode="auto">
                  <a:xfrm>
                    <a:off x="3729038" y="4076700"/>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0 h 6"/>
                      <a:gd name="T10" fmla="*/ 0 w 1588"/>
                      <a:gd name="T11" fmla="*/ 0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1" name="Freeform 362"/>
                  <p:cNvSpPr>
                    <a:spLocks/>
                  </p:cNvSpPr>
                  <p:nvPr/>
                </p:nvSpPr>
                <p:spPr bwMode="auto">
                  <a:xfrm>
                    <a:off x="3578225" y="4076700"/>
                    <a:ext cx="1588" cy="19050"/>
                  </a:xfrm>
                  <a:custGeom>
                    <a:avLst/>
                    <a:gdLst>
                      <a:gd name="T0" fmla="*/ 0 w 1588"/>
                      <a:gd name="T1" fmla="*/ 0 h 12"/>
                      <a:gd name="T2" fmla="*/ 0 w 1588"/>
                      <a:gd name="T3" fmla="*/ 0 h 12"/>
                      <a:gd name="T4" fmla="*/ 0 w 1588"/>
                      <a:gd name="T5" fmla="*/ 19050 h 12"/>
                      <a:gd name="T6" fmla="*/ 0 w 1588"/>
                      <a:gd name="T7" fmla="*/ 19050 h 12"/>
                      <a:gd name="T8" fmla="*/ 0 w 1588"/>
                      <a:gd name="T9" fmla="*/ 9525 h 12"/>
                      <a:gd name="T10" fmla="*/ 0 w 1588"/>
                      <a:gd name="T11" fmla="*/ 0 h 12"/>
                      <a:gd name="T12" fmla="*/ 0 w 1588"/>
                      <a:gd name="T13" fmla="*/ 0 h 12"/>
                      <a:gd name="T14" fmla="*/ 0 60000 65536"/>
                      <a:gd name="T15" fmla="*/ 0 60000 65536"/>
                      <a:gd name="T16" fmla="*/ 0 60000 65536"/>
                      <a:gd name="T17" fmla="*/ 0 60000 65536"/>
                      <a:gd name="T18" fmla="*/ 0 60000 65536"/>
                      <a:gd name="T19" fmla="*/ 0 60000 65536"/>
                      <a:gd name="T20" fmla="*/ 0 60000 65536"/>
                      <a:gd name="T21" fmla="*/ 0 w 1588"/>
                      <a:gd name="T22" fmla="*/ 0 h 12"/>
                      <a:gd name="T23" fmla="*/ 1588 w 158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2">
                        <a:moveTo>
                          <a:pt x="0" y="0"/>
                        </a:moveTo>
                        <a:lnTo>
                          <a:pt x="0" y="0"/>
                        </a:lnTo>
                        <a:lnTo>
                          <a:pt x="0" y="12"/>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2" name="Rectangle 363"/>
                  <p:cNvSpPr>
                    <a:spLocks noChangeArrowheads="1"/>
                  </p:cNvSpPr>
                  <p:nvPr/>
                </p:nvSpPr>
                <p:spPr bwMode="auto">
                  <a:xfrm>
                    <a:off x="3568700" y="4076700"/>
                    <a:ext cx="1588"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83" name="Freeform 364"/>
                  <p:cNvSpPr>
                    <a:spLocks/>
                  </p:cNvSpPr>
                  <p:nvPr/>
                </p:nvSpPr>
                <p:spPr bwMode="auto">
                  <a:xfrm>
                    <a:off x="3578225" y="4076700"/>
                    <a:ext cx="1588" cy="19050"/>
                  </a:xfrm>
                  <a:custGeom>
                    <a:avLst/>
                    <a:gdLst>
                      <a:gd name="T0" fmla="*/ 0 w 1588"/>
                      <a:gd name="T1" fmla="*/ 0 h 12"/>
                      <a:gd name="T2" fmla="*/ 0 w 1588"/>
                      <a:gd name="T3" fmla="*/ 0 h 12"/>
                      <a:gd name="T4" fmla="*/ 0 w 1588"/>
                      <a:gd name="T5" fmla="*/ 19050 h 12"/>
                      <a:gd name="T6" fmla="*/ 0 w 1588"/>
                      <a:gd name="T7" fmla="*/ 19050 h 12"/>
                      <a:gd name="T8" fmla="*/ 0 w 1588"/>
                      <a:gd name="T9" fmla="*/ 19050 h 12"/>
                      <a:gd name="T10" fmla="*/ 0 w 1588"/>
                      <a:gd name="T11" fmla="*/ 0 h 12"/>
                      <a:gd name="T12" fmla="*/ 0 w 1588"/>
                      <a:gd name="T13" fmla="*/ 0 h 12"/>
                      <a:gd name="T14" fmla="*/ 0 60000 65536"/>
                      <a:gd name="T15" fmla="*/ 0 60000 65536"/>
                      <a:gd name="T16" fmla="*/ 0 60000 65536"/>
                      <a:gd name="T17" fmla="*/ 0 60000 65536"/>
                      <a:gd name="T18" fmla="*/ 0 60000 65536"/>
                      <a:gd name="T19" fmla="*/ 0 60000 65536"/>
                      <a:gd name="T20" fmla="*/ 0 60000 65536"/>
                      <a:gd name="T21" fmla="*/ 0 w 1588"/>
                      <a:gd name="T22" fmla="*/ 0 h 12"/>
                      <a:gd name="T23" fmla="*/ 1588 w 158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2">
                        <a:moveTo>
                          <a:pt x="0" y="0"/>
                        </a:moveTo>
                        <a:lnTo>
                          <a:pt x="0" y="0"/>
                        </a:lnTo>
                        <a:lnTo>
                          <a:pt x="0" y="12"/>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4" name="Freeform 365"/>
                  <p:cNvSpPr>
                    <a:spLocks/>
                  </p:cNvSpPr>
                  <p:nvPr/>
                </p:nvSpPr>
                <p:spPr bwMode="auto">
                  <a:xfrm>
                    <a:off x="3527425" y="4076700"/>
                    <a:ext cx="11113" cy="9525"/>
                  </a:xfrm>
                  <a:custGeom>
                    <a:avLst/>
                    <a:gdLst>
                      <a:gd name="T0" fmla="*/ 11113 w 7"/>
                      <a:gd name="T1" fmla="*/ 9525 h 6"/>
                      <a:gd name="T2" fmla="*/ 11113 w 7"/>
                      <a:gd name="T3" fmla="*/ 9525 h 6"/>
                      <a:gd name="T4" fmla="*/ 0 w 7"/>
                      <a:gd name="T5" fmla="*/ 9525 h 6"/>
                      <a:gd name="T6" fmla="*/ 0 w 7"/>
                      <a:gd name="T7" fmla="*/ 9525 h 6"/>
                      <a:gd name="T8" fmla="*/ 0 w 7"/>
                      <a:gd name="T9" fmla="*/ 9525 h 6"/>
                      <a:gd name="T10" fmla="*/ 0 w 7"/>
                      <a:gd name="T11" fmla="*/ 9525 h 6"/>
                      <a:gd name="T12" fmla="*/ 0 w 7"/>
                      <a:gd name="T13" fmla="*/ 9525 h 6"/>
                      <a:gd name="T14" fmla="*/ 11113 w 7"/>
                      <a:gd name="T15" fmla="*/ 9525 h 6"/>
                      <a:gd name="T16" fmla="*/ 11113 w 7"/>
                      <a:gd name="T17" fmla="*/ 9525 h 6"/>
                      <a:gd name="T18" fmla="*/ 11113 w 7"/>
                      <a:gd name="T19" fmla="*/ 0 h 6"/>
                      <a:gd name="T20" fmla="*/ 11113 w 7"/>
                      <a:gd name="T21" fmla="*/ 0 h 6"/>
                      <a:gd name="T22" fmla="*/ 11113 w 7"/>
                      <a:gd name="T23" fmla="*/ 9525 h 6"/>
                      <a:gd name="T24" fmla="*/ 11113 w 7"/>
                      <a:gd name="T25" fmla="*/ 9525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6"/>
                      <a:gd name="T41" fmla="*/ 7 w 7"/>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6">
                        <a:moveTo>
                          <a:pt x="7" y="6"/>
                        </a:moveTo>
                        <a:lnTo>
                          <a:pt x="7" y="6"/>
                        </a:lnTo>
                        <a:lnTo>
                          <a:pt x="0" y="6"/>
                        </a:lnTo>
                        <a:lnTo>
                          <a:pt x="7" y="6"/>
                        </a:lnTo>
                        <a:lnTo>
                          <a:pt x="7" y="0"/>
                        </a:lnTo>
                        <a:lnTo>
                          <a:pt x="7"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5" name="Freeform 366"/>
                  <p:cNvSpPr>
                    <a:spLocks/>
                  </p:cNvSpPr>
                  <p:nvPr/>
                </p:nvSpPr>
                <p:spPr bwMode="auto">
                  <a:xfrm>
                    <a:off x="3587750" y="4076700"/>
                    <a:ext cx="1588" cy="9525"/>
                  </a:xfrm>
                  <a:custGeom>
                    <a:avLst/>
                    <a:gdLst>
                      <a:gd name="T0" fmla="*/ 0 w 1588"/>
                      <a:gd name="T1" fmla="*/ 9525 h 6"/>
                      <a:gd name="T2" fmla="*/ 0 w 1588"/>
                      <a:gd name="T3" fmla="*/ 9525 h 6"/>
                      <a:gd name="T4" fmla="*/ 0 w 1588"/>
                      <a:gd name="T5" fmla="*/ 0 h 6"/>
                      <a:gd name="T6" fmla="*/ 0 w 1588"/>
                      <a:gd name="T7" fmla="*/ 0 h 6"/>
                      <a:gd name="T8" fmla="*/ 0 w 1588"/>
                      <a:gd name="T9" fmla="*/ 9525 h 6"/>
                      <a:gd name="T10" fmla="*/ 0 w 1588"/>
                      <a:gd name="T11" fmla="*/ 9525 h 6"/>
                      <a:gd name="T12" fmla="*/ 0 60000 65536"/>
                      <a:gd name="T13" fmla="*/ 0 60000 65536"/>
                      <a:gd name="T14" fmla="*/ 0 60000 65536"/>
                      <a:gd name="T15" fmla="*/ 0 60000 65536"/>
                      <a:gd name="T16" fmla="*/ 0 60000 65536"/>
                      <a:gd name="T17" fmla="*/ 0 60000 65536"/>
                      <a:gd name="T18" fmla="*/ 0 w 1588"/>
                      <a:gd name="T19" fmla="*/ 0 h 6"/>
                      <a:gd name="T20" fmla="*/ 1588 w 1588"/>
                      <a:gd name="T21" fmla="*/ 6 h 6"/>
                    </a:gdLst>
                    <a:ahLst/>
                    <a:cxnLst>
                      <a:cxn ang="T12">
                        <a:pos x="T0" y="T1"/>
                      </a:cxn>
                      <a:cxn ang="T13">
                        <a:pos x="T2" y="T3"/>
                      </a:cxn>
                      <a:cxn ang="T14">
                        <a:pos x="T4" y="T5"/>
                      </a:cxn>
                      <a:cxn ang="T15">
                        <a:pos x="T6" y="T7"/>
                      </a:cxn>
                      <a:cxn ang="T16">
                        <a:pos x="T8" y="T9"/>
                      </a:cxn>
                      <a:cxn ang="T17">
                        <a:pos x="T10" y="T11"/>
                      </a:cxn>
                    </a:cxnLst>
                    <a:rect l="T18" t="T19" r="T20" b="T21"/>
                    <a:pathLst>
                      <a:path w="1588" h="6">
                        <a:moveTo>
                          <a:pt x="0" y="6"/>
                        </a:moveTo>
                        <a:lnTo>
                          <a:pt x="0" y="6"/>
                        </a:lnTo>
                        <a:lnTo>
                          <a:pt x="0" y="0"/>
                        </a:lnTo>
                        <a:lnTo>
                          <a:pt x="0"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6" name="Freeform 367"/>
                  <p:cNvSpPr>
                    <a:spLocks/>
                  </p:cNvSpPr>
                  <p:nvPr/>
                </p:nvSpPr>
                <p:spPr bwMode="auto">
                  <a:xfrm>
                    <a:off x="3587750" y="4076700"/>
                    <a:ext cx="11113" cy="9525"/>
                  </a:xfrm>
                  <a:custGeom>
                    <a:avLst/>
                    <a:gdLst>
                      <a:gd name="T0" fmla="*/ 0 w 7"/>
                      <a:gd name="T1" fmla="*/ 0 h 6"/>
                      <a:gd name="T2" fmla="*/ 0 w 7"/>
                      <a:gd name="T3" fmla="*/ 0 h 6"/>
                      <a:gd name="T4" fmla="*/ 11113 w 7"/>
                      <a:gd name="T5" fmla="*/ 9525 h 6"/>
                      <a:gd name="T6" fmla="*/ 11113 w 7"/>
                      <a:gd name="T7" fmla="*/ 9525 h 6"/>
                      <a:gd name="T8" fmla="*/ 11113 w 7"/>
                      <a:gd name="T9" fmla="*/ 9525 h 6"/>
                      <a:gd name="T10" fmla="*/ 0 w 7"/>
                      <a:gd name="T11" fmla="*/ 0 h 6"/>
                      <a:gd name="T12" fmla="*/ 0 w 7"/>
                      <a:gd name="T13" fmla="*/ 0 h 6"/>
                      <a:gd name="T14" fmla="*/ 0 60000 65536"/>
                      <a:gd name="T15" fmla="*/ 0 60000 65536"/>
                      <a:gd name="T16" fmla="*/ 0 60000 65536"/>
                      <a:gd name="T17" fmla="*/ 0 60000 65536"/>
                      <a:gd name="T18" fmla="*/ 0 60000 65536"/>
                      <a:gd name="T19" fmla="*/ 0 60000 65536"/>
                      <a:gd name="T20" fmla="*/ 0 60000 65536"/>
                      <a:gd name="T21" fmla="*/ 0 w 7"/>
                      <a:gd name="T22" fmla="*/ 0 h 6"/>
                      <a:gd name="T23" fmla="*/ 7 w 7"/>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6">
                        <a:moveTo>
                          <a:pt x="0" y="0"/>
                        </a:moveTo>
                        <a:lnTo>
                          <a:pt x="0" y="0"/>
                        </a:lnTo>
                        <a:lnTo>
                          <a:pt x="7"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7" name="Freeform 368"/>
                  <p:cNvSpPr>
                    <a:spLocks/>
                  </p:cNvSpPr>
                  <p:nvPr/>
                </p:nvSpPr>
                <p:spPr bwMode="auto">
                  <a:xfrm>
                    <a:off x="3557588" y="408622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8" name="Freeform 369"/>
                  <p:cNvSpPr>
                    <a:spLocks/>
                  </p:cNvSpPr>
                  <p:nvPr/>
                </p:nvSpPr>
                <p:spPr bwMode="auto">
                  <a:xfrm>
                    <a:off x="3568700" y="4086225"/>
                    <a:ext cx="1588"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89" name="Freeform 370"/>
                  <p:cNvSpPr>
                    <a:spLocks/>
                  </p:cNvSpPr>
                  <p:nvPr/>
                </p:nvSpPr>
                <p:spPr bwMode="auto">
                  <a:xfrm>
                    <a:off x="3729038" y="4086225"/>
                    <a:ext cx="1587" cy="9525"/>
                  </a:xfrm>
                  <a:custGeom>
                    <a:avLst/>
                    <a:gdLst>
                      <a:gd name="T0" fmla="*/ 0 w 1588"/>
                      <a:gd name="T1" fmla="*/ 0 h 6"/>
                      <a:gd name="T2" fmla="*/ 0 w 1588"/>
                      <a:gd name="T3" fmla="*/ 0 h 6"/>
                      <a:gd name="T4" fmla="*/ 0 w 1588"/>
                      <a:gd name="T5" fmla="*/ 9525 h 6"/>
                      <a:gd name="T6" fmla="*/ 0 w 1588"/>
                      <a:gd name="T7" fmla="*/ 9525 h 6"/>
                      <a:gd name="T8" fmla="*/ 0 w 1588"/>
                      <a:gd name="T9" fmla="*/ 9525 h 6"/>
                      <a:gd name="T10" fmla="*/ 0 w 1588"/>
                      <a:gd name="T11" fmla="*/ 0 h 6"/>
                      <a:gd name="T12" fmla="*/ 0 w 1588"/>
                      <a:gd name="T13" fmla="*/ 0 h 6"/>
                      <a:gd name="T14" fmla="*/ 0 60000 65536"/>
                      <a:gd name="T15" fmla="*/ 0 60000 65536"/>
                      <a:gd name="T16" fmla="*/ 0 60000 65536"/>
                      <a:gd name="T17" fmla="*/ 0 60000 65536"/>
                      <a:gd name="T18" fmla="*/ 0 60000 65536"/>
                      <a:gd name="T19" fmla="*/ 0 60000 65536"/>
                      <a:gd name="T20" fmla="*/ 0 60000 65536"/>
                      <a:gd name="T21" fmla="*/ 0 w 1588"/>
                      <a:gd name="T22" fmla="*/ 0 h 6"/>
                      <a:gd name="T23" fmla="*/ 1588 w 158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6">
                        <a:moveTo>
                          <a:pt x="0" y="0"/>
                        </a:moveTo>
                        <a:lnTo>
                          <a:pt x="0" y="0"/>
                        </a:lnTo>
                        <a:lnTo>
                          <a:pt x="0" y="6"/>
                        </a:ln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0" name="Oval 371"/>
                  <p:cNvSpPr>
                    <a:spLocks noChangeArrowheads="1"/>
                  </p:cNvSpPr>
                  <p:nvPr/>
                </p:nvSpPr>
                <p:spPr bwMode="auto">
                  <a:xfrm>
                    <a:off x="3538538" y="4086225"/>
                    <a:ext cx="1587" cy="9525"/>
                  </a:xfrm>
                  <a:prstGeom prst="ellipse">
                    <a:avLst/>
                  </a:pr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1" name="Freeform 372"/>
                  <p:cNvSpPr>
                    <a:spLocks/>
                  </p:cNvSpPr>
                  <p:nvPr/>
                </p:nvSpPr>
                <p:spPr bwMode="auto">
                  <a:xfrm>
                    <a:off x="3729038" y="4095750"/>
                    <a:ext cx="1587" cy="1588"/>
                  </a:xfrm>
                  <a:custGeom>
                    <a:avLst/>
                    <a:gdLst>
                      <a:gd name="T0" fmla="*/ 0 w 1588"/>
                      <a:gd name="T1" fmla="*/ 0 h 1588"/>
                      <a:gd name="T2" fmla="*/ 0 w 1588"/>
                      <a:gd name="T3" fmla="*/ 0 h 1588"/>
                      <a:gd name="T4" fmla="*/ 0 w 1588"/>
                      <a:gd name="T5" fmla="*/ 0 h 1588"/>
                      <a:gd name="T6" fmla="*/ 0 w 1588"/>
                      <a:gd name="T7" fmla="*/ 0 h 1588"/>
                      <a:gd name="T8" fmla="*/ 0 w 1588"/>
                      <a:gd name="T9" fmla="*/ 0 h 1588"/>
                      <a:gd name="T10" fmla="*/ 0 w 1588"/>
                      <a:gd name="T11" fmla="*/ 0 h 1588"/>
                      <a:gd name="T12" fmla="*/ 0 w 1588"/>
                      <a:gd name="T13" fmla="*/ 0 h 1588"/>
                      <a:gd name="T14" fmla="*/ 0 60000 65536"/>
                      <a:gd name="T15" fmla="*/ 0 60000 65536"/>
                      <a:gd name="T16" fmla="*/ 0 60000 65536"/>
                      <a:gd name="T17" fmla="*/ 0 60000 65536"/>
                      <a:gd name="T18" fmla="*/ 0 60000 65536"/>
                      <a:gd name="T19" fmla="*/ 0 60000 65536"/>
                      <a:gd name="T20" fmla="*/ 0 60000 65536"/>
                      <a:gd name="T21" fmla="*/ 0 w 1588"/>
                      <a:gd name="T22" fmla="*/ 0 h 1588"/>
                      <a:gd name="T23" fmla="*/ 1588 w 1588"/>
                      <a:gd name="T24" fmla="*/ 1588 h 15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8" h="1588">
                        <a:moveTo>
                          <a:pt x="0" y="0"/>
                        </a:moveTo>
                        <a:lnTo>
                          <a:pt x="0" y="0"/>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2" name="Rectangle 373"/>
                  <p:cNvSpPr>
                    <a:spLocks noChangeArrowheads="1"/>
                  </p:cNvSpPr>
                  <p:nvPr/>
                </p:nvSpPr>
                <p:spPr bwMode="auto">
                  <a:xfrm>
                    <a:off x="3598863" y="4095750"/>
                    <a:ext cx="1587" cy="1588"/>
                  </a:xfrm>
                  <a:prstGeom prst="rect">
                    <a:avLst/>
                  </a:prstGeom>
                  <a:grpFill/>
                  <a:ln w="9525">
                    <a:noFill/>
                    <a:miter lim="800000"/>
                    <a:headEnd/>
                    <a:tailEnd/>
                  </a:ln>
                </p:spPr>
                <p:txBody>
                  <a:bodyPr/>
                  <a:lstStyle/>
                  <a:p>
                    <a:pPr fontAlgn="auto">
                      <a:spcBef>
                        <a:spcPts val="0"/>
                      </a:spcBef>
                      <a:spcAft>
                        <a:spcPts val="0"/>
                      </a:spcAft>
                      <a:defRPr/>
                    </a:pPr>
                    <a:endParaRPr lang="da-DK" dirty="0">
                      <a:latin typeface="+mn-lt"/>
                      <a:ea typeface="+mn-ea"/>
                    </a:endParaRPr>
                  </a:p>
                </p:txBody>
              </p:sp>
              <p:sp>
                <p:nvSpPr>
                  <p:cNvPr id="193" name="Freeform 380"/>
                  <p:cNvSpPr>
                    <a:spLocks/>
                  </p:cNvSpPr>
                  <p:nvPr/>
                </p:nvSpPr>
                <p:spPr bwMode="auto">
                  <a:xfrm>
                    <a:off x="4264025" y="3824288"/>
                    <a:ext cx="261938" cy="331787"/>
                  </a:xfrm>
                  <a:custGeom>
                    <a:avLst/>
                    <a:gdLst>
                      <a:gd name="T0" fmla="*/ 141288 w 165"/>
                      <a:gd name="T1" fmla="*/ 9525 h 209"/>
                      <a:gd name="T2" fmla="*/ 141288 w 165"/>
                      <a:gd name="T3" fmla="*/ 9525 h 209"/>
                      <a:gd name="T4" fmla="*/ 100013 w 165"/>
                      <a:gd name="T5" fmla="*/ 0 h 209"/>
                      <a:gd name="T6" fmla="*/ 100013 w 165"/>
                      <a:gd name="T7" fmla="*/ 0 h 209"/>
                      <a:gd name="T8" fmla="*/ 90488 w 165"/>
                      <a:gd name="T9" fmla="*/ 9525 h 209"/>
                      <a:gd name="T10" fmla="*/ 80963 w 165"/>
                      <a:gd name="T11" fmla="*/ 20637 h 209"/>
                      <a:gd name="T12" fmla="*/ 80963 w 165"/>
                      <a:gd name="T13" fmla="*/ 20637 h 209"/>
                      <a:gd name="T14" fmla="*/ 50800 w 165"/>
                      <a:gd name="T15" fmla="*/ 60325 h 209"/>
                      <a:gd name="T16" fmla="*/ 39688 w 165"/>
                      <a:gd name="T17" fmla="*/ 111125 h 209"/>
                      <a:gd name="T18" fmla="*/ 39688 w 165"/>
                      <a:gd name="T19" fmla="*/ 111125 h 209"/>
                      <a:gd name="T20" fmla="*/ 39688 w 165"/>
                      <a:gd name="T21" fmla="*/ 160337 h 209"/>
                      <a:gd name="T22" fmla="*/ 30163 w 165"/>
                      <a:gd name="T23" fmla="*/ 211137 h 209"/>
                      <a:gd name="T24" fmla="*/ 30163 w 165"/>
                      <a:gd name="T25" fmla="*/ 211137 h 209"/>
                      <a:gd name="T26" fmla="*/ 9525 w 165"/>
                      <a:gd name="T27" fmla="*/ 252412 h 209"/>
                      <a:gd name="T28" fmla="*/ 0 w 165"/>
                      <a:gd name="T29" fmla="*/ 282575 h 209"/>
                      <a:gd name="T30" fmla="*/ 9525 w 165"/>
                      <a:gd name="T31" fmla="*/ 312737 h 209"/>
                      <a:gd name="T32" fmla="*/ 9525 w 165"/>
                      <a:gd name="T33" fmla="*/ 312737 h 209"/>
                      <a:gd name="T34" fmla="*/ 39688 w 165"/>
                      <a:gd name="T35" fmla="*/ 331787 h 209"/>
                      <a:gd name="T36" fmla="*/ 39688 w 165"/>
                      <a:gd name="T37" fmla="*/ 331787 h 209"/>
                      <a:gd name="T38" fmla="*/ 60325 w 165"/>
                      <a:gd name="T39" fmla="*/ 331787 h 209"/>
                      <a:gd name="T40" fmla="*/ 80963 w 165"/>
                      <a:gd name="T41" fmla="*/ 322262 h 209"/>
                      <a:gd name="T42" fmla="*/ 80963 w 165"/>
                      <a:gd name="T43" fmla="*/ 322262 h 209"/>
                      <a:gd name="T44" fmla="*/ 160338 w 165"/>
                      <a:gd name="T45" fmla="*/ 322262 h 209"/>
                      <a:gd name="T46" fmla="*/ 241300 w 165"/>
                      <a:gd name="T47" fmla="*/ 322262 h 209"/>
                      <a:gd name="T48" fmla="*/ 241300 w 165"/>
                      <a:gd name="T49" fmla="*/ 322262 h 209"/>
                      <a:gd name="T50" fmla="*/ 261938 w 165"/>
                      <a:gd name="T51" fmla="*/ 312737 h 209"/>
                      <a:gd name="T52" fmla="*/ 261938 w 165"/>
                      <a:gd name="T53" fmla="*/ 312737 h 209"/>
                      <a:gd name="T54" fmla="*/ 261938 w 165"/>
                      <a:gd name="T55" fmla="*/ 282575 h 209"/>
                      <a:gd name="T56" fmla="*/ 261938 w 165"/>
                      <a:gd name="T57" fmla="*/ 282575 h 209"/>
                      <a:gd name="T58" fmla="*/ 252413 w 165"/>
                      <a:gd name="T59" fmla="*/ 252412 h 209"/>
                      <a:gd name="T60" fmla="*/ 241300 w 165"/>
                      <a:gd name="T61" fmla="*/ 222250 h 209"/>
                      <a:gd name="T62" fmla="*/ 241300 w 165"/>
                      <a:gd name="T63" fmla="*/ 222250 h 209"/>
                      <a:gd name="T64" fmla="*/ 231775 w 165"/>
                      <a:gd name="T65" fmla="*/ 201612 h 209"/>
                      <a:gd name="T66" fmla="*/ 222250 w 165"/>
                      <a:gd name="T67" fmla="*/ 171450 h 209"/>
                      <a:gd name="T68" fmla="*/ 222250 w 165"/>
                      <a:gd name="T69" fmla="*/ 120650 h 209"/>
                      <a:gd name="T70" fmla="*/ 222250 w 165"/>
                      <a:gd name="T71" fmla="*/ 120650 h 209"/>
                      <a:gd name="T72" fmla="*/ 211138 w 165"/>
                      <a:gd name="T73" fmla="*/ 60325 h 209"/>
                      <a:gd name="T74" fmla="*/ 211138 w 165"/>
                      <a:gd name="T75" fmla="*/ 60325 h 209"/>
                      <a:gd name="T76" fmla="*/ 211138 w 165"/>
                      <a:gd name="T77" fmla="*/ 39687 h 209"/>
                      <a:gd name="T78" fmla="*/ 201613 w 165"/>
                      <a:gd name="T79" fmla="*/ 20637 h 209"/>
                      <a:gd name="T80" fmla="*/ 201613 w 165"/>
                      <a:gd name="T81" fmla="*/ 20637 h 209"/>
                      <a:gd name="T82" fmla="*/ 171450 w 165"/>
                      <a:gd name="T83" fmla="*/ 9525 h 209"/>
                      <a:gd name="T84" fmla="*/ 171450 w 165"/>
                      <a:gd name="T85" fmla="*/ 9525 h 209"/>
                      <a:gd name="T86" fmla="*/ 150813 w 165"/>
                      <a:gd name="T87" fmla="*/ 0 h 209"/>
                      <a:gd name="T88" fmla="*/ 141288 w 165"/>
                      <a:gd name="T89" fmla="*/ 0 h 209"/>
                      <a:gd name="T90" fmla="*/ 141288 w 165"/>
                      <a:gd name="T91" fmla="*/ 9525 h 20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5"/>
                      <a:gd name="T139" fmla="*/ 0 h 209"/>
                      <a:gd name="T140" fmla="*/ 165 w 165"/>
                      <a:gd name="T141" fmla="*/ 209 h 20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5" h="209">
                        <a:moveTo>
                          <a:pt x="89" y="6"/>
                        </a:moveTo>
                        <a:lnTo>
                          <a:pt x="89" y="6"/>
                        </a:lnTo>
                        <a:lnTo>
                          <a:pt x="63" y="0"/>
                        </a:lnTo>
                        <a:lnTo>
                          <a:pt x="57" y="6"/>
                        </a:lnTo>
                        <a:lnTo>
                          <a:pt x="51" y="13"/>
                        </a:lnTo>
                        <a:lnTo>
                          <a:pt x="32" y="38"/>
                        </a:lnTo>
                        <a:lnTo>
                          <a:pt x="25" y="70"/>
                        </a:lnTo>
                        <a:lnTo>
                          <a:pt x="25" y="101"/>
                        </a:lnTo>
                        <a:lnTo>
                          <a:pt x="19" y="133"/>
                        </a:lnTo>
                        <a:lnTo>
                          <a:pt x="6" y="159"/>
                        </a:lnTo>
                        <a:lnTo>
                          <a:pt x="0" y="178"/>
                        </a:lnTo>
                        <a:lnTo>
                          <a:pt x="6" y="197"/>
                        </a:lnTo>
                        <a:lnTo>
                          <a:pt x="25" y="209"/>
                        </a:lnTo>
                        <a:lnTo>
                          <a:pt x="38" y="209"/>
                        </a:lnTo>
                        <a:lnTo>
                          <a:pt x="51" y="203"/>
                        </a:lnTo>
                        <a:lnTo>
                          <a:pt x="101" y="203"/>
                        </a:lnTo>
                        <a:lnTo>
                          <a:pt x="152" y="203"/>
                        </a:lnTo>
                        <a:lnTo>
                          <a:pt x="165" y="197"/>
                        </a:lnTo>
                        <a:lnTo>
                          <a:pt x="165" y="178"/>
                        </a:lnTo>
                        <a:lnTo>
                          <a:pt x="159" y="159"/>
                        </a:lnTo>
                        <a:lnTo>
                          <a:pt x="152" y="140"/>
                        </a:lnTo>
                        <a:lnTo>
                          <a:pt x="146" y="127"/>
                        </a:lnTo>
                        <a:lnTo>
                          <a:pt x="140" y="108"/>
                        </a:lnTo>
                        <a:lnTo>
                          <a:pt x="140" y="76"/>
                        </a:lnTo>
                        <a:lnTo>
                          <a:pt x="133" y="38"/>
                        </a:lnTo>
                        <a:lnTo>
                          <a:pt x="133" y="25"/>
                        </a:lnTo>
                        <a:lnTo>
                          <a:pt x="127" y="13"/>
                        </a:lnTo>
                        <a:lnTo>
                          <a:pt x="108" y="6"/>
                        </a:lnTo>
                        <a:lnTo>
                          <a:pt x="95" y="0"/>
                        </a:lnTo>
                        <a:lnTo>
                          <a:pt x="89" y="0"/>
                        </a:lnTo>
                        <a:lnTo>
                          <a:pt x="89" y="6"/>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sp>
                <p:nvSpPr>
                  <p:cNvPr id="194" name="Freeform 381"/>
                  <p:cNvSpPr>
                    <a:spLocks/>
                  </p:cNvSpPr>
                  <p:nvPr/>
                </p:nvSpPr>
                <p:spPr bwMode="auto">
                  <a:xfrm>
                    <a:off x="3295650" y="3733800"/>
                    <a:ext cx="1392238" cy="2287588"/>
                  </a:xfrm>
                  <a:custGeom>
                    <a:avLst/>
                    <a:gdLst>
                      <a:gd name="T0" fmla="*/ 161925 w 877"/>
                      <a:gd name="T1" fmla="*/ 211138 h 1441"/>
                      <a:gd name="T2" fmla="*/ 242888 w 877"/>
                      <a:gd name="T3" fmla="*/ 90488 h 1441"/>
                      <a:gd name="T4" fmla="*/ 333375 w 877"/>
                      <a:gd name="T5" fmla="*/ 201613 h 1441"/>
                      <a:gd name="T6" fmla="*/ 342900 w 877"/>
                      <a:gd name="T7" fmla="*/ 271463 h 1441"/>
                      <a:gd name="T8" fmla="*/ 463550 w 877"/>
                      <a:gd name="T9" fmla="*/ 422275 h 1441"/>
                      <a:gd name="T10" fmla="*/ 685800 w 877"/>
                      <a:gd name="T11" fmla="*/ 292100 h 1441"/>
                      <a:gd name="T12" fmla="*/ 685800 w 877"/>
                      <a:gd name="T13" fmla="*/ 141288 h 1441"/>
                      <a:gd name="T14" fmla="*/ 736600 w 877"/>
                      <a:gd name="T15" fmla="*/ 19050 h 1441"/>
                      <a:gd name="T16" fmla="*/ 847725 w 877"/>
                      <a:gd name="T17" fmla="*/ 19050 h 1441"/>
                      <a:gd name="T18" fmla="*/ 887413 w 877"/>
                      <a:gd name="T19" fmla="*/ 171450 h 1441"/>
                      <a:gd name="T20" fmla="*/ 836613 w 877"/>
                      <a:gd name="T21" fmla="*/ 301625 h 1441"/>
                      <a:gd name="T22" fmla="*/ 1049338 w 877"/>
                      <a:gd name="T23" fmla="*/ 331788 h 1441"/>
                      <a:gd name="T24" fmla="*/ 1028700 w 877"/>
                      <a:gd name="T25" fmla="*/ 282575 h 1441"/>
                      <a:gd name="T26" fmla="*/ 1049338 w 877"/>
                      <a:gd name="T27" fmla="*/ 120650 h 1441"/>
                      <a:gd name="T28" fmla="*/ 1179513 w 877"/>
                      <a:gd name="T29" fmla="*/ 211138 h 1441"/>
                      <a:gd name="T30" fmla="*/ 1169988 w 877"/>
                      <a:gd name="T31" fmla="*/ 312738 h 1441"/>
                      <a:gd name="T32" fmla="*/ 1160463 w 877"/>
                      <a:gd name="T33" fmla="*/ 342900 h 1441"/>
                      <a:gd name="T34" fmla="*/ 1320800 w 877"/>
                      <a:gd name="T35" fmla="*/ 433388 h 1441"/>
                      <a:gd name="T36" fmla="*/ 1290638 w 877"/>
                      <a:gd name="T37" fmla="*/ 584200 h 1441"/>
                      <a:gd name="T38" fmla="*/ 1281113 w 877"/>
                      <a:gd name="T39" fmla="*/ 1411288 h 1441"/>
                      <a:gd name="T40" fmla="*/ 1270000 w 877"/>
                      <a:gd name="T41" fmla="*/ 1522413 h 1441"/>
                      <a:gd name="T42" fmla="*/ 1350963 w 877"/>
                      <a:gd name="T43" fmla="*/ 1944688 h 1441"/>
                      <a:gd name="T44" fmla="*/ 1239838 w 877"/>
                      <a:gd name="T45" fmla="*/ 1955801 h 1441"/>
                      <a:gd name="T46" fmla="*/ 1160463 w 877"/>
                      <a:gd name="T47" fmla="*/ 1874838 h 1441"/>
                      <a:gd name="T48" fmla="*/ 1160463 w 877"/>
                      <a:gd name="T49" fmla="*/ 1511300 h 1441"/>
                      <a:gd name="T50" fmla="*/ 1058863 w 877"/>
                      <a:gd name="T51" fmla="*/ 1077913 h 1441"/>
                      <a:gd name="T52" fmla="*/ 1068388 w 877"/>
                      <a:gd name="T53" fmla="*/ 1450975 h 1441"/>
                      <a:gd name="T54" fmla="*/ 1139825 w 877"/>
                      <a:gd name="T55" fmla="*/ 1814513 h 1441"/>
                      <a:gd name="T56" fmla="*/ 1089025 w 877"/>
                      <a:gd name="T57" fmla="*/ 1865313 h 1441"/>
                      <a:gd name="T58" fmla="*/ 989013 w 877"/>
                      <a:gd name="T59" fmla="*/ 1874838 h 1441"/>
                      <a:gd name="T60" fmla="*/ 977900 w 877"/>
                      <a:gd name="T61" fmla="*/ 1592263 h 1441"/>
                      <a:gd name="T62" fmla="*/ 908050 w 877"/>
                      <a:gd name="T63" fmla="*/ 1784351 h 1441"/>
                      <a:gd name="T64" fmla="*/ 817563 w 877"/>
                      <a:gd name="T65" fmla="*/ 2046288 h 1441"/>
                      <a:gd name="T66" fmla="*/ 787400 w 877"/>
                      <a:gd name="T67" fmla="*/ 1965326 h 1441"/>
                      <a:gd name="T68" fmla="*/ 787400 w 877"/>
                      <a:gd name="T69" fmla="*/ 1712913 h 1441"/>
                      <a:gd name="T70" fmla="*/ 766763 w 877"/>
                      <a:gd name="T71" fmla="*/ 1279525 h 1441"/>
                      <a:gd name="T72" fmla="*/ 715963 w 877"/>
                      <a:gd name="T73" fmla="*/ 1481138 h 1441"/>
                      <a:gd name="T74" fmla="*/ 695325 w 877"/>
                      <a:gd name="T75" fmla="*/ 2016126 h 1441"/>
                      <a:gd name="T76" fmla="*/ 685800 w 877"/>
                      <a:gd name="T77" fmla="*/ 2097088 h 1441"/>
                      <a:gd name="T78" fmla="*/ 646113 w 877"/>
                      <a:gd name="T79" fmla="*/ 2206626 h 1441"/>
                      <a:gd name="T80" fmla="*/ 514350 w 877"/>
                      <a:gd name="T81" fmla="*/ 2278063 h 1441"/>
                      <a:gd name="T82" fmla="*/ 554038 w 877"/>
                      <a:gd name="T83" fmla="*/ 1925638 h 1441"/>
                      <a:gd name="T84" fmla="*/ 554038 w 877"/>
                      <a:gd name="T85" fmla="*/ 1370013 h 1441"/>
                      <a:gd name="T86" fmla="*/ 544513 w 877"/>
                      <a:gd name="T87" fmla="*/ 1089025 h 1441"/>
                      <a:gd name="T88" fmla="*/ 463550 w 877"/>
                      <a:gd name="T89" fmla="*/ 1179513 h 1441"/>
                      <a:gd name="T90" fmla="*/ 523875 w 877"/>
                      <a:gd name="T91" fmla="*/ 1733551 h 1441"/>
                      <a:gd name="T92" fmla="*/ 514350 w 877"/>
                      <a:gd name="T93" fmla="*/ 2025651 h 1441"/>
                      <a:gd name="T94" fmla="*/ 423863 w 877"/>
                      <a:gd name="T95" fmla="*/ 2076451 h 1441"/>
                      <a:gd name="T96" fmla="*/ 403225 w 877"/>
                      <a:gd name="T97" fmla="*/ 1884363 h 1441"/>
                      <a:gd name="T98" fmla="*/ 292100 w 877"/>
                      <a:gd name="T99" fmla="*/ 1309688 h 1441"/>
                      <a:gd name="T100" fmla="*/ 292100 w 877"/>
                      <a:gd name="T101" fmla="*/ 1582738 h 1441"/>
                      <a:gd name="T102" fmla="*/ 303213 w 877"/>
                      <a:gd name="T103" fmla="*/ 1895476 h 1441"/>
                      <a:gd name="T104" fmla="*/ 212725 w 877"/>
                      <a:gd name="T105" fmla="*/ 1974851 h 1441"/>
                      <a:gd name="T106" fmla="*/ 171450 w 877"/>
                      <a:gd name="T107" fmla="*/ 1874838 h 1441"/>
                      <a:gd name="T108" fmla="*/ 141288 w 877"/>
                      <a:gd name="T109" fmla="*/ 1622425 h 1441"/>
                      <a:gd name="T110" fmla="*/ 11113 w 877"/>
                      <a:gd name="T111" fmla="*/ 1098550 h 1441"/>
                      <a:gd name="T112" fmla="*/ 50800 w 877"/>
                      <a:gd name="T113" fmla="*/ 533400 h 14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77"/>
                      <a:gd name="T172" fmla="*/ 0 h 1441"/>
                      <a:gd name="T173" fmla="*/ 877 w 877"/>
                      <a:gd name="T174" fmla="*/ 1441 h 144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77" h="1441">
                        <a:moveTo>
                          <a:pt x="57" y="279"/>
                        </a:moveTo>
                        <a:lnTo>
                          <a:pt x="127" y="247"/>
                        </a:lnTo>
                        <a:lnTo>
                          <a:pt x="134" y="222"/>
                        </a:lnTo>
                        <a:lnTo>
                          <a:pt x="121" y="216"/>
                        </a:lnTo>
                        <a:lnTo>
                          <a:pt x="108" y="184"/>
                        </a:lnTo>
                        <a:lnTo>
                          <a:pt x="102" y="133"/>
                        </a:lnTo>
                        <a:lnTo>
                          <a:pt x="102" y="101"/>
                        </a:lnTo>
                        <a:lnTo>
                          <a:pt x="108" y="89"/>
                        </a:lnTo>
                        <a:lnTo>
                          <a:pt x="121" y="70"/>
                        </a:lnTo>
                        <a:lnTo>
                          <a:pt x="134" y="63"/>
                        </a:lnTo>
                        <a:lnTo>
                          <a:pt x="153" y="57"/>
                        </a:lnTo>
                        <a:lnTo>
                          <a:pt x="172" y="70"/>
                        </a:lnTo>
                        <a:lnTo>
                          <a:pt x="197" y="89"/>
                        </a:lnTo>
                        <a:lnTo>
                          <a:pt x="203" y="101"/>
                        </a:lnTo>
                        <a:lnTo>
                          <a:pt x="210" y="127"/>
                        </a:lnTo>
                        <a:lnTo>
                          <a:pt x="216" y="127"/>
                        </a:lnTo>
                        <a:lnTo>
                          <a:pt x="216" y="133"/>
                        </a:lnTo>
                        <a:lnTo>
                          <a:pt x="216" y="146"/>
                        </a:lnTo>
                        <a:lnTo>
                          <a:pt x="216" y="165"/>
                        </a:lnTo>
                        <a:lnTo>
                          <a:pt x="216" y="171"/>
                        </a:lnTo>
                        <a:lnTo>
                          <a:pt x="210" y="165"/>
                        </a:lnTo>
                        <a:lnTo>
                          <a:pt x="210" y="197"/>
                        </a:lnTo>
                        <a:lnTo>
                          <a:pt x="216" y="216"/>
                        </a:lnTo>
                        <a:lnTo>
                          <a:pt x="222" y="228"/>
                        </a:lnTo>
                        <a:lnTo>
                          <a:pt x="248" y="247"/>
                        </a:lnTo>
                        <a:lnTo>
                          <a:pt x="292" y="266"/>
                        </a:lnTo>
                        <a:lnTo>
                          <a:pt x="343" y="235"/>
                        </a:lnTo>
                        <a:lnTo>
                          <a:pt x="381" y="216"/>
                        </a:lnTo>
                        <a:lnTo>
                          <a:pt x="419" y="209"/>
                        </a:lnTo>
                        <a:lnTo>
                          <a:pt x="426" y="190"/>
                        </a:lnTo>
                        <a:lnTo>
                          <a:pt x="432" y="184"/>
                        </a:lnTo>
                        <a:lnTo>
                          <a:pt x="432" y="133"/>
                        </a:lnTo>
                        <a:lnTo>
                          <a:pt x="426" y="114"/>
                        </a:lnTo>
                        <a:lnTo>
                          <a:pt x="419" y="95"/>
                        </a:lnTo>
                        <a:lnTo>
                          <a:pt x="426" y="89"/>
                        </a:lnTo>
                        <a:lnTo>
                          <a:pt x="432" y="89"/>
                        </a:lnTo>
                        <a:lnTo>
                          <a:pt x="438" y="57"/>
                        </a:lnTo>
                        <a:lnTo>
                          <a:pt x="445" y="31"/>
                        </a:lnTo>
                        <a:lnTo>
                          <a:pt x="451" y="19"/>
                        </a:lnTo>
                        <a:lnTo>
                          <a:pt x="464" y="12"/>
                        </a:lnTo>
                        <a:lnTo>
                          <a:pt x="470" y="12"/>
                        </a:lnTo>
                        <a:lnTo>
                          <a:pt x="489" y="6"/>
                        </a:lnTo>
                        <a:lnTo>
                          <a:pt x="508" y="0"/>
                        </a:lnTo>
                        <a:lnTo>
                          <a:pt x="521" y="6"/>
                        </a:lnTo>
                        <a:lnTo>
                          <a:pt x="534" y="12"/>
                        </a:lnTo>
                        <a:lnTo>
                          <a:pt x="546" y="25"/>
                        </a:lnTo>
                        <a:lnTo>
                          <a:pt x="559" y="44"/>
                        </a:lnTo>
                        <a:lnTo>
                          <a:pt x="559" y="57"/>
                        </a:lnTo>
                        <a:lnTo>
                          <a:pt x="559" y="70"/>
                        </a:lnTo>
                        <a:lnTo>
                          <a:pt x="559" y="108"/>
                        </a:lnTo>
                        <a:lnTo>
                          <a:pt x="559" y="127"/>
                        </a:lnTo>
                        <a:lnTo>
                          <a:pt x="553" y="146"/>
                        </a:lnTo>
                        <a:lnTo>
                          <a:pt x="546" y="152"/>
                        </a:lnTo>
                        <a:lnTo>
                          <a:pt x="527" y="190"/>
                        </a:lnTo>
                        <a:lnTo>
                          <a:pt x="521" y="222"/>
                        </a:lnTo>
                        <a:lnTo>
                          <a:pt x="527" y="241"/>
                        </a:lnTo>
                        <a:lnTo>
                          <a:pt x="584" y="260"/>
                        </a:lnTo>
                        <a:lnTo>
                          <a:pt x="635" y="254"/>
                        </a:lnTo>
                        <a:lnTo>
                          <a:pt x="661" y="222"/>
                        </a:lnTo>
                        <a:lnTo>
                          <a:pt x="661" y="209"/>
                        </a:lnTo>
                        <a:lnTo>
                          <a:pt x="654" y="203"/>
                        </a:lnTo>
                        <a:lnTo>
                          <a:pt x="642" y="209"/>
                        </a:lnTo>
                        <a:lnTo>
                          <a:pt x="648" y="190"/>
                        </a:lnTo>
                        <a:lnTo>
                          <a:pt x="648" y="178"/>
                        </a:lnTo>
                        <a:lnTo>
                          <a:pt x="642" y="165"/>
                        </a:lnTo>
                        <a:lnTo>
                          <a:pt x="642" y="152"/>
                        </a:lnTo>
                        <a:lnTo>
                          <a:pt x="642" y="133"/>
                        </a:lnTo>
                        <a:lnTo>
                          <a:pt x="642" y="108"/>
                        </a:lnTo>
                        <a:lnTo>
                          <a:pt x="661" y="76"/>
                        </a:lnTo>
                        <a:lnTo>
                          <a:pt x="667" y="63"/>
                        </a:lnTo>
                        <a:lnTo>
                          <a:pt x="686" y="63"/>
                        </a:lnTo>
                        <a:lnTo>
                          <a:pt x="699" y="63"/>
                        </a:lnTo>
                        <a:lnTo>
                          <a:pt x="724" y="70"/>
                        </a:lnTo>
                        <a:lnTo>
                          <a:pt x="743" y="101"/>
                        </a:lnTo>
                        <a:lnTo>
                          <a:pt x="743" y="133"/>
                        </a:lnTo>
                        <a:lnTo>
                          <a:pt x="743" y="146"/>
                        </a:lnTo>
                        <a:lnTo>
                          <a:pt x="743" y="158"/>
                        </a:lnTo>
                        <a:lnTo>
                          <a:pt x="737" y="171"/>
                        </a:lnTo>
                        <a:lnTo>
                          <a:pt x="737" y="197"/>
                        </a:lnTo>
                        <a:lnTo>
                          <a:pt x="731" y="197"/>
                        </a:lnTo>
                        <a:lnTo>
                          <a:pt x="724" y="197"/>
                        </a:lnTo>
                        <a:lnTo>
                          <a:pt x="724" y="209"/>
                        </a:lnTo>
                        <a:lnTo>
                          <a:pt x="731" y="216"/>
                        </a:lnTo>
                        <a:lnTo>
                          <a:pt x="756" y="235"/>
                        </a:lnTo>
                        <a:lnTo>
                          <a:pt x="800" y="235"/>
                        </a:lnTo>
                        <a:lnTo>
                          <a:pt x="819" y="247"/>
                        </a:lnTo>
                        <a:lnTo>
                          <a:pt x="832" y="260"/>
                        </a:lnTo>
                        <a:lnTo>
                          <a:pt x="832" y="273"/>
                        </a:lnTo>
                        <a:lnTo>
                          <a:pt x="832" y="279"/>
                        </a:lnTo>
                        <a:lnTo>
                          <a:pt x="832" y="292"/>
                        </a:lnTo>
                        <a:lnTo>
                          <a:pt x="819" y="324"/>
                        </a:lnTo>
                        <a:lnTo>
                          <a:pt x="813" y="368"/>
                        </a:lnTo>
                        <a:lnTo>
                          <a:pt x="800" y="406"/>
                        </a:lnTo>
                        <a:lnTo>
                          <a:pt x="788" y="444"/>
                        </a:lnTo>
                        <a:lnTo>
                          <a:pt x="826" y="597"/>
                        </a:lnTo>
                        <a:lnTo>
                          <a:pt x="794" y="609"/>
                        </a:lnTo>
                        <a:lnTo>
                          <a:pt x="807" y="889"/>
                        </a:lnTo>
                        <a:lnTo>
                          <a:pt x="807" y="895"/>
                        </a:lnTo>
                        <a:lnTo>
                          <a:pt x="807" y="901"/>
                        </a:lnTo>
                        <a:lnTo>
                          <a:pt x="807" y="914"/>
                        </a:lnTo>
                        <a:lnTo>
                          <a:pt x="800" y="940"/>
                        </a:lnTo>
                        <a:lnTo>
                          <a:pt x="800" y="959"/>
                        </a:lnTo>
                        <a:lnTo>
                          <a:pt x="800" y="1009"/>
                        </a:lnTo>
                        <a:lnTo>
                          <a:pt x="794" y="1048"/>
                        </a:lnTo>
                        <a:lnTo>
                          <a:pt x="800" y="1111"/>
                        </a:lnTo>
                        <a:lnTo>
                          <a:pt x="807" y="1187"/>
                        </a:lnTo>
                        <a:lnTo>
                          <a:pt x="826" y="1206"/>
                        </a:lnTo>
                        <a:lnTo>
                          <a:pt x="851" y="1225"/>
                        </a:lnTo>
                        <a:lnTo>
                          <a:pt x="870" y="1238"/>
                        </a:lnTo>
                        <a:lnTo>
                          <a:pt x="877" y="1251"/>
                        </a:lnTo>
                        <a:lnTo>
                          <a:pt x="794" y="1238"/>
                        </a:lnTo>
                        <a:lnTo>
                          <a:pt x="788" y="1238"/>
                        </a:lnTo>
                        <a:lnTo>
                          <a:pt x="781" y="1232"/>
                        </a:lnTo>
                        <a:lnTo>
                          <a:pt x="775" y="1219"/>
                        </a:lnTo>
                        <a:lnTo>
                          <a:pt x="762" y="1200"/>
                        </a:lnTo>
                        <a:lnTo>
                          <a:pt x="743" y="1187"/>
                        </a:lnTo>
                        <a:lnTo>
                          <a:pt x="737" y="1213"/>
                        </a:lnTo>
                        <a:lnTo>
                          <a:pt x="731" y="1213"/>
                        </a:lnTo>
                        <a:lnTo>
                          <a:pt x="731" y="1181"/>
                        </a:lnTo>
                        <a:lnTo>
                          <a:pt x="724" y="1175"/>
                        </a:lnTo>
                        <a:lnTo>
                          <a:pt x="724" y="1117"/>
                        </a:lnTo>
                        <a:lnTo>
                          <a:pt x="731" y="1073"/>
                        </a:lnTo>
                        <a:lnTo>
                          <a:pt x="731" y="990"/>
                        </a:lnTo>
                        <a:lnTo>
                          <a:pt x="731" y="971"/>
                        </a:lnTo>
                        <a:lnTo>
                          <a:pt x="731" y="952"/>
                        </a:lnTo>
                        <a:lnTo>
                          <a:pt x="718" y="921"/>
                        </a:lnTo>
                        <a:lnTo>
                          <a:pt x="718" y="876"/>
                        </a:lnTo>
                        <a:lnTo>
                          <a:pt x="711" y="800"/>
                        </a:lnTo>
                        <a:lnTo>
                          <a:pt x="692" y="724"/>
                        </a:lnTo>
                        <a:lnTo>
                          <a:pt x="673" y="673"/>
                        </a:lnTo>
                        <a:lnTo>
                          <a:pt x="667" y="679"/>
                        </a:lnTo>
                        <a:lnTo>
                          <a:pt x="667" y="705"/>
                        </a:lnTo>
                        <a:lnTo>
                          <a:pt x="667" y="774"/>
                        </a:lnTo>
                        <a:lnTo>
                          <a:pt x="667" y="844"/>
                        </a:lnTo>
                        <a:lnTo>
                          <a:pt x="667" y="870"/>
                        </a:lnTo>
                        <a:lnTo>
                          <a:pt x="673" y="889"/>
                        </a:lnTo>
                        <a:lnTo>
                          <a:pt x="673" y="914"/>
                        </a:lnTo>
                        <a:lnTo>
                          <a:pt x="680" y="952"/>
                        </a:lnTo>
                        <a:lnTo>
                          <a:pt x="686" y="990"/>
                        </a:lnTo>
                        <a:lnTo>
                          <a:pt x="699" y="1028"/>
                        </a:lnTo>
                        <a:lnTo>
                          <a:pt x="705" y="1060"/>
                        </a:lnTo>
                        <a:lnTo>
                          <a:pt x="718" y="1098"/>
                        </a:lnTo>
                        <a:lnTo>
                          <a:pt x="718" y="1143"/>
                        </a:lnTo>
                        <a:lnTo>
                          <a:pt x="711" y="1143"/>
                        </a:lnTo>
                        <a:lnTo>
                          <a:pt x="705" y="1168"/>
                        </a:lnTo>
                        <a:lnTo>
                          <a:pt x="699" y="1175"/>
                        </a:lnTo>
                        <a:lnTo>
                          <a:pt x="692" y="1149"/>
                        </a:lnTo>
                        <a:lnTo>
                          <a:pt x="686" y="1175"/>
                        </a:lnTo>
                        <a:lnTo>
                          <a:pt x="680" y="1181"/>
                        </a:lnTo>
                        <a:lnTo>
                          <a:pt x="673" y="1194"/>
                        </a:lnTo>
                        <a:lnTo>
                          <a:pt x="661" y="1200"/>
                        </a:lnTo>
                        <a:lnTo>
                          <a:pt x="610" y="1213"/>
                        </a:lnTo>
                        <a:lnTo>
                          <a:pt x="604" y="1200"/>
                        </a:lnTo>
                        <a:lnTo>
                          <a:pt x="623" y="1181"/>
                        </a:lnTo>
                        <a:lnTo>
                          <a:pt x="629" y="1162"/>
                        </a:lnTo>
                        <a:lnTo>
                          <a:pt x="642" y="1149"/>
                        </a:lnTo>
                        <a:lnTo>
                          <a:pt x="648" y="1124"/>
                        </a:lnTo>
                        <a:lnTo>
                          <a:pt x="635" y="1086"/>
                        </a:lnTo>
                        <a:lnTo>
                          <a:pt x="629" y="1048"/>
                        </a:lnTo>
                        <a:lnTo>
                          <a:pt x="616" y="1003"/>
                        </a:lnTo>
                        <a:lnTo>
                          <a:pt x="610" y="952"/>
                        </a:lnTo>
                        <a:lnTo>
                          <a:pt x="604" y="908"/>
                        </a:lnTo>
                        <a:lnTo>
                          <a:pt x="597" y="844"/>
                        </a:lnTo>
                        <a:lnTo>
                          <a:pt x="578" y="959"/>
                        </a:lnTo>
                        <a:lnTo>
                          <a:pt x="572" y="1022"/>
                        </a:lnTo>
                        <a:lnTo>
                          <a:pt x="572" y="1124"/>
                        </a:lnTo>
                        <a:lnTo>
                          <a:pt x="546" y="1200"/>
                        </a:lnTo>
                        <a:lnTo>
                          <a:pt x="559" y="1244"/>
                        </a:lnTo>
                        <a:lnTo>
                          <a:pt x="578" y="1263"/>
                        </a:lnTo>
                        <a:lnTo>
                          <a:pt x="578" y="1308"/>
                        </a:lnTo>
                        <a:lnTo>
                          <a:pt x="540" y="1314"/>
                        </a:lnTo>
                        <a:lnTo>
                          <a:pt x="515" y="1289"/>
                        </a:lnTo>
                        <a:lnTo>
                          <a:pt x="508" y="1282"/>
                        </a:lnTo>
                        <a:lnTo>
                          <a:pt x="502" y="1276"/>
                        </a:lnTo>
                        <a:lnTo>
                          <a:pt x="502" y="1257"/>
                        </a:lnTo>
                        <a:lnTo>
                          <a:pt x="496" y="1238"/>
                        </a:lnTo>
                        <a:lnTo>
                          <a:pt x="477" y="1225"/>
                        </a:lnTo>
                        <a:lnTo>
                          <a:pt x="477" y="1206"/>
                        </a:lnTo>
                        <a:lnTo>
                          <a:pt x="483" y="1181"/>
                        </a:lnTo>
                        <a:lnTo>
                          <a:pt x="483" y="1143"/>
                        </a:lnTo>
                        <a:lnTo>
                          <a:pt x="483" y="1117"/>
                        </a:lnTo>
                        <a:lnTo>
                          <a:pt x="496" y="1079"/>
                        </a:lnTo>
                        <a:lnTo>
                          <a:pt x="496" y="1022"/>
                        </a:lnTo>
                        <a:lnTo>
                          <a:pt x="496" y="952"/>
                        </a:lnTo>
                        <a:lnTo>
                          <a:pt x="489" y="895"/>
                        </a:lnTo>
                        <a:lnTo>
                          <a:pt x="489" y="844"/>
                        </a:lnTo>
                        <a:lnTo>
                          <a:pt x="483" y="819"/>
                        </a:lnTo>
                        <a:lnTo>
                          <a:pt x="483" y="806"/>
                        </a:lnTo>
                        <a:lnTo>
                          <a:pt x="477" y="819"/>
                        </a:lnTo>
                        <a:lnTo>
                          <a:pt x="457" y="889"/>
                        </a:lnTo>
                        <a:lnTo>
                          <a:pt x="451" y="927"/>
                        </a:lnTo>
                        <a:lnTo>
                          <a:pt x="451" y="933"/>
                        </a:lnTo>
                        <a:lnTo>
                          <a:pt x="451" y="1003"/>
                        </a:lnTo>
                        <a:lnTo>
                          <a:pt x="451" y="1086"/>
                        </a:lnTo>
                        <a:lnTo>
                          <a:pt x="451" y="1155"/>
                        </a:lnTo>
                        <a:lnTo>
                          <a:pt x="445" y="1238"/>
                        </a:lnTo>
                        <a:lnTo>
                          <a:pt x="438" y="1270"/>
                        </a:lnTo>
                        <a:lnTo>
                          <a:pt x="432" y="1282"/>
                        </a:lnTo>
                        <a:lnTo>
                          <a:pt x="426" y="1289"/>
                        </a:lnTo>
                        <a:lnTo>
                          <a:pt x="432" y="1295"/>
                        </a:lnTo>
                        <a:lnTo>
                          <a:pt x="432" y="1314"/>
                        </a:lnTo>
                        <a:lnTo>
                          <a:pt x="432" y="1321"/>
                        </a:lnTo>
                        <a:lnTo>
                          <a:pt x="432" y="1327"/>
                        </a:lnTo>
                        <a:lnTo>
                          <a:pt x="419" y="1352"/>
                        </a:lnTo>
                        <a:lnTo>
                          <a:pt x="407" y="1352"/>
                        </a:lnTo>
                        <a:lnTo>
                          <a:pt x="407" y="1378"/>
                        </a:lnTo>
                        <a:lnTo>
                          <a:pt x="407" y="1390"/>
                        </a:lnTo>
                        <a:lnTo>
                          <a:pt x="400" y="1403"/>
                        </a:lnTo>
                        <a:lnTo>
                          <a:pt x="394" y="1416"/>
                        </a:lnTo>
                        <a:lnTo>
                          <a:pt x="375" y="1435"/>
                        </a:lnTo>
                        <a:lnTo>
                          <a:pt x="369" y="1441"/>
                        </a:lnTo>
                        <a:lnTo>
                          <a:pt x="324" y="1435"/>
                        </a:lnTo>
                        <a:lnTo>
                          <a:pt x="324" y="1390"/>
                        </a:lnTo>
                        <a:lnTo>
                          <a:pt x="330" y="1378"/>
                        </a:lnTo>
                        <a:lnTo>
                          <a:pt x="349" y="1327"/>
                        </a:lnTo>
                        <a:lnTo>
                          <a:pt x="356" y="1308"/>
                        </a:lnTo>
                        <a:lnTo>
                          <a:pt x="349" y="1270"/>
                        </a:lnTo>
                        <a:lnTo>
                          <a:pt x="349" y="1213"/>
                        </a:lnTo>
                        <a:lnTo>
                          <a:pt x="343" y="1143"/>
                        </a:lnTo>
                        <a:lnTo>
                          <a:pt x="349" y="1079"/>
                        </a:lnTo>
                        <a:lnTo>
                          <a:pt x="349" y="1016"/>
                        </a:lnTo>
                        <a:lnTo>
                          <a:pt x="356" y="946"/>
                        </a:lnTo>
                        <a:lnTo>
                          <a:pt x="349" y="908"/>
                        </a:lnTo>
                        <a:lnTo>
                          <a:pt x="349" y="863"/>
                        </a:lnTo>
                        <a:lnTo>
                          <a:pt x="349" y="781"/>
                        </a:lnTo>
                        <a:lnTo>
                          <a:pt x="356" y="736"/>
                        </a:lnTo>
                        <a:lnTo>
                          <a:pt x="362" y="698"/>
                        </a:lnTo>
                        <a:lnTo>
                          <a:pt x="362" y="692"/>
                        </a:lnTo>
                        <a:lnTo>
                          <a:pt x="356" y="686"/>
                        </a:lnTo>
                        <a:lnTo>
                          <a:pt x="343" y="686"/>
                        </a:lnTo>
                        <a:lnTo>
                          <a:pt x="337" y="679"/>
                        </a:lnTo>
                        <a:lnTo>
                          <a:pt x="330" y="667"/>
                        </a:lnTo>
                        <a:lnTo>
                          <a:pt x="305" y="698"/>
                        </a:lnTo>
                        <a:lnTo>
                          <a:pt x="299" y="698"/>
                        </a:lnTo>
                        <a:lnTo>
                          <a:pt x="299" y="717"/>
                        </a:lnTo>
                        <a:lnTo>
                          <a:pt x="292" y="743"/>
                        </a:lnTo>
                        <a:lnTo>
                          <a:pt x="292" y="876"/>
                        </a:lnTo>
                        <a:lnTo>
                          <a:pt x="305" y="914"/>
                        </a:lnTo>
                        <a:lnTo>
                          <a:pt x="311" y="952"/>
                        </a:lnTo>
                        <a:lnTo>
                          <a:pt x="311" y="997"/>
                        </a:lnTo>
                        <a:lnTo>
                          <a:pt x="324" y="1048"/>
                        </a:lnTo>
                        <a:lnTo>
                          <a:pt x="330" y="1092"/>
                        </a:lnTo>
                        <a:lnTo>
                          <a:pt x="337" y="1149"/>
                        </a:lnTo>
                        <a:lnTo>
                          <a:pt x="330" y="1162"/>
                        </a:lnTo>
                        <a:lnTo>
                          <a:pt x="337" y="1181"/>
                        </a:lnTo>
                        <a:lnTo>
                          <a:pt x="324" y="1206"/>
                        </a:lnTo>
                        <a:lnTo>
                          <a:pt x="324" y="1276"/>
                        </a:lnTo>
                        <a:lnTo>
                          <a:pt x="324" y="1282"/>
                        </a:lnTo>
                        <a:lnTo>
                          <a:pt x="318" y="1295"/>
                        </a:lnTo>
                        <a:lnTo>
                          <a:pt x="305" y="1302"/>
                        </a:lnTo>
                        <a:lnTo>
                          <a:pt x="280" y="1308"/>
                        </a:lnTo>
                        <a:lnTo>
                          <a:pt x="267" y="1308"/>
                        </a:lnTo>
                        <a:lnTo>
                          <a:pt x="254" y="1302"/>
                        </a:lnTo>
                        <a:lnTo>
                          <a:pt x="248" y="1282"/>
                        </a:lnTo>
                        <a:lnTo>
                          <a:pt x="254" y="1257"/>
                        </a:lnTo>
                        <a:lnTo>
                          <a:pt x="261" y="1238"/>
                        </a:lnTo>
                        <a:lnTo>
                          <a:pt x="267" y="1213"/>
                        </a:lnTo>
                        <a:lnTo>
                          <a:pt x="254" y="1187"/>
                        </a:lnTo>
                        <a:lnTo>
                          <a:pt x="261" y="1168"/>
                        </a:lnTo>
                        <a:lnTo>
                          <a:pt x="242" y="1130"/>
                        </a:lnTo>
                        <a:lnTo>
                          <a:pt x="222" y="1041"/>
                        </a:lnTo>
                        <a:lnTo>
                          <a:pt x="203" y="940"/>
                        </a:lnTo>
                        <a:lnTo>
                          <a:pt x="191" y="876"/>
                        </a:lnTo>
                        <a:lnTo>
                          <a:pt x="184" y="825"/>
                        </a:lnTo>
                        <a:lnTo>
                          <a:pt x="172" y="838"/>
                        </a:lnTo>
                        <a:lnTo>
                          <a:pt x="172" y="882"/>
                        </a:lnTo>
                        <a:lnTo>
                          <a:pt x="172" y="908"/>
                        </a:lnTo>
                        <a:lnTo>
                          <a:pt x="178" y="933"/>
                        </a:lnTo>
                        <a:lnTo>
                          <a:pt x="178" y="959"/>
                        </a:lnTo>
                        <a:lnTo>
                          <a:pt x="184" y="997"/>
                        </a:lnTo>
                        <a:lnTo>
                          <a:pt x="184" y="1054"/>
                        </a:lnTo>
                        <a:lnTo>
                          <a:pt x="191" y="1098"/>
                        </a:lnTo>
                        <a:lnTo>
                          <a:pt x="197" y="1111"/>
                        </a:lnTo>
                        <a:lnTo>
                          <a:pt x="203" y="1136"/>
                        </a:lnTo>
                        <a:lnTo>
                          <a:pt x="191" y="1155"/>
                        </a:lnTo>
                        <a:lnTo>
                          <a:pt x="191" y="1194"/>
                        </a:lnTo>
                        <a:lnTo>
                          <a:pt x="172" y="1206"/>
                        </a:lnTo>
                        <a:lnTo>
                          <a:pt x="165" y="1200"/>
                        </a:lnTo>
                        <a:lnTo>
                          <a:pt x="146" y="1225"/>
                        </a:lnTo>
                        <a:lnTo>
                          <a:pt x="140" y="1238"/>
                        </a:lnTo>
                        <a:lnTo>
                          <a:pt x="134" y="1244"/>
                        </a:lnTo>
                        <a:lnTo>
                          <a:pt x="121" y="1251"/>
                        </a:lnTo>
                        <a:lnTo>
                          <a:pt x="102" y="1251"/>
                        </a:lnTo>
                        <a:lnTo>
                          <a:pt x="76" y="1238"/>
                        </a:lnTo>
                        <a:lnTo>
                          <a:pt x="70" y="1225"/>
                        </a:lnTo>
                        <a:lnTo>
                          <a:pt x="89" y="1206"/>
                        </a:lnTo>
                        <a:lnTo>
                          <a:pt x="108" y="1181"/>
                        </a:lnTo>
                        <a:lnTo>
                          <a:pt x="121" y="1162"/>
                        </a:lnTo>
                        <a:lnTo>
                          <a:pt x="121" y="1136"/>
                        </a:lnTo>
                        <a:lnTo>
                          <a:pt x="102" y="1124"/>
                        </a:lnTo>
                        <a:lnTo>
                          <a:pt x="102" y="1111"/>
                        </a:lnTo>
                        <a:lnTo>
                          <a:pt x="95" y="1060"/>
                        </a:lnTo>
                        <a:lnTo>
                          <a:pt x="89" y="1022"/>
                        </a:lnTo>
                        <a:lnTo>
                          <a:pt x="83" y="965"/>
                        </a:lnTo>
                        <a:lnTo>
                          <a:pt x="64" y="889"/>
                        </a:lnTo>
                        <a:lnTo>
                          <a:pt x="51" y="819"/>
                        </a:lnTo>
                        <a:lnTo>
                          <a:pt x="38" y="749"/>
                        </a:lnTo>
                        <a:lnTo>
                          <a:pt x="32" y="730"/>
                        </a:lnTo>
                        <a:lnTo>
                          <a:pt x="7" y="692"/>
                        </a:lnTo>
                        <a:lnTo>
                          <a:pt x="0" y="654"/>
                        </a:lnTo>
                        <a:lnTo>
                          <a:pt x="7" y="597"/>
                        </a:lnTo>
                        <a:lnTo>
                          <a:pt x="7" y="520"/>
                        </a:lnTo>
                        <a:lnTo>
                          <a:pt x="19" y="470"/>
                        </a:lnTo>
                        <a:lnTo>
                          <a:pt x="26" y="406"/>
                        </a:lnTo>
                        <a:lnTo>
                          <a:pt x="32" y="336"/>
                        </a:lnTo>
                        <a:lnTo>
                          <a:pt x="38" y="298"/>
                        </a:lnTo>
                        <a:lnTo>
                          <a:pt x="38" y="292"/>
                        </a:lnTo>
                        <a:lnTo>
                          <a:pt x="57" y="279"/>
                        </a:lnTo>
                        <a:close/>
                      </a:path>
                    </a:pathLst>
                  </a:custGeom>
                  <a:grpFill/>
                  <a:ln w="9525">
                    <a:noFill/>
                    <a:round/>
                    <a:headEnd/>
                    <a:tailEnd/>
                  </a:ln>
                </p:spPr>
                <p:txBody>
                  <a:bodyPr/>
                  <a:lstStyle/>
                  <a:p>
                    <a:pPr fontAlgn="auto">
                      <a:spcBef>
                        <a:spcPts val="0"/>
                      </a:spcBef>
                      <a:spcAft>
                        <a:spcPts val="0"/>
                      </a:spcAft>
                      <a:defRPr/>
                    </a:pPr>
                    <a:endParaRPr lang="da-DK" dirty="0">
                      <a:latin typeface="+mn-lt"/>
                      <a:ea typeface="+mn-ea"/>
                    </a:endParaRPr>
                  </a:p>
                </p:txBody>
              </p:sp>
            </p:grpSp>
            <p:sp>
              <p:nvSpPr>
                <p:cNvPr id="85" name="Freeform 382"/>
                <p:cNvSpPr>
                  <a:spLocks/>
                </p:cNvSpPr>
                <p:nvPr/>
              </p:nvSpPr>
              <p:spPr bwMode="auto">
                <a:xfrm>
                  <a:off x="507474" y="1004876"/>
                  <a:ext cx="758359" cy="2064115"/>
                </a:xfrm>
                <a:custGeom>
                  <a:avLst/>
                  <a:gdLst>
                    <a:gd name="T0" fmla="*/ 2147483647 w 133"/>
                    <a:gd name="T1" fmla="*/ 0 h 362"/>
                    <a:gd name="T2" fmla="*/ 2147483647 w 133"/>
                    <a:gd name="T3" fmla="*/ 2147483647 h 362"/>
                    <a:gd name="T4" fmla="*/ 2147483647 w 133"/>
                    <a:gd name="T5" fmla="*/ 2147483647 h 362"/>
                    <a:gd name="T6" fmla="*/ 2147483647 w 133"/>
                    <a:gd name="T7" fmla="*/ 2147483647 h 362"/>
                    <a:gd name="T8" fmla="*/ 2147483647 w 133"/>
                    <a:gd name="T9" fmla="*/ 2147483647 h 362"/>
                    <a:gd name="T10" fmla="*/ 2147483647 w 133"/>
                    <a:gd name="T11" fmla="*/ 2147483647 h 362"/>
                    <a:gd name="T12" fmla="*/ 2147483647 w 133"/>
                    <a:gd name="T13" fmla="*/ 2147483647 h 362"/>
                    <a:gd name="T14" fmla="*/ 2147483647 w 133"/>
                    <a:gd name="T15" fmla="*/ 2147483647 h 362"/>
                    <a:gd name="T16" fmla="*/ 2147483647 w 133"/>
                    <a:gd name="T17" fmla="*/ 2147483647 h 362"/>
                    <a:gd name="T18" fmla="*/ 2147483647 w 133"/>
                    <a:gd name="T19" fmla="*/ 2147483647 h 362"/>
                    <a:gd name="T20" fmla="*/ 0 w 133"/>
                    <a:gd name="T21" fmla="*/ 2147483647 h 362"/>
                    <a:gd name="T22" fmla="*/ 2147483647 w 133"/>
                    <a:gd name="T23" fmla="*/ 2147483647 h 362"/>
                    <a:gd name="T24" fmla="*/ 2147483647 w 133"/>
                    <a:gd name="T25" fmla="*/ 2147483647 h 362"/>
                    <a:gd name="T26" fmla="*/ 2147483647 w 133"/>
                    <a:gd name="T27" fmla="*/ 2147483647 h 362"/>
                    <a:gd name="T28" fmla="*/ 2147483647 w 133"/>
                    <a:gd name="T29" fmla="*/ 2147483647 h 362"/>
                    <a:gd name="T30" fmla="*/ 2147483647 w 133"/>
                    <a:gd name="T31" fmla="*/ 2147483647 h 362"/>
                    <a:gd name="T32" fmla="*/ 2147483647 w 133"/>
                    <a:gd name="T33" fmla="*/ 2147483647 h 362"/>
                    <a:gd name="T34" fmla="*/ 2147483647 w 133"/>
                    <a:gd name="T35" fmla="*/ 2147483647 h 362"/>
                    <a:gd name="T36" fmla="*/ 2147483647 w 133"/>
                    <a:gd name="T37" fmla="*/ 2147483647 h 362"/>
                    <a:gd name="T38" fmla="*/ 2147483647 w 133"/>
                    <a:gd name="T39" fmla="*/ 2147483647 h 362"/>
                    <a:gd name="T40" fmla="*/ 2147483647 w 133"/>
                    <a:gd name="T41" fmla="*/ 2147483647 h 362"/>
                    <a:gd name="T42" fmla="*/ 2147483647 w 133"/>
                    <a:gd name="T43" fmla="*/ 2147483647 h 362"/>
                    <a:gd name="T44" fmla="*/ 2147483647 w 133"/>
                    <a:gd name="T45" fmla="*/ 2147483647 h 362"/>
                    <a:gd name="T46" fmla="*/ 2147483647 w 133"/>
                    <a:gd name="T47" fmla="*/ 2147483647 h 362"/>
                    <a:gd name="T48" fmla="*/ 2147483647 w 133"/>
                    <a:gd name="T49" fmla="*/ 2147483647 h 362"/>
                    <a:gd name="T50" fmla="*/ 2147483647 w 133"/>
                    <a:gd name="T51" fmla="*/ 2147483647 h 362"/>
                    <a:gd name="T52" fmla="*/ 2147483647 w 133"/>
                    <a:gd name="T53" fmla="*/ 2147483647 h 362"/>
                    <a:gd name="T54" fmla="*/ 2147483647 w 133"/>
                    <a:gd name="T55" fmla="*/ 2147483647 h 362"/>
                    <a:gd name="T56" fmla="*/ 2147483647 w 133"/>
                    <a:gd name="T57" fmla="*/ 2147483647 h 362"/>
                    <a:gd name="T58" fmla="*/ 2147483647 w 133"/>
                    <a:gd name="T59" fmla="*/ 2147483647 h 362"/>
                    <a:gd name="T60" fmla="*/ 2147483647 w 133"/>
                    <a:gd name="T61" fmla="*/ 2147483647 h 362"/>
                    <a:gd name="T62" fmla="*/ 2147483647 w 133"/>
                    <a:gd name="T63" fmla="*/ 2147483647 h 362"/>
                    <a:gd name="T64" fmla="*/ 2147483647 w 133"/>
                    <a:gd name="T65" fmla="*/ 2147483647 h 362"/>
                    <a:gd name="T66" fmla="*/ 2147483647 w 133"/>
                    <a:gd name="T67" fmla="*/ 2147483647 h 362"/>
                    <a:gd name="T68" fmla="*/ 2147483647 w 133"/>
                    <a:gd name="T69" fmla="*/ 2147483647 h 362"/>
                    <a:gd name="T70" fmla="*/ 2147483647 w 133"/>
                    <a:gd name="T71" fmla="*/ 2147483647 h 362"/>
                    <a:gd name="T72" fmla="*/ 2147483647 w 133"/>
                    <a:gd name="T73" fmla="*/ 0 h 362"/>
                    <a:gd name="T74" fmla="*/ 2147483647 w 133"/>
                    <a:gd name="T75" fmla="*/ 0 h 3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3"/>
                    <a:gd name="T115" fmla="*/ 0 h 362"/>
                    <a:gd name="T116" fmla="*/ 133 w 133"/>
                    <a:gd name="T117" fmla="*/ 362 h 3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3" h="362">
                      <a:moveTo>
                        <a:pt x="127" y="0"/>
                      </a:moveTo>
                      <a:lnTo>
                        <a:pt x="133" y="12"/>
                      </a:lnTo>
                      <a:lnTo>
                        <a:pt x="102" y="165"/>
                      </a:lnTo>
                      <a:lnTo>
                        <a:pt x="83" y="279"/>
                      </a:lnTo>
                      <a:lnTo>
                        <a:pt x="83" y="330"/>
                      </a:lnTo>
                      <a:lnTo>
                        <a:pt x="89" y="355"/>
                      </a:lnTo>
                      <a:lnTo>
                        <a:pt x="57" y="362"/>
                      </a:lnTo>
                      <a:lnTo>
                        <a:pt x="25" y="362"/>
                      </a:lnTo>
                      <a:lnTo>
                        <a:pt x="0" y="355"/>
                      </a:lnTo>
                      <a:lnTo>
                        <a:pt x="6" y="304"/>
                      </a:lnTo>
                      <a:lnTo>
                        <a:pt x="13" y="298"/>
                      </a:lnTo>
                      <a:lnTo>
                        <a:pt x="38" y="317"/>
                      </a:lnTo>
                      <a:lnTo>
                        <a:pt x="76" y="292"/>
                      </a:lnTo>
                      <a:lnTo>
                        <a:pt x="76" y="228"/>
                      </a:lnTo>
                      <a:lnTo>
                        <a:pt x="83" y="165"/>
                      </a:lnTo>
                      <a:lnTo>
                        <a:pt x="76" y="108"/>
                      </a:lnTo>
                      <a:lnTo>
                        <a:pt x="76" y="63"/>
                      </a:lnTo>
                      <a:lnTo>
                        <a:pt x="83" y="44"/>
                      </a:lnTo>
                      <a:lnTo>
                        <a:pt x="57" y="44"/>
                      </a:lnTo>
                      <a:lnTo>
                        <a:pt x="45" y="57"/>
                      </a:lnTo>
                      <a:lnTo>
                        <a:pt x="57" y="69"/>
                      </a:lnTo>
                      <a:lnTo>
                        <a:pt x="45" y="146"/>
                      </a:lnTo>
                      <a:lnTo>
                        <a:pt x="25" y="216"/>
                      </a:lnTo>
                      <a:lnTo>
                        <a:pt x="32" y="165"/>
                      </a:lnTo>
                      <a:lnTo>
                        <a:pt x="32" y="101"/>
                      </a:lnTo>
                      <a:lnTo>
                        <a:pt x="38" y="63"/>
                      </a:lnTo>
                      <a:lnTo>
                        <a:pt x="38" y="31"/>
                      </a:lnTo>
                      <a:lnTo>
                        <a:pt x="45" y="25"/>
                      </a:lnTo>
                      <a:lnTo>
                        <a:pt x="64" y="38"/>
                      </a:lnTo>
                      <a:lnTo>
                        <a:pt x="76" y="38"/>
                      </a:lnTo>
                      <a:lnTo>
                        <a:pt x="102" y="19"/>
                      </a:lnTo>
                      <a:lnTo>
                        <a:pt x="121" y="6"/>
                      </a:lnTo>
                      <a:lnTo>
                        <a:pt x="1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86" name="Freeform 383"/>
                <p:cNvSpPr>
                  <a:spLocks/>
                </p:cNvSpPr>
                <p:nvPr/>
              </p:nvSpPr>
              <p:spPr bwMode="auto">
                <a:xfrm>
                  <a:off x="2605801" y="1147430"/>
                  <a:ext cx="473259" cy="1699187"/>
                </a:xfrm>
                <a:custGeom>
                  <a:avLst/>
                  <a:gdLst>
                    <a:gd name="T0" fmla="*/ 2147483647 w 83"/>
                    <a:gd name="T1" fmla="*/ 0 h 298"/>
                    <a:gd name="T2" fmla="*/ 2147483647 w 83"/>
                    <a:gd name="T3" fmla="*/ 2147483647 h 298"/>
                    <a:gd name="T4" fmla="*/ 2147483647 w 83"/>
                    <a:gd name="T5" fmla="*/ 2147483647 h 298"/>
                    <a:gd name="T6" fmla="*/ 2147483647 w 83"/>
                    <a:gd name="T7" fmla="*/ 2147483647 h 298"/>
                    <a:gd name="T8" fmla="*/ 2147483647 w 83"/>
                    <a:gd name="T9" fmla="*/ 2147483647 h 298"/>
                    <a:gd name="T10" fmla="*/ 2147483647 w 83"/>
                    <a:gd name="T11" fmla="*/ 2147483647 h 298"/>
                    <a:gd name="T12" fmla="*/ 2147483647 w 83"/>
                    <a:gd name="T13" fmla="*/ 2147483647 h 298"/>
                    <a:gd name="T14" fmla="*/ 2147483647 w 83"/>
                    <a:gd name="T15" fmla="*/ 2147483647 h 298"/>
                    <a:gd name="T16" fmla="*/ 2147483647 w 83"/>
                    <a:gd name="T17" fmla="*/ 2147483647 h 298"/>
                    <a:gd name="T18" fmla="*/ 2147483647 w 83"/>
                    <a:gd name="T19" fmla="*/ 2147483647 h 298"/>
                    <a:gd name="T20" fmla="*/ 2147483647 w 83"/>
                    <a:gd name="T21" fmla="*/ 2147483647 h 298"/>
                    <a:gd name="T22" fmla="*/ 2147483647 w 83"/>
                    <a:gd name="T23" fmla="*/ 2147483647 h 298"/>
                    <a:gd name="T24" fmla="*/ 2147483647 w 83"/>
                    <a:gd name="T25" fmla="*/ 2147483647 h 298"/>
                    <a:gd name="T26" fmla="*/ 2147483647 w 83"/>
                    <a:gd name="T27" fmla="*/ 2147483647 h 298"/>
                    <a:gd name="T28" fmla="*/ 2147483647 w 83"/>
                    <a:gd name="T29" fmla="*/ 2147483647 h 298"/>
                    <a:gd name="T30" fmla="*/ 2147483647 w 83"/>
                    <a:gd name="T31" fmla="*/ 2147483647 h 298"/>
                    <a:gd name="T32" fmla="*/ 0 w 83"/>
                    <a:gd name="T33" fmla="*/ 2147483647 h 298"/>
                    <a:gd name="T34" fmla="*/ 2147483647 w 83"/>
                    <a:gd name="T35" fmla="*/ 0 h 2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3"/>
                    <a:gd name="T55" fmla="*/ 0 h 298"/>
                    <a:gd name="T56" fmla="*/ 83 w 83"/>
                    <a:gd name="T57" fmla="*/ 298 h 2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3" h="298">
                      <a:moveTo>
                        <a:pt x="13" y="0"/>
                      </a:moveTo>
                      <a:lnTo>
                        <a:pt x="32" y="6"/>
                      </a:lnTo>
                      <a:lnTo>
                        <a:pt x="45" y="25"/>
                      </a:lnTo>
                      <a:lnTo>
                        <a:pt x="39" y="44"/>
                      </a:lnTo>
                      <a:lnTo>
                        <a:pt x="64" y="95"/>
                      </a:lnTo>
                      <a:lnTo>
                        <a:pt x="64" y="114"/>
                      </a:lnTo>
                      <a:lnTo>
                        <a:pt x="70" y="146"/>
                      </a:lnTo>
                      <a:lnTo>
                        <a:pt x="83" y="241"/>
                      </a:lnTo>
                      <a:lnTo>
                        <a:pt x="83" y="267"/>
                      </a:lnTo>
                      <a:lnTo>
                        <a:pt x="58" y="298"/>
                      </a:lnTo>
                      <a:lnTo>
                        <a:pt x="20" y="273"/>
                      </a:lnTo>
                      <a:lnTo>
                        <a:pt x="7" y="133"/>
                      </a:lnTo>
                      <a:lnTo>
                        <a:pt x="7" y="70"/>
                      </a:lnTo>
                      <a:lnTo>
                        <a:pt x="20" y="38"/>
                      </a:lnTo>
                      <a:lnTo>
                        <a:pt x="0" y="19"/>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87" name="Freeform 384"/>
                <p:cNvSpPr>
                  <a:spLocks/>
                </p:cNvSpPr>
                <p:nvPr/>
              </p:nvSpPr>
              <p:spPr bwMode="auto">
                <a:xfrm>
                  <a:off x="3694877" y="1039092"/>
                  <a:ext cx="473267" cy="650026"/>
                </a:xfrm>
                <a:custGeom>
                  <a:avLst/>
                  <a:gdLst>
                    <a:gd name="T0" fmla="*/ 2147483647 w 83"/>
                    <a:gd name="T1" fmla="*/ 2147483647 h 114"/>
                    <a:gd name="T2" fmla="*/ 2147483647 w 83"/>
                    <a:gd name="T3" fmla="*/ 2147483647 h 114"/>
                    <a:gd name="T4" fmla="*/ 2147483647 w 83"/>
                    <a:gd name="T5" fmla="*/ 2147483647 h 114"/>
                    <a:gd name="T6" fmla="*/ 0 w 83"/>
                    <a:gd name="T7" fmla="*/ 2147483647 h 114"/>
                    <a:gd name="T8" fmla="*/ 2147483647 w 83"/>
                    <a:gd name="T9" fmla="*/ 2147483647 h 114"/>
                    <a:gd name="T10" fmla="*/ 2147483647 w 83"/>
                    <a:gd name="T11" fmla="*/ 2147483647 h 114"/>
                    <a:gd name="T12" fmla="*/ 2147483647 w 83"/>
                    <a:gd name="T13" fmla="*/ 2147483647 h 114"/>
                    <a:gd name="T14" fmla="*/ 2147483647 w 83"/>
                    <a:gd name="T15" fmla="*/ 2147483647 h 114"/>
                    <a:gd name="T16" fmla="*/ 2147483647 w 83"/>
                    <a:gd name="T17" fmla="*/ 2147483647 h 114"/>
                    <a:gd name="T18" fmla="*/ 2147483647 w 83"/>
                    <a:gd name="T19" fmla="*/ 0 h 114"/>
                    <a:gd name="T20" fmla="*/ 2147483647 w 83"/>
                    <a:gd name="T21" fmla="*/ 2147483647 h 114"/>
                    <a:gd name="T22" fmla="*/ 2147483647 w 83"/>
                    <a:gd name="T23" fmla="*/ 2147483647 h 114"/>
                    <a:gd name="T24" fmla="*/ 2147483647 w 83"/>
                    <a:gd name="T25" fmla="*/ 2147483647 h 114"/>
                    <a:gd name="T26" fmla="*/ 2147483647 w 83"/>
                    <a:gd name="T27" fmla="*/ 2147483647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3"/>
                    <a:gd name="T43" fmla="*/ 0 h 114"/>
                    <a:gd name="T44" fmla="*/ 83 w 83"/>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3" h="114">
                      <a:moveTo>
                        <a:pt x="25" y="114"/>
                      </a:moveTo>
                      <a:lnTo>
                        <a:pt x="19" y="114"/>
                      </a:lnTo>
                      <a:lnTo>
                        <a:pt x="13" y="76"/>
                      </a:lnTo>
                      <a:lnTo>
                        <a:pt x="0" y="57"/>
                      </a:lnTo>
                      <a:lnTo>
                        <a:pt x="6" y="32"/>
                      </a:lnTo>
                      <a:lnTo>
                        <a:pt x="13" y="13"/>
                      </a:lnTo>
                      <a:lnTo>
                        <a:pt x="25" y="32"/>
                      </a:lnTo>
                      <a:lnTo>
                        <a:pt x="44" y="32"/>
                      </a:lnTo>
                      <a:lnTo>
                        <a:pt x="70" y="19"/>
                      </a:lnTo>
                      <a:lnTo>
                        <a:pt x="83" y="0"/>
                      </a:lnTo>
                      <a:lnTo>
                        <a:pt x="83" y="32"/>
                      </a:lnTo>
                      <a:lnTo>
                        <a:pt x="57" y="57"/>
                      </a:lnTo>
                      <a:lnTo>
                        <a:pt x="44" y="76"/>
                      </a:lnTo>
                      <a:lnTo>
                        <a:pt x="25"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nvGrpSpPr>
              <p:cNvPr id="52" name="Group 51"/>
              <p:cNvGrpSpPr/>
              <p:nvPr/>
            </p:nvGrpSpPr>
            <p:grpSpPr>
              <a:xfrm>
                <a:off x="2670209" y="2914105"/>
                <a:ext cx="660451" cy="729794"/>
                <a:chOff x="4699861" y="3091545"/>
                <a:chExt cx="409730" cy="452750"/>
              </a:xfrm>
              <a:solidFill>
                <a:schemeClr val="bg1">
                  <a:lumMod val="85000"/>
                </a:schemeClr>
              </a:solidFill>
              <a:effectLst/>
            </p:grpSpPr>
            <p:sp>
              <p:nvSpPr>
                <p:cNvPr id="80" name="Freeform 88"/>
                <p:cNvSpPr>
                  <a:spLocks/>
                </p:cNvSpPr>
                <p:nvPr/>
              </p:nvSpPr>
              <p:spPr bwMode="auto">
                <a:xfrm>
                  <a:off x="4699861" y="3152727"/>
                  <a:ext cx="409730" cy="391568"/>
                </a:xfrm>
                <a:custGeom>
                  <a:avLst/>
                  <a:gdLst>
                    <a:gd name="T0" fmla="*/ 2147483647 w 268"/>
                    <a:gd name="T1" fmla="*/ 0 h 256"/>
                    <a:gd name="T2" fmla="*/ 2147483647 w 268"/>
                    <a:gd name="T3" fmla="*/ 2147483647 h 256"/>
                    <a:gd name="T4" fmla="*/ 2147483647 w 268"/>
                    <a:gd name="T5" fmla="*/ 2147483647 h 256"/>
                    <a:gd name="T6" fmla="*/ 0 w 268"/>
                    <a:gd name="T7" fmla="*/ 2147483647 h 256"/>
                    <a:gd name="T8" fmla="*/ 2147483647 w 268"/>
                    <a:gd name="T9" fmla="*/ 0 h 256"/>
                    <a:gd name="T10" fmla="*/ 0 60000 65536"/>
                    <a:gd name="T11" fmla="*/ 0 60000 65536"/>
                    <a:gd name="T12" fmla="*/ 0 60000 65536"/>
                    <a:gd name="T13" fmla="*/ 0 60000 65536"/>
                    <a:gd name="T14" fmla="*/ 0 60000 65536"/>
                    <a:gd name="T15" fmla="*/ 0 w 268"/>
                    <a:gd name="T16" fmla="*/ 0 h 256"/>
                    <a:gd name="T17" fmla="*/ 268 w 268"/>
                    <a:gd name="T18" fmla="*/ 256 h 256"/>
                  </a:gdLst>
                  <a:ahLst/>
                  <a:cxnLst>
                    <a:cxn ang="T10">
                      <a:pos x="T0" y="T1"/>
                    </a:cxn>
                    <a:cxn ang="T11">
                      <a:pos x="T2" y="T3"/>
                    </a:cxn>
                    <a:cxn ang="T12">
                      <a:pos x="T4" y="T5"/>
                    </a:cxn>
                    <a:cxn ang="T13">
                      <a:pos x="T6" y="T7"/>
                    </a:cxn>
                    <a:cxn ang="T14">
                      <a:pos x="T8" y="T9"/>
                    </a:cxn>
                  </a:cxnLst>
                  <a:rect l="T15" t="T16" r="T17" b="T18"/>
                  <a:pathLst>
                    <a:path w="268" h="256">
                      <a:moveTo>
                        <a:pt x="68" y="0"/>
                      </a:moveTo>
                      <a:lnTo>
                        <a:pt x="268" y="6"/>
                      </a:lnTo>
                      <a:lnTo>
                        <a:pt x="232" y="256"/>
                      </a:lnTo>
                      <a:lnTo>
                        <a:pt x="0" y="246"/>
                      </a:lnTo>
                      <a:lnTo>
                        <a:pt x="68" y="0"/>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81" name="Freeform 89"/>
                <p:cNvSpPr>
                  <a:spLocks noEditPoints="1"/>
                </p:cNvSpPr>
                <p:nvPr/>
              </p:nvSpPr>
              <p:spPr bwMode="auto">
                <a:xfrm>
                  <a:off x="4745726" y="3186377"/>
                  <a:ext cx="327172" cy="324268"/>
                </a:xfrm>
                <a:custGeom>
                  <a:avLst/>
                  <a:gdLst>
                    <a:gd name="T0" fmla="*/ 2147483647 w 214"/>
                    <a:gd name="T1" fmla="*/ 2147483647 h 212"/>
                    <a:gd name="T2" fmla="*/ 2147483647 w 214"/>
                    <a:gd name="T3" fmla="*/ 2147483647 h 212"/>
                    <a:gd name="T4" fmla="*/ 2147483647 w 214"/>
                    <a:gd name="T5" fmla="*/ 2147483647 h 212"/>
                    <a:gd name="T6" fmla="*/ 2147483647 w 214"/>
                    <a:gd name="T7" fmla="*/ 2147483647 h 212"/>
                    <a:gd name="T8" fmla="*/ 2147483647 w 214"/>
                    <a:gd name="T9" fmla="*/ 2147483647 h 212"/>
                    <a:gd name="T10" fmla="*/ 2147483647 w 214"/>
                    <a:gd name="T11" fmla="*/ 2147483647 h 212"/>
                    <a:gd name="T12" fmla="*/ 2147483647 w 214"/>
                    <a:gd name="T13" fmla="*/ 2147483647 h 212"/>
                    <a:gd name="T14" fmla="*/ 2147483647 w 214"/>
                    <a:gd name="T15" fmla="*/ 2147483647 h 212"/>
                    <a:gd name="T16" fmla="*/ 2147483647 w 214"/>
                    <a:gd name="T17" fmla="*/ 2147483647 h 212"/>
                    <a:gd name="T18" fmla="*/ 2147483647 w 214"/>
                    <a:gd name="T19" fmla="*/ 2147483647 h 212"/>
                    <a:gd name="T20" fmla="*/ 2147483647 w 214"/>
                    <a:gd name="T21" fmla="*/ 2147483647 h 212"/>
                    <a:gd name="T22" fmla="*/ 2147483647 w 214"/>
                    <a:gd name="T23" fmla="*/ 2147483647 h 212"/>
                    <a:gd name="T24" fmla="*/ 2147483647 w 214"/>
                    <a:gd name="T25" fmla="*/ 2147483647 h 212"/>
                    <a:gd name="T26" fmla="*/ 2147483647 w 214"/>
                    <a:gd name="T27" fmla="*/ 2147483647 h 212"/>
                    <a:gd name="T28" fmla="*/ 2147483647 w 214"/>
                    <a:gd name="T29" fmla="*/ 2147483647 h 212"/>
                    <a:gd name="T30" fmla="*/ 2147483647 w 214"/>
                    <a:gd name="T31" fmla="*/ 2147483647 h 212"/>
                    <a:gd name="T32" fmla="*/ 2147483647 w 214"/>
                    <a:gd name="T33" fmla="*/ 2147483647 h 212"/>
                    <a:gd name="T34" fmla="*/ 2147483647 w 214"/>
                    <a:gd name="T35" fmla="*/ 2147483647 h 212"/>
                    <a:gd name="T36" fmla="*/ 2147483647 w 214"/>
                    <a:gd name="T37" fmla="*/ 2147483647 h 212"/>
                    <a:gd name="T38" fmla="*/ 2147483647 w 214"/>
                    <a:gd name="T39" fmla="*/ 2147483647 h 212"/>
                    <a:gd name="T40" fmla="*/ 2147483647 w 214"/>
                    <a:gd name="T41" fmla="*/ 2147483647 h 212"/>
                    <a:gd name="T42" fmla="*/ 2147483647 w 214"/>
                    <a:gd name="T43" fmla="*/ 2147483647 h 212"/>
                    <a:gd name="T44" fmla="*/ 2147483647 w 214"/>
                    <a:gd name="T45" fmla="*/ 2147483647 h 212"/>
                    <a:gd name="T46" fmla="*/ 2147483647 w 214"/>
                    <a:gd name="T47" fmla="*/ 2147483647 h 212"/>
                    <a:gd name="T48" fmla="*/ 2147483647 w 214"/>
                    <a:gd name="T49" fmla="*/ 2147483647 h 212"/>
                    <a:gd name="T50" fmla="*/ 2147483647 w 214"/>
                    <a:gd name="T51" fmla="*/ 2147483647 h 212"/>
                    <a:gd name="T52" fmla="*/ 2147483647 w 214"/>
                    <a:gd name="T53" fmla="*/ 2147483647 h 212"/>
                    <a:gd name="T54" fmla="*/ 2147483647 w 214"/>
                    <a:gd name="T55" fmla="*/ 2147483647 h 212"/>
                    <a:gd name="T56" fmla="*/ 2147483647 w 214"/>
                    <a:gd name="T57" fmla="*/ 2147483647 h 212"/>
                    <a:gd name="T58" fmla="*/ 2147483647 w 214"/>
                    <a:gd name="T59" fmla="*/ 2147483647 h 212"/>
                    <a:gd name="T60" fmla="*/ 2147483647 w 214"/>
                    <a:gd name="T61" fmla="*/ 2147483647 h 212"/>
                    <a:gd name="T62" fmla="*/ 2147483647 w 214"/>
                    <a:gd name="T63" fmla="*/ 2147483647 h 212"/>
                    <a:gd name="T64" fmla="*/ 2147483647 w 214"/>
                    <a:gd name="T65" fmla="*/ 2147483647 h 212"/>
                    <a:gd name="T66" fmla="*/ 0 w 214"/>
                    <a:gd name="T67" fmla="*/ 2147483647 h 212"/>
                    <a:gd name="T68" fmla="*/ 2147483647 w 214"/>
                    <a:gd name="T69" fmla="*/ 2147483647 h 212"/>
                    <a:gd name="T70" fmla="*/ 2147483647 w 214"/>
                    <a:gd name="T71" fmla="*/ 2147483647 h 212"/>
                    <a:gd name="T72" fmla="*/ 2147483647 w 214"/>
                    <a:gd name="T73" fmla="*/ 0 h 212"/>
                    <a:gd name="T74" fmla="*/ 2147483647 w 214"/>
                    <a:gd name="T75" fmla="*/ 2147483647 h 212"/>
                    <a:gd name="T76" fmla="*/ 2147483647 w 214"/>
                    <a:gd name="T77" fmla="*/ 2147483647 h 212"/>
                    <a:gd name="T78" fmla="*/ 2147483647 w 214"/>
                    <a:gd name="T79" fmla="*/ 2147483647 h 212"/>
                    <a:gd name="T80" fmla="*/ 2147483647 w 214"/>
                    <a:gd name="T81" fmla="*/ 0 h 2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4"/>
                    <a:gd name="T124" fmla="*/ 0 h 212"/>
                    <a:gd name="T125" fmla="*/ 214 w 214"/>
                    <a:gd name="T126" fmla="*/ 212 h 2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4" h="212">
                      <a:moveTo>
                        <a:pt x="44" y="32"/>
                      </a:moveTo>
                      <a:lnTo>
                        <a:pt x="208" y="38"/>
                      </a:lnTo>
                      <a:lnTo>
                        <a:pt x="206" y="50"/>
                      </a:lnTo>
                      <a:lnTo>
                        <a:pt x="40" y="44"/>
                      </a:lnTo>
                      <a:lnTo>
                        <a:pt x="44" y="32"/>
                      </a:lnTo>
                      <a:close/>
                      <a:moveTo>
                        <a:pt x="36" y="64"/>
                      </a:moveTo>
                      <a:lnTo>
                        <a:pt x="204" y="70"/>
                      </a:lnTo>
                      <a:lnTo>
                        <a:pt x="202" y="84"/>
                      </a:lnTo>
                      <a:lnTo>
                        <a:pt x="32" y="78"/>
                      </a:lnTo>
                      <a:lnTo>
                        <a:pt x="36" y="64"/>
                      </a:lnTo>
                      <a:close/>
                      <a:moveTo>
                        <a:pt x="28" y="96"/>
                      </a:moveTo>
                      <a:lnTo>
                        <a:pt x="198" y="102"/>
                      </a:lnTo>
                      <a:lnTo>
                        <a:pt x="196" y="116"/>
                      </a:lnTo>
                      <a:lnTo>
                        <a:pt x="24" y="108"/>
                      </a:lnTo>
                      <a:lnTo>
                        <a:pt x="28" y="96"/>
                      </a:lnTo>
                      <a:close/>
                      <a:moveTo>
                        <a:pt x="20" y="128"/>
                      </a:moveTo>
                      <a:lnTo>
                        <a:pt x="194" y="134"/>
                      </a:lnTo>
                      <a:lnTo>
                        <a:pt x="192" y="148"/>
                      </a:lnTo>
                      <a:lnTo>
                        <a:pt x="16" y="140"/>
                      </a:lnTo>
                      <a:lnTo>
                        <a:pt x="20" y="128"/>
                      </a:lnTo>
                      <a:close/>
                      <a:moveTo>
                        <a:pt x="10" y="160"/>
                      </a:moveTo>
                      <a:lnTo>
                        <a:pt x="188" y="166"/>
                      </a:lnTo>
                      <a:lnTo>
                        <a:pt x="186" y="180"/>
                      </a:lnTo>
                      <a:lnTo>
                        <a:pt x="6" y="172"/>
                      </a:lnTo>
                      <a:lnTo>
                        <a:pt x="10" y="160"/>
                      </a:lnTo>
                      <a:close/>
                      <a:moveTo>
                        <a:pt x="2" y="192"/>
                      </a:moveTo>
                      <a:lnTo>
                        <a:pt x="184" y="200"/>
                      </a:lnTo>
                      <a:lnTo>
                        <a:pt x="182" y="212"/>
                      </a:lnTo>
                      <a:lnTo>
                        <a:pt x="0" y="204"/>
                      </a:lnTo>
                      <a:lnTo>
                        <a:pt x="2" y="192"/>
                      </a:lnTo>
                      <a:close/>
                      <a:moveTo>
                        <a:pt x="52" y="0"/>
                      </a:moveTo>
                      <a:lnTo>
                        <a:pt x="214" y="6"/>
                      </a:lnTo>
                      <a:lnTo>
                        <a:pt x="212" y="18"/>
                      </a:lnTo>
                      <a:lnTo>
                        <a:pt x="50" y="12"/>
                      </a:lnTo>
                      <a:lnTo>
                        <a:pt x="52" y="0"/>
                      </a:lnTo>
                      <a:close/>
                    </a:path>
                  </a:pathLst>
                </a:custGeom>
                <a:grpFill/>
                <a:ln>
                  <a:noFill/>
                </a:ln>
                <a:extLst/>
              </p:spPr>
              <p:txBody>
                <a:bodyPr/>
                <a:lstStyle/>
                <a:p>
                  <a:pPr fontAlgn="auto">
                    <a:spcBef>
                      <a:spcPts val="0"/>
                    </a:spcBef>
                    <a:spcAft>
                      <a:spcPts val="0"/>
                    </a:spcAft>
                    <a:defRPr/>
                  </a:pPr>
                  <a:endParaRPr lang="en-US">
                    <a:latin typeface="+mn-lt"/>
                    <a:ea typeface="+mn-ea"/>
                  </a:endParaRPr>
                </a:p>
              </p:txBody>
            </p:sp>
            <p:sp>
              <p:nvSpPr>
                <p:cNvPr id="82" name="Freeform 90"/>
                <p:cNvSpPr>
                  <a:spLocks/>
                </p:cNvSpPr>
                <p:nvPr/>
              </p:nvSpPr>
              <p:spPr bwMode="auto">
                <a:xfrm>
                  <a:off x="4699865" y="3091545"/>
                  <a:ext cx="379153" cy="437455"/>
                </a:xfrm>
                <a:custGeom>
                  <a:avLst/>
                  <a:gdLst>
                    <a:gd name="T0" fmla="*/ 2147483647 w 248"/>
                    <a:gd name="T1" fmla="*/ 2147483647 h 286"/>
                    <a:gd name="T2" fmla="*/ 2147483647 w 248"/>
                    <a:gd name="T3" fmla="*/ 2147483647 h 286"/>
                    <a:gd name="T4" fmla="*/ 2147483647 w 248"/>
                    <a:gd name="T5" fmla="*/ 2147483647 h 286"/>
                    <a:gd name="T6" fmla="*/ 2147483647 w 248"/>
                    <a:gd name="T7" fmla="*/ 2147483647 h 286"/>
                    <a:gd name="T8" fmla="*/ 2147483647 w 248"/>
                    <a:gd name="T9" fmla="*/ 2147483647 h 286"/>
                    <a:gd name="T10" fmla="*/ 2147483647 w 248"/>
                    <a:gd name="T11" fmla="*/ 0 h 286"/>
                    <a:gd name="T12" fmla="*/ 2147483647 w 248"/>
                    <a:gd name="T13" fmla="*/ 2147483647 h 286"/>
                    <a:gd name="T14" fmla="*/ 2147483647 w 248"/>
                    <a:gd name="T15" fmla="*/ 2147483647 h 286"/>
                    <a:gd name="T16" fmla="*/ 2147483647 w 248"/>
                    <a:gd name="T17" fmla="*/ 2147483647 h 286"/>
                    <a:gd name="T18" fmla="*/ 2147483647 w 248"/>
                    <a:gd name="T19" fmla="*/ 2147483647 h 286"/>
                    <a:gd name="T20" fmla="*/ 2147483647 w 248"/>
                    <a:gd name="T21" fmla="*/ 2147483647 h 286"/>
                    <a:gd name="T22" fmla="*/ 0 w 248"/>
                    <a:gd name="T23" fmla="*/ 2147483647 h 286"/>
                    <a:gd name="T24" fmla="*/ 2147483647 w 248"/>
                    <a:gd name="T25" fmla="*/ 2147483647 h 2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8"/>
                    <a:gd name="T40" fmla="*/ 0 h 286"/>
                    <a:gd name="T41" fmla="*/ 248 w 248"/>
                    <a:gd name="T42" fmla="*/ 286 h 2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8" h="286">
                      <a:moveTo>
                        <a:pt x="68" y="40"/>
                      </a:moveTo>
                      <a:lnTo>
                        <a:pt x="68" y="40"/>
                      </a:lnTo>
                      <a:lnTo>
                        <a:pt x="114" y="36"/>
                      </a:lnTo>
                      <a:lnTo>
                        <a:pt x="160" y="28"/>
                      </a:lnTo>
                      <a:lnTo>
                        <a:pt x="204" y="16"/>
                      </a:lnTo>
                      <a:lnTo>
                        <a:pt x="248" y="0"/>
                      </a:lnTo>
                      <a:lnTo>
                        <a:pt x="196" y="244"/>
                      </a:lnTo>
                      <a:lnTo>
                        <a:pt x="148" y="260"/>
                      </a:lnTo>
                      <a:lnTo>
                        <a:pt x="100" y="274"/>
                      </a:lnTo>
                      <a:lnTo>
                        <a:pt x="50" y="282"/>
                      </a:lnTo>
                      <a:lnTo>
                        <a:pt x="0" y="286"/>
                      </a:lnTo>
                      <a:lnTo>
                        <a:pt x="68" y="40"/>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83" name="Freeform 92"/>
                <p:cNvSpPr>
                  <a:spLocks/>
                </p:cNvSpPr>
                <p:nvPr/>
              </p:nvSpPr>
              <p:spPr bwMode="auto">
                <a:xfrm>
                  <a:off x="4776308" y="3220026"/>
                  <a:ext cx="128423" cy="131543"/>
                </a:xfrm>
                <a:custGeom>
                  <a:avLst/>
                  <a:gdLst>
                    <a:gd name="T0" fmla="*/ 2147483647 w 84"/>
                    <a:gd name="T1" fmla="*/ 2147483647 h 86"/>
                    <a:gd name="T2" fmla="*/ 2147483647 w 84"/>
                    <a:gd name="T3" fmla="*/ 2147483647 h 86"/>
                    <a:gd name="T4" fmla="*/ 2147483647 w 84"/>
                    <a:gd name="T5" fmla="*/ 2147483647 h 86"/>
                    <a:gd name="T6" fmla="*/ 2147483647 w 84"/>
                    <a:gd name="T7" fmla="*/ 0 h 86"/>
                    <a:gd name="T8" fmla="*/ 2147483647 w 84"/>
                    <a:gd name="T9" fmla="*/ 2147483647 h 86"/>
                    <a:gd name="T10" fmla="*/ 2147483647 w 84"/>
                    <a:gd name="T11" fmla="*/ 2147483647 h 86"/>
                    <a:gd name="T12" fmla="*/ 2147483647 w 84"/>
                    <a:gd name="T13" fmla="*/ 2147483647 h 86"/>
                    <a:gd name="T14" fmla="*/ 0 w 84"/>
                    <a:gd name="T15" fmla="*/ 2147483647 h 86"/>
                    <a:gd name="T16" fmla="*/ 2147483647 w 84"/>
                    <a:gd name="T17" fmla="*/ 2147483647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4"/>
                    <a:gd name="T28" fmla="*/ 0 h 86"/>
                    <a:gd name="T29" fmla="*/ 84 w 84"/>
                    <a:gd name="T30" fmla="*/ 86 h 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4" h="86">
                      <a:moveTo>
                        <a:pt x="22" y="10"/>
                      </a:moveTo>
                      <a:lnTo>
                        <a:pt x="22" y="10"/>
                      </a:lnTo>
                      <a:lnTo>
                        <a:pt x="52" y="6"/>
                      </a:lnTo>
                      <a:lnTo>
                        <a:pt x="84" y="0"/>
                      </a:lnTo>
                      <a:lnTo>
                        <a:pt x="64" y="78"/>
                      </a:lnTo>
                      <a:lnTo>
                        <a:pt x="32" y="82"/>
                      </a:lnTo>
                      <a:lnTo>
                        <a:pt x="0" y="86"/>
                      </a:lnTo>
                      <a:lnTo>
                        <a:pt x="22" y="10"/>
                      </a:lnTo>
                      <a:close/>
                    </a:path>
                  </a:pathLst>
                </a:custGeom>
                <a:grpFill/>
                <a:ln>
                  <a:noFill/>
                </a:ln>
                <a:extLst/>
              </p:spPr>
              <p:txBody>
                <a:bodyPr/>
                <a:lstStyle/>
                <a:p>
                  <a:pPr fontAlgn="auto">
                    <a:spcBef>
                      <a:spcPts val="0"/>
                    </a:spcBef>
                    <a:spcAft>
                      <a:spcPts val="0"/>
                    </a:spcAft>
                    <a:defRPr/>
                  </a:pPr>
                  <a:endParaRPr lang="en-US">
                    <a:latin typeface="+mn-lt"/>
                    <a:ea typeface="+mn-ea"/>
                  </a:endParaRPr>
                </a:p>
              </p:txBody>
            </p:sp>
          </p:grpSp>
          <p:grpSp>
            <p:nvGrpSpPr>
              <p:cNvPr id="53" name="Group 287"/>
              <p:cNvGrpSpPr>
                <a:grpSpLocks/>
              </p:cNvGrpSpPr>
              <p:nvPr/>
            </p:nvGrpSpPr>
            <p:grpSpPr bwMode="auto">
              <a:xfrm>
                <a:off x="5676900" y="1547813"/>
                <a:ext cx="828675" cy="450850"/>
                <a:chOff x="5038125" y="4776246"/>
                <a:chExt cx="829402" cy="451390"/>
              </a:xfrm>
              <a:solidFill>
                <a:schemeClr val="bg1">
                  <a:lumMod val="85000"/>
                </a:schemeClr>
              </a:solidFill>
            </p:grpSpPr>
            <p:sp>
              <p:nvSpPr>
                <p:cNvPr id="77" name="Freeform 76"/>
                <p:cNvSpPr>
                  <a:spLocks/>
                </p:cNvSpPr>
                <p:nvPr/>
              </p:nvSpPr>
              <p:spPr bwMode="auto">
                <a:xfrm>
                  <a:off x="5217670" y="4776246"/>
                  <a:ext cx="475078" cy="451390"/>
                </a:xfrm>
                <a:custGeom>
                  <a:avLst/>
                  <a:gdLst>
                    <a:gd name="T0" fmla="*/ 836 w 1482"/>
                    <a:gd name="T1" fmla="*/ 11 h 1412"/>
                    <a:gd name="T2" fmla="*/ 888 w 1482"/>
                    <a:gd name="T3" fmla="*/ 35 h 1412"/>
                    <a:gd name="T4" fmla="*/ 943 w 1482"/>
                    <a:gd name="T5" fmla="*/ 89 h 1412"/>
                    <a:gd name="T6" fmla="*/ 999 w 1482"/>
                    <a:gd name="T7" fmla="*/ 170 h 1412"/>
                    <a:gd name="T8" fmla="*/ 1027 w 1482"/>
                    <a:gd name="T9" fmla="*/ 254 h 1412"/>
                    <a:gd name="T10" fmla="*/ 1017 w 1482"/>
                    <a:gd name="T11" fmla="*/ 402 h 1412"/>
                    <a:gd name="T12" fmla="*/ 1024 w 1482"/>
                    <a:gd name="T13" fmla="*/ 459 h 1412"/>
                    <a:gd name="T14" fmla="*/ 1041 w 1482"/>
                    <a:gd name="T15" fmla="*/ 464 h 1412"/>
                    <a:gd name="T16" fmla="*/ 1038 w 1482"/>
                    <a:gd name="T17" fmla="*/ 532 h 1412"/>
                    <a:gd name="T18" fmla="*/ 1009 w 1482"/>
                    <a:gd name="T19" fmla="*/ 669 h 1412"/>
                    <a:gd name="T20" fmla="*/ 996 w 1482"/>
                    <a:gd name="T21" fmla="*/ 681 h 1412"/>
                    <a:gd name="T22" fmla="*/ 966 w 1482"/>
                    <a:gd name="T23" fmla="*/ 748 h 1412"/>
                    <a:gd name="T24" fmla="*/ 947 w 1482"/>
                    <a:gd name="T25" fmla="*/ 796 h 1412"/>
                    <a:gd name="T26" fmla="*/ 907 w 1482"/>
                    <a:gd name="T27" fmla="*/ 867 h 1412"/>
                    <a:gd name="T28" fmla="*/ 949 w 1482"/>
                    <a:gd name="T29" fmla="*/ 896 h 1412"/>
                    <a:gd name="T30" fmla="*/ 976 w 1482"/>
                    <a:gd name="T31" fmla="*/ 933 h 1412"/>
                    <a:gd name="T32" fmla="*/ 1092 w 1482"/>
                    <a:gd name="T33" fmla="*/ 991 h 1412"/>
                    <a:gd name="T34" fmla="*/ 1358 w 1482"/>
                    <a:gd name="T35" fmla="*/ 1104 h 1412"/>
                    <a:gd name="T36" fmla="*/ 1439 w 1482"/>
                    <a:gd name="T37" fmla="*/ 1152 h 1412"/>
                    <a:gd name="T38" fmla="*/ 1473 w 1482"/>
                    <a:gd name="T39" fmla="*/ 1189 h 1412"/>
                    <a:gd name="T40" fmla="*/ 1482 w 1482"/>
                    <a:gd name="T41" fmla="*/ 1232 h 1412"/>
                    <a:gd name="T42" fmla="*/ 1475 w 1482"/>
                    <a:gd name="T43" fmla="*/ 1397 h 1412"/>
                    <a:gd name="T44" fmla="*/ 828 w 1482"/>
                    <a:gd name="T45" fmla="*/ 1224 h 1412"/>
                    <a:gd name="T46" fmla="*/ 816 w 1482"/>
                    <a:gd name="T47" fmla="*/ 1179 h 1412"/>
                    <a:gd name="T48" fmla="*/ 874 w 1482"/>
                    <a:gd name="T49" fmla="*/ 1106 h 1412"/>
                    <a:gd name="T50" fmla="*/ 943 w 1482"/>
                    <a:gd name="T51" fmla="*/ 989 h 1412"/>
                    <a:gd name="T52" fmla="*/ 831 w 1482"/>
                    <a:gd name="T53" fmla="*/ 1093 h 1412"/>
                    <a:gd name="T54" fmla="*/ 742 w 1482"/>
                    <a:gd name="T55" fmla="*/ 1125 h 1412"/>
                    <a:gd name="T56" fmla="*/ 693 w 1482"/>
                    <a:gd name="T57" fmla="*/ 1119 h 1412"/>
                    <a:gd name="T58" fmla="*/ 601 w 1482"/>
                    <a:gd name="T59" fmla="*/ 1052 h 1412"/>
                    <a:gd name="T60" fmla="*/ 566 w 1482"/>
                    <a:gd name="T61" fmla="*/ 1037 h 1412"/>
                    <a:gd name="T62" fmla="*/ 653 w 1482"/>
                    <a:gd name="T63" fmla="*/ 1145 h 1412"/>
                    <a:gd name="T64" fmla="*/ 677 w 1482"/>
                    <a:gd name="T65" fmla="*/ 1191 h 1412"/>
                    <a:gd name="T66" fmla="*/ 676 w 1482"/>
                    <a:gd name="T67" fmla="*/ 1232 h 1412"/>
                    <a:gd name="T68" fmla="*/ 691 w 1482"/>
                    <a:gd name="T69" fmla="*/ 1262 h 1412"/>
                    <a:gd name="T70" fmla="*/ 689 w 1482"/>
                    <a:gd name="T71" fmla="*/ 1377 h 1412"/>
                    <a:gd name="T72" fmla="*/ 4 w 1482"/>
                    <a:gd name="T73" fmla="*/ 1333 h 1412"/>
                    <a:gd name="T74" fmla="*/ 1 w 1482"/>
                    <a:gd name="T75" fmla="*/ 1213 h 1412"/>
                    <a:gd name="T76" fmla="*/ 20 w 1482"/>
                    <a:gd name="T77" fmla="*/ 1175 h 1412"/>
                    <a:gd name="T78" fmla="*/ 67 w 1482"/>
                    <a:gd name="T79" fmla="*/ 1135 h 1412"/>
                    <a:gd name="T80" fmla="*/ 208 w 1482"/>
                    <a:gd name="T81" fmla="*/ 1066 h 1412"/>
                    <a:gd name="T82" fmla="*/ 473 w 1482"/>
                    <a:gd name="T83" fmla="*/ 954 h 1412"/>
                    <a:gd name="T84" fmla="*/ 521 w 1482"/>
                    <a:gd name="T85" fmla="*/ 917 h 1412"/>
                    <a:gd name="T86" fmla="*/ 539 w 1482"/>
                    <a:gd name="T87" fmla="*/ 874 h 1412"/>
                    <a:gd name="T88" fmla="*/ 569 w 1482"/>
                    <a:gd name="T89" fmla="*/ 832 h 1412"/>
                    <a:gd name="T90" fmla="*/ 528 w 1482"/>
                    <a:gd name="T91" fmla="*/ 784 h 1412"/>
                    <a:gd name="T92" fmla="*/ 507 w 1482"/>
                    <a:gd name="T93" fmla="*/ 690 h 1412"/>
                    <a:gd name="T94" fmla="*/ 481 w 1482"/>
                    <a:gd name="T95" fmla="*/ 680 h 1412"/>
                    <a:gd name="T96" fmla="*/ 462 w 1482"/>
                    <a:gd name="T97" fmla="*/ 631 h 1412"/>
                    <a:gd name="T98" fmla="*/ 438 w 1482"/>
                    <a:gd name="T99" fmla="*/ 481 h 1412"/>
                    <a:gd name="T100" fmla="*/ 442 w 1482"/>
                    <a:gd name="T101" fmla="*/ 462 h 1412"/>
                    <a:gd name="T102" fmla="*/ 461 w 1482"/>
                    <a:gd name="T103" fmla="*/ 460 h 1412"/>
                    <a:gd name="T104" fmla="*/ 455 w 1482"/>
                    <a:gd name="T105" fmla="*/ 432 h 1412"/>
                    <a:gd name="T106" fmla="*/ 438 w 1482"/>
                    <a:gd name="T107" fmla="*/ 359 h 1412"/>
                    <a:gd name="T108" fmla="*/ 440 w 1482"/>
                    <a:gd name="T109" fmla="*/ 246 h 1412"/>
                    <a:gd name="T110" fmla="*/ 459 w 1482"/>
                    <a:gd name="T111" fmla="*/ 140 h 1412"/>
                    <a:gd name="T112" fmla="*/ 485 w 1482"/>
                    <a:gd name="T113" fmla="*/ 90 h 1412"/>
                    <a:gd name="T114" fmla="*/ 510 w 1482"/>
                    <a:gd name="T115" fmla="*/ 77 h 1412"/>
                    <a:gd name="T116" fmla="*/ 557 w 1482"/>
                    <a:gd name="T117" fmla="*/ 69 h 1412"/>
                    <a:gd name="T118" fmla="*/ 604 w 1482"/>
                    <a:gd name="T119" fmla="*/ 28 h 1412"/>
                    <a:gd name="T120" fmla="*/ 670 w 1482"/>
                    <a:gd name="T121" fmla="*/ 6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2" h="1412">
                      <a:moveTo>
                        <a:pt x="741" y="0"/>
                      </a:moveTo>
                      <a:lnTo>
                        <a:pt x="765" y="1"/>
                      </a:lnTo>
                      <a:lnTo>
                        <a:pt x="788" y="2"/>
                      </a:lnTo>
                      <a:lnTo>
                        <a:pt x="812" y="6"/>
                      </a:lnTo>
                      <a:lnTo>
                        <a:pt x="836" y="11"/>
                      </a:lnTo>
                      <a:lnTo>
                        <a:pt x="846" y="15"/>
                      </a:lnTo>
                      <a:lnTo>
                        <a:pt x="857" y="19"/>
                      </a:lnTo>
                      <a:lnTo>
                        <a:pt x="868" y="24"/>
                      </a:lnTo>
                      <a:lnTo>
                        <a:pt x="878" y="28"/>
                      </a:lnTo>
                      <a:lnTo>
                        <a:pt x="888" y="35"/>
                      </a:lnTo>
                      <a:lnTo>
                        <a:pt x="897" y="41"/>
                      </a:lnTo>
                      <a:lnTo>
                        <a:pt x="905" y="49"/>
                      </a:lnTo>
                      <a:lnTo>
                        <a:pt x="914" y="57"/>
                      </a:lnTo>
                      <a:lnTo>
                        <a:pt x="929" y="74"/>
                      </a:lnTo>
                      <a:lnTo>
                        <a:pt x="943" y="89"/>
                      </a:lnTo>
                      <a:lnTo>
                        <a:pt x="956" y="105"/>
                      </a:lnTo>
                      <a:lnTo>
                        <a:pt x="968" y="121"/>
                      </a:lnTo>
                      <a:lnTo>
                        <a:pt x="979" y="138"/>
                      </a:lnTo>
                      <a:lnTo>
                        <a:pt x="989" y="154"/>
                      </a:lnTo>
                      <a:lnTo>
                        <a:pt x="999" y="170"/>
                      </a:lnTo>
                      <a:lnTo>
                        <a:pt x="1006" y="185"/>
                      </a:lnTo>
                      <a:lnTo>
                        <a:pt x="1013" y="202"/>
                      </a:lnTo>
                      <a:lnTo>
                        <a:pt x="1019" y="219"/>
                      </a:lnTo>
                      <a:lnTo>
                        <a:pt x="1023" y="237"/>
                      </a:lnTo>
                      <a:lnTo>
                        <a:pt x="1027" y="254"/>
                      </a:lnTo>
                      <a:lnTo>
                        <a:pt x="1029" y="273"/>
                      </a:lnTo>
                      <a:lnTo>
                        <a:pt x="1029" y="293"/>
                      </a:lnTo>
                      <a:lnTo>
                        <a:pt x="1028" y="312"/>
                      </a:lnTo>
                      <a:lnTo>
                        <a:pt x="1027" y="333"/>
                      </a:lnTo>
                      <a:lnTo>
                        <a:pt x="1017" y="402"/>
                      </a:lnTo>
                      <a:lnTo>
                        <a:pt x="1009" y="444"/>
                      </a:lnTo>
                      <a:lnTo>
                        <a:pt x="1004" y="464"/>
                      </a:lnTo>
                      <a:lnTo>
                        <a:pt x="1003" y="470"/>
                      </a:lnTo>
                      <a:lnTo>
                        <a:pt x="1010" y="465"/>
                      </a:lnTo>
                      <a:lnTo>
                        <a:pt x="1024" y="459"/>
                      </a:lnTo>
                      <a:lnTo>
                        <a:pt x="1028" y="459"/>
                      </a:lnTo>
                      <a:lnTo>
                        <a:pt x="1032" y="459"/>
                      </a:lnTo>
                      <a:lnTo>
                        <a:pt x="1036" y="459"/>
                      </a:lnTo>
                      <a:lnTo>
                        <a:pt x="1039" y="461"/>
                      </a:lnTo>
                      <a:lnTo>
                        <a:pt x="1041" y="464"/>
                      </a:lnTo>
                      <a:lnTo>
                        <a:pt x="1044" y="468"/>
                      </a:lnTo>
                      <a:lnTo>
                        <a:pt x="1044" y="474"/>
                      </a:lnTo>
                      <a:lnTo>
                        <a:pt x="1044" y="481"/>
                      </a:lnTo>
                      <a:lnTo>
                        <a:pt x="1043" y="503"/>
                      </a:lnTo>
                      <a:lnTo>
                        <a:pt x="1038" y="532"/>
                      </a:lnTo>
                      <a:lnTo>
                        <a:pt x="1034" y="566"/>
                      </a:lnTo>
                      <a:lnTo>
                        <a:pt x="1027" y="600"/>
                      </a:lnTo>
                      <a:lnTo>
                        <a:pt x="1020" y="631"/>
                      </a:lnTo>
                      <a:lnTo>
                        <a:pt x="1012" y="659"/>
                      </a:lnTo>
                      <a:lnTo>
                        <a:pt x="1009" y="669"/>
                      </a:lnTo>
                      <a:lnTo>
                        <a:pt x="1004" y="676"/>
                      </a:lnTo>
                      <a:lnTo>
                        <a:pt x="1003" y="678"/>
                      </a:lnTo>
                      <a:lnTo>
                        <a:pt x="1001" y="680"/>
                      </a:lnTo>
                      <a:lnTo>
                        <a:pt x="999" y="681"/>
                      </a:lnTo>
                      <a:lnTo>
                        <a:pt x="996" y="681"/>
                      </a:lnTo>
                      <a:lnTo>
                        <a:pt x="978" y="676"/>
                      </a:lnTo>
                      <a:lnTo>
                        <a:pt x="976" y="674"/>
                      </a:lnTo>
                      <a:lnTo>
                        <a:pt x="975" y="690"/>
                      </a:lnTo>
                      <a:lnTo>
                        <a:pt x="970" y="726"/>
                      </a:lnTo>
                      <a:lnTo>
                        <a:pt x="966" y="748"/>
                      </a:lnTo>
                      <a:lnTo>
                        <a:pt x="961" y="767"/>
                      </a:lnTo>
                      <a:lnTo>
                        <a:pt x="958" y="776"/>
                      </a:lnTo>
                      <a:lnTo>
                        <a:pt x="954" y="784"/>
                      </a:lnTo>
                      <a:lnTo>
                        <a:pt x="950" y="791"/>
                      </a:lnTo>
                      <a:lnTo>
                        <a:pt x="947" y="796"/>
                      </a:lnTo>
                      <a:lnTo>
                        <a:pt x="931" y="812"/>
                      </a:lnTo>
                      <a:lnTo>
                        <a:pt x="919" y="825"/>
                      </a:lnTo>
                      <a:lnTo>
                        <a:pt x="913" y="832"/>
                      </a:lnTo>
                      <a:lnTo>
                        <a:pt x="910" y="835"/>
                      </a:lnTo>
                      <a:lnTo>
                        <a:pt x="907" y="867"/>
                      </a:lnTo>
                      <a:lnTo>
                        <a:pt x="943" y="865"/>
                      </a:lnTo>
                      <a:lnTo>
                        <a:pt x="943" y="867"/>
                      </a:lnTo>
                      <a:lnTo>
                        <a:pt x="943" y="874"/>
                      </a:lnTo>
                      <a:lnTo>
                        <a:pt x="945" y="883"/>
                      </a:lnTo>
                      <a:lnTo>
                        <a:pt x="949" y="896"/>
                      </a:lnTo>
                      <a:lnTo>
                        <a:pt x="952" y="903"/>
                      </a:lnTo>
                      <a:lnTo>
                        <a:pt x="957" y="910"/>
                      </a:lnTo>
                      <a:lnTo>
                        <a:pt x="961" y="917"/>
                      </a:lnTo>
                      <a:lnTo>
                        <a:pt x="968" y="925"/>
                      </a:lnTo>
                      <a:lnTo>
                        <a:pt x="976" y="933"/>
                      </a:lnTo>
                      <a:lnTo>
                        <a:pt x="985" y="940"/>
                      </a:lnTo>
                      <a:lnTo>
                        <a:pt x="996" y="947"/>
                      </a:lnTo>
                      <a:lnTo>
                        <a:pt x="1009" y="954"/>
                      </a:lnTo>
                      <a:lnTo>
                        <a:pt x="1044" y="970"/>
                      </a:lnTo>
                      <a:lnTo>
                        <a:pt x="1092" y="991"/>
                      </a:lnTo>
                      <a:lnTo>
                        <a:pt x="1150" y="1014"/>
                      </a:lnTo>
                      <a:lnTo>
                        <a:pt x="1212" y="1040"/>
                      </a:lnTo>
                      <a:lnTo>
                        <a:pt x="1274" y="1066"/>
                      </a:lnTo>
                      <a:lnTo>
                        <a:pt x="1332" y="1092"/>
                      </a:lnTo>
                      <a:lnTo>
                        <a:pt x="1358" y="1104"/>
                      </a:lnTo>
                      <a:lnTo>
                        <a:pt x="1380" y="1115"/>
                      </a:lnTo>
                      <a:lnTo>
                        <a:pt x="1401" y="1126"/>
                      </a:lnTo>
                      <a:lnTo>
                        <a:pt x="1415" y="1135"/>
                      </a:lnTo>
                      <a:lnTo>
                        <a:pt x="1428" y="1144"/>
                      </a:lnTo>
                      <a:lnTo>
                        <a:pt x="1439" y="1152"/>
                      </a:lnTo>
                      <a:lnTo>
                        <a:pt x="1448" y="1160"/>
                      </a:lnTo>
                      <a:lnTo>
                        <a:pt x="1456" y="1167"/>
                      </a:lnTo>
                      <a:lnTo>
                        <a:pt x="1463" y="1175"/>
                      </a:lnTo>
                      <a:lnTo>
                        <a:pt x="1468" y="1181"/>
                      </a:lnTo>
                      <a:lnTo>
                        <a:pt x="1473" y="1189"/>
                      </a:lnTo>
                      <a:lnTo>
                        <a:pt x="1476" y="1197"/>
                      </a:lnTo>
                      <a:lnTo>
                        <a:pt x="1478" y="1205"/>
                      </a:lnTo>
                      <a:lnTo>
                        <a:pt x="1481" y="1213"/>
                      </a:lnTo>
                      <a:lnTo>
                        <a:pt x="1482" y="1222"/>
                      </a:lnTo>
                      <a:lnTo>
                        <a:pt x="1482" y="1232"/>
                      </a:lnTo>
                      <a:lnTo>
                        <a:pt x="1482" y="1255"/>
                      </a:lnTo>
                      <a:lnTo>
                        <a:pt x="1481" y="1281"/>
                      </a:lnTo>
                      <a:lnTo>
                        <a:pt x="1478" y="1333"/>
                      </a:lnTo>
                      <a:lnTo>
                        <a:pt x="1477" y="1372"/>
                      </a:lnTo>
                      <a:lnTo>
                        <a:pt x="1475" y="1397"/>
                      </a:lnTo>
                      <a:lnTo>
                        <a:pt x="1475" y="1406"/>
                      </a:lnTo>
                      <a:lnTo>
                        <a:pt x="859" y="1412"/>
                      </a:lnTo>
                      <a:lnTo>
                        <a:pt x="822" y="1265"/>
                      </a:lnTo>
                      <a:lnTo>
                        <a:pt x="826" y="1242"/>
                      </a:lnTo>
                      <a:lnTo>
                        <a:pt x="828" y="1224"/>
                      </a:lnTo>
                      <a:lnTo>
                        <a:pt x="828" y="1210"/>
                      </a:lnTo>
                      <a:lnTo>
                        <a:pt x="827" y="1200"/>
                      </a:lnTo>
                      <a:lnTo>
                        <a:pt x="823" y="1191"/>
                      </a:lnTo>
                      <a:lnTo>
                        <a:pt x="820" y="1184"/>
                      </a:lnTo>
                      <a:lnTo>
                        <a:pt x="816" y="1179"/>
                      </a:lnTo>
                      <a:lnTo>
                        <a:pt x="810" y="1175"/>
                      </a:lnTo>
                      <a:lnTo>
                        <a:pt x="826" y="1158"/>
                      </a:lnTo>
                      <a:lnTo>
                        <a:pt x="842" y="1142"/>
                      </a:lnTo>
                      <a:lnTo>
                        <a:pt x="857" y="1125"/>
                      </a:lnTo>
                      <a:lnTo>
                        <a:pt x="874" y="1106"/>
                      </a:lnTo>
                      <a:lnTo>
                        <a:pt x="892" y="1083"/>
                      </a:lnTo>
                      <a:lnTo>
                        <a:pt x="914" y="1053"/>
                      </a:lnTo>
                      <a:lnTo>
                        <a:pt x="938" y="1015"/>
                      </a:lnTo>
                      <a:lnTo>
                        <a:pt x="966" y="968"/>
                      </a:lnTo>
                      <a:lnTo>
                        <a:pt x="943" y="989"/>
                      </a:lnTo>
                      <a:lnTo>
                        <a:pt x="921" y="1010"/>
                      </a:lnTo>
                      <a:lnTo>
                        <a:pt x="899" y="1030"/>
                      </a:lnTo>
                      <a:lnTo>
                        <a:pt x="877" y="1052"/>
                      </a:lnTo>
                      <a:lnTo>
                        <a:pt x="854" y="1072"/>
                      </a:lnTo>
                      <a:lnTo>
                        <a:pt x="831" y="1093"/>
                      </a:lnTo>
                      <a:lnTo>
                        <a:pt x="810" y="1114"/>
                      </a:lnTo>
                      <a:lnTo>
                        <a:pt x="787" y="1135"/>
                      </a:lnTo>
                      <a:lnTo>
                        <a:pt x="769" y="1130"/>
                      </a:lnTo>
                      <a:lnTo>
                        <a:pt x="751" y="1126"/>
                      </a:lnTo>
                      <a:lnTo>
                        <a:pt x="742" y="1125"/>
                      </a:lnTo>
                      <a:lnTo>
                        <a:pt x="733" y="1125"/>
                      </a:lnTo>
                      <a:lnTo>
                        <a:pt x="725" y="1126"/>
                      </a:lnTo>
                      <a:lnTo>
                        <a:pt x="716" y="1128"/>
                      </a:lnTo>
                      <a:lnTo>
                        <a:pt x="704" y="1125"/>
                      </a:lnTo>
                      <a:lnTo>
                        <a:pt x="693" y="1119"/>
                      </a:lnTo>
                      <a:lnTo>
                        <a:pt x="681" y="1114"/>
                      </a:lnTo>
                      <a:lnTo>
                        <a:pt x="670" y="1107"/>
                      </a:lnTo>
                      <a:lnTo>
                        <a:pt x="646" y="1091"/>
                      </a:lnTo>
                      <a:lnTo>
                        <a:pt x="624" y="1072"/>
                      </a:lnTo>
                      <a:lnTo>
                        <a:pt x="601" y="1052"/>
                      </a:lnTo>
                      <a:lnTo>
                        <a:pt x="577" y="1029"/>
                      </a:lnTo>
                      <a:lnTo>
                        <a:pt x="555" y="1005"/>
                      </a:lnTo>
                      <a:lnTo>
                        <a:pt x="531" y="980"/>
                      </a:lnTo>
                      <a:lnTo>
                        <a:pt x="549" y="1009"/>
                      </a:lnTo>
                      <a:lnTo>
                        <a:pt x="566" y="1037"/>
                      </a:lnTo>
                      <a:lnTo>
                        <a:pt x="584" y="1064"/>
                      </a:lnTo>
                      <a:lnTo>
                        <a:pt x="603" y="1090"/>
                      </a:lnTo>
                      <a:lnTo>
                        <a:pt x="623" y="1114"/>
                      </a:lnTo>
                      <a:lnTo>
                        <a:pt x="642" y="1136"/>
                      </a:lnTo>
                      <a:lnTo>
                        <a:pt x="653" y="1145"/>
                      </a:lnTo>
                      <a:lnTo>
                        <a:pt x="663" y="1154"/>
                      </a:lnTo>
                      <a:lnTo>
                        <a:pt x="674" y="1163"/>
                      </a:lnTo>
                      <a:lnTo>
                        <a:pt x="686" y="1170"/>
                      </a:lnTo>
                      <a:lnTo>
                        <a:pt x="681" y="1180"/>
                      </a:lnTo>
                      <a:lnTo>
                        <a:pt x="677" y="1191"/>
                      </a:lnTo>
                      <a:lnTo>
                        <a:pt x="674" y="1200"/>
                      </a:lnTo>
                      <a:lnTo>
                        <a:pt x="673" y="1209"/>
                      </a:lnTo>
                      <a:lnTo>
                        <a:pt x="673" y="1218"/>
                      </a:lnTo>
                      <a:lnTo>
                        <a:pt x="673" y="1226"/>
                      </a:lnTo>
                      <a:lnTo>
                        <a:pt x="676" y="1232"/>
                      </a:lnTo>
                      <a:lnTo>
                        <a:pt x="678" y="1239"/>
                      </a:lnTo>
                      <a:lnTo>
                        <a:pt x="680" y="1246"/>
                      </a:lnTo>
                      <a:lnTo>
                        <a:pt x="683" y="1251"/>
                      </a:lnTo>
                      <a:lnTo>
                        <a:pt x="688" y="1257"/>
                      </a:lnTo>
                      <a:lnTo>
                        <a:pt x="691" y="1262"/>
                      </a:lnTo>
                      <a:lnTo>
                        <a:pt x="700" y="1270"/>
                      </a:lnTo>
                      <a:lnTo>
                        <a:pt x="709" y="1275"/>
                      </a:lnTo>
                      <a:lnTo>
                        <a:pt x="702" y="1308"/>
                      </a:lnTo>
                      <a:lnTo>
                        <a:pt x="695" y="1342"/>
                      </a:lnTo>
                      <a:lnTo>
                        <a:pt x="689" y="1377"/>
                      </a:lnTo>
                      <a:lnTo>
                        <a:pt x="682" y="1412"/>
                      </a:lnTo>
                      <a:lnTo>
                        <a:pt x="7" y="1406"/>
                      </a:lnTo>
                      <a:lnTo>
                        <a:pt x="7" y="1397"/>
                      </a:lnTo>
                      <a:lnTo>
                        <a:pt x="6" y="1372"/>
                      </a:lnTo>
                      <a:lnTo>
                        <a:pt x="4" y="1333"/>
                      </a:lnTo>
                      <a:lnTo>
                        <a:pt x="1" y="1281"/>
                      </a:lnTo>
                      <a:lnTo>
                        <a:pt x="0" y="1255"/>
                      </a:lnTo>
                      <a:lnTo>
                        <a:pt x="0" y="1232"/>
                      </a:lnTo>
                      <a:lnTo>
                        <a:pt x="0" y="1222"/>
                      </a:lnTo>
                      <a:lnTo>
                        <a:pt x="1" y="1213"/>
                      </a:lnTo>
                      <a:lnTo>
                        <a:pt x="4" y="1205"/>
                      </a:lnTo>
                      <a:lnTo>
                        <a:pt x="6" y="1197"/>
                      </a:lnTo>
                      <a:lnTo>
                        <a:pt x="9" y="1189"/>
                      </a:lnTo>
                      <a:lnTo>
                        <a:pt x="14" y="1181"/>
                      </a:lnTo>
                      <a:lnTo>
                        <a:pt x="20" y="1175"/>
                      </a:lnTo>
                      <a:lnTo>
                        <a:pt x="26" y="1167"/>
                      </a:lnTo>
                      <a:lnTo>
                        <a:pt x="34" y="1160"/>
                      </a:lnTo>
                      <a:lnTo>
                        <a:pt x="43" y="1152"/>
                      </a:lnTo>
                      <a:lnTo>
                        <a:pt x="55" y="1144"/>
                      </a:lnTo>
                      <a:lnTo>
                        <a:pt x="67" y="1135"/>
                      </a:lnTo>
                      <a:lnTo>
                        <a:pt x="82" y="1126"/>
                      </a:lnTo>
                      <a:lnTo>
                        <a:pt x="102" y="1115"/>
                      </a:lnTo>
                      <a:lnTo>
                        <a:pt x="125" y="1104"/>
                      </a:lnTo>
                      <a:lnTo>
                        <a:pt x="150" y="1092"/>
                      </a:lnTo>
                      <a:lnTo>
                        <a:pt x="208" y="1066"/>
                      </a:lnTo>
                      <a:lnTo>
                        <a:pt x="270" y="1040"/>
                      </a:lnTo>
                      <a:lnTo>
                        <a:pt x="332" y="1014"/>
                      </a:lnTo>
                      <a:lnTo>
                        <a:pt x="390" y="991"/>
                      </a:lnTo>
                      <a:lnTo>
                        <a:pt x="438" y="970"/>
                      </a:lnTo>
                      <a:lnTo>
                        <a:pt x="473" y="954"/>
                      </a:lnTo>
                      <a:lnTo>
                        <a:pt x="486" y="947"/>
                      </a:lnTo>
                      <a:lnTo>
                        <a:pt x="497" y="940"/>
                      </a:lnTo>
                      <a:lnTo>
                        <a:pt x="506" y="933"/>
                      </a:lnTo>
                      <a:lnTo>
                        <a:pt x="514" y="925"/>
                      </a:lnTo>
                      <a:lnTo>
                        <a:pt x="521" y="917"/>
                      </a:lnTo>
                      <a:lnTo>
                        <a:pt x="525" y="910"/>
                      </a:lnTo>
                      <a:lnTo>
                        <a:pt x="530" y="903"/>
                      </a:lnTo>
                      <a:lnTo>
                        <a:pt x="533" y="896"/>
                      </a:lnTo>
                      <a:lnTo>
                        <a:pt x="537" y="883"/>
                      </a:lnTo>
                      <a:lnTo>
                        <a:pt x="539" y="874"/>
                      </a:lnTo>
                      <a:lnTo>
                        <a:pt x="539" y="867"/>
                      </a:lnTo>
                      <a:lnTo>
                        <a:pt x="539" y="865"/>
                      </a:lnTo>
                      <a:lnTo>
                        <a:pt x="575" y="867"/>
                      </a:lnTo>
                      <a:lnTo>
                        <a:pt x="572" y="835"/>
                      </a:lnTo>
                      <a:lnTo>
                        <a:pt x="569" y="832"/>
                      </a:lnTo>
                      <a:lnTo>
                        <a:pt x="563" y="825"/>
                      </a:lnTo>
                      <a:lnTo>
                        <a:pt x="551" y="812"/>
                      </a:lnTo>
                      <a:lnTo>
                        <a:pt x="537" y="796"/>
                      </a:lnTo>
                      <a:lnTo>
                        <a:pt x="532" y="791"/>
                      </a:lnTo>
                      <a:lnTo>
                        <a:pt x="528" y="784"/>
                      </a:lnTo>
                      <a:lnTo>
                        <a:pt x="524" y="776"/>
                      </a:lnTo>
                      <a:lnTo>
                        <a:pt x="521" y="767"/>
                      </a:lnTo>
                      <a:lnTo>
                        <a:pt x="516" y="748"/>
                      </a:lnTo>
                      <a:lnTo>
                        <a:pt x="512" y="726"/>
                      </a:lnTo>
                      <a:lnTo>
                        <a:pt x="507" y="690"/>
                      </a:lnTo>
                      <a:lnTo>
                        <a:pt x="506" y="674"/>
                      </a:lnTo>
                      <a:lnTo>
                        <a:pt x="504" y="676"/>
                      </a:lnTo>
                      <a:lnTo>
                        <a:pt x="486" y="681"/>
                      </a:lnTo>
                      <a:lnTo>
                        <a:pt x="484" y="681"/>
                      </a:lnTo>
                      <a:lnTo>
                        <a:pt x="481" y="680"/>
                      </a:lnTo>
                      <a:lnTo>
                        <a:pt x="479" y="678"/>
                      </a:lnTo>
                      <a:lnTo>
                        <a:pt x="478" y="676"/>
                      </a:lnTo>
                      <a:lnTo>
                        <a:pt x="473" y="669"/>
                      </a:lnTo>
                      <a:lnTo>
                        <a:pt x="470" y="659"/>
                      </a:lnTo>
                      <a:lnTo>
                        <a:pt x="462" y="631"/>
                      </a:lnTo>
                      <a:lnTo>
                        <a:pt x="455" y="600"/>
                      </a:lnTo>
                      <a:lnTo>
                        <a:pt x="449" y="566"/>
                      </a:lnTo>
                      <a:lnTo>
                        <a:pt x="444" y="532"/>
                      </a:lnTo>
                      <a:lnTo>
                        <a:pt x="440" y="503"/>
                      </a:lnTo>
                      <a:lnTo>
                        <a:pt x="438" y="481"/>
                      </a:lnTo>
                      <a:lnTo>
                        <a:pt x="438" y="476"/>
                      </a:lnTo>
                      <a:lnTo>
                        <a:pt x="438" y="471"/>
                      </a:lnTo>
                      <a:lnTo>
                        <a:pt x="440" y="468"/>
                      </a:lnTo>
                      <a:lnTo>
                        <a:pt x="441" y="464"/>
                      </a:lnTo>
                      <a:lnTo>
                        <a:pt x="442" y="462"/>
                      </a:lnTo>
                      <a:lnTo>
                        <a:pt x="444" y="460"/>
                      </a:lnTo>
                      <a:lnTo>
                        <a:pt x="446" y="459"/>
                      </a:lnTo>
                      <a:lnTo>
                        <a:pt x="450" y="459"/>
                      </a:lnTo>
                      <a:lnTo>
                        <a:pt x="455" y="459"/>
                      </a:lnTo>
                      <a:lnTo>
                        <a:pt x="461" y="460"/>
                      </a:lnTo>
                      <a:lnTo>
                        <a:pt x="467" y="462"/>
                      </a:lnTo>
                      <a:lnTo>
                        <a:pt x="471" y="464"/>
                      </a:lnTo>
                      <a:lnTo>
                        <a:pt x="467" y="454"/>
                      </a:lnTo>
                      <a:lnTo>
                        <a:pt x="461" y="444"/>
                      </a:lnTo>
                      <a:lnTo>
                        <a:pt x="455" y="432"/>
                      </a:lnTo>
                      <a:lnTo>
                        <a:pt x="450" y="419"/>
                      </a:lnTo>
                      <a:lnTo>
                        <a:pt x="446" y="408"/>
                      </a:lnTo>
                      <a:lnTo>
                        <a:pt x="443" y="394"/>
                      </a:lnTo>
                      <a:lnTo>
                        <a:pt x="440" y="377"/>
                      </a:lnTo>
                      <a:lnTo>
                        <a:pt x="438" y="359"/>
                      </a:lnTo>
                      <a:lnTo>
                        <a:pt x="437" y="338"/>
                      </a:lnTo>
                      <a:lnTo>
                        <a:pt x="436" y="316"/>
                      </a:lnTo>
                      <a:lnTo>
                        <a:pt x="437" y="294"/>
                      </a:lnTo>
                      <a:lnTo>
                        <a:pt x="438" y="270"/>
                      </a:lnTo>
                      <a:lnTo>
                        <a:pt x="440" y="246"/>
                      </a:lnTo>
                      <a:lnTo>
                        <a:pt x="442" y="224"/>
                      </a:lnTo>
                      <a:lnTo>
                        <a:pt x="445" y="200"/>
                      </a:lnTo>
                      <a:lnTo>
                        <a:pt x="449" y="179"/>
                      </a:lnTo>
                      <a:lnTo>
                        <a:pt x="453" y="158"/>
                      </a:lnTo>
                      <a:lnTo>
                        <a:pt x="459" y="140"/>
                      </a:lnTo>
                      <a:lnTo>
                        <a:pt x="464" y="123"/>
                      </a:lnTo>
                      <a:lnTo>
                        <a:pt x="471" y="110"/>
                      </a:lnTo>
                      <a:lnTo>
                        <a:pt x="476" y="103"/>
                      </a:lnTo>
                      <a:lnTo>
                        <a:pt x="480" y="96"/>
                      </a:lnTo>
                      <a:lnTo>
                        <a:pt x="485" y="90"/>
                      </a:lnTo>
                      <a:lnTo>
                        <a:pt x="489" y="86"/>
                      </a:lnTo>
                      <a:lnTo>
                        <a:pt x="495" y="83"/>
                      </a:lnTo>
                      <a:lnTo>
                        <a:pt x="499" y="80"/>
                      </a:lnTo>
                      <a:lnTo>
                        <a:pt x="505" y="78"/>
                      </a:lnTo>
                      <a:lnTo>
                        <a:pt x="510" y="77"/>
                      </a:lnTo>
                      <a:lnTo>
                        <a:pt x="520" y="76"/>
                      </a:lnTo>
                      <a:lnTo>
                        <a:pt x="529" y="77"/>
                      </a:lnTo>
                      <a:lnTo>
                        <a:pt x="538" y="79"/>
                      </a:lnTo>
                      <a:lnTo>
                        <a:pt x="546" y="81"/>
                      </a:lnTo>
                      <a:lnTo>
                        <a:pt x="557" y="69"/>
                      </a:lnTo>
                      <a:lnTo>
                        <a:pt x="568" y="57"/>
                      </a:lnTo>
                      <a:lnTo>
                        <a:pt x="577" y="49"/>
                      </a:lnTo>
                      <a:lnTo>
                        <a:pt x="585" y="41"/>
                      </a:lnTo>
                      <a:lnTo>
                        <a:pt x="594" y="35"/>
                      </a:lnTo>
                      <a:lnTo>
                        <a:pt x="604" y="28"/>
                      </a:lnTo>
                      <a:lnTo>
                        <a:pt x="615" y="24"/>
                      </a:lnTo>
                      <a:lnTo>
                        <a:pt x="625" y="19"/>
                      </a:lnTo>
                      <a:lnTo>
                        <a:pt x="636" y="15"/>
                      </a:lnTo>
                      <a:lnTo>
                        <a:pt x="647" y="11"/>
                      </a:lnTo>
                      <a:lnTo>
                        <a:pt x="670" y="6"/>
                      </a:lnTo>
                      <a:lnTo>
                        <a:pt x="694" y="2"/>
                      </a:lnTo>
                      <a:lnTo>
                        <a:pt x="717" y="1"/>
                      </a:lnTo>
                      <a:lnTo>
                        <a:pt x="741"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8" name="Freeform 77"/>
                <p:cNvSpPr>
                  <a:spLocks/>
                </p:cNvSpPr>
                <p:nvPr/>
              </p:nvSpPr>
              <p:spPr bwMode="auto">
                <a:xfrm>
                  <a:off x="5576760" y="4839822"/>
                  <a:ext cx="290767" cy="324238"/>
                </a:xfrm>
                <a:custGeom>
                  <a:avLst/>
                  <a:gdLst>
                    <a:gd name="T0" fmla="*/ 427 w 909"/>
                    <a:gd name="T1" fmla="*/ 4 h 1016"/>
                    <a:gd name="T2" fmla="*/ 481 w 909"/>
                    <a:gd name="T3" fmla="*/ 25 h 1016"/>
                    <a:gd name="T4" fmla="*/ 521 w 909"/>
                    <a:gd name="T5" fmla="*/ 64 h 1016"/>
                    <a:gd name="T6" fmla="*/ 561 w 909"/>
                    <a:gd name="T7" fmla="*/ 122 h 1016"/>
                    <a:gd name="T8" fmla="*/ 579 w 909"/>
                    <a:gd name="T9" fmla="*/ 170 h 1016"/>
                    <a:gd name="T10" fmla="*/ 583 w 909"/>
                    <a:gd name="T11" fmla="*/ 225 h 1016"/>
                    <a:gd name="T12" fmla="*/ 565 w 909"/>
                    <a:gd name="T13" fmla="*/ 334 h 1016"/>
                    <a:gd name="T14" fmla="*/ 583 w 909"/>
                    <a:gd name="T15" fmla="*/ 330 h 1016"/>
                    <a:gd name="T16" fmla="*/ 592 w 909"/>
                    <a:gd name="T17" fmla="*/ 334 h 1016"/>
                    <a:gd name="T18" fmla="*/ 590 w 909"/>
                    <a:gd name="T19" fmla="*/ 383 h 1016"/>
                    <a:gd name="T20" fmla="*/ 568 w 909"/>
                    <a:gd name="T21" fmla="*/ 481 h 1016"/>
                    <a:gd name="T22" fmla="*/ 547 w 909"/>
                    <a:gd name="T23" fmla="*/ 487 h 1016"/>
                    <a:gd name="T24" fmla="*/ 538 w 909"/>
                    <a:gd name="T25" fmla="*/ 538 h 1016"/>
                    <a:gd name="T26" fmla="*/ 526 w 909"/>
                    <a:gd name="T27" fmla="*/ 570 h 1016"/>
                    <a:gd name="T28" fmla="*/ 496 w 909"/>
                    <a:gd name="T29" fmla="*/ 624 h 1016"/>
                    <a:gd name="T30" fmla="*/ 527 w 909"/>
                    <a:gd name="T31" fmla="*/ 650 h 1016"/>
                    <a:gd name="T32" fmla="*/ 544 w 909"/>
                    <a:gd name="T33" fmla="*/ 672 h 1016"/>
                    <a:gd name="T34" fmla="*/ 594 w 909"/>
                    <a:gd name="T35" fmla="*/ 699 h 1016"/>
                    <a:gd name="T36" fmla="*/ 760 w 909"/>
                    <a:gd name="T37" fmla="*/ 768 h 1016"/>
                    <a:gd name="T38" fmla="*/ 850 w 909"/>
                    <a:gd name="T39" fmla="*/ 811 h 1016"/>
                    <a:gd name="T40" fmla="*/ 896 w 909"/>
                    <a:gd name="T41" fmla="*/ 846 h 1016"/>
                    <a:gd name="T42" fmla="*/ 908 w 909"/>
                    <a:gd name="T43" fmla="*/ 874 h 1016"/>
                    <a:gd name="T44" fmla="*/ 907 w 909"/>
                    <a:gd name="T45" fmla="*/ 960 h 1016"/>
                    <a:gd name="T46" fmla="*/ 455 w 909"/>
                    <a:gd name="T47" fmla="*/ 1016 h 1016"/>
                    <a:gd name="T48" fmla="*/ 447 w 909"/>
                    <a:gd name="T49" fmla="*/ 954 h 1016"/>
                    <a:gd name="T50" fmla="*/ 444 w 909"/>
                    <a:gd name="T51" fmla="*/ 881 h 1016"/>
                    <a:gd name="T52" fmla="*/ 438 w 909"/>
                    <a:gd name="T53" fmla="*/ 852 h 1016"/>
                    <a:gd name="T54" fmla="*/ 476 w 909"/>
                    <a:gd name="T55" fmla="*/ 799 h 1016"/>
                    <a:gd name="T56" fmla="*/ 538 w 909"/>
                    <a:gd name="T57" fmla="*/ 706 h 1016"/>
                    <a:gd name="T58" fmla="*/ 416 w 909"/>
                    <a:gd name="T59" fmla="*/ 819 h 1016"/>
                    <a:gd name="T60" fmla="*/ 380 w 909"/>
                    <a:gd name="T61" fmla="*/ 813 h 1016"/>
                    <a:gd name="T62" fmla="*/ 351 w 909"/>
                    <a:gd name="T63" fmla="*/ 808 h 1016"/>
                    <a:gd name="T64" fmla="*/ 304 w 909"/>
                    <a:gd name="T65" fmla="*/ 777 h 1016"/>
                    <a:gd name="T66" fmla="*/ 241 w 909"/>
                    <a:gd name="T67" fmla="*/ 714 h 1016"/>
                    <a:gd name="T68" fmla="*/ 290 w 909"/>
                    <a:gd name="T69" fmla="*/ 788 h 1016"/>
                    <a:gd name="T70" fmla="*/ 347 w 909"/>
                    <a:gd name="T71" fmla="*/ 843 h 1016"/>
                    <a:gd name="T72" fmla="*/ 338 w 909"/>
                    <a:gd name="T73" fmla="*/ 869 h 1016"/>
                    <a:gd name="T74" fmla="*/ 341 w 909"/>
                    <a:gd name="T75" fmla="*/ 891 h 1016"/>
                    <a:gd name="T76" fmla="*/ 363 w 909"/>
                    <a:gd name="T77" fmla="*/ 915 h 1016"/>
                    <a:gd name="T78" fmla="*/ 278 w 909"/>
                    <a:gd name="T79" fmla="*/ 881 h 1016"/>
                    <a:gd name="T80" fmla="*/ 78 w 909"/>
                    <a:gd name="T81" fmla="*/ 797 h 1016"/>
                    <a:gd name="T82" fmla="*/ 54 w 909"/>
                    <a:gd name="T83" fmla="*/ 742 h 1016"/>
                    <a:gd name="T84" fmla="*/ 151 w 909"/>
                    <a:gd name="T85" fmla="*/ 701 h 1016"/>
                    <a:gd name="T86" fmla="*/ 200 w 909"/>
                    <a:gd name="T87" fmla="*/ 676 h 1016"/>
                    <a:gd name="T88" fmla="*/ 220 w 909"/>
                    <a:gd name="T89" fmla="*/ 655 h 1016"/>
                    <a:gd name="T90" fmla="*/ 230 w 909"/>
                    <a:gd name="T91" fmla="*/ 622 h 1016"/>
                    <a:gd name="T92" fmla="*/ 228 w 909"/>
                    <a:gd name="T93" fmla="*/ 574 h 1016"/>
                    <a:gd name="T94" fmla="*/ 217 w 909"/>
                    <a:gd name="T95" fmla="*/ 552 h 1016"/>
                    <a:gd name="T96" fmla="*/ 207 w 909"/>
                    <a:gd name="T97" fmla="*/ 485 h 1016"/>
                    <a:gd name="T98" fmla="*/ 185 w 909"/>
                    <a:gd name="T99" fmla="*/ 487 h 1016"/>
                    <a:gd name="T100" fmla="*/ 170 w 909"/>
                    <a:gd name="T101" fmla="*/ 432 h 1016"/>
                    <a:gd name="T102" fmla="*/ 159 w 909"/>
                    <a:gd name="T103" fmla="*/ 334 h 1016"/>
                    <a:gd name="T104" fmla="*/ 174 w 909"/>
                    <a:gd name="T105" fmla="*/ 331 h 1016"/>
                    <a:gd name="T106" fmla="*/ 166 w 909"/>
                    <a:gd name="T107" fmla="*/ 301 h 1016"/>
                    <a:gd name="T108" fmla="*/ 157 w 909"/>
                    <a:gd name="T109" fmla="*/ 258 h 1016"/>
                    <a:gd name="T110" fmla="*/ 165 w 909"/>
                    <a:gd name="T111" fmla="*/ 129 h 1016"/>
                    <a:gd name="T112" fmla="*/ 181 w 909"/>
                    <a:gd name="T113" fmla="*/ 79 h 1016"/>
                    <a:gd name="T114" fmla="*/ 209 w 909"/>
                    <a:gd name="T115" fmla="*/ 55 h 1016"/>
                    <a:gd name="T116" fmla="*/ 235 w 909"/>
                    <a:gd name="T117" fmla="*/ 59 h 1016"/>
                    <a:gd name="T118" fmla="*/ 263 w 909"/>
                    <a:gd name="T119" fmla="*/ 29 h 1016"/>
                    <a:gd name="T120" fmla="*/ 307 w 909"/>
                    <a:gd name="T121" fmla="*/ 8 h 1016"/>
                    <a:gd name="T122" fmla="*/ 376 w 909"/>
                    <a:gd name="T123"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9" h="1016">
                      <a:moveTo>
                        <a:pt x="376" y="0"/>
                      </a:moveTo>
                      <a:lnTo>
                        <a:pt x="393" y="0"/>
                      </a:lnTo>
                      <a:lnTo>
                        <a:pt x="410" y="1"/>
                      </a:lnTo>
                      <a:lnTo>
                        <a:pt x="427" y="4"/>
                      </a:lnTo>
                      <a:lnTo>
                        <a:pt x="444" y="8"/>
                      </a:lnTo>
                      <a:lnTo>
                        <a:pt x="460" y="13"/>
                      </a:lnTo>
                      <a:lnTo>
                        <a:pt x="474" y="20"/>
                      </a:lnTo>
                      <a:lnTo>
                        <a:pt x="481" y="25"/>
                      </a:lnTo>
                      <a:lnTo>
                        <a:pt x="488" y="29"/>
                      </a:lnTo>
                      <a:lnTo>
                        <a:pt x="494" y="35"/>
                      </a:lnTo>
                      <a:lnTo>
                        <a:pt x="500" y="40"/>
                      </a:lnTo>
                      <a:lnTo>
                        <a:pt x="521" y="64"/>
                      </a:lnTo>
                      <a:lnTo>
                        <a:pt x="540" y="87"/>
                      </a:lnTo>
                      <a:lnTo>
                        <a:pt x="548" y="98"/>
                      </a:lnTo>
                      <a:lnTo>
                        <a:pt x="555" y="110"/>
                      </a:lnTo>
                      <a:lnTo>
                        <a:pt x="561" y="122"/>
                      </a:lnTo>
                      <a:lnTo>
                        <a:pt x="567" y="133"/>
                      </a:lnTo>
                      <a:lnTo>
                        <a:pt x="572" y="145"/>
                      </a:lnTo>
                      <a:lnTo>
                        <a:pt x="576" y="158"/>
                      </a:lnTo>
                      <a:lnTo>
                        <a:pt x="579" y="170"/>
                      </a:lnTo>
                      <a:lnTo>
                        <a:pt x="582" y="183"/>
                      </a:lnTo>
                      <a:lnTo>
                        <a:pt x="583" y="196"/>
                      </a:lnTo>
                      <a:lnTo>
                        <a:pt x="583" y="210"/>
                      </a:lnTo>
                      <a:lnTo>
                        <a:pt x="583" y="225"/>
                      </a:lnTo>
                      <a:lnTo>
                        <a:pt x="582" y="239"/>
                      </a:lnTo>
                      <a:lnTo>
                        <a:pt x="574" y="289"/>
                      </a:lnTo>
                      <a:lnTo>
                        <a:pt x="568" y="319"/>
                      </a:lnTo>
                      <a:lnTo>
                        <a:pt x="565" y="334"/>
                      </a:lnTo>
                      <a:lnTo>
                        <a:pt x="564" y="337"/>
                      </a:lnTo>
                      <a:lnTo>
                        <a:pt x="569" y="335"/>
                      </a:lnTo>
                      <a:lnTo>
                        <a:pt x="579" y="330"/>
                      </a:lnTo>
                      <a:lnTo>
                        <a:pt x="583" y="330"/>
                      </a:lnTo>
                      <a:lnTo>
                        <a:pt x="585" y="330"/>
                      </a:lnTo>
                      <a:lnTo>
                        <a:pt x="588" y="331"/>
                      </a:lnTo>
                      <a:lnTo>
                        <a:pt x="591" y="332"/>
                      </a:lnTo>
                      <a:lnTo>
                        <a:pt x="592" y="334"/>
                      </a:lnTo>
                      <a:lnTo>
                        <a:pt x="593" y="336"/>
                      </a:lnTo>
                      <a:lnTo>
                        <a:pt x="594" y="341"/>
                      </a:lnTo>
                      <a:lnTo>
                        <a:pt x="594" y="346"/>
                      </a:lnTo>
                      <a:lnTo>
                        <a:pt x="590" y="383"/>
                      </a:lnTo>
                      <a:lnTo>
                        <a:pt x="582" y="432"/>
                      </a:lnTo>
                      <a:lnTo>
                        <a:pt x="577" y="455"/>
                      </a:lnTo>
                      <a:lnTo>
                        <a:pt x="572" y="474"/>
                      </a:lnTo>
                      <a:lnTo>
                        <a:pt x="568" y="481"/>
                      </a:lnTo>
                      <a:lnTo>
                        <a:pt x="566" y="487"/>
                      </a:lnTo>
                      <a:lnTo>
                        <a:pt x="562" y="489"/>
                      </a:lnTo>
                      <a:lnTo>
                        <a:pt x="560" y="490"/>
                      </a:lnTo>
                      <a:lnTo>
                        <a:pt x="547" y="487"/>
                      </a:lnTo>
                      <a:lnTo>
                        <a:pt x="544" y="485"/>
                      </a:lnTo>
                      <a:lnTo>
                        <a:pt x="543" y="497"/>
                      </a:lnTo>
                      <a:lnTo>
                        <a:pt x="541" y="523"/>
                      </a:lnTo>
                      <a:lnTo>
                        <a:pt x="538" y="538"/>
                      </a:lnTo>
                      <a:lnTo>
                        <a:pt x="534" y="552"/>
                      </a:lnTo>
                      <a:lnTo>
                        <a:pt x="532" y="559"/>
                      </a:lnTo>
                      <a:lnTo>
                        <a:pt x="530" y="564"/>
                      </a:lnTo>
                      <a:lnTo>
                        <a:pt x="526" y="570"/>
                      </a:lnTo>
                      <a:lnTo>
                        <a:pt x="523" y="574"/>
                      </a:lnTo>
                      <a:lnTo>
                        <a:pt x="504" y="594"/>
                      </a:lnTo>
                      <a:lnTo>
                        <a:pt x="498" y="602"/>
                      </a:lnTo>
                      <a:lnTo>
                        <a:pt x="496" y="624"/>
                      </a:lnTo>
                      <a:lnTo>
                        <a:pt x="521" y="622"/>
                      </a:lnTo>
                      <a:lnTo>
                        <a:pt x="522" y="629"/>
                      </a:lnTo>
                      <a:lnTo>
                        <a:pt x="525" y="645"/>
                      </a:lnTo>
                      <a:lnTo>
                        <a:pt x="527" y="650"/>
                      </a:lnTo>
                      <a:lnTo>
                        <a:pt x="531" y="655"/>
                      </a:lnTo>
                      <a:lnTo>
                        <a:pt x="534" y="660"/>
                      </a:lnTo>
                      <a:lnTo>
                        <a:pt x="539" y="666"/>
                      </a:lnTo>
                      <a:lnTo>
                        <a:pt x="544" y="672"/>
                      </a:lnTo>
                      <a:lnTo>
                        <a:pt x="551" y="676"/>
                      </a:lnTo>
                      <a:lnTo>
                        <a:pt x="559" y="682"/>
                      </a:lnTo>
                      <a:lnTo>
                        <a:pt x="568" y="686"/>
                      </a:lnTo>
                      <a:lnTo>
                        <a:pt x="594" y="699"/>
                      </a:lnTo>
                      <a:lnTo>
                        <a:pt x="629" y="714"/>
                      </a:lnTo>
                      <a:lnTo>
                        <a:pt x="670" y="730"/>
                      </a:lnTo>
                      <a:lnTo>
                        <a:pt x="715" y="749"/>
                      </a:lnTo>
                      <a:lnTo>
                        <a:pt x="760" y="768"/>
                      </a:lnTo>
                      <a:lnTo>
                        <a:pt x="802" y="786"/>
                      </a:lnTo>
                      <a:lnTo>
                        <a:pt x="820" y="795"/>
                      </a:lnTo>
                      <a:lnTo>
                        <a:pt x="837" y="803"/>
                      </a:lnTo>
                      <a:lnTo>
                        <a:pt x="850" y="811"/>
                      </a:lnTo>
                      <a:lnTo>
                        <a:pt x="862" y="817"/>
                      </a:lnTo>
                      <a:lnTo>
                        <a:pt x="879" y="830"/>
                      </a:lnTo>
                      <a:lnTo>
                        <a:pt x="891" y="840"/>
                      </a:lnTo>
                      <a:lnTo>
                        <a:pt x="896" y="846"/>
                      </a:lnTo>
                      <a:lnTo>
                        <a:pt x="900" y="851"/>
                      </a:lnTo>
                      <a:lnTo>
                        <a:pt x="902" y="856"/>
                      </a:lnTo>
                      <a:lnTo>
                        <a:pt x="906" y="861"/>
                      </a:lnTo>
                      <a:lnTo>
                        <a:pt x="908" y="874"/>
                      </a:lnTo>
                      <a:lnTo>
                        <a:pt x="909" y="887"/>
                      </a:lnTo>
                      <a:lnTo>
                        <a:pt x="909" y="903"/>
                      </a:lnTo>
                      <a:lnTo>
                        <a:pt x="909" y="922"/>
                      </a:lnTo>
                      <a:lnTo>
                        <a:pt x="907" y="960"/>
                      </a:lnTo>
                      <a:lnTo>
                        <a:pt x="906" y="988"/>
                      </a:lnTo>
                      <a:lnTo>
                        <a:pt x="905" y="1006"/>
                      </a:lnTo>
                      <a:lnTo>
                        <a:pt x="905" y="1013"/>
                      </a:lnTo>
                      <a:lnTo>
                        <a:pt x="455" y="1016"/>
                      </a:lnTo>
                      <a:lnTo>
                        <a:pt x="453" y="1005"/>
                      </a:lnTo>
                      <a:lnTo>
                        <a:pt x="450" y="995"/>
                      </a:lnTo>
                      <a:lnTo>
                        <a:pt x="448" y="974"/>
                      </a:lnTo>
                      <a:lnTo>
                        <a:pt x="447" y="954"/>
                      </a:lnTo>
                      <a:lnTo>
                        <a:pt x="445" y="933"/>
                      </a:lnTo>
                      <a:lnTo>
                        <a:pt x="441" y="908"/>
                      </a:lnTo>
                      <a:lnTo>
                        <a:pt x="443" y="893"/>
                      </a:lnTo>
                      <a:lnTo>
                        <a:pt x="444" y="881"/>
                      </a:lnTo>
                      <a:lnTo>
                        <a:pt x="444" y="871"/>
                      </a:lnTo>
                      <a:lnTo>
                        <a:pt x="443" y="863"/>
                      </a:lnTo>
                      <a:lnTo>
                        <a:pt x="441" y="857"/>
                      </a:lnTo>
                      <a:lnTo>
                        <a:pt x="438" y="852"/>
                      </a:lnTo>
                      <a:lnTo>
                        <a:pt x="435" y="849"/>
                      </a:lnTo>
                      <a:lnTo>
                        <a:pt x="431" y="846"/>
                      </a:lnTo>
                      <a:lnTo>
                        <a:pt x="453" y="824"/>
                      </a:lnTo>
                      <a:lnTo>
                        <a:pt x="476" y="799"/>
                      </a:lnTo>
                      <a:lnTo>
                        <a:pt x="488" y="784"/>
                      </a:lnTo>
                      <a:lnTo>
                        <a:pt x="503" y="763"/>
                      </a:lnTo>
                      <a:lnTo>
                        <a:pt x="518" y="737"/>
                      </a:lnTo>
                      <a:lnTo>
                        <a:pt x="538" y="706"/>
                      </a:lnTo>
                      <a:lnTo>
                        <a:pt x="507" y="734"/>
                      </a:lnTo>
                      <a:lnTo>
                        <a:pt x="477" y="762"/>
                      </a:lnTo>
                      <a:lnTo>
                        <a:pt x="446" y="790"/>
                      </a:lnTo>
                      <a:lnTo>
                        <a:pt x="416" y="819"/>
                      </a:lnTo>
                      <a:lnTo>
                        <a:pt x="403" y="815"/>
                      </a:lnTo>
                      <a:lnTo>
                        <a:pt x="391" y="813"/>
                      </a:lnTo>
                      <a:lnTo>
                        <a:pt x="385" y="813"/>
                      </a:lnTo>
                      <a:lnTo>
                        <a:pt x="380" y="813"/>
                      </a:lnTo>
                      <a:lnTo>
                        <a:pt x="373" y="813"/>
                      </a:lnTo>
                      <a:lnTo>
                        <a:pt x="367" y="815"/>
                      </a:lnTo>
                      <a:lnTo>
                        <a:pt x="359" y="812"/>
                      </a:lnTo>
                      <a:lnTo>
                        <a:pt x="351" y="808"/>
                      </a:lnTo>
                      <a:lnTo>
                        <a:pt x="343" y="805"/>
                      </a:lnTo>
                      <a:lnTo>
                        <a:pt x="336" y="801"/>
                      </a:lnTo>
                      <a:lnTo>
                        <a:pt x="320" y="789"/>
                      </a:lnTo>
                      <a:lnTo>
                        <a:pt x="304" y="777"/>
                      </a:lnTo>
                      <a:lnTo>
                        <a:pt x="288" y="762"/>
                      </a:lnTo>
                      <a:lnTo>
                        <a:pt x="272" y="746"/>
                      </a:lnTo>
                      <a:lnTo>
                        <a:pt x="256" y="730"/>
                      </a:lnTo>
                      <a:lnTo>
                        <a:pt x="241" y="714"/>
                      </a:lnTo>
                      <a:lnTo>
                        <a:pt x="253" y="733"/>
                      </a:lnTo>
                      <a:lnTo>
                        <a:pt x="265" y="752"/>
                      </a:lnTo>
                      <a:lnTo>
                        <a:pt x="277" y="771"/>
                      </a:lnTo>
                      <a:lnTo>
                        <a:pt x="290" y="788"/>
                      </a:lnTo>
                      <a:lnTo>
                        <a:pt x="303" y="805"/>
                      </a:lnTo>
                      <a:lnTo>
                        <a:pt x="316" y="820"/>
                      </a:lnTo>
                      <a:lnTo>
                        <a:pt x="331" y="832"/>
                      </a:lnTo>
                      <a:lnTo>
                        <a:pt x="347" y="843"/>
                      </a:lnTo>
                      <a:lnTo>
                        <a:pt x="343" y="850"/>
                      </a:lnTo>
                      <a:lnTo>
                        <a:pt x="340" y="857"/>
                      </a:lnTo>
                      <a:lnTo>
                        <a:pt x="339" y="864"/>
                      </a:lnTo>
                      <a:lnTo>
                        <a:pt x="338" y="869"/>
                      </a:lnTo>
                      <a:lnTo>
                        <a:pt x="338" y="875"/>
                      </a:lnTo>
                      <a:lnTo>
                        <a:pt x="338" y="881"/>
                      </a:lnTo>
                      <a:lnTo>
                        <a:pt x="339" y="885"/>
                      </a:lnTo>
                      <a:lnTo>
                        <a:pt x="341" y="891"/>
                      </a:lnTo>
                      <a:lnTo>
                        <a:pt x="346" y="899"/>
                      </a:lnTo>
                      <a:lnTo>
                        <a:pt x="350" y="906"/>
                      </a:lnTo>
                      <a:lnTo>
                        <a:pt x="357" y="911"/>
                      </a:lnTo>
                      <a:lnTo>
                        <a:pt x="363" y="915"/>
                      </a:lnTo>
                      <a:lnTo>
                        <a:pt x="361" y="918"/>
                      </a:lnTo>
                      <a:lnTo>
                        <a:pt x="361" y="920"/>
                      </a:lnTo>
                      <a:lnTo>
                        <a:pt x="323" y="901"/>
                      </a:lnTo>
                      <a:lnTo>
                        <a:pt x="278" y="881"/>
                      </a:lnTo>
                      <a:lnTo>
                        <a:pt x="228" y="859"/>
                      </a:lnTo>
                      <a:lnTo>
                        <a:pt x="177" y="838"/>
                      </a:lnTo>
                      <a:lnTo>
                        <a:pt x="125" y="816"/>
                      </a:lnTo>
                      <a:lnTo>
                        <a:pt x="78" y="797"/>
                      </a:lnTo>
                      <a:lnTo>
                        <a:pt x="35" y="779"/>
                      </a:lnTo>
                      <a:lnTo>
                        <a:pt x="0" y="764"/>
                      </a:lnTo>
                      <a:lnTo>
                        <a:pt x="27" y="753"/>
                      </a:lnTo>
                      <a:lnTo>
                        <a:pt x="54" y="742"/>
                      </a:lnTo>
                      <a:lnTo>
                        <a:pt x="81" y="730"/>
                      </a:lnTo>
                      <a:lnTo>
                        <a:pt x="106" y="720"/>
                      </a:lnTo>
                      <a:lnTo>
                        <a:pt x="130" y="710"/>
                      </a:lnTo>
                      <a:lnTo>
                        <a:pt x="151" y="701"/>
                      </a:lnTo>
                      <a:lnTo>
                        <a:pt x="170" y="693"/>
                      </a:lnTo>
                      <a:lnTo>
                        <a:pt x="183" y="686"/>
                      </a:lnTo>
                      <a:lnTo>
                        <a:pt x="192" y="682"/>
                      </a:lnTo>
                      <a:lnTo>
                        <a:pt x="200" y="676"/>
                      </a:lnTo>
                      <a:lnTo>
                        <a:pt x="207" y="672"/>
                      </a:lnTo>
                      <a:lnTo>
                        <a:pt x="212" y="666"/>
                      </a:lnTo>
                      <a:lnTo>
                        <a:pt x="217" y="660"/>
                      </a:lnTo>
                      <a:lnTo>
                        <a:pt x="220" y="655"/>
                      </a:lnTo>
                      <a:lnTo>
                        <a:pt x="224" y="650"/>
                      </a:lnTo>
                      <a:lnTo>
                        <a:pt x="226" y="645"/>
                      </a:lnTo>
                      <a:lnTo>
                        <a:pt x="230" y="629"/>
                      </a:lnTo>
                      <a:lnTo>
                        <a:pt x="230" y="622"/>
                      </a:lnTo>
                      <a:lnTo>
                        <a:pt x="255" y="624"/>
                      </a:lnTo>
                      <a:lnTo>
                        <a:pt x="254" y="602"/>
                      </a:lnTo>
                      <a:lnTo>
                        <a:pt x="247" y="594"/>
                      </a:lnTo>
                      <a:lnTo>
                        <a:pt x="228" y="574"/>
                      </a:lnTo>
                      <a:lnTo>
                        <a:pt x="225" y="570"/>
                      </a:lnTo>
                      <a:lnTo>
                        <a:pt x="223" y="564"/>
                      </a:lnTo>
                      <a:lnTo>
                        <a:pt x="219" y="559"/>
                      </a:lnTo>
                      <a:lnTo>
                        <a:pt x="217" y="552"/>
                      </a:lnTo>
                      <a:lnTo>
                        <a:pt x="214" y="538"/>
                      </a:lnTo>
                      <a:lnTo>
                        <a:pt x="211" y="523"/>
                      </a:lnTo>
                      <a:lnTo>
                        <a:pt x="208" y="497"/>
                      </a:lnTo>
                      <a:lnTo>
                        <a:pt x="207" y="485"/>
                      </a:lnTo>
                      <a:lnTo>
                        <a:pt x="205" y="487"/>
                      </a:lnTo>
                      <a:lnTo>
                        <a:pt x="192" y="490"/>
                      </a:lnTo>
                      <a:lnTo>
                        <a:pt x="189" y="489"/>
                      </a:lnTo>
                      <a:lnTo>
                        <a:pt x="185" y="487"/>
                      </a:lnTo>
                      <a:lnTo>
                        <a:pt x="183" y="481"/>
                      </a:lnTo>
                      <a:lnTo>
                        <a:pt x="180" y="474"/>
                      </a:lnTo>
                      <a:lnTo>
                        <a:pt x="175" y="455"/>
                      </a:lnTo>
                      <a:lnTo>
                        <a:pt x="170" y="432"/>
                      </a:lnTo>
                      <a:lnTo>
                        <a:pt x="162" y="383"/>
                      </a:lnTo>
                      <a:lnTo>
                        <a:pt x="157" y="346"/>
                      </a:lnTo>
                      <a:lnTo>
                        <a:pt x="157" y="339"/>
                      </a:lnTo>
                      <a:lnTo>
                        <a:pt x="159" y="334"/>
                      </a:lnTo>
                      <a:lnTo>
                        <a:pt x="162" y="331"/>
                      </a:lnTo>
                      <a:lnTo>
                        <a:pt x="165" y="330"/>
                      </a:lnTo>
                      <a:lnTo>
                        <a:pt x="170" y="330"/>
                      </a:lnTo>
                      <a:lnTo>
                        <a:pt x="174" y="331"/>
                      </a:lnTo>
                      <a:lnTo>
                        <a:pt x="177" y="332"/>
                      </a:lnTo>
                      <a:lnTo>
                        <a:pt x="182" y="334"/>
                      </a:lnTo>
                      <a:lnTo>
                        <a:pt x="174" y="319"/>
                      </a:lnTo>
                      <a:lnTo>
                        <a:pt x="166" y="301"/>
                      </a:lnTo>
                      <a:lnTo>
                        <a:pt x="163" y="293"/>
                      </a:lnTo>
                      <a:lnTo>
                        <a:pt x="160" y="283"/>
                      </a:lnTo>
                      <a:lnTo>
                        <a:pt x="158" y="272"/>
                      </a:lnTo>
                      <a:lnTo>
                        <a:pt x="157" y="258"/>
                      </a:lnTo>
                      <a:lnTo>
                        <a:pt x="156" y="228"/>
                      </a:lnTo>
                      <a:lnTo>
                        <a:pt x="157" y="194"/>
                      </a:lnTo>
                      <a:lnTo>
                        <a:pt x="160" y="160"/>
                      </a:lnTo>
                      <a:lnTo>
                        <a:pt x="165" y="129"/>
                      </a:lnTo>
                      <a:lnTo>
                        <a:pt x="168" y="114"/>
                      </a:lnTo>
                      <a:lnTo>
                        <a:pt x="172" y="100"/>
                      </a:lnTo>
                      <a:lnTo>
                        <a:pt x="176" y="89"/>
                      </a:lnTo>
                      <a:lnTo>
                        <a:pt x="181" y="79"/>
                      </a:lnTo>
                      <a:lnTo>
                        <a:pt x="188" y="69"/>
                      </a:lnTo>
                      <a:lnTo>
                        <a:pt x="194" y="62"/>
                      </a:lnTo>
                      <a:lnTo>
                        <a:pt x="202" y="57"/>
                      </a:lnTo>
                      <a:lnTo>
                        <a:pt x="209" y="55"/>
                      </a:lnTo>
                      <a:lnTo>
                        <a:pt x="216" y="54"/>
                      </a:lnTo>
                      <a:lnTo>
                        <a:pt x="223" y="55"/>
                      </a:lnTo>
                      <a:lnTo>
                        <a:pt x="229" y="56"/>
                      </a:lnTo>
                      <a:lnTo>
                        <a:pt x="235" y="59"/>
                      </a:lnTo>
                      <a:lnTo>
                        <a:pt x="243" y="49"/>
                      </a:lnTo>
                      <a:lnTo>
                        <a:pt x="252" y="40"/>
                      </a:lnTo>
                      <a:lnTo>
                        <a:pt x="258" y="35"/>
                      </a:lnTo>
                      <a:lnTo>
                        <a:pt x="263" y="29"/>
                      </a:lnTo>
                      <a:lnTo>
                        <a:pt x="270" y="25"/>
                      </a:lnTo>
                      <a:lnTo>
                        <a:pt x="277" y="20"/>
                      </a:lnTo>
                      <a:lnTo>
                        <a:pt x="291" y="13"/>
                      </a:lnTo>
                      <a:lnTo>
                        <a:pt x="307" y="8"/>
                      </a:lnTo>
                      <a:lnTo>
                        <a:pt x="324" y="4"/>
                      </a:lnTo>
                      <a:lnTo>
                        <a:pt x="341" y="1"/>
                      </a:lnTo>
                      <a:lnTo>
                        <a:pt x="358" y="0"/>
                      </a:lnTo>
                      <a:lnTo>
                        <a:pt x="376"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9" name="Freeform 78"/>
                <p:cNvSpPr>
                  <a:spLocks/>
                </p:cNvSpPr>
                <p:nvPr/>
              </p:nvSpPr>
              <p:spPr bwMode="auto">
                <a:xfrm>
                  <a:off x="5038125" y="4839822"/>
                  <a:ext cx="290768" cy="324238"/>
                </a:xfrm>
                <a:custGeom>
                  <a:avLst/>
                  <a:gdLst>
                    <a:gd name="T0" fmla="*/ 483 w 909"/>
                    <a:gd name="T1" fmla="*/ 4 h 1016"/>
                    <a:gd name="T2" fmla="*/ 428 w 909"/>
                    <a:gd name="T3" fmla="*/ 25 h 1016"/>
                    <a:gd name="T4" fmla="*/ 389 w 909"/>
                    <a:gd name="T5" fmla="*/ 64 h 1016"/>
                    <a:gd name="T6" fmla="*/ 348 w 909"/>
                    <a:gd name="T7" fmla="*/ 122 h 1016"/>
                    <a:gd name="T8" fmla="*/ 330 w 909"/>
                    <a:gd name="T9" fmla="*/ 170 h 1016"/>
                    <a:gd name="T10" fmla="*/ 327 w 909"/>
                    <a:gd name="T11" fmla="*/ 225 h 1016"/>
                    <a:gd name="T12" fmla="*/ 345 w 909"/>
                    <a:gd name="T13" fmla="*/ 334 h 1016"/>
                    <a:gd name="T14" fmla="*/ 327 w 909"/>
                    <a:gd name="T15" fmla="*/ 330 h 1016"/>
                    <a:gd name="T16" fmla="*/ 318 w 909"/>
                    <a:gd name="T17" fmla="*/ 334 h 1016"/>
                    <a:gd name="T18" fmla="*/ 320 w 909"/>
                    <a:gd name="T19" fmla="*/ 383 h 1016"/>
                    <a:gd name="T20" fmla="*/ 341 w 909"/>
                    <a:gd name="T21" fmla="*/ 481 h 1016"/>
                    <a:gd name="T22" fmla="*/ 363 w 909"/>
                    <a:gd name="T23" fmla="*/ 487 h 1016"/>
                    <a:gd name="T24" fmla="*/ 372 w 909"/>
                    <a:gd name="T25" fmla="*/ 538 h 1016"/>
                    <a:gd name="T26" fmla="*/ 383 w 909"/>
                    <a:gd name="T27" fmla="*/ 570 h 1016"/>
                    <a:gd name="T28" fmla="*/ 414 w 909"/>
                    <a:gd name="T29" fmla="*/ 624 h 1016"/>
                    <a:gd name="T30" fmla="*/ 382 w 909"/>
                    <a:gd name="T31" fmla="*/ 650 h 1016"/>
                    <a:gd name="T32" fmla="*/ 365 w 909"/>
                    <a:gd name="T33" fmla="*/ 672 h 1016"/>
                    <a:gd name="T34" fmla="*/ 315 w 909"/>
                    <a:gd name="T35" fmla="*/ 699 h 1016"/>
                    <a:gd name="T36" fmla="*/ 149 w 909"/>
                    <a:gd name="T37" fmla="*/ 768 h 1016"/>
                    <a:gd name="T38" fmla="*/ 59 w 909"/>
                    <a:gd name="T39" fmla="*/ 811 h 1016"/>
                    <a:gd name="T40" fmla="*/ 14 w 909"/>
                    <a:gd name="T41" fmla="*/ 846 h 1016"/>
                    <a:gd name="T42" fmla="*/ 2 w 909"/>
                    <a:gd name="T43" fmla="*/ 874 h 1016"/>
                    <a:gd name="T44" fmla="*/ 3 w 909"/>
                    <a:gd name="T45" fmla="*/ 960 h 1016"/>
                    <a:gd name="T46" fmla="*/ 454 w 909"/>
                    <a:gd name="T47" fmla="*/ 1016 h 1016"/>
                    <a:gd name="T48" fmla="*/ 465 w 909"/>
                    <a:gd name="T49" fmla="*/ 986 h 1016"/>
                    <a:gd name="T50" fmla="*/ 492 w 909"/>
                    <a:gd name="T51" fmla="*/ 956 h 1016"/>
                    <a:gd name="T52" fmla="*/ 501 w 909"/>
                    <a:gd name="T53" fmla="*/ 915 h 1016"/>
                    <a:gd name="T54" fmla="*/ 479 w 909"/>
                    <a:gd name="T55" fmla="*/ 891 h 1016"/>
                    <a:gd name="T56" fmla="*/ 477 w 909"/>
                    <a:gd name="T57" fmla="*/ 869 h 1016"/>
                    <a:gd name="T58" fmla="*/ 485 w 909"/>
                    <a:gd name="T59" fmla="*/ 843 h 1016"/>
                    <a:gd name="T60" fmla="*/ 428 w 909"/>
                    <a:gd name="T61" fmla="*/ 788 h 1016"/>
                    <a:gd name="T62" fmla="*/ 380 w 909"/>
                    <a:gd name="T63" fmla="*/ 714 h 1016"/>
                    <a:gd name="T64" fmla="*/ 443 w 909"/>
                    <a:gd name="T65" fmla="*/ 777 h 1016"/>
                    <a:gd name="T66" fmla="*/ 489 w 909"/>
                    <a:gd name="T67" fmla="*/ 808 h 1016"/>
                    <a:gd name="T68" fmla="*/ 518 w 909"/>
                    <a:gd name="T69" fmla="*/ 813 h 1016"/>
                    <a:gd name="T70" fmla="*/ 554 w 909"/>
                    <a:gd name="T71" fmla="*/ 819 h 1016"/>
                    <a:gd name="T72" fmla="*/ 676 w 909"/>
                    <a:gd name="T73" fmla="*/ 706 h 1016"/>
                    <a:gd name="T74" fmla="*/ 614 w 909"/>
                    <a:gd name="T75" fmla="*/ 799 h 1016"/>
                    <a:gd name="T76" fmla="*/ 576 w 909"/>
                    <a:gd name="T77" fmla="*/ 852 h 1016"/>
                    <a:gd name="T78" fmla="*/ 582 w 909"/>
                    <a:gd name="T79" fmla="*/ 878 h 1016"/>
                    <a:gd name="T80" fmla="*/ 662 w 909"/>
                    <a:gd name="T81" fmla="*/ 868 h 1016"/>
                    <a:gd name="T82" fmla="*/ 842 w 909"/>
                    <a:gd name="T83" fmla="*/ 793 h 1016"/>
                    <a:gd name="T84" fmla="*/ 855 w 909"/>
                    <a:gd name="T85" fmla="*/ 742 h 1016"/>
                    <a:gd name="T86" fmla="*/ 758 w 909"/>
                    <a:gd name="T87" fmla="*/ 701 h 1016"/>
                    <a:gd name="T88" fmla="*/ 710 w 909"/>
                    <a:gd name="T89" fmla="*/ 676 h 1016"/>
                    <a:gd name="T90" fmla="*/ 689 w 909"/>
                    <a:gd name="T91" fmla="*/ 655 h 1016"/>
                    <a:gd name="T92" fmla="*/ 679 w 909"/>
                    <a:gd name="T93" fmla="*/ 622 h 1016"/>
                    <a:gd name="T94" fmla="*/ 681 w 909"/>
                    <a:gd name="T95" fmla="*/ 574 h 1016"/>
                    <a:gd name="T96" fmla="*/ 693 w 909"/>
                    <a:gd name="T97" fmla="*/ 552 h 1016"/>
                    <a:gd name="T98" fmla="*/ 703 w 909"/>
                    <a:gd name="T99" fmla="*/ 485 h 1016"/>
                    <a:gd name="T100" fmla="*/ 724 w 909"/>
                    <a:gd name="T101" fmla="*/ 487 h 1016"/>
                    <a:gd name="T102" fmla="*/ 740 w 909"/>
                    <a:gd name="T103" fmla="*/ 432 h 1016"/>
                    <a:gd name="T104" fmla="*/ 750 w 909"/>
                    <a:gd name="T105" fmla="*/ 334 h 1016"/>
                    <a:gd name="T106" fmla="*/ 736 w 909"/>
                    <a:gd name="T107" fmla="*/ 331 h 1016"/>
                    <a:gd name="T108" fmla="*/ 743 w 909"/>
                    <a:gd name="T109" fmla="*/ 301 h 1016"/>
                    <a:gd name="T110" fmla="*/ 752 w 909"/>
                    <a:gd name="T111" fmla="*/ 258 h 1016"/>
                    <a:gd name="T112" fmla="*/ 745 w 909"/>
                    <a:gd name="T113" fmla="*/ 129 h 1016"/>
                    <a:gd name="T114" fmla="*/ 729 w 909"/>
                    <a:gd name="T115" fmla="*/ 79 h 1016"/>
                    <a:gd name="T116" fmla="*/ 701 w 909"/>
                    <a:gd name="T117" fmla="*/ 55 h 1016"/>
                    <a:gd name="T118" fmla="*/ 675 w 909"/>
                    <a:gd name="T119" fmla="*/ 59 h 1016"/>
                    <a:gd name="T120" fmla="*/ 646 w 909"/>
                    <a:gd name="T121" fmla="*/ 29 h 1016"/>
                    <a:gd name="T122" fmla="*/ 602 w 909"/>
                    <a:gd name="T123" fmla="*/ 8 h 1016"/>
                    <a:gd name="T124" fmla="*/ 533 w 909"/>
                    <a:gd name="T125"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9" h="1016">
                      <a:moveTo>
                        <a:pt x="533" y="0"/>
                      </a:moveTo>
                      <a:lnTo>
                        <a:pt x="516" y="0"/>
                      </a:lnTo>
                      <a:lnTo>
                        <a:pt x="500" y="1"/>
                      </a:lnTo>
                      <a:lnTo>
                        <a:pt x="483" y="4"/>
                      </a:lnTo>
                      <a:lnTo>
                        <a:pt x="466" y="8"/>
                      </a:lnTo>
                      <a:lnTo>
                        <a:pt x="450" y="13"/>
                      </a:lnTo>
                      <a:lnTo>
                        <a:pt x="435" y="20"/>
                      </a:lnTo>
                      <a:lnTo>
                        <a:pt x="428" y="25"/>
                      </a:lnTo>
                      <a:lnTo>
                        <a:pt x="422" y="29"/>
                      </a:lnTo>
                      <a:lnTo>
                        <a:pt x="416" y="35"/>
                      </a:lnTo>
                      <a:lnTo>
                        <a:pt x="409" y="40"/>
                      </a:lnTo>
                      <a:lnTo>
                        <a:pt x="389" y="64"/>
                      </a:lnTo>
                      <a:lnTo>
                        <a:pt x="370" y="87"/>
                      </a:lnTo>
                      <a:lnTo>
                        <a:pt x="362" y="98"/>
                      </a:lnTo>
                      <a:lnTo>
                        <a:pt x="355" y="110"/>
                      </a:lnTo>
                      <a:lnTo>
                        <a:pt x="348" y="122"/>
                      </a:lnTo>
                      <a:lnTo>
                        <a:pt x="343" y="133"/>
                      </a:lnTo>
                      <a:lnTo>
                        <a:pt x="338" y="145"/>
                      </a:lnTo>
                      <a:lnTo>
                        <a:pt x="334" y="158"/>
                      </a:lnTo>
                      <a:lnTo>
                        <a:pt x="330" y="170"/>
                      </a:lnTo>
                      <a:lnTo>
                        <a:pt x="328" y="183"/>
                      </a:lnTo>
                      <a:lnTo>
                        <a:pt x="327" y="196"/>
                      </a:lnTo>
                      <a:lnTo>
                        <a:pt x="327" y="210"/>
                      </a:lnTo>
                      <a:lnTo>
                        <a:pt x="327" y="225"/>
                      </a:lnTo>
                      <a:lnTo>
                        <a:pt x="328" y="239"/>
                      </a:lnTo>
                      <a:lnTo>
                        <a:pt x="336" y="289"/>
                      </a:lnTo>
                      <a:lnTo>
                        <a:pt x="341" y="319"/>
                      </a:lnTo>
                      <a:lnTo>
                        <a:pt x="345" y="334"/>
                      </a:lnTo>
                      <a:lnTo>
                        <a:pt x="346" y="337"/>
                      </a:lnTo>
                      <a:lnTo>
                        <a:pt x="340" y="335"/>
                      </a:lnTo>
                      <a:lnTo>
                        <a:pt x="330" y="330"/>
                      </a:lnTo>
                      <a:lnTo>
                        <a:pt x="327" y="330"/>
                      </a:lnTo>
                      <a:lnTo>
                        <a:pt x="325" y="330"/>
                      </a:lnTo>
                      <a:lnTo>
                        <a:pt x="321" y="331"/>
                      </a:lnTo>
                      <a:lnTo>
                        <a:pt x="319" y="332"/>
                      </a:lnTo>
                      <a:lnTo>
                        <a:pt x="318" y="334"/>
                      </a:lnTo>
                      <a:lnTo>
                        <a:pt x="317" y="336"/>
                      </a:lnTo>
                      <a:lnTo>
                        <a:pt x="315" y="341"/>
                      </a:lnTo>
                      <a:lnTo>
                        <a:pt x="315" y="346"/>
                      </a:lnTo>
                      <a:lnTo>
                        <a:pt x="320" y="383"/>
                      </a:lnTo>
                      <a:lnTo>
                        <a:pt x="328" y="432"/>
                      </a:lnTo>
                      <a:lnTo>
                        <a:pt x="332" y="455"/>
                      </a:lnTo>
                      <a:lnTo>
                        <a:pt x="338" y="474"/>
                      </a:lnTo>
                      <a:lnTo>
                        <a:pt x="341" y="481"/>
                      </a:lnTo>
                      <a:lnTo>
                        <a:pt x="344" y="487"/>
                      </a:lnTo>
                      <a:lnTo>
                        <a:pt x="347" y="489"/>
                      </a:lnTo>
                      <a:lnTo>
                        <a:pt x="349" y="490"/>
                      </a:lnTo>
                      <a:lnTo>
                        <a:pt x="363" y="487"/>
                      </a:lnTo>
                      <a:lnTo>
                        <a:pt x="365" y="485"/>
                      </a:lnTo>
                      <a:lnTo>
                        <a:pt x="366" y="497"/>
                      </a:lnTo>
                      <a:lnTo>
                        <a:pt x="369" y="523"/>
                      </a:lnTo>
                      <a:lnTo>
                        <a:pt x="372" y="538"/>
                      </a:lnTo>
                      <a:lnTo>
                        <a:pt x="375" y="552"/>
                      </a:lnTo>
                      <a:lnTo>
                        <a:pt x="378" y="559"/>
                      </a:lnTo>
                      <a:lnTo>
                        <a:pt x="380" y="564"/>
                      </a:lnTo>
                      <a:lnTo>
                        <a:pt x="383" y="570"/>
                      </a:lnTo>
                      <a:lnTo>
                        <a:pt x="387" y="574"/>
                      </a:lnTo>
                      <a:lnTo>
                        <a:pt x="406" y="594"/>
                      </a:lnTo>
                      <a:lnTo>
                        <a:pt x="411" y="602"/>
                      </a:lnTo>
                      <a:lnTo>
                        <a:pt x="414" y="624"/>
                      </a:lnTo>
                      <a:lnTo>
                        <a:pt x="389" y="622"/>
                      </a:lnTo>
                      <a:lnTo>
                        <a:pt x="388" y="629"/>
                      </a:lnTo>
                      <a:lnTo>
                        <a:pt x="384" y="645"/>
                      </a:lnTo>
                      <a:lnTo>
                        <a:pt x="382" y="650"/>
                      </a:lnTo>
                      <a:lnTo>
                        <a:pt x="379" y="655"/>
                      </a:lnTo>
                      <a:lnTo>
                        <a:pt x="375" y="660"/>
                      </a:lnTo>
                      <a:lnTo>
                        <a:pt x="371" y="666"/>
                      </a:lnTo>
                      <a:lnTo>
                        <a:pt x="365" y="672"/>
                      </a:lnTo>
                      <a:lnTo>
                        <a:pt x="358" y="676"/>
                      </a:lnTo>
                      <a:lnTo>
                        <a:pt x="350" y="682"/>
                      </a:lnTo>
                      <a:lnTo>
                        <a:pt x="341" y="686"/>
                      </a:lnTo>
                      <a:lnTo>
                        <a:pt x="315" y="699"/>
                      </a:lnTo>
                      <a:lnTo>
                        <a:pt x="280" y="714"/>
                      </a:lnTo>
                      <a:lnTo>
                        <a:pt x="240" y="730"/>
                      </a:lnTo>
                      <a:lnTo>
                        <a:pt x="195" y="749"/>
                      </a:lnTo>
                      <a:lnTo>
                        <a:pt x="149" y="768"/>
                      </a:lnTo>
                      <a:lnTo>
                        <a:pt x="108" y="786"/>
                      </a:lnTo>
                      <a:lnTo>
                        <a:pt x="90" y="795"/>
                      </a:lnTo>
                      <a:lnTo>
                        <a:pt x="73" y="803"/>
                      </a:lnTo>
                      <a:lnTo>
                        <a:pt x="59" y="811"/>
                      </a:lnTo>
                      <a:lnTo>
                        <a:pt x="48" y="817"/>
                      </a:lnTo>
                      <a:lnTo>
                        <a:pt x="31" y="830"/>
                      </a:lnTo>
                      <a:lnTo>
                        <a:pt x="19" y="840"/>
                      </a:lnTo>
                      <a:lnTo>
                        <a:pt x="14" y="846"/>
                      </a:lnTo>
                      <a:lnTo>
                        <a:pt x="9" y="851"/>
                      </a:lnTo>
                      <a:lnTo>
                        <a:pt x="7" y="856"/>
                      </a:lnTo>
                      <a:lnTo>
                        <a:pt x="4" y="861"/>
                      </a:lnTo>
                      <a:lnTo>
                        <a:pt x="2" y="874"/>
                      </a:lnTo>
                      <a:lnTo>
                        <a:pt x="0" y="887"/>
                      </a:lnTo>
                      <a:lnTo>
                        <a:pt x="0" y="903"/>
                      </a:lnTo>
                      <a:lnTo>
                        <a:pt x="0" y="922"/>
                      </a:lnTo>
                      <a:lnTo>
                        <a:pt x="3" y="960"/>
                      </a:lnTo>
                      <a:lnTo>
                        <a:pt x="4" y="988"/>
                      </a:lnTo>
                      <a:lnTo>
                        <a:pt x="5" y="1006"/>
                      </a:lnTo>
                      <a:lnTo>
                        <a:pt x="5" y="1013"/>
                      </a:lnTo>
                      <a:lnTo>
                        <a:pt x="454" y="1016"/>
                      </a:lnTo>
                      <a:lnTo>
                        <a:pt x="456" y="1008"/>
                      </a:lnTo>
                      <a:lnTo>
                        <a:pt x="458" y="1000"/>
                      </a:lnTo>
                      <a:lnTo>
                        <a:pt x="461" y="993"/>
                      </a:lnTo>
                      <a:lnTo>
                        <a:pt x="465" y="986"/>
                      </a:lnTo>
                      <a:lnTo>
                        <a:pt x="470" y="979"/>
                      </a:lnTo>
                      <a:lnTo>
                        <a:pt x="476" y="971"/>
                      </a:lnTo>
                      <a:lnTo>
                        <a:pt x="484" y="964"/>
                      </a:lnTo>
                      <a:lnTo>
                        <a:pt x="492" y="956"/>
                      </a:lnTo>
                      <a:lnTo>
                        <a:pt x="494" y="946"/>
                      </a:lnTo>
                      <a:lnTo>
                        <a:pt x="496" y="936"/>
                      </a:lnTo>
                      <a:lnTo>
                        <a:pt x="498" y="925"/>
                      </a:lnTo>
                      <a:lnTo>
                        <a:pt x="501" y="915"/>
                      </a:lnTo>
                      <a:lnTo>
                        <a:pt x="495" y="911"/>
                      </a:lnTo>
                      <a:lnTo>
                        <a:pt x="489" y="906"/>
                      </a:lnTo>
                      <a:lnTo>
                        <a:pt x="484" y="899"/>
                      </a:lnTo>
                      <a:lnTo>
                        <a:pt x="479" y="891"/>
                      </a:lnTo>
                      <a:lnTo>
                        <a:pt x="478" y="885"/>
                      </a:lnTo>
                      <a:lnTo>
                        <a:pt x="477" y="881"/>
                      </a:lnTo>
                      <a:lnTo>
                        <a:pt x="476" y="875"/>
                      </a:lnTo>
                      <a:lnTo>
                        <a:pt x="477" y="869"/>
                      </a:lnTo>
                      <a:lnTo>
                        <a:pt x="477" y="864"/>
                      </a:lnTo>
                      <a:lnTo>
                        <a:pt x="479" y="857"/>
                      </a:lnTo>
                      <a:lnTo>
                        <a:pt x="481" y="850"/>
                      </a:lnTo>
                      <a:lnTo>
                        <a:pt x="485" y="843"/>
                      </a:lnTo>
                      <a:lnTo>
                        <a:pt x="470" y="832"/>
                      </a:lnTo>
                      <a:lnTo>
                        <a:pt x="456" y="820"/>
                      </a:lnTo>
                      <a:lnTo>
                        <a:pt x="442" y="805"/>
                      </a:lnTo>
                      <a:lnTo>
                        <a:pt x="428" y="788"/>
                      </a:lnTo>
                      <a:lnTo>
                        <a:pt x="416" y="771"/>
                      </a:lnTo>
                      <a:lnTo>
                        <a:pt x="404" y="752"/>
                      </a:lnTo>
                      <a:lnTo>
                        <a:pt x="391" y="733"/>
                      </a:lnTo>
                      <a:lnTo>
                        <a:pt x="380" y="714"/>
                      </a:lnTo>
                      <a:lnTo>
                        <a:pt x="396" y="730"/>
                      </a:lnTo>
                      <a:lnTo>
                        <a:pt x="411" y="746"/>
                      </a:lnTo>
                      <a:lnTo>
                        <a:pt x="427" y="762"/>
                      </a:lnTo>
                      <a:lnTo>
                        <a:pt x="443" y="777"/>
                      </a:lnTo>
                      <a:lnTo>
                        <a:pt x="459" y="789"/>
                      </a:lnTo>
                      <a:lnTo>
                        <a:pt x="474" y="801"/>
                      </a:lnTo>
                      <a:lnTo>
                        <a:pt x="481" y="805"/>
                      </a:lnTo>
                      <a:lnTo>
                        <a:pt x="489" y="808"/>
                      </a:lnTo>
                      <a:lnTo>
                        <a:pt x="497" y="812"/>
                      </a:lnTo>
                      <a:lnTo>
                        <a:pt x="505" y="815"/>
                      </a:lnTo>
                      <a:lnTo>
                        <a:pt x="512" y="813"/>
                      </a:lnTo>
                      <a:lnTo>
                        <a:pt x="518" y="813"/>
                      </a:lnTo>
                      <a:lnTo>
                        <a:pt x="523" y="813"/>
                      </a:lnTo>
                      <a:lnTo>
                        <a:pt x="530" y="813"/>
                      </a:lnTo>
                      <a:lnTo>
                        <a:pt x="542" y="815"/>
                      </a:lnTo>
                      <a:lnTo>
                        <a:pt x="554" y="819"/>
                      </a:lnTo>
                      <a:lnTo>
                        <a:pt x="584" y="790"/>
                      </a:lnTo>
                      <a:lnTo>
                        <a:pt x="615" y="762"/>
                      </a:lnTo>
                      <a:lnTo>
                        <a:pt x="645" y="734"/>
                      </a:lnTo>
                      <a:lnTo>
                        <a:pt x="676" y="706"/>
                      </a:lnTo>
                      <a:lnTo>
                        <a:pt x="657" y="737"/>
                      </a:lnTo>
                      <a:lnTo>
                        <a:pt x="641" y="763"/>
                      </a:lnTo>
                      <a:lnTo>
                        <a:pt x="626" y="784"/>
                      </a:lnTo>
                      <a:lnTo>
                        <a:pt x="614" y="799"/>
                      </a:lnTo>
                      <a:lnTo>
                        <a:pt x="591" y="824"/>
                      </a:lnTo>
                      <a:lnTo>
                        <a:pt x="570" y="846"/>
                      </a:lnTo>
                      <a:lnTo>
                        <a:pt x="573" y="849"/>
                      </a:lnTo>
                      <a:lnTo>
                        <a:pt x="576" y="852"/>
                      </a:lnTo>
                      <a:lnTo>
                        <a:pt x="579" y="857"/>
                      </a:lnTo>
                      <a:lnTo>
                        <a:pt x="581" y="863"/>
                      </a:lnTo>
                      <a:lnTo>
                        <a:pt x="582" y="869"/>
                      </a:lnTo>
                      <a:lnTo>
                        <a:pt x="582" y="878"/>
                      </a:lnTo>
                      <a:lnTo>
                        <a:pt x="581" y="891"/>
                      </a:lnTo>
                      <a:lnTo>
                        <a:pt x="580" y="904"/>
                      </a:lnTo>
                      <a:lnTo>
                        <a:pt x="618" y="886"/>
                      </a:lnTo>
                      <a:lnTo>
                        <a:pt x="662" y="868"/>
                      </a:lnTo>
                      <a:lnTo>
                        <a:pt x="707" y="848"/>
                      </a:lnTo>
                      <a:lnTo>
                        <a:pt x="754" y="829"/>
                      </a:lnTo>
                      <a:lnTo>
                        <a:pt x="799" y="811"/>
                      </a:lnTo>
                      <a:lnTo>
                        <a:pt x="842" y="793"/>
                      </a:lnTo>
                      <a:lnTo>
                        <a:pt x="879" y="778"/>
                      </a:lnTo>
                      <a:lnTo>
                        <a:pt x="909" y="764"/>
                      </a:lnTo>
                      <a:lnTo>
                        <a:pt x="882" y="753"/>
                      </a:lnTo>
                      <a:lnTo>
                        <a:pt x="855" y="742"/>
                      </a:lnTo>
                      <a:lnTo>
                        <a:pt x="828" y="730"/>
                      </a:lnTo>
                      <a:lnTo>
                        <a:pt x="803" y="720"/>
                      </a:lnTo>
                      <a:lnTo>
                        <a:pt x="780" y="710"/>
                      </a:lnTo>
                      <a:lnTo>
                        <a:pt x="758" y="701"/>
                      </a:lnTo>
                      <a:lnTo>
                        <a:pt x="740" y="693"/>
                      </a:lnTo>
                      <a:lnTo>
                        <a:pt x="727" y="686"/>
                      </a:lnTo>
                      <a:lnTo>
                        <a:pt x="717" y="682"/>
                      </a:lnTo>
                      <a:lnTo>
                        <a:pt x="710" y="676"/>
                      </a:lnTo>
                      <a:lnTo>
                        <a:pt x="703" y="672"/>
                      </a:lnTo>
                      <a:lnTo>
                        <a:pt x="697" y="666"/>
                      </a:lnTo>
                      <a:lnTo>
                        <a:pt x="693" y="660"/>
                      </a:lnTo>
                      <a:lnTo>
                        <a:pt x="689" y="655"/>
                      </a:lnTo>
                      <a:lnTo>
                        <a:pt x="686" y="650"/>
                      </a:lnTo>
                      <a:lnTo>
                        <a:pt x="684" y="645"/>
                      </a:lnTo>
                      <a:lnTo>
                        <a:pt x="679" y="629"/>
                      </a:lnTo>
                      <a:lnTo>
                        <a:pt x="679" y="622"/>
                      </a:lnTo>
                      <a:lnTo>
                        <a:pt x="654" y="624"/>
                      </a:lnTo>
                      <a:lnTo>
                        <a:pt x="655" y="602"/>
                      </a:lnTo>
                      <a:lnTo>
                        <a:pt x="662" y="594"/>
                      </a:lnTo>
                      <a:lnTo>
                        <a:pt x="681" y="574"/>
                      </a:lnTo>
                      <a:lnTo>
                        <a:pt x="685" y="570"/>
                      </a:lnTo>
                      <a:lnTo>
                        <a:pt x="687" y="564"/>
                      </a:lnTo>
                      <a:lnTo>
                        <a:pt x="690" y="559"/>
                      </a:lnTo>
                      <a:lnTo>
                        <a:pt x="693" y="552"/>
                      </a:lnTo>
                      <a:lnTo>
                        <a:pt x="696" y="538"/>
                      </a:lnTo>
                      <a:lnTo>
                        <a:pt x="698" y="523"/>
                      </a:lnTo>
                      <a:lnTo>
                        <a:pt x="702" y="497"/>
                      </a:lnTo>
                      <a:lnTo>
                        <a:pt x="703" y="485"/>
                      </a:lnTo>
                      <a:lnTo>
                        <a:pt x="705" y="487"/>
                      </a:lnTo>
                      <a:lnTo>
                        <a:pt x="719" y="490"/>
                      </a:lnTo>
                      <a:lnTo>
                        <a:pt x="721" y="489"/>
                      </a:lnTo>
                      <a:lnTo>
                        <a:pt x="724" y="487"/>
                      </a:lnTo>
                      <a:lnTo>
                        <a:pt x="727" y="481"/>
                      </a:lnTo>
                      <a:lnTo>
                        <a:pt x="730" y="474"/>
                      </a:lnTo>
                      <a:lnTo>
                        <a:pt x="734" y="455"/>
                      </a:lnTo>
                      <a:lnTo>
                        <a:pt x="740" y="432"/>
                      </a:lnTo>
                      <a:lnTo>
                        <a:pt x="748" y="383"/>
                      </a:lnTo>
                      <a:lnTo>
                        <a:pt x="752" y="346"/>
                      </a:lnTo>
                      <a:lnTo>
                        <a:pt x="752" y="339"/>
                      </a:lnTo>
                      <a:lnTo>
                        <a:pt x="750" y="334"/>
                      </a:lnTo>
                      <a:lnTo>
                        <a:pt x="748" y="331"/>
                      </a:lnTo>
                      <a:lnTo>
                        <a:pt x="745" y="330"/>
                      </a:lnTo>
                      <a:lnTo>
                        <a:pt x="740" y="330"/>
                      </a:lnTo>
                      <a:lnTo>
                        <a:pt x="736" y="331"/>
                      </a:lnTo>
                      <a:lnTo>
                        <a:pt x="732" y="332"/>
                      </a:lnTo>
                      <a:lnTo>
                        <a:pt x="728" y="334"/>
                      </a:lnTo>
                      <a:lnTo>
                        <a:pt x="736" y="319"/>
                      </a:lnTo>
                      <a:lnTo>
                        <a:pt x="743" y="301"/>
                      </a:lnTo>
                      <a:lnTo>
                        <a:pt x="747" y="293"/>
                      </a:lnTo>
                      <a:lnTo>
                        <a:pt x="749" y="283"/>
                      </a:lnTo>
                      <a:lnTo>
                        <a:pt x="751" y="272"/>
                      </a:lnTo>
                      <a:lnTo>
                        <a:pt x="752" y="258"/>
                      </a:lnTo>
                      <a:lnTo>
                        <a:pt x="754" y="228"/>
                      </a:lnTo>
                      <a:lnTo>
                        <a:pt x="752" y="194"/>
                      </a:lnTo>
                      <a:lnTo>
                        <a:pt x="749" y="160"/>
                      </a:lnTo>
                      <a:lnTo>
                        <a:pt x="745" y="129"/>
                      </a:lnTo>
                      <a:lnTo>
                        <a:pt x="741" y="114"/>
                      </a:lnTo>
                      <a:lnTo>
                        <a:pt x="738" y="100"/>
                      </a:lnTo>
                      <a:lnTo>
                        <a:pt x="733" y="89"/>
                      </a:lnTo>
                      <a:lnTo>
                        <a:pt x="729" y="79"/>
                      </a:lnTo>
                      <a:lnTo>
                        <a:pt x="722" y="69"/>
                      </a:lnTo>
                      <a:lnTo>
                        <a:pt x="715" y="62"/>
                      </a:lnTo>
                      <a:lnTo>
                        <a:pt x="708" y="57"/>
                      </a:lnTo>
                      <a:lnTo>
                        <a:pt x="701" y="55"/>
                      </a:lnTo>
                      <a:lnTo>
                        <a:pt x="694" y="54"/>
                      </a:lnTo>
                      <a:lnTo>
                        <a:pt x="687" y="55"/>
                      </a:lnTo>
                      <a:lnTo>
                        <a:pt x="680" y="56"/>
                      </a:lnTo>
                      <a:lnTo>
                        <a:pt x="675" y="59"/>
                      </a:lnTo>
                      <a:lnTo>
                        <a:pt x="667" y="49"/>
                      </a:lnTo>
                      <a:lnTo>
                        <a:pt x="658" y="40"/>
                      </a:lnTo>
                      <a:lnTo>
                        <a:pt x="652" y="35"/>
                      </a:lnTo>
                      <a:lnTo>
                        <a:pt x="646" y="29"/>
                      </a:lnTo>
                      <a:lnTo>
                        <a:pt x="640" y="25"/>
                      </a:lnTo>
                      <a:lnTo>
                        <a:pt x="633" y="20"/>
                      </a:lnTo>
                      <a:lnTo>
                        <a:pt x="618" y="13"/>
                      </a:lnTo>
                      <a:lnTo>
                        <a:pt x="602" y="8"/>
                      </a:lnTo>
                      <a:lnTo>
                        <a:pt x="585" y="4"/>
                      </a:lnTo>
                      <a:lnTo>
                        <a:pt x="568" y="1"/>
                      </a:lnTo>
                      <a:lnTo>
                        <a:pt x="551" y="0"/>
                      </a:lnTo>
                      <a:lnTo>
                        <a:pt x="533"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cxnSp>
            <p:nvCxnSpPr>
              <p:cNvPr id="54" name="Straight Connector 53"/>
              <p:cNvCxnSpPr/>
              <p:nvPr/>
            </p:nvCxnSpPr>
            <p:spPr bwMode="auto">
              <a:xfrm flipH="1" flipV="1">
                <a:off x="6219641" y="3156837"/>
                <a:ext cx="0" cy="374207"/>
              </a:xfrm>
              <a:prstGeom prst="line">
                <a:avLst/>
              </a:prstGeom>
              <a:solidFill>
                <a:schemeClr val="accent1"/>
              </a:solidFill>
              <a:ln w="28575" cap="flat" cmpd="sng" algn="ctr">
                <a:solidFill>
                  <a:schemeClr val="tx2">
                    <a:lumMod val="75000"/>
                  </a:schemeClr>
                </a:solidFill>
                <a:prstDash val="solid"/>
                <a:round/>
                <a:headEnd type="none" w="med" len="med"/>
                <a:tailEnd type="none" w="med" len="med"/>
              </a:ln>
              <a:effectLst/>
            </p:spPr>
          </p:cxnSp>
          <p:grpSp>
            <p:nvGrpSpPr>
              <p:cNvPr id="55" name="Gruppe 956"/>
              <p:cNvGrpSpPr>
                <a:grpSpLocks/>
              </p:cNvGrpSpPr>
              <p:nvPr/>
            </p:nvGrpSpPr>
            <p:grpSpPr bwMode="auto">
              <a:xfrm>
                <a:off x="5794375" y="2840038"/>
                <a:ext cx="700088" cy="869950"/>
                <a:chOff x="215000" y="2687274"/>
                <a:chExt cx="2593295" cy="3223034"/>
              </a:xfrm>
              <a:solidFill>
                <a:schemeClr val="bg1">
                  <a:lumMod val="85000"/>
                </a:schemeClr>
              </a:solidFill>
            </p:grpSpPr>
            <p:sp>
              <p:nvSpPr>
                <p:cNvPr id="72" name="Freeform 814"/>
                <p:cNvSpPr>
                  <a:spLocks noEditPoints="1"/>
                </p:cNvSpPr>
                <p:nvPr/>
              </p:nvSpPr>
              <p:spPr bwMode="auto">
                <a:xfrm flipH="1">
                  <a:off x="215000" y="2969584"/>
                  <a:ext cx="993804" cy="2940724"/>
                </a:xfrm>
                <a:custGeom>
                  <a:avLst/>
                  <a:gdLst>
                    <a:gd name="T0" fmla="*/ 2147483647 w 642"/>
                    <a:gd name="T1" fmla="*/ 2147483647 h 1854"/>
                    <a:gd name="T2" fmla="*/ 2147483647 w 642"/>
                    <a:gd name="T3" fmla="*/ 2147483647 h 1854"/>
                    <a:gd name="T4" fmla="*/ 2147483647 w 642"/>
                    <a:gd name="T5" fmla="*/ 2147483647 h 1854"/>
                    <a:gd name="T6" fmla="*/ 2147483647 w 642"/>
                    <a:gd name="T7" fmla="*/ 2147483647 h 1854"/>
                    <a:gd name="T8" fmla="*/ 2147483647 w 642"/>
                    <a:gd name="T9" fmla="*/ 2147483647 h 1854"/>
                    <a:gd name="T10" fmla="*/ 2147483647 w 642"/>
                    <a:gd name="T11" fmla="*/ 2147483647 h 1854"/>
                    <a:gd name="T12" fmla="*/ 2147483647 w 642"/>
                    <a:gd name="T13" fmla="*/ 2147483647 h 1854"/>
                    <a:gd name="T14" fmla="*/ 2147483647 w 642"/>
                    <a:gd name="T15" fmla="*/ 2147483647 h 1854"/>
                    <a:gd name="T16" fmla="*/ 2147483647 w 642"/>
                    <a:gd name="T17" fmla="*/ 2147483647 h 1854"/>
                    <a:gd name="T18" fmla="*/ 2147483647 w 642"/>
                    <a:gd name="T19" fmla="*/ 2147483647 h 1854"/>
                    <a:gd name="T20" fmla="*/ 2147483647 w 642"/>
                    <a:gd name="T21" fmla="*/ 2147483647 h 1854"/>
                    <a:gd name="T22" fmla="*/ 2147483647 w 642"/>
                    <a:gd name="T23" fmla="*/ 2147483647 h 1854"/>
                    <a:gd name="T24" fmla="*/ 2147483647 w 642"/>
                    <a:gd name="T25" fmla="*/ 2147483647 h 1854"/>
                    <a:gd name="T26" fmla="*/ 2147483647 w 642"/>
                    <a:gd name="T27" fmla="*/ 2147483647 h 1854"/>
                    <a:gd name="T28" fmla="*/ 2147483647 w 642"/>
                    <a:gd name="T29" fmla="*/ 2147483647 h 1854"/>
                    <a:gd name="T30" fmla="*/ 2147483647 w 642"/>
                    <a:gd name="T31" fmla="*/ 2147483647 h 1854"/>
                    <a:gd name="T32" fmla="*/ 2147483647 w 642"/>
                    <a:gd name="T33" fmla="*/ 2147483647 h 1854"/>
                    <a:gd name="T34" fmla="*/ 2147483647 w 642"/>
                    <a:gd name="T35" fmla="*/ 2147483647 h 1854"/>
                    <a:gd name="T36" fmla="*/ 2147483647 w 642"/>
                    <a:gd name="T37" fmla="*/ 2147483647 h 1854"/>
                    <a:gd name="T38" fmla="*/ 2147483647 w 642"/>
                    <a:gd name="T39" fmla="*/ 2147483647 h 1854"/>
                    <a:gd name="T40" fmla="*/ 2147483647 w 642"/>
                    <a:gd name="T41" fmla="*/ 0 h 1854"/>
                    <a:gd name="T42" fmla="*/ 2147483647 w 642"/>
                    <a:gd name="T43" fmla="*/ 2147483647 h 1854"/>
                    <a:gd name="T44" fmla="*/ 2147483647 w 642"/>
                    <a:gd name="T45" fmla="*/ 2147483647 h 1854"/>
                    <a:gd name="T46" fmla="*/ 2147483647 w 642"/>
                    <a:gd name="T47" fmla="*/ 2147483647 h 1854"/>
                    <a:gd name="T48" fmla="*/ 2147483647 w 642"/>
                    <a:gd name="T49" fmla="*/ 2147483647 h 1854"/>
                    <a:gd name="T50" fmla="*/ 2147483647 w 642"/>
                    <a:gd name="T51" fmla="*/ 2147483647 h 1854"/>
                    <a:gd name="T52" fmla="*/ 2147483647 w 642"/>
                    <a:gd name="T53" fmla="*/ 2147483647 h 1854"/>
                    <a:gd name="T54" fmla="*/ 2147483647 w 642"/>
                    <a:gd name="T55" fmla="*/ 2147483647 h 1854"/>
                    <a:gd name="T56" fmla="*/ 2147483647 w 642"/>
                    <a:gd name="T57" fmla="*/ 2147483647 h 1854"/>
                    <a:gd name="T58" fmla="*/ 2147483647 w 642"/>
                    <a:gd name="T59" fmla="*/ 2147483647 h 1854"/>
                    <a:gd name="T60" fmla="*/ 2147483647 w 642"/>
                    <a:gd name="T61" fmla="*/ 2147483647 h 1854"/>
                    <a:gd name="T62" fmla="*/ 2147483647 w 642"/>
                    <a:gd name="T63" fmla="*/ 2147483647 h 1854"/>
                    <a:gd name="T64" fmla="*/ 2147483647 w 642"/>
                    <a:gd name="T65" fmla="*/ 2147483647 h 1854"/>
                    <a:gd name="T66" fmla="*/ 0 w 642"/>
                    <a:gd name="T67" fmla="*/ 2147483647 h 1854"/>
                    <a:gd name="T68" fmla="*/ 2147483647 w 642"/>
                    <a:gd name="T69" fmla="*/ 2147483647 h 1854"/>
                    <a:gd name="T70" fmla="*/ 2147483647 w 642"/>
                    <a:gd name="T71" fmla="*/ 2147483647 h 1854"/>
                    <a:gd name="T72" fmla="*/ 2147483647 w 642"/>
                    <a:gd name="T73" fmla="*/ 2147483647 h 1854"/>
                    <a:gd name="T74" fmla="*/ 2147483647 w 642"/>
                    <a:gd name="T75" fmla="*/ 2147483647 h 1854"/>
                    <a:gd name="T76" fmla="*/ 2147483647 w 642"/>
                    <a:gd name="T77" fmla="*/ 2147483647 h 1854"/>
                    <a:gd name="T78" fmla="*/ 2147483647 w 642"/>
                    <a:gd name="T79" fmla="*/ 2147483647 h 1854"/>
                    <a:gd name="T80" fmla="*/ 2147483647 w 642"/>
                    <a:gd name="T81" fmla="*/ 2147483647 h 1854"/>
                    <a:gd name="T82" fmla="*/ 2147483647 w 642"/>
                    <a:gd name="T83" fmla="*/ 2147483647 h 1854"/>
                    <a:gd name="T84" fmla="*/ 2147483647 w 642"/>
                    <a:gd name="T85" fmla="*/ 2147483647 h 1854"/>
                    <a:gd name="T86" fmla="*/ 2147483647 w 642"/>
                    <a:gd name="T87" fmla="*/ 2147483647 h 1854"/>
                    <a:gd name="T88" fmla="*/ 2147483647 w 642"/>
                    <a:gd name="T89" fmla="*/ 2147483647 h 1854"/>
                    <a:gd name="T90" fmla="*/ 2147483647 w 642"/>
                    <a:gd name="T91" fmla="*/ 2147483647 h 1854"/>
                    <a:gd name="T92" fmla="*/ 2147483647 w 642"/>
                    <a:gd name="T93" fmla="*/ 2147483647 h 1854"/>
                    <a:gd name="T94" fmla="*/ 2147483647 w 642"/>
                    <a:gd name="T95" fmla="*/ 2147483647 h 1854"/>
                    <a:gd name="T96" fmla="*/ 2147483647 w 642"/>
                    <a:gd name="T97" fmla="*/ 2147483647 h 1854"/>
                    <a:gd name="T98" fmla="*/ 2147483647 w 642"/>
                    <a:gd name="T99" fmla="*/ 2147483647 h 1854"/>
                    <a:gd name="T100" fmla="*/ 2147483647 w 642"/>
                    <a:gd name="T101" fmla="*/ 2147483647 h 1854"/>
                    <a:gd name="T102" fmla="*/ 2147483647 w 642"/>
                    <a:gd name="T103" fmla="*/ 2147483647 h 1854"/>
                    <a:gd name="T104" fmla="*/ 2147483647 w 642"/>
                    <a:gd name="T105" fmla="*/ 2147483647 h 1854"/>
                    <a:gd name="T106" fmla="*/ 2147483647 w 642"/>
                    <a:gd name="T107" fmla="*/ 2147483647 h 1854"/>
                    <a:gd name="T108" fmla="*/ 2147483647 w 642"/>
                    <a:gd name="T109" fmla="*/ 2147483647 h 1854"/>
                    <a:gd name="T110" fmla="*/ 2147483647 w 642"/>
                    <a:gd name="T111" fmla="*/ 2147483647 h 1854"/>
                    <a:gd name="T112" fmla="*/ 2147483647 w 642"/>
                    <a:gd name="T113" fmla="*/ 2147483647 h 1854"/>
                    <a:gd name="T114" fmla="*/ 2147483647 w 642"/>
                    <a:gd name="T115" fmla="*/ 2147483647 h 18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2"/>
                    <a:gd name="T175" fmla="*/ 0 h 1854"/>
                    <a:gd name="T176" fmla="*/ 642 w 642"/>
                    <a:gd name="T177" fmla="*/ 1854 h 18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2" h="1854">
                      <a:moveTo>
                        <a:pt x="642" y="1559"/>
                      </a:moveTo>
                      <a:lnTo>
                        <a:pt x="638" y="1547"/>
                      </a:lnTo>
                      <a:lnTo>
                        <a:pt x="613" y="1535"/>
                      </a:lnTo>
                      <a:lnTo>
                        <a:pt x="593" y="1518"/>
                      </a:lnTo>
                      <a:lnTo>
                        <a:pt x="568" y="1493"/>
                      </a:lnTo>
                      <a:lnTo>
                        <a:pt x="564" y="1489"/>
                      </a:lnTo>
                      <a:lnTo>
                        <a:pt x="555" y="1489"/>
                      </a:lnTo>
                      <a:lnTo>
                        <a:pt x="535" y="1489"/>
                      </a:lnTo>
                      <a:lnTo>
                        <a:pt x="506" y="1493"/>
                      </a:lnTo>
                      <a:lnTo>
                        <a:pt x="481" y="1472"/>
                      </a:lnTo>
                      <a:lnTo>
                        <a:pt x="456" y="1447"/>
                      </a:lnTo>
                      <a:lnTo>
                        <a:pt x="423" y="1402"/>
                      </a:lnTo>
                      <a:lnTo>
                        <a:pt x="402" y="1365"/>
                      </a:lnTo>
                      <a:lnTo>
                        <a:pt x="398" y="1356"/>
                      </a:lnTo>
                      <a:lnTo>
                        <a:pt x="402" y="1356"/>
                      </a:lnTo>
                      <a:lnTo>
                        <a:pt x="406" y="1356"/>
                      </a:lnTo>
                      <a:lnTo>
                        <a:pt x="414" y="1352"/>
                      </a:lnTo>
                      <a:lnTo>
                        <a:pt x="431" y="1340"/>
                      </a:lnTo>
                      <a:lnTo>
                        <a:pt x="456" y="1311"/>
                      </a:lnTo>
                      <a:lnTo>
                        <a:pt x="456" y="1294"/>
                      </a:lnTo>
                      <a:lnTo>
                        <a:pt x="460" y="1244"/>
                      </a:lnTo>
                      <a:lnTo>
                        <a:pt x="464" y="1099"/>
                      </a:lnTo>
                      <a:lnTo>
                        <a:pt x="472" y="888"/>
                      </a:lnTo>
                      <a:lnTo>
                        <a:pt x="468" y="867"/>
                      </a:lnTo>
                      <a:lnTo>
                        <a:pt x="468" y="850"/>
                      </a:lnTo>
                      <a:lnTo>
                        <a:pt x="472" y="842"/>
                      </a:lnTo>
                      <a:lnTo>
                        <a:pt x="477" y="854"/>
                      </a:lnTo>
                      <a:lnTo>
                        <a:pt x="477" y="871"/>
                      </a:lnTo>
                      <a:lnTo>
                        <a:pt x="477" y="900"/>
                      </a:lnTo>
                      <a:lnTo>
                        <a:pt x="477" y="933"/>
                      </a:lnTo>
                      <a:lnTo>
                        <a:pt x="485" y="946"/>
                      </a:lnTo>
                      <a:lnTo>
                        <a:pt x="493" y="946"/>
                      </a:lnTo>
                      <a:lnTo>
                        <a:pt x="506" y="946"/>
                      </a:lnTo>
                      <a:lnTo>
                        <a:pt x="514" y="950"/>
                      </a:lnTo>
                      <a:lnTo>
                        <a:pt x="518" y="946"/>
                      </a:lnTo>
                      <a:lnTo>
                        <a:pt x="526" y="946"/>
                      </a:lnTo>
                      <a:lnTo>
                        <a:pt x="530" y="946"/>
                      </a:lnTo>
                      <a:lnTo>
                        <a:pt x="535" y="946"/>
                      </a:lnTo>
                      <a:lnTo>
                        <a:pt x="539" y="946"/>
                      </a:lnTo>
                      <a:lnTo>
                        <a:pt x="547" y="937"/>
                      </a:lnTo>
                      <a:lnTo>
                        <a:pt x="547" y="921"/>
                      </a:lnTo>
                      <a:lnTo>
                        <a:pt x="547" y="912"/>
                      </a:lnTo>
                      <a:lnTo>
                        <a:pt x="547" y="883"/>
                      </a:lnTo>
                      <a:lnTo>
                        <a:pt x="543" y="875"/>
                      </a:lnTo>
                      <a:lnTo>
                        <a:pt x="539" y="871"/>
                      </a:lnTo>
                      <a:lnTo>
                        <a:pt x="539" y="867"/>
                      </a:lnTo>
                      <a:lnTo>
                        <a:pt x="535" y="854"/>
                      </a:lnTo>
                      <a:lnTo>
                        <a:pt x="535" y="821"/>
                      </a:lnTo>
                      <a:lnTo>
                        <a:pt x="539" y="767"/>
                      </a:lnTo>
                      <a:lnTo>
                        <a:pt x="539" y="738"/>
                      </a:lnTo>
                      <a:lnTo>
                        <a:pt x="518" y="647"/>
                      </a:lnTo>
                      <a:lnTo>
                        <a:pt x="497" y="539"/>
                      </a:lnTo>
                      <a:lnTo>
                        <a:pt x="485" y="444"/>
                      </a:lnTo>
                      <a:lnTo>
                        <a:pt x="456" y="336"/>
                      </a:lnTo>
                      <a:lnTo>
                        <a:pt x="443" y="307"/>
                      </a:lnTo>
                      <a:lnTo>
                        <a:pt x="431" y="286"/>
                      </a:lnTo>
                      <a:lnTo>
                        <a:pt x="414" y="274"/>
                      </a:lnTo>
                      <a:lnTo>
                        <a:pt x="394" y="270"/>
                      </a:lnTo>
                      <a:lnTo>
                        <a:pt x="381" y="265"/>
                      </a:lnTo>
                      <a:lnTo>
                        <a:pt x="365" y="265"/>
                      </a:lnTo>
                      <a:lnTo>
                        <a:pt x="352" y="270"/>
                      </a:lnTo>
                      <a:lnTo>
                        <a:pt x="340" y="270"/>
                      </a:lnTo>
                      <a:lnTo>
                        <a:pt x="336" y="257"/>
                      </a:lnTo>
                      <a:lnTo>
                        <a:pt x="331" y="245"/>
                      </a:lnTo>
                      <a:lnTo>
                        <a:pt x="331" y="228"/>
                      </a:lnTo>
                      <a:lnTo>
                        <a:pt x="331" y="203"/>
                      </a:lnTo>
                      <a:lnTo>
                        <a:pt x="331" y="174"/>
                      </a:lnTo>
                      <a:lnTo>
                        <a:pt x="331" y="145"/>
                      </a:lnTo>
                      <a:lnTo>
                        <a:pt x="331" y="116"/>
                      </a:lnTo>
                      <a:lnTo>
                        <a:pt x="319" y="83"/>
                      </a:lnTo>
                      <a:lnTo>
                        <a:pt x="315" y="66"/>
                      </a:lnTo>
                      <a:lnTo>
                        <a:pt x="302" y="50"/>
                      </a:lnTo>
                      <a:lnTo>
                        <a:pt x="290" y="37"/>
                      </a:lnTo>
                      <a:lnTo>
                        <a:pt x="277" y="25"/>
                      </a:lnTo>
                      <a:lnTo>
                        <a:pt x="248" y="8"/>
                      </a:lnTo>
                      <a:lnTo>
                        <a:pt x="224" y="0"/>
                      </a:lnTo>
                      <a:lnTo>
                        <a:pt x="190" y="0"/>
                      </a:lnTo>
                      <a:lnTo>
                        <a:pt x="157" y="8"/>
                      </a:lnTo>
                      <a:lnTo>
                        <a:pt x="124" y="17"/>
                      </a:lnTo>
                      <a:lnTo>
                        <a:pt x="107" y="25"/>
                      </a:lnTo>
                      <a:lnTo>
                        <a:pt x="95" y="33"/>
                      </a:lnTo>
                      <a:lnTo>
                        <a:pt x="87" y="46"/>
                      </a:lnTo>
                      <a:lnTo>
                        <a:pt x="87" y="54"/>
                      </a:lnTo>
                      <a:lnTo>
                        <a:pt x="87" y="62"/>
                      </a:lnTo>
                      <a:lnTo>
                        <a:pt x="91" y="71"/>
                      </a:lnTo>
                      <a:lnTo>
                        <a:pt x="87" y="87"/>
                      </a:lnTo>
                      <a:lnTo>
                        <a:pt x="87" y="120"/>
                      </a:lnTo>
                      <a:lnTo>
                        <a:pt x="87" y="133"/>
                      </a:lnTo>
                      <a:lnTo>
                        <a:pt x="91" y="137"/>
                      </a:lnTo>
                      <a:lnTo>
                        <a:pt x="95" y="141"/>
                      </a:lnTo>
                      <a:lnTo>
                        <a:pt x="103" y="149"/>
                      </a:lnTo>
                      <a:lnTo>
                        <a:pt x="95" y="170"/>
                      </a:lnTo>
                      <a:lnTo>
                        <a:pt x="91" y="191"/>
                      </a:lnTo>
                      <a:lnTo>
                        <a:pt x="99" y="195"/>
                      </a:lnTo>
                      <a:lnTo>
                        <a:pt x="107" y="195"/>
                      </a:lnTo>
                      <a:lnTo>
                        <a:pt x="112" y="203"/>
                      </a:lnTo>
                      <a:lnTo>
                        <a:pt x="112" y="207"/>
                      </a:lnTo>
                      <a:lnTo>
                        <a:pt x="116" y="212"/>
                      </a:lnTo>
                      <a:lnTo>
                        <a:pt x="116" y="220"/>
                      </a:lnTo>
                      <a:lnTo>
                        <a:pt x="120" y="224"/>
                      </a:lnTo>
                      <a:lnTo>
                        <a:pt x="124" y="228"/>
                      </a:lnTo>
                      <a:lnTo>
                        <a:pt x="128" y="241"/>
                      </a:lnTo>
                      <a:lnTo>
                        <a:pt x="128" y="249"/>
                      </a:lnTo>
                      <a:lnTo>
                        <a:pt x="132" y="253"/>
                      </a:lnTo>
                      <a:lnTo>
                        <a:pt x="141" y="253"/>
                      </a:lnTo>
                      <a:lnTo>
                        <a:pt x="165" y="253"/>
                      </a:lnTo>
                      <a:lnTo>
                        <a:pt x="174" y="253"/>
                      </a:lnTo>
                      <a:lnTo>
                        <a:pt x="178" y="257"/>
                      </a:lnTo>
                      <a:lnTo>
                        <a:pt x="182" y="265"/>
                      </a:lnTo>
                      <a:lnTo>
                        <a:pt x="182" y="270"/>
                      </a:lnTo>
                      <a:lnTo>
                        <a:pt x="182" y="278"/>
                      </a:lnTo>
                      <a:lnTo>
                        <a:pt x="78" y="394"/>
                      </a:lnTo>
                      <a:lnTo>
                        <a:pt x="70" y="406"/>
                      </a:lnTo>
                      <a:lnTo>
                        <a:pt x="70" y="419"/>
                      </a:lnTo>
                      <a:lnTo>
                        <a:pt x="74" y="448"/>
                      </a:lnTo>
                      <a:lnTo>
                        <a:pt x="70" y="518"/>
                      </a:lnTo>
                      <a:lnTo>
                        <a:pt x="62" y="610"/>
                      </a:lnTo>
                      <a:lnTo>
                        <a:pt x="49" y="713"/>
                      </a:lnTo>
                      <a:lnTo>
                        <a:pt x="16" y="713"/>
                      </a:lnTo>
                      <a:lnTo>
                        <a:pt x="0" y="971"/>
                      </a:lnTo>
                      <a:lnTo>
                        <a:pt x="78" y="971"/>
                      </a:lnTo>
                      <a:lnTo>
                        <a:pt x="83" y="979"/>
                      </a:lnTo>
                      <a:lnTo>
                        <a:pt x="87" y="983"/>
                      </a:lnTo>
                      <a:lnTo>
                        <a:pt x="107" y="987"/>
                      </a:lnTo>
                      <a:lnTo>
                        <a:pt x="128" y="987"/>
                      </a:lnTo>
                      <a:lnTo>
                        <a:pt x="132" y="1016"/>
                      </a:lnTo>
                      <a:lnTo>
                        <a:pt x="136" y="1058"/>
                      </a:lnTo>
                      <a:lnTo>
                        <a:pt x="149" y="1165"/>
                      </a:lnTo>
                      <a:lnTo>
                        <a:pt x="157" y="1261"/>
                      </a:lnTo>
                      <a:lnTo>
                        <a:pt x="165" y="1356"/>
                      </a:lnTo>
                      <a:lnTo>
                        <a:pt x="211" y="1356"/>
                      </a:lnTo>
                      <a:lnTo>
                        <a:pt x="224" y="1373"/>
                      </a:lnTo>
                      <a:lnTo>
                        <a:pt x="257" y="1398"/>
                      </a:lnTo>
                      <a:lnTo>
                        <a:pt x="298" y="1439"/>
                      </a:lnTo>
                      <a:lnTo>
                        <a:pt x="302" y="1539"/>
                      </a:lnTo>
                      <a:lnTo>
                        <a:pt x="307" y="1613"/>
                      </a:lnTo>
                      <a:lnTo>
                        <a:pt x="307" y="1659"/>
                      </a:lnTo>
                      <a:lnTo>
                        <a:pt x="298" y="1688"/>
                      </a:lnTo>
                      <a:lnTo>
                        <a:pt x="294" y="1700"/>
                      </a:lnTo>
                      <a:lnTo>
                        <a:pt x="282" y="1734"/>
                      </a:lnTo>
                      <a:lnTo>
                        <a:pt x="265" y="1759"/>
                      </a:lnTo>
                      <a:lnTo>
                        <a:pt x="244" y="1788"/>
                      </a:lnTo>
                      <a:lnTo>
                        <a:pt x="232" y="1792"/>
                      </a:lnTo>
                      <a:lnTo>
                        <a:pt x="203" y="1804"/>
                      </a:lnTo>
                      <a:lnTo>
                        <a:pt x="174" y="1812"/>
                      </a:lnTo>
                      <a:lnTo>
                        <a:pt x="157" y="1821"/>
                      </a:lnTo>
                      <a:lnTo>
                        <a:pt x="153" y="1825"/>
                      </a:lnTo>
                      <a:lnTo>
                        <a:pt x="153" y="1829"/>
                      </a:lnTo>
                      <a:lnTo>
                        <a:pt x="157" y="1833"/>
                      </a:lnTo>
                      <a:lnTo>
                        <a:pt x="170" y="1841"/>
                      </a:lnTo>
                      <a:lnTo>
                        <a:pt x="178" y="1841"/>
                      </a:lnTo>
                      <a:lnTo>
                        <a:pt x="265" y="1850"/>
                      </a:lnTo>
                      <a:lnTo>
                        <a:pt x="286" y="1850"/>
                      </a:lnTo>
                      <a:lnTo>
                        <a:pt x="307" y="1833"/>
                      </a:lnTo>
                      <a:lnTo>
                        <a:pt x="331" y="1812"/>
                      </a:lnTo>
                      <a:lnTo>
                        <a:pt x="352" y="1796"/>
                      </a:lnTo>
                      <a:lnTo>
                        <a:pt x="356" y="1796"/>
                      </a:lnTo>
                      <a:lnTo>
                        <a:pt x="365" y="1796"/>
                      </a:lnTo>
                      <a:lnTo>
                        <a:pt x="369" y="1800"/>
                      </a:lnTo>
                      <a:lnTo>
                        <a:pt x="365" y="1854"/>
                      </a:lnTo>
                      <a:lnTo>
                        <a:pt x="369" y="1854"/>
                      </a:lnTo>
                      <a:lnTo>
                        <a:pt x="377" y="1854"/>
                      </a:lnTo>
                      <a:lnTo>
                        <a:pt x="381" y="1825"/>
                      </a:lnTo>
                      <a:lnTo>
                        <a:pt x="385" y="1800"/>
                      </a:lnTo>
                      <a:lnTo>
                        <a:pt x="394" y="1779"/>
                      </a:lnTo>
                      <a:lnTo>
                        <a:pt x="402" y="1763"/>
                      </a:lnTo>
                      <a:lnTo>
                        <a:pt x="398" y="1750"/>
                      </a:lnTo>
                      <a:lnTo>
                        <a:pt x="389" y="1734"/>
                      </a:lnTo>
                      <a:lnTo>
                        <a:pt x="381" y="1709"/>
                      </a:lnTo>
                      <a:lnTo>
                        <a:pt x="377" y="1676"/>
                      </a:lnTo>
                      <a:lnTo>
                        <a:pt x="377" y="1651"/>
                      </a:lnTo>
                      <a:lnTo>
                        <a:pt x="381" y="1626"/>
                      </a:lnTo>
                      <a:lnTo>
                        <a:pt x="385" y="1601"/>
                      </a:lnTo>
                      <a:lnTo>
                        <a:pt x="398" y="1547"/>
                      </a:lnTo>
                      <a:lnTo>
                        <a:pt x="402" y="1510"/>
                      </a:lnTo>
                      <a:lnTo>
                        <a:pt x="435" y="1530"/>
                      </a:lnTo>
                      <a:lnTo>
                        <a:pt x="468" y="1551"/>
                      </a:lnTo>
                      <a:lnTo>
                        <a:pt x="501" y="1584"/>
                      </a:lnTo>
                      <a:lnTo>
                        <a:pt x="547" y="1642"/>
                      </a:lnTo>
                      <a:lnTo>
                        <a:pt x="555" y="1647"/>
                      </a:lnTo>
                      <a:lnTo>
                        <a:pt x="564" y="1659"/>
                      </a:lnTo>
                      <a:lnTo>
                        <a:pt x="572" y="1688"/>
                      </a:lnTo>
                      <a:lnTo>
                        <a:pt x="576" y="1734"/>
                      </a:lnTo>
                      <a:lnTo>
                        <a:pt x="576" y="1767"/>
                      </a:lnTo>
                      <a:lnTo>
                        <a:pt x="580" y="1775"/>
                      </a:lnTo>
                      <a:lnTo>
                        <a:pt x="589" y="1775"/>
                      </a:lnTo>
                      <a:lnTo>
                        <a:pt x="589" y="1771"/>
                      </a:lnTo>
                      <a:lnTo>
                        <a:pt x="605" y="1746"/>
                      </a:lnTo>
                      <a:lnTo>
                        <a:pt x="626" y="1709"/>
                      </a:lnTo>
                      <a:lnTo>
                        <a:pt x="630" y="1692"/>
                      </a:lnTo>
                      <a:lnTo>
                        <a:pt x="634" y="1671"/>
                      </a:lnTo>
                      <a:lnTo>
                        <a:pt x="626" y="1647"/>
                      </a:lnTo>
                      <a:lnTo>
                        <a:pt x="613" y="1622"/>
                      </a:lnTo>
                      <a:lnTo>
                        <a:pt x="597" y="1593"/>
                      </a:lnTo>
                      <a:lnTo>
                        <a:pt x="589" y="1568"/>
                      </a:lnTo>
                      <a:lnTo>
                        <a:pt x="589" y="1543"/>
                      </a:lnTo>
                      <a:lnTo>
                        <a:pt x="642" y="1559"/>
                      </a:lnTo>
                      <a:close/>
                      <a:moveTo>
                        <a:pt x="373" y="635"/>
                      </a:moveTo>
                      <a:lnTo>
                        <a:pt x="373" y="635"/>
                      </a:lnTo>
                      <a:lnTo>
                        <a:pt x="381" y="614"/>
                      </a:lnTo>
                      <a:lnTo>
                        <a:pt x="389" y="597"/>
                      </a:lnTo>
                      <a:lnTo>
                        <a:pt x="394" y="597"/>
                      </a:lnTo>
                      <a:lnTo>
                        <a:pt x="398" y="610"/>
                      </a:lnTo>
                      <a:lnTo>
                        <a:pt x="406" y="630"/>
                      </a:lnTo>
                      <a:lnTo>
                        <a:pt x="414" y="676"/>
                      </a:lnTo>
                      <a:lnTo>
                        <a:pt x="414" y="701"/>
                      </a:lnTo>
                      <a:lnTo>
                        <a:pt x="394" y="668"/>
                      </a:lnTo>
                      <a:lnTo>
                        <a:pt x="373"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nvGrpSpPr>
                <p:cNvPr id="73" name="Gruppe 955"/>
                <p:cNvGrpSpPr>
                  <a:grpSpLocks/>
                </p:cNvGrpSpPr>
                <p:nvPr/>
              </p:nvGrpSpPr>
              <p:grpSpPr bwMode="auto">
                <a:xfrm>
                  <a:off x="1397000" y="2687274"/>
                  <a:ext cx="1411295" cy="3138853"/>
                  <a:chOff x="1397000" y="2687274"/>
                  <a:chExt cx="1411295" cy="3138852"/>
                </a:xfrm>
                <a:grpFill/>
              </p:grpSpPr>
              <p:sp>
                <p:nvSpPr>
                  <p:cNvPr id="74" name="Freeform 810"/>
                  <p:cNvSpPr>
                    <a:spLocks/>
                  </p:cNvSpPr>
                  <p:nvPr/>
                </p:nvSpPr>
                <p:spPr bwMode="auto">
                  <a:xfrm>
                    <a:off x="1396978" y="2687274"/>
                    <a:ext cx="1411317" cy="3140693"/>
                  </a:xfrm>
                  <a:custGeom>
                    <a:avLst/>
                    <a:gdLst>
                      <a:gd name="T0" fmla="*/ 2147483647 w 772"/>
                      <a:gd name="T1" fmla="*/ 2147483647 h 1717"/>
                      <a:gd name="T2" fmla="*/ 2147483647 w 772"/>
                      <a:gd name="T3" fmla="*/ 2147483647 h 1717"/>
                      <a:gd name="T4" fmla="*/ 2147483647 w 772"/>
                      <a:gd name="T5" fmla="*/ 2147483647 h 1717"/>
                      <a:gd name="T6" fmla="*/ 2147483647 w 772"/>
                      <a:gd name="T7" fmla="*/ 2147483647 h 1717"/>
                      <a:gd name="T8" fmla="*/ 2147483647 w 772"/>
                      <a:gd name="T9" fmla="*/ 2147483647 h 1717"/>
                      <a:gd name="T10" fmla="*/ 2147483647 w 772"/>
                      <a:gd name="T11" fmla="*/ 2147483647 h 1717"/>
                      <a:gd name="T12" fmla="*/ 2147483647 w 772"/>
                      <a:gd name="T13" fmla="*/ 2147483647 h 1717"/>
                      <a:gd name="T14" fmla="*/ 2147483647 w 772"/>
                      <a:gd name="T15" fmla="*/ 2147483647 h 1717"/>
                      <a:gd name="T16" fmla="*/ 2147483647 w 772"/>
                      <a:gd name="T17" fmla="*/ 2147483647 h 1717"/>
                      <a:gd name="T18" fmla="*/ 2147483647 w 772"/>
                      <a:gd name="T19" fmla="*/ 2147483647 h 1717"/>
                      <a:gd name="T20" fmla="*/ 2147483647 w 772"/>
                      <a:gd name="T21" fmla="*/ 2147483647 h 1717"/>
                      <a:gd name="T22" fmla="*/ 2147483647 w 772"/>
                      <a:gd name="T23" fmla="*/ 2147483647 h 1717"/>
                      <a:gd name="T24" fmla="*/ 2147483647 w 772"/>
                      <a:gd name="T25" fmla="*/ 2147483647 h 1717"/>
                      <a:gd name="T26" fmla="*/ 2147483647 w 772"/>
                      <a:gd name="T27" fmla="*/ 2147483647 h 1717"/>
                      <a:gd name="T28" fmla="*/ 2147483647 w 772"/>
                      <a:gd name="T29" fmla="*/ 2147483647 h 1717"/>
                      <a:gd name="T30" fmla="*/ 2147483647 w 772"/>
                      <a:gd name="T31" fmla="*/ 2147483647 h 1717"/>
                      <a:gd name="T32" fmla="*/ 2147483647 w 772"/>
                      <a:gd name="T33" fmla="*/ 2147483647 h 1717"/>
                      <a:gd name="T34" fmla="*/ 2147483647 w 772"/>
                      <a:gd name="T35" fmla="*/ 2147483647 h 1717"/>
                      <a:gd name="T36" fmla="*/ 2147483647 w 772"/>
                      <a:gd name="T37" fmla="*/ 2147483647 h 1717"/>
                      <a:gd name="T38" fmla="*/ 2147483647 w 772"/>
                      <a:gd name="T39" fmla="*/ 2147483647 h 1717"/>
                      <a:gd name="T40" fmla="*/ 2147483647 w 772"/>
                      <a:gd name="T41" fmla="*/ 2147483647 h 1717"/>
                      <a:gd name="T42" fmla="*/ 2147483647 w 772"/>
                      <a:gd name="T43" fmla="*/ 2147483647 h 1717"/>
                      <a:gd name="T44" fmla="*/ 2147483647 w 772"/>
                      <a:gd name="T45" fmla="*/ 2147483647 h 1717"/>
                      <a:gd name="T46" fmla="*/ 2147483647 w 772"/>
                      <a:gd name="T47" fmla="*/ 2147483647 h 1717"/>
                      <a:gd name="T48" fmla="*/ 2147483647 w 772"/>
                      <a:gd name="T49" fmla="*/ 2147483647 h 1717"/>
                      <a:gd name="T50" fmla="*/ 2147483647 w 772"/>
                      <a:gd name="T51" fmla="*/ 2147483647 h 1717"/>
                      <a:gd name="T52" fmla="*/ 2147483647 w 772"/>
                      <a:gd name="T53" fmla="*/ 2147483647 h 1717"/>
                      <a:gd name="T54" fmla="*/ 2147483647 w 772"/>
                      <a:gd name="T55" fmla="*/ 2147483647 h 1717"/>
                      <a:gd name="T56" fmla="*/ 2147483647 w 772"/>
                      <a:gd name="T57" fmla="*/ 2147483647 h 1717"/>
                      <a:gd name="T58" fmla="*/ 2147483647 w 772"/>
                      <a:gd name="T59" fmla="*/ 2147483647 h 1717"/>
                      <a:gd name="T60" fmla="*/ 2147483647 w 772"/>
                      <a:gd name="T61" fmla="*/ 2147483647 h 1717"/>
                      <a:gd name="T62" fmla="*/ 2147483647 w 772"/>
                      <a:gd name="T63" fmla="*/ 2147483647 h 1717"/>
                      <a:gd name="T64" fmla="*/ 2147483647 w 772"/>
                      <a:gd name="T65" fmla="*/ 2147483647 h 1717"/>
                      <a:gd name="T66" fmla="*/ 2147483647 w 772"/>
                      <a:gd name="T67" fmla="*/ 2147483647 h 1717"/>
                      <a:gd name="T68" fmla="*/ 2147483647 w 772"/>
                      <a:gd name="T69" fmla="*/ 2147483647 h 1717"/>
                      <a:gd name="T70" fmla="*/ 2147483647 w 772"/>
                      <a:gd name="T71" fmla="*/ 2147483647 h 1717"/>
                      <a:gd name="T72" fmla="*/ 2147483647 w 772"/>
                      <a:gd name="T73" fmla="*/ 2147483647 h 1717"/>
                      <a:gd name="T74" fmla="*/ 2147483647 w 772"/>
                      <a:gd name="T75" fmla="*/ 2147483647 h 1717"/>
                      <a:gd name="T76" fmla="*/ 2147483647 w 772"/>
                      <a:gd name="T77" fmla="*/ 2147483647 h 1717"/>
                      <a:gd name="T78" fmla="*/ 2147483647 w 772"/>
                      <a:gd name="T79" fmla="*/ 2147483647 h 1717"/>
                      <a:gd name="T80" fmla="*/ 2147483647 w 772"/>
                      <a:gd name="T81" fmla="*/ 2147483647 h 1717"/>
                      <a:gd name="T82" fmla="*/ 2147483647 w 772"/>
                      <a:gd name="T83" fmla="*/ 2147483647 h 1717"/>
                      <a:gd name="T84" fmla="*/ 2147483647 w 772"/>
                      <a:gd name="T85" fmla="*/ 2147483647 h 1717"/>
                      <a:gd name="T86" fmla="*/ 2147483647 w 772"/>
                      <a:gd name="T87" fmla="*/ 2147483647 h 1717"/>
                      <a:gd name="T88" fmla="*/ 2147483647 w 772"/>
                      <a:gd name="T89" fmla="*/ 2147483647 h 1717"/>
                      <a:gd name="T90" fmla="*/ 2147483647 w 772"/>
                      <a:gd name="T91" fmla="*/ 2147483647 h 1717"/>
                      <a:gd name="T92" fmla="*/ 2147483647 w 772"/>
                      <a:gd name="T93" fmla="*/ 2147483647 h 1717"/>
                      <a:gd name="T94" fmla="*/ 2147483647 w 772"/>
                      <a:gd name="T95" fmla="*/ 2147483647 h 1717"/>
                      <a:gd name="T96" fmla="*/ 2147483647 w 772"/>
                      <a:gd name="T97" fmla="*/ 2147483647 h 1717"/>
                      <a:gd name="T98" fmla="*/ 2147483647 w 772"/>
                      <a:gd name="T99" fmla="*/ 2147483647 h 1717"/>
                      <a:gd name="T100" fmla="*/ 2147483647 w 772"/>
                      <a:gd name="T101" fmla="*/ 2147483647 h 1717"/>
                      <a:gd name="T102" fmla="*/ 2147483647 w 772"/>
                      <a:gd name="T103" fmla="*/ 2147483647 h 1717"/>
                      <a:gd name="T104" fmla="*/ 2147483647 w 772"/>
                      <a:gd name="T105" fmla="*/ 2147483647 h 1717"/>
                      <a:gd name="T106" fmla="*/ 2147483647 w 772"/>
                      <a:gd name="T107" fmla="*/ 2147483647 h 17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2"/>
                      <a:gd name="T163" fmla="*/ 0 h 1717"/>
                      <a:gd name="T164" fmla="*/ 772 w 772"/>
                      <a:gd name="T165" fmla="*/ 1717 h 171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2" h="1717">
                        <a:moveTo>
                          <a:pt x="498" y="502"/>
                        </a:moveTo>
                        <a:lnTo>
                          <a:pt x="498" y="502"/>
                        </a:lnTo>
                        <a:lnTo>
                          <a:pt x="502" y="535"/>
                        </a:lnTo>
                        <a:lnTo>
                          <a:pt x="502" y="551"/>
                        </a:lnTo>
                        <a:lnTo>
                          <a:pt x="498" y="576"/>
                        </a:lnTo>
                        <a:lnTo>
                          <a:pt x="477" y="639"/>
                        </a:lnTo>
                        <a:lnTo>
                          <a:pt x="465" y="663"/>
                        </a:lnTo>
                        <a:lnTo>
                          <a:pt x="457" y="680"/>
                        </a:lnTo>
                        <a:lnTo>
                          <a:pt x="452" y="692"/>
                        </a:lnTo>
                        <a:lnTo>
                          <a:pt x="444" y="713"/>
                        </a:lnTo>
                        <a:lnTo>
                          <a:pt x="440" y="742"/>
                        </a:lnTo>
                        <a:lnTo>
                          <a:pt x="440" y="755"/>
                        </a:lnTo>
                        <a:lnTo>
                          <a:pt x="440" y="771"/>
                        </a:lnTo>
                        <a:lnTo>
                          <a:pt x="428" y="788"/>
                        </a:lnTo>
                        <a:lnTo>
                          <a:pt x="423" y="796"/>
                        </a:lnTo>
                        <a:lnTo>
                          <a:pt x="423" y="809"/>
                        </a:lnTo>
                        <a:lnTo>
                          <a:pt x="423" y="892"/>
                        </a:lnTo>
                        <a:lnTo>
                          <a:pt x="415" y="900"/>
                        </a:lnTo>
                        <a:lnTo>
                          <a:pt x="411" y="908"/>
                        </a:lnTo>
                        <a:lnTo>
                          <a:pt x="436" y="904"/>
                        </a:lnTo>
                        <a:lnTo>
                          <a:pt x="440" y="904"/>
                        </a:lnTo>
                        <a:lnTo>
                          <a:pt x="448" y="908"/>
                        </a:lnTo>
                        <a:lnTo>
                          <a:pt x="457" y="912"/>
                        </a:lnTo>
                        <a:lnTo>
                          <a:pt x="610" y="1099"/>
                        </a:lnTo>
                        <a:lnTo>
                          <a:pt x="614" y="1103"/>
                        </a:lnTo>
                        <a:lnTo>
                          <a:pt x="622" y="1120"/>
                        </a:lnTo>
                        <a:lnTo>
                          <a:pt x="627" y="1128"/>
                        </a:lnTo>
                        <a:lnTo>
                          <a:pt x="627" y="1140"/>
                        </a:lnTo>
                        <a:lnTo>
                          <a:pt x="627" y="1149"/>
                        </a:lnTo>
                        <a:lnTo>
                          <a:pt x="614" y="1161"/>
                        </a:lnTo>
                        <a:lnTo>
                          <a:pt x="552" y="1227"/>
                        </a:lnTo>
                        <a:lnTo>
                          <a:pt x="585" y="1269"/>
                        </a:lnTo>
                        <a:lnTo>
                          <a:pt x="618" y="1302"/>
                        </a:lnTo>
                        <a:lnTo>
                          <a:pt x="631" y="1315"/>
                        </a:lnTo>
                        <a:lnTo>
                          <a:pt x="647" y="1319"/>
                        </a:lnTo>
                        <a:lnTo>
                          <a:pt x="660" y="1327"/>
                        </a:lnTo>
                        <a:lnTo>
                          <a:pt x="668" y="1339"/>
                        </a:lnTo>
                        <a:lnTo>
                          <a:pt x="676" y="1348"/>
                        </a:lnTo>
                        <a:lnTo>
                          <a:pt x="681" y="1360"/>
                        </a:lnTo>
                        <a:lnTo>
                          <a:pt x="693" y="1360"/>
                        </a:lnTo>
                        <a:lnTo>
                          <a:pt x="701" y="1360"/>
                        </a:lnTo>
                        <a:lnTo>
                          <a:pt x="730" y="1364"/>
                        </a:lnTo>
                        <a:lnTo>
                          <a:pt x="747" y="1373"/>
                        </a:lnTo>
                        <a:lnTo>
                          <a:pt x="755" y="1381"/>
                        </a:lnTo>
                        <a:lnTo>
                          <a:pt x="755" y="1385"/>
                        </a:lnTo>
                        <a:lnTo>
                          <a:pt x="759" y="1422"/>
                        </a:lnTo>
                        <a:lnTo>
                          <a:pt x="764" y="1443"/>
                        </a:lnTo>
                        <a:lnTo>
                          <a:pt x="751" y="1443"/>
                        </a:lnTo>
                        <a:lnTo>
                          <a:pt x="755" y="1472"/>
                        </a:lnTo>
                        <a:lnTo>
                          <a:pt x="764" y="1497"/>
                        </a:lnTo>
                        <a:lnTo>
                          <a:pt x="768" y="1514"/>
                        </a:lnTo>
                        <a:lnTo>
                          <a:pt x="772" y="1534"/>
                        </a:lnTo>
                        <a:lnTo>
                          <a:pt x="768" y="1555"/>
                        </a:lnTo>
                        <a:lnTo>
                          <a:pt x="759" y="1597"/>
                        </a:lnTo>
                        <a:lnTo>
                          <a:pt x="747" y="1630"/>
                        </a:lnTo>
                        <a:lnTo>
                          <a:pt x="739" y="1646"/>
                        </a:lnTo>
                        <a:lnTo>
                          <a:pt x="739" y="1651"/>
                        </a:lnTo>
                        <a:lnTo>
                          <a:pt x="726" y="1663"/>
                        </a:lnTo>
                        <a:lnTo>
                          <a:pt x="722" y="1667"/>
                        </a:lnTo>
                        <a:lnTo>
                          <a:pt x="714" y="1671"/>
                        </a:lnTo>
                        <a:lnTo>
                          <a:pt x="701" y="1671"/>
                        </a:lnTo>
                        <a:lnTo>
                          <a:pt x="689" y="1671"/>
                        </a:lnTo>
                        <a:lnTo>
                          <a:pt x="681" y="1659"/>
                        </a:lnTo>
                        <a:lnTo>
                          <a:pt x="676" y="1642"/>
                        </a:lnTo>
                        <a:lnTo>
                          <a:pt x="672" y="1622"/>
                        </a:lnTo>
                        <a:lnTo>
                          <a:pt x="664" y="1580"/>
                        </a:lnTo>
                        <a:lnTo>
                          <a:pt x="660" y="1563"/>
                        </a:lnTo>
                        <a:lnTo>
                          <a:pt x="660" y="1551"/>
                        </a:lnTo>
                        <a:lnTo>
                          <a:pt x="656" y="1510"/>
                        </a:lnTo>
                        <a:lnTo>
                          <a:pt x="652" y="1501"/>
                        </a:lnTo>
                        <a:lnTo>
                          <a:pt x="647" y="1497"/>
                        </a:lnTo>
                        <a:lnTo>
                          <a:pt x="643" y="1493"/>
                        </a:lnTo>
                        <a:lnTo>
                          <a:pt x="635" y="1493"/>
                        </a:lnTo>
                        <a:lnTo>
                          <a:pt x="627" y="1493"/>
                        </a:lnTo>
                        <a:lnTo>
                          <a:pt x="614" y="1489"/>
                        </a:lnTo>
                        <a:lnTo>
                          <a:pt x="598" y="1472"/>
                        </a:lnTo>
                        <a:lnTo>
                          <a:pt x="548" y="1427"/>
                        </a:lnTo>
                        <a:lnTo>
                          <a:pt x="511" y="1398"/>
                        </a:lnTo>
                        <a:lnTo>
                          <a:pt x="432" y="1331"/>
                        </a:lnTo>
                        <a:lnTo>
                          <a:pt x="378" y="1393"/>
                        </a:lnTo>
                        <a:lnTo>
                          <a:pt x="369" y="1398"/>
                        </a:lnTo>
                        <a:lnTo>
                          <a:pt x="357" y="1402"/>
                        </a:lnTo>
                        <a:lnTo>
                          <a:pt x="349" y="1402"/>
                        </a:lnTo>
                        <a:lnTo>
                          <a:pt x="336" y="1398"/>
                        </a:lnTo>
                        <a:lnTo>
                          <a:pt x="324" y="1393"/>
                        </a:lnTo>
                        <a:lnTo>
                          <a:pt x="307" y="1381"/>
                        </a:lnTo>
                        <a:lnTo>
                          <a:pt x="274" y="1344"/>
                        </a:lnTo>
                        <a:lnTo>
                          <a:pt x="287" y="1451"/>
                        </a:lnTo>
                        <a:lnTo>
                          <a:pt x="295" y="1526"/>
                        </a:lnTo>
                        <a:lnTo>
                          <a:pt x="303" y="1563"/>
                        </a:lnTo>
                        <a:lnTo>
                          <a:pt x="307" y="1580"/>
                        </a:lnTo>
                        <a:lnTo>
                          <a:pt x="311" y="1609"/>
                        </a:lnTo>
                        <a:lnTo>
                          <a:pt x="316" y="1646"/>
                        </a:lnTo>
                        <a:lnTo>
                          <a:pt x="316" y="1713"/>
                        </a:lnTo>
                        <a:lnTo>
                          <a:pt x="237" y="1713"/>
                        </a:lnTo>
                        <a:lnTo>
                          <a:pt x="237" y="1696"/>
                        </a:lnTo>
                        <a:lnTo>
                          <a:pt x="224" y="1696"/>
                        </a:lnTo>
                        <a:lnTo>
                          <a:pt x="199" y="1700"/>
                        </a:lnTo>
                        <a:lnTo>
                          <a:pt x="183" y="1709"/>
                        </a:lnTo>
                        <a:lnTo>
                          <a:pt x="179" y="1713"/>
                        </a:lnTo>
                        <a:lnTo>
                          <a:pt x="170" y="1717"/>
                        </a:lnTo>
                        <a:lnTo>
                          <a:pt x="92" y="1717"/>
                        </a:lnTo>
                        <a:lnTo>
                          <a:pt x="38" y="1717"/>
                        </a:lnTo>
                        <a:lnTo>
                          <a:pt x="17" y="1717"/>
                        </a:lnTo>
                        <a:lnTo>
                          <a:pt x="9" y="1713"/>
                        </a:lnTo>
                        <a:lnTo>
                          <a:pt x="4" y="1709"/>
                        </a:lnTo>
                        <a:lnTo>
                          <a:pt x="0" y="1696"/>
                        </a:lnTo>
                        <a:lnTo>
                          <a:pt x="4" y="1684"/>
                        </a:lnTo>
                        <a:lnTo>
                          <a:pt x="9" y="1680"/>
                        </a:lnTo>
                        <a:lnTo>
                          <a:pt x="29" y="1675"/>
                        </a:lnTo>
                        <a:lnTo>
                          <a:pt x="58" y="1671"/>
                        </a:lnTo>
                        <a:lnTo>
                          <a:pt x="75" y="1667"/>
                        </a:lnTo>
                        <a:lnTo>
                          <a:pt x="104" y="1659"/>
                        </a:lnTo>
                        <a:lnTo>
                          <a:pt x="125" y="1646"/>
                        </a:lnTo>
                        <a:lnTo>
                          <a:pt x="133" y="1638"/>
                        </a:lnTo>
                        <a:lnTo>
                          <a:pt x="137" y="1630"/>
                        </a:lnTo>
                        <a:lnTo>
                          <a:pt x="137" y="1609"/>
                        </a:lnTo>
                        <a:lnTo>
                          <a:pt x="137" y="1588"/>
                        </a:lnTo>
                        <a:lnTo>
                          <a:pt x="133" y="1572"/>
                        </a:lnTo>
                        <a:lnTo>
                          <a:pt x="129" y="1480"/>
                        </a:lnTo>
                        <a:lnTo>
                          <a:pt x="125" y="1431"/>
                        </a:lnTo>
                        <a:lnTo>
                          <a:pt x="116" y="1406"/>
                        </a:lnTo>
                        <a:lnTo>
                          <a:pt x="108" y="1389"/>
                        </a:lnTo>
                        <a:lnTo>
                          <a:pt x="108" y="1381"/>
                        </a:lnTo>
                        <a:lnTo>
                          <a:pt x="104" y="1369"/>
                        </a:lnTo>
                        <a:lnTo>
                          <a:pt x="100" y="1335"/>
                        </a:lnTo>
                        <a:lnTo>
                          <a:pt x="100" y="1269"/>
                        </a:lnTo>
                        <a:lnTo>
                          <a:pt x="96" y="1232"/>
                        </a:lnTo>
                        <a:lnTo>
                          <a:pt x="96" y="1207"/>
                        </a:lnTo>
                        <a:lnTo>
                          <a:pt x="92" y="1132"/>
                        </a:lnTo>
                        <a:lnTo>
                          <a:pt x="92" y="1066"/>
                        </a:lnTo>
                        <a:lnTo>
                          <a:pt x="92" y="1033"/>
                        </a:lnTo>
                        <a:lnTo>
                          <a:pt x="96" y="995"/>
                        </a:lnTo>
                        <a:lnTo>
                          <a:pt x="100" y="970"/>
                        </a:lnTo>
                        <a:lnTo>
                          <a:pt x="100" y="954"/>
                        </a:lnTo>
                        <a:lnTo>
                          <a:pt x="96" y="945"/>
                        </a:lnTo>
                        <a:lnTo>
                          <a:pt x="87" y="937"/>
                        </a:lnTo>
                        <a:lnTo>
                          <a:pt x="79" y="933"/>
                        </a:lnTo>
                        <a:lnTo>
                          <a:pt x="87" y="871"/>
                        </a:lnTo>
                        <a:lnTo>
                          <a:pt x="100" y="821"/>
                        </a:lnTo>
                        <a:lnTo>
                          <a:pt x="112" y="775"/>
                        </a:lnTo>
                        <a:lnTo>
                          <a:pt x="116" y="759"/>
                        </a:lnTo>
                        <a:lnTo>
                          <a:pt x="121" y="738"/>
                        </a:lnTo>
                        <a:lnTo>
                          <a:pt x="125" y="697"/>
                        </a:lnTo>
                        <a:lnTo>
                          <a:pt x="125" y="643"/>
                        </a:lnTo>
                        <a:lnTo>
                          <a:pt x="129" y="572"/>
                        </a:lnTo>
                        <a:lnTo>
                          <a:pt x="112" y="493"/>
                        </a:lnTo>
                        <a:lnTo>
                          <a:pt x="100" y="406"/>
                        </a:lnTo>
                        <a:lnTo>
                          <a:pt x="104" y="398"/>
                        </a:lnTo>
                        <a:lnTo>
                          <a:pt x="112" y="386"/>
                        </a:lnTo>
                        <a:lnTo>
                          <a:pt x="146" y="348"/>
                        </a:lnTo>
                        <a:lnTo>
                          <a:pt x="187" y="298"/>
                        </a:lnTo>
                        <a:lnTo>
                          <a:pt x="179" y="265"/>
                        </a:lnTo>
                        <a:lnTo>
                          <a:pt x="170" y="245"/>
                        </a:lnTo>
                        <a:lnTo>
                          <a:pt x="166" y="236"/>
                        </a:lnTo>
                        <a:lnTo>
                          <a:pt x="150" y="240"/>
                        </a:lnTo>
                        <a:lnTo>
                          <a:pt x="141" y="240"/>
                        </a:lnTo>
                        <a:lnTo>
                          <a:pt x="133" y="240"/>
                        </a:lnTo>
                        <a:lnTo>
                          <a:pt x="129" y="232"/>
                        </a:lnTo>
                        <a:lnTo>
                          <a:pt x="108" y="199"/>
                        </a:lnTo>
                        <a:lnTo>
                          <a:pt x="96" y="166"/>
                        </a:lnTo>
                        <a:lnTo>
                          <a:pt x="92" y="157"/>
                        </a:lnTo>
                        <a:lnTo>
                          <a:pt x="92" y="137"/>
                        </a:lnTo>
                        <a:lnTo>
                          <a:pt x="87" y="128"/>
                        </a:lnTo>
                        <a:lnTo>
                          <a:pt x="87" y="124"/>
                        </a:lnTo>
                        <a:lnTo>
                          <a:pt x="79" y="116"/>
                        </a:lnTo>
                        <a:lnTo>
                          <a:pt x="79" y="91"/>
                        </a:lnTo>
                        <a:lnTo>
                          <a:pt x="79" y="70"/>
                        </a:lnTo>
                        <a:lnTo>
                          <a:pt x="79" y="58"/>
                        </a:lnTo>
                        <a:lnTo>
                          <a:pt x="87" y="41"/>
                        </a:lnTo>
                        <a:lnTo>
                          <a:pt x="87" y="37"/>
                        </a:lnTo>
                        <a:lnTo>
                          <a:pt x="92" y="25"/>
                        </a:lnTo>
                        <a:lnTo>
                          <a:pt x="96" y="21"/>
                        </a:lnTo>
                        <a:lnTo>
                          <a:pt x="104" y="12"/>
                        </a:lnTo>
                        <a:lnTo>
                          <a:pt x="112" y="8"/>
                        </a:lnTo>
                        <a:lnTo>
                          <a:pt x="129" y="4"/>
                        </a:lnTo>
                        <a:lnTo>
                          <a:pt x="154" y="0"/>
                        </a:lnTo>
                        <a:lnTo>
                          <a:pt x="191" y="0"/>
                        </a:lnTo>
                        <a:lnTo>
                          <a:pt x="208" y="0"/>
                        </a:lnTo>
                        <a:lnTo>
                          <a:pt x="224" y="8"/>
                        </a:lnTo>
                        <a:lnTo>
                          <a:pt x="237" y="16"/>
                        </a:lnTo>
                        <a:lnTo>
                          <a:pt x="249" y="33"/>
                        </a:lnTo>
                        <a:lnTo>
                          <a:pt x="262" y="62"/>
                        </a:lnTo>
                        <a:lnTo>
                          <a:pt x="270" y="91"/>
                        </a:lnTo>
                        <a:lnTo>
                          <a:pt x="274" y="112"/>
                        </a:lnTo>
                        <a:lnTo>
                          <a:pt x="270" y="124"/>
                        </a:lnTo>
                        <a:lnTo>
                          <a:pt x="266" y="137"/>
                        </a:lnTo>
                        <a:lnTo>
                          <a:pt x="262" y="157"/>
                        </a:lnTo>
                        <a:lnTo>
                          <a:pt x="262" y="178"/>
                        </a:lnTo>
                        <a:lnTo>
                          <a:pt x="266" y="186"/>
                        </a:lnTo>
                        <a:lnTo>
                          <a:pt x="274" y="195"/>
                        </a:lnTo>
                        <a:lnTo>
                          <a:pt x="287" y="203"/>
                        </a:lnTo>
                        <a:lnTo>
                          <a:pt x="299" y="211"/>
                        </a:lnTo>
                        <a:lnTo>
                          <a:pt x="311" y="220"/>
                        </a:lnTo>
                        <a:lnTo>
                          <a:pt x="361" y="228"/>
                        </a:lnTo>
                        <a:lnTo>
                          <a:pt x="382" y="232"/>
                        </a:lnTo>
                        <a:lnTo>
                          <a:pt x="399" y="236"/>
                        </a:lnTo>
                        <a:lnTo>
                          <a:pt x="415" y="249"/>
                        </a:lnTo>
                        <a:lnTo>
                          <a:pt x="428" y="269"/>
                        </a:lnTo>
                        <a:lnTo>
                          <a:pt x="440" y="294"/>
                        </a:lnTo>
                        <a:lnTo>
                          <a:pt x="452" y="319"/>
                        </a:lnTo>
                        <a:lnTo>
                          <a:pt x="457" y="340"/>
                        </a:lnTo>
                        <a:lnTo>
                          <a:pt x="461" y="365"/>
                        </a:lnTo>
                        <a:lnTo>
                          <a:pt x="469" y="402"/>
                        </a:lnTo>
                        <a:lnTo>
                          <a:pt x="486" y="448"/>
                        </a:lnTo>
                        <a:lnTo>
                          <a:pt x="498" y="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75" name="Freeform 813"/>
                  <p:cNvSpPr>
                    <a:spLocks/>
                  </p:cNvSpPr>
                  <p:nvPr/>
                </p:nvSpPr>
                <p:spPr bwMode="auto">
                  <a:xfrm>
                    <a:off x="1660525" y="3389313"/>
                    <a:ext cx="177800" cy="376238"/>
                  </a:xfrm>
                  <a:custGeom>
                    <a:avLst/>
                    <a:gdLst>
                      <a:gd name="T0" fmla="*/ 0 w 112"/>
                      <a:gd name="T1" fmla="*/ 2147483647 h 237"/>
                      <a:gd name="T2" fmla="*/ 0 w 112"/>
                      <a:gd name="T3" fmla="*/ 2147483647 h 237"/>
                      <a:gd name="T4" fmla="*/ 2147483647 w 112"/>
                      <a:gd name="T5" fmla="*/ 2147483647 h 237"/>
                      <a:gd name="T6" fmla="*/ 0 w 112"/>
                      <a:gd name="T7" fmla="*/ 2147483647 h 237"/>
                      <a:gd name="T8" fmla="*/ 0 w 112"/>
                      <a:gd name="T9" fmla="*/ 2147483647 h 237"/>
                      <a:gd name="T10" fmla="*/ 0 w 112"/>
                      <a:gd name="T11" fmla="*/ 2147483647 h 237"/>
                      <a:gd name="T12" fmla="*/ 2147483647 w 112"/>
                      <a:gd name="T13" fmla="*/ 2147483647 h 237"/>
                      <a:gd name="T14" fmla="*/ 2147483647 w 112"/>
                      <a:gd name="T15" fmla="*/ 2147483647 h 237"/>
                      <a:gd name="T16" fmla="*/ 2147483647 w 112"/>
                      <a:gd name="T17" fmla="*/ 2147483647 h 237"/>
                      <a:gd name="T18" fmla="*/ 2147483647 w 112"/>
                      <a:gd name="T19" fmla="*/ 2147483647 h 237"/>
                      <a:gd name="T20" fmla="*/ 2147483647 w 112"/>
                      <a:gd name="T21" fmla="*/ 0 h 237"/>
                      <a:gd name="T22" fmla="*/ 2147483647 w 112"/>
                      <a:gd name="T23" fmla="*/ 0 h 237"/>
                      <a:gd name="T24" fmla="*/ 2147483647 w 112"/>
                      <a:gd name="T25" fmla="*/ 2147483647 h 237"/>
                      <a:gd name="T26" fmla="*/ 2147483647 w 112"/>
                      <a:gd name="T27" fmla="*/ 2147483647 h 237"/>
                      <a:gd name="T28" fmla="*/ 2147483647 w 112"/>
                      <a:gd name="T29" fmla="*/ 2147483647 h 237"/>
                      <a:gd name="T30" fmla="*/ 2147483647 w 112"/>
                      <a:gd name="T31" fmla="*/ 2147483647 h 237"/>
                      <a:gd name="T32" fmla="*/ 2147483647 w 112"/>
                      <a:gd name="T33" fmla="*/ 2147483647 h 237"/>
                      <a:gd name="T34" fmla="*/ 2147483647 w 112"/>
                      <a:gd name="T35" fmla="*/ 2147483647 h 237"/>
                      <a:gd name="T36" fmla="*/ 0 w 112"/>
                      <a:gd name="T37" fmla="*/ 2147483647 h 237"/>
                      <a:gd name="T38" fmla="*/ 0 w 112"/>
                      <a:gd name="T39" fmla="*/ 2147483647 h 2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237"/>
                      <a:gd name="T62" fmla="*/ 112 w 112"/>
                      <a:gd name="T63" fmla="*/ 237 h 2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237">
                        <a:moveTo>
                          <a:pt x="0" y="71"/>
                        </a:moveTo>
                        <a:lnTo>
                          <a:pt x="0" y="71"/>
                        </a:lnTo>
                        <a:lnTo>
                          <a:pt x="4" y="112"/>
                        </a:lnTo>
                        <a:lnTo>
                          <a:pt x="0" y="166"/>
                        </a:lnTo>
                        <a:lnTo>
                          <a:pt x="0" y="237"/>
                        </a:lnTo>
                        <a:lnTo>
                          <a:pt x="42" y="141"/>
                        </a:lnTo>
                        <a:lnTo>
                          <a:pt x="79" y="67"/>
                        </a:lnTo>
                        <a:lnTo>
                          <a:pt x="96" y="34"/>
                        </a:lnTo>
                        <a:lnTo>
                          <a:pt x="112" y="17"/>
                        </a:lnTo>
                        <a:lnTo>
                          <a:pt x="104" y="0"/>
                        </a:lnTo>
                        <a:lnTo>
                          <a:pt x="67" y="34"/>
                        </a:lnTo>
                        <a:lnTo>
                          <a:pt x="42" y="54"/>
                        </a:lnTo>
                        <a:lnTo>
                          <a:pt x="25" y="67"/>
                        </a:lnTo>
                        <a:lnTo>
                          <a:pt x="17" y="67"/>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76" name="Freeform 817"/>
                  <p:cNvSpPr>
                    <a:spLocks/>
                  </p:cNvSpPr>
                  <p:nvPr/>
                </p:nvSpPr>
                <p:spPr bwMode="auto">
                  <a:xfrm>
                    <a:off x="1641475" y="3502026"/>
                    <a:ext cx="92075" cy="282575"/>
                  </a:xfrm>
                  <a:custGeom>
                    <a:avLst/>
                    <a:gdLst>
                      <a:gd name="T0" fmla="*/ 2147483647 w 58"/>
                      <a:gd name="T1" fmla="*/ 0 h 178"/>
                      <a:gd name="T2" fmla="*/ 2147483647 w 58"/>
                      <a:gd name="T3" fmla="*/ 2147483647 h 178"/>
                      <a:gd name="T4" fmla="*/ 2147483647 w 58"/>
                      <a:gd name="T5" fmla="*/ 2147483647 h 178"/>
                      <a:gd name="T6" fmla="*/ 0 w 58"/>
                      <a:gd name="T7" fmla="*/ 2147483647 h 178"/>
                      <a:gd name="T8" fmla="*/ 2147483647 w 58"/>
                      <a:gd name="T9" fmla="*/ 2147483647 h 178"/>
                      <a:gd name="T10" fmla="*/ 2147483647 w 58"/>
                      <a:gd name="T11" fmla="*/ 2147483647 h 178"/>
                      <a:gd name="T12" fmla="*/ 2147483647 w 58"/>
                      <a:gd name="T13" fmla="*/ 2147483647 h 178"/>
                      <a:gd name="T14" fmla="*/ 2147483647 w 58"/>
                      <a:gd name="T15" fmla="*/ 2147483647 h 178"/>
                      <a:gd name="T16" fmla="*/ 2147483647 w 58"/>
                      <a:gd name="T17" fmla="*/ 2147483647 h 178"/>
                      <a:gd name="T18" fmla="*/ 2147483647 w 58"/>
                      <a:gd name="T19" fmla="*/ 0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178"/>
                      <a:gd name="T32" fmla="*/ 58 w 5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178">
                        <a:moveTo>
                          <a:pt x="33" y="0"/>
                        </a:moveTo>
                        <a:lnTo>
                          <a:pt x="21" y="29"/>
                        </a:lnTo>
                        <a:lnTo>
                          <a:pt x="29" y="45"/>
                        </a:lnTo>
                        <a:lnTo>
                          <a:pt x="0" y="133"/>
                        </a:lnTo>
                        <a:lnTo>
                          <a:pt x="12" y="178"/>
                        </a:lnTo>
                        <a:lnTo>
                          <a:pt x="21" y="170"/>
                        </a:lnTo>
                        <a:lnTo>
                          <a:pt x="58" y="79"/>
                        </a:lnTo>
                        <a:lnTo>
                          <a:pt x="33" y="45"/>
                        </a:lnTo>
                        <a:lnTo>
                          <a:pt x="41" y="33"/>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grpSp>
            <p:nvGrpSpPr>
              <p:cNvPr id="56" name="Group 7"/>
              <p:cNvGrpSpPr>
                <a:grpSpLocks/>
              </p:cNvGrpSpPr>
              <p:nvPr/>
            </p:nvGrpSpPr>
            <p:grpSpPr bwMode="auto">
              <a:xfrm>
                <a:off x="5715000" y="4430713"/>
                <a:ext cx="777875" cy="781050"/>
                <a:chOff x="820738" y="1870075"/>
                <a:chExt cx="3594100" cy="3609976"/>
              </a:xfrm>
              <a:solidFill>
                <a:schemeClr val="bg1">
                  <a:lumMod val="85000"/>
                </a:schemeClr>
              </a:solidFill>
            </p:grpSpPr>
            <p:sp>
              <p:nvSpPr>
                <p:cNvPr id="70" name="Freeform 353"/>
                <p:cNvSpPr>
                  <a:spLocks/>
                </p:cNvSpPr>
                <p:nvPr/>
              </p:nvSpPr>
              <p:spPr bwMode="auto">
                <a:xfrm>
                  <a:off x="820738" y="1870075"/>
                  <a:ext cx="3594100" cy="3597274"/>
                </a:xfrm>
                <a:custGeom>
                  <a:avLst/>
                  <a:gdLst>
                    <a:gd name="T0" fmla="*/ 2147483647 w 2264"/>
                    <a:gd name="T1" fmla="*/ 2147483647 h 2266"/>
                    <a:gd name="T2" fmla="*/ 2147483647 w 2264"/>
                    <a:gd name="T3" fmla="*/ 2147483647 h 2266"/>
                    <a:gd name="T4" fmla="*/ 2147483647 w 2264"/>
                    <a:gd name="T5" fmla="*/ 2147483647 h 2266"/>
                    <a:gd name="T6" fmla="*/ 2147483647 w 2264"/>
                    <a:gd name="T7" fmla="*/ 2147483647 h 2266"/>
                    <a:gd name="T8" fmla="*/ 2147483647 w 2264"/>
                    <a:gd name="T9" fmla="*/ 2147483647 h 2266"/>
                    <a:gd name="T10" fmla="*/ 2147483647 w 2264"/>
                    <a:gd name="T11" fmla="*/ 2147483647 h 2266"/>
                    <a:gd name="T12" fmla="*/ 2147483647 w 2264"/>
                    <a:gd name="T13" fmla="*/ 2147483647 h 2266"/>
                    <a:gd name="T14" fmla="*/ 2147483647 w 2264"/>
                    <a:gd name="T15" fmla="*/ 2147483647 h 2266"/>
                    <a:gd name="T16" fmla="*/ 2147483647 w 2264"/>
                    <a:gd name="T17" fmla="*/ 2147483647 h 2266"/>
                    <a:gd name="T18" fmla="*/ 2147483647 w 2264"/>
                    <a:gd name="T19" fmla="*/ 2147483647 h 2266"/>
                    <a:gd name="T20" fmla="*/ 2147483647 w 2264"/>
                    <a:gd name="T21" fmla="*/ 2147483647 h 2266"/>
                    <a:gd name="T22" fmla="*/ 2147483647 w 2264"/>
                    <a:gd name="T23" fmla="*/ 2147483647 h 2266"/>
                    <a:gd name="T24" fmla="*/ 2147483647 w 2264"/>
                    <a:gd name="T25" fmla="*/ 2147483647 h 2266"/>
                    <a:gd name="T26" fmla="*/ 2147483647 w 2264"/>
                    <a:gd name="T27" fmla="*/ 2147483647 h 2266"/>
                    <a:gd name="T28" fmla="*/ 2147483647 w 2264"/>
                    <a:gd name="T29" fmla="*/ 2147483647 h 2266"/>
                    <a:gd name="T30" fmla="*/ 2147483647 w 2264"/>
                    <a:gd name="T31" fmla="*/ 2147483647 h 2266"/>
                    <a:gd name="T32" fmla="*/ 2147483647 w 2264"/>
                    <a:gd name="T33" fmla="*/ 2147483647 h 2266"/>
                    <a:gd name="T34" fmla="*/ 2147483647 w 2264"/>
                    <a:gd name="T35" fmla="*/ 2147483647 h 2266"/>
                    <a:gd name="T36" fmla="*/ 2147483647 w 2264"/>
                    <a:gd name="T37" fmla="*/ 2147483647 h 2266"/>
                    <a:gd name="T38" fmla="*/ 2147483647 w 2264"/>
                    <a:gd name="T39" fmla="*/ 2147483647 h 2266"/>
                    <a:gd name="T40" fmla="*/ 2147483647 w 2264"/>
                    <a:gd name="T41" fmla="*/ 2147483647 h 2266"/>
                    <a:gd name="T42" fmla="*/ 0 w 2264"/>
                    <a:gd name="T43" fmla="*/ 2147483647 h 2266"/>
                    <a:gd name="T44" fmla="*/ 2147483647 w 2264"/>
                    <a:gd name="T45" fmla="*/ 2147483647 h 2266"/>
                    <a:gd name="T46" fmla="*/ 2147483647 w 2264"/>
                    <a:gd name="T47" fmla="*/ 2147483647 h 2266"/>
                    <a:gd name="T48" fmla="*/ 2147483647 w 2264"/>
                    <a:gd name="T49" fmla="*/ 2147483647 h 2266"/>
                    <a:gd name="T50" fmla="*/ 2147483647 w 2264"/>
                    <a:gd name="T51" fmla="*/ 2147483647 h 2266"/>
                    <a:gd name="T52" fmla="*/ 2147483647 w 2264"/>
                    <a:gd name="T53" fmla="*/ 2147483647 h 2266"/>
                    <a:gd name="T54" fmla="*/ 2147483647 w 2264"/>
                    <a:gd name="T55" fmla="*/ 2147483647 h 2266"/>
                    <a:gd name="T56" fmla="*/ 2147483647 w 2264"/>
                    <a:gd name="T57" fmla="*/ 2147483647 h 2266"/>
                    <a:gd name="T58" fmla="*/ 2147483647 w 2264"/>
                    <a:gd name="T59" fmla="*/ 2147483647 h 2266"/>
                    <a:gd name="T60" fmla="*/ 2147483647 w 2264"/>
                    <a:gd name="T61" fmla="*/ 2147483647 h 2266"/>
                    <a:gd name="T62" fmla="*/ 2147483647 w 2264"/>
                    <a:gd name="T63" fmla="*/ 2147483647 h 2266"/>
                    <a:gd name="T64" fmla="*/ 2147483647 w 2264"/>
                    <a:gd name="T65" fmla="*/ 2147483647 h 2266"/>
                    <a:gd name="T66" fmla="*/ 2147483647 w 2264"/>
                    <a:gd name="T67" fmla="*/ 2147483647 h 2266"/>
                    <a:gd name="T68" fmla="*/ 2147483647 w 2264"/>
                    <a:gd name="T69" fmla="*/ 2147483647 h 2266"/>
                    <a:gd name="T70" fmla="*/ 2147483647 w 2264"/>
                    <a:gd name="T71" fmla="*/ 2147483647 h 2266"/>
                    <a:gd name="T72" fmla="*/ 2147483647 w 2264"/>
                    <a:gd name="T73" fmla="*/ 2147483647 h 2266"/>
                    <a:gd name="T74" fmla="*/ 2147483647 w 2264"/>
                    <a:gd name="T75" fmla="*/ 2147483647 h 2266"/>
                    <a:gd name="T76" fmla="*/ 2147483647 w 2264"/>
                    <a:gd name="T77" fmla="*/ 2147483647 h 2266"/>
                    <a:gd name="T78" fmla="*/ 2147483647 w 2264"/>
                    <a:gd name="T79" fmla="*/ 2147483647 h 2266"/>
                    <a:gd name="T80" fmla="*/ 2147483647 w 2264"/>
                    <a:gd name="T81" fmla="*/ 2147483647 h 2266"/>
                    <a:gd name="T82" fmla="*/ 2147483647 w 2264"/>
                    <a:gd name="T83" fmla="*/ 2147483647 h 2266"/>
                    <a:gd name="T84" fmla="*/ 2147483647 w 2264"/>
                    <a:gd name="T85" fmla="*/ 2147483647 h 22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64"/>
                    <a:gd name="T130" fmla="*/ 0 h 2266"/>
                    <a:gd name="T131" fmla="*/ 2264 w 2264"/>
                    <a:gd name="T132" fmla="*/ 2266 h 22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64" h="2266">
                      <a:moveTo>
                        <a:pt x="2264" y="1133"/>
                      </a:moveTo>
                      <a:lnTo>
                        <a:pt x="2264" y="1191"/>
                      </a:lnTo>
                      <a:lnTo>
                        <a:pt x="2259" y="1249"/>
                      </a:lnTo>
                      <a:lnTo>
                        <a:pt x="2251" y="1304"/>
                      </a:lnTo>
                      <a:lnTo>
                        <a:pt x="2243" y="1360"/>
                      </a:lnTo>
                      <a:lnTo>
                        <a:pt x="2230" y="1415"/>
                      </a:lnTo>
                      <a:lnTo>
                        <a:pt x="2214" y="1468"/>
                      </a:lnTo>
                      <a:lnTo>
                        <a:pt x="2195" y="1521"/>
                      </a:lnTo>
                      <a:lnTo>
                        <a:pt x="2177" y="1574"/>
                      </a:lnTo>
                      <a:lnTo>
                        <a:pt x="2153" y="1624"/>
                      </a:lnTo>
                      <a:lnTo>
                        <a:pt x="2129" y="1672"/>
                      </a:lnTo>
                      <a:lnTo>
                        <a:pt x="2100" y="1719"/>
                      </a:lnTo>
                      <a:lnTo>
                        <a:pt x="2071" y="1767"/>
                      </a:lnTo>
                      <a:lnTo>
                        <a:pt x="2039" y="1809"/>
                      </a:lnTo>
                      <a:lnTo>
                        <a:pt x="2005" y="1854"/>
                      </a:lnTo>
                      <a:lnTo>
                        <a:pt x="1971" y="1893"/>
                      </a:lnTo>
                      <a:lnTo>
                        <a:pt x="1934" y="1933"/>
                      </a:lnTo>
                      <a:lnTo>
                        <a:pt x="1894" y="1970"/>
                      </a:lnTo>
                      <a:lnTo>
                        <a:pt x="1852" y="2007"/>
                      </a:lnTo>
                      <a:lnTo>
                        <a:pt x="1809" y="2041"/>
                      </a:lnTo>
                      <a:lnTo>
                        <a:pt x="1765" y="2073"/>
                      </a:lnTo>
                      <a:lnTo>
                        <a:pt x="1720" y="2102"/>
                      </a:lnTo>
                      <a:lnTo>
                        <a:pt x="1672" y="2128"/>
                      </a:lnTo>
                      <a:lnTo>
                        <a:pt x="1622" y="2152"/>
                      </a:lnTo>
                      <a:lnTo>
                        <a:pt x="1572" y="2176"/>
                      </a:lnTo>
                      <a:lnTo>
                        <a:pt x="1521" y="2197"/>
                      </a:lnTo>
                      <a:lnTo>
                        <a:pt x="1469" y="2213"/>
                      </a:lnTo>
                      <a:lnTo>
                        <a:pt x="1416" y="2229"/>
                      </a:lnTo>
                      <a:lnTo>
                        <a:pt x="1360" y="2242"/>
                      </a:lnTo>
                      <a:lnTo>
                        <a:pt x="1305" y="2253"/>
                      </a:lnTo>
                      <a:lnTo>
                        <a:pt x="1247" y="2260"/>
                      </a:lnTo>
                      <a:lnTo>
                        <a:pt x="1191" y="2263"/>
                      </a:lnTo>
                      <a:lnTo>
                        <a:pt x="1130" y="2266"/>
                      </a:lnTo>
                      <a:lnTo>
                        <a:pt x="1072" y="2263"/>
                      </a:lnTo>
                      <a:lnTo>
                        <a:pt x="1017" y="2260"/>
                      </a:lnTo>
                      <a:lnTo>
                        <a:pt x="959" y="2253"/>
                      </a:lnTo>
                      <a:lnTo>
                        <a:pt x="903" y="2242"/>
                      </a:lnTo>
                      <a:lnTo>
                        <a:pt x="848" y="2229"/>
                      </a:lnTo>
                      <a:lnTo>
                        <a:pt x="795" y="2213"/>
                      </a:lnTo>
                      <a:lnTo>
                        <a:pt x="742" y="2197"/>
                      </a:lnTo>
                      <a:lnTo>
                        <a:pt x="692" y="2176"/>
                      </a:lnTo>
                      <a:lnTo>
                        <a:pt x="642" y="2152"/>
                      </a:lnTo>
                      <a:lnTo>
                        <a:pt x="591" y="2128"/>
                      </a:lnTo>
                      <a:lnTo>
                        <a:pt x="544" y="2102"/>
                      </a:lnTo>
                      <a:lnTo>
                        <a:pt x="499" y="2073"/>
                      </a:lnTo>
                      <a:lnTo>
                        <a:pt x="454" y="2041"/>
                      </a:lnTo>
                      <a:lnTo>
                        <a:pt x="412" y="2007"/>
                      </a:lnTo>
                      <a:lnTo>
                        <a:pt x="369" y="1970"/>
                      </a:lnTo>
                      <a:lnTo>
                        <a:pt x="330" y="1933"/>
                      </a:lnTo>
                      <a:lnTo>
                        <a:pt x="293" y="1893"/>
                      </a:lnTo>
                      <a:lnTo>
                        <a:pt x="258" y="1854"/>
                      </a:lnTo>
                      <a:lnTo>
                        <a:pt x="224" y="1809"/>
                      </a:lnTo>
                      <a:lnTo>
                        <a:pt x="192" y="1767"/>
                      </a:lnTo>
                      <a:lnTo>
                        <a:pt x="163" y="1719"/>
                      </a:lnTo>
                      <a:lnTo>
                        <a:pt x="134" y="1672"/>
                      </a:lnTo>
                      <a:lnTo>
                        <a:pt x="111" y="1624"/>
                      </a:lnTo>
                      <a:lnTo>
                        <a:pt x="87" y="1574"/>
                      </a:lnTo>
                      <a:lnTo>
                        <a:pt x="68" y="1521"/>
                      </a:lnTo>
                      <a:lnTo>
                        <a:pt x="50" y="1468"/>
                      </a:lnTo>
                      <a:lnTo>
                        <a:pt x="34" y="1415"/>
                      </a:lnTo>
                      <a:lnTo>
                        <a:pt x="21" y="1360"/>
                      </a:lnTo>
                      <a:lnTo>
                        <a:pt x="13" y="1304"/>
                      </a:lnTo>
                      <a:lnTo>
                        <a:pt x="5" y="1249"/>
                      </a:lnTo>
                      <a:lnTo>
                        <a:pt x="0" y="1191"/>
                      </a:lnTo>
                      <a:lnTo>
                        <a:pt x="0" y="1133"/>
                      </a:lnTo>
                      <a:lnTo>
                        <a:pt x="0" y="1075"/>
                      </a:lnTo>
                      <a:lnTo>
                        <a:pt x="5" y="1017"/>
                      </a:lnTo>
                      <a:lnTo>
                        <a:pt x="13" y="961"/>
                      </a:lnTo>
                      <a:lnTo>
                        <a:pt x="21" y="903"/>
                      </a:lnTo>
                      <a:lnTo>
                        <a:pt x="34" y="850"/>
                      </a:lnTo>
                      <a:lnTo>
                        <a:pt x="50" y="795"/>
                      </a:lnTo>
                      <a:lnTo>
                        <a:pt x="68" y="742"/>
                      </a:lnTo>
                      <a:lnTo>
                        <a:pt x="87" y="692"/>
                      </a:lnTo>
                      <a:lnTo>
                        <a:pt x="111" y="642"/>
                      </a:lnTo>
                      <a:lnTo>
                        <a:pt x="134" y="591"/>
                      </a:lnTo>
                      <a:lnTo>
                        <a:pt x="163" y="544"/>
                      </a:lnTo>
                      <a:lnTo>
                        <a:pt x="192" y="499"/>
                      </a:lnTo>
                      <a:lnTo>
                        <a:pt x="224" y="454"/>
                      </a:lnTo>
                      <a:lnTo>
                        <a:pt x="258" y="412"/>
                      </a:lnTo>
                      <a:lnTo>
                        <a:pt x="293" y="370"/>
                      </a:lnTo>
                      <a:lnTo>
                        <a:pt x="330" y="333"/>
                      </a:lnTo>
                      <a:lnTo>
                        <a:pt x="369" y="293"/>
                      </a:lnTo>
                      <a:lnTo>
                        <a:pt x="412" y="259"/>
                      </a:lnTo>
                      <a:lnTo>
                        <a:pt x="454" y="224"/>
                      </a:lnTo>
                      <a:lnTo>
                        <a:pt x="499" y="193"/>
                      </a:lnTo>
                      <a:lnTo>
                        <a:pt x="544" y="164"/>
                      </a:lnTo>
                      <a:lnTo>
                        <a:pt x="591" y="137"/>
                      </a:lnTo>
                      <a:lnTo>
                        <a:pt x="642" y="111"/>
                      </a:lnTo>
                      <a:lnTo>
                        <a:pt x="692" y="90"/>
                      </a:lnTo>
                      <a:lnTo>
                        <a:pt x="742" y="69"/>
                      </a:lnTo>
                      <a:lnTo>
                        <a:pt x="795" y="50"/>
                      </a:lnTo>
                      <a:lnTo>
                        <a:pt x="848" y="34"/>
                      </a:lnTo>
                      <a:lnTo>
                        <a:pt x="903" y="24"/>
                      </a:lnTo>
                      <a:lnTo>
                        <a:pt x="959" y="13"/>
                      </a:lnTo>
                      <a:lnTo>
                        <a:pt x="1017" y="5"/>
                      </a:lnTo>
                      <a:lnTo>
                        <a:pt x="1072" y="3"/>
                      </a:lnTo>
                      <a:lnTo>
                        <a:pt x="1130" y="0"/>
                      </a:lnTo>
                      <a:lnTo>
                        <a:pt x="1191" y="3"/>
                      </a:lnTo>
                      <a:lnTo>
                        <a:pt x="1247" y="5"/>
                      </a:lnTo>
                      <a:lnTo>
                        <a:pt x="1305" y="13"/>
                      </a:lnTo>
                      <a:lnTo>
                        <a:pt x="1360" y="24"/>
                      </a:lnTo>
                      <a:lnTo>
                        <a:pt x="1416" y="34"/>
                      </a:lnTo>
                      <a:lnTo>
                        <a:pt x="1469" y="50"/>
                      </a:lnTo>
                      <a:lnTo>
                        <a:pt x="1521" y="69"/>
                      </a:lnTo>
                      <a:lnTo>
                        <a:pt x="1572" y="90"/>
                      </a:lnTo>
                      <a:lnTo>
                        <a:pt x="1622" y="111"/>
                      </a:lnTo>
                      <a:lnTo>
                        <a:pt x="1672" y="137"/>
                      </a:lnTo>
                      <a:lnTo>
                        <a:pt x="1720" y="164"/>
                      </a:lnTo>
                      <a:lnTo>
                        <a:pt x="1765" y="193"/>
                      </a:lnTo>
                      <a:lnTo>
                        <a:pt x="1809" y="224"/>
                      </a:lnTo>
                      <a:lnTo>
                        <a:pt x="1852" y="259"/>
                      </a:lnTo>
                      <a:lnTo>
                        <a:pt x="1894" y="293"/>
                      </a:lnTo>
                      <a:lnTo>
                        <a:pt x="1934" y="333"/>
                      </a:lnTo>
                      <a:lnTo>
                        <a:pt x="1971" y="370"/>
                      </a:lnTo>
                      <a:lnTo>
                        <a:pt x="2005" y="412"/>
                      </a:lnTo>
                      <a:lnTo>
                        <a:pt x="2039" y="454"/>
                      </a:lnTo>
                      <a:lnTo>
                        <a:pt x="2071" y="499"/>
                      </a:lnTo>
                      <a:lnTo>
                        <a:pt x="2100" y="544"/>
                      </a:lnTo>
                      <a:lnTo>
                        <a:pt x="2129" y="591"/>
                      </a:lnTo>
                      <a:lnTo>
                        <a:pt x="2153" y="642"/>
                      </a:lnTo>
                      <a:lnTo>
                        <a:pt x="2177" y="692"/>
                      </a:lnTo>
                      <a:lnTo>
                        <a:pt x="2195" y="742"/>
                      </a:lnTo>
                      <a:lnTo>
                        <a:pt x="2214" y="795"/>
                      </a:lnTo>
                      <a:lnTo>
                        <a:pt x="2230" y="850"/>
                      </a:lnTo>
                      <a:lnTo>
                        <a:pt x="2243" y="903"/>
                      </a:lnTo>
                      <a:lnTo>
                        <a:pt x="2251" y="961"/>
                      </a:lnTo>
                      <a:lnTo>
                        <a:pt x="2259" y="1017"/>
                      </a:lnTo>
                      <a:lnTo>
                        <a:pt x="2264" y="1075"/>
                      </a:lnTo>
                      <a:lnTo>
                        <a:pt x="2264" y="1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71" name="Freeform 354"/>
                <p:cNvSpPr>
                  <a:spLocks/>
                </p:cNvSpPr>
                <p:nvPr/>
              </p:nvSpPr>
              <p:spPr bwMode="auto">
                <a:xfrm>
                  <a:off x="1508126" y="1941512"/>
                  <a:ext cx="2620962" cy="3538539"/>
                </a:xfrm>
                <a:custGeom>
                  <a:avLst/>
                  <a:gdLst>
                    <a:gd name="T0" fmla="*/ 2147483647 w 1651"/>
                    <a:gd name="T1" fmla="*/ 2147483647 h 2229"/>
                    <a:gd name="T2" fmla="*/ 2147483647 w 1651"/>
                    <a:gd name="T3" fmla="*/ 2147483647 h 2229"/>
                    <a:gd name="T4" fmla="*/ 2147483647 w 1651"/>
                    <a:gd name="T5" fmla="*/ 2147483647 h 2229"/>
                    <a:gd name="T6" fmla="*/ 2147483647 w 1651"/>
                    <a:gd name="T7" fmla="*/ 2147483647 h 2229"/>
                    <a:gd name="T8" fmla="*/ 2147483647 w 1651"/>
                    <a:gd name="T9" fmla="*/ 2147483647 h 2229"/>
                    <a:gd name="T10" fmla="*/ 2147483647 w 1651"/>
                    <a:gd name="T11" fmla="*/ 2147483647 h 2229"/>
                    <a:gd name="T12" fmla="*/ 2147483647 w 1651"/>
                    <a:gd name="T13" fmla="*/ 2147483647 h 2229"/>
                    <a:gd name="T14" fmla="*/ 2147483647 w 1651"/>
                    <a:gd name="T15" fmla="*/ 2147483647 h 2229"/>
                    <a:gd name="T16" fmla="*/ 2147483647 w 1651"/>
                    <a:gd name="T17" fmla="*/ 2147483647 h 2229"/>
                    <a:gd name="T18" fmla="*/ 2147483647 w 1651"/>
                    <a:gd name="T19" fmla="*/ 2147483647 h 2229"/>
                    <a:gd name="T20" fmla="*/ 2147483647 w 1651"/>
                    <a:gd name="T21" fmla="*/ 2147483647 h 2229"/>
                    <a:gd name="T22" fmla="*/ 2147483647 w 1651"/>
                    <a:gd name="T23" fmla="*/ 2147483647 h 2229"/>
                    <a:gd name="T24" fmla="*/ 2147483647 w 1651"/>
                    <a:gd name="T25" fmla="*/ 2147483647 h 2229"/>
                    <a:gd name="T26" fmla="*/ 2147483647 w 1651"/>
                    <a:gd name="T27" fmla="*/ 2147483647 h 2229"/>
                    <a:gd name="T28" fmla="*/ 2147483647 w 1651"/>
                    <a:gd name="T29" fmla="*/ 2147483647 h 2229"/>
                    <a:gd name="T30" fmla="*/ 2147483647 w 1651"/>
                    <a:gd name="T31" fmla="*/ 2147483647 h 2229"/>
                    <a:gd name="T32" fmla="*/ 2147483647 w 1651"/>
                    <a:gd name="T33" fmla="*/ 2147483647 h 2229"/>
                    <a:gd name="T34" fmla="*/ 2147483647 w 1651"/>
                    <a:gd name="T35" fmla="*/ 2147483647 h 2229"/>
                    <a:gd name="T36" fmla="*/ 2147483647 w 1651"/>
                    <a:gd name="T37" fmla="*/ 2147483647 h 2229"/>
                    <a:gd name="T38" fmla="*/ 2147483647 w 1651"/>
                    <a:gd name="T39" fmla="*/ 2147483647 h 2229"/>
                    <a:gd name="T40" fmla="*/ 2147483647 w 1651"/>
                    <a:gd name="T41" fmla="*/ 2147483647 h 2229"/>
                    <a:gd name="T42" fmla="*/ 2147483647 w 1651"/>
                    <a:gd name="T43" fmla="*/ 2147483647 h 2229"/>
                    <a:gd name="T44" fmla="*/ 2147483647 w 1651"/>
                    <a:gd name="T45" fmla="*/ 2147483647 h 2229"/>
                    <a:gd name="T46" fmla="*/ 2147483647 w 1651"/>
                    <a:gd name="T47" fmla="*/ 2147483647 h 2229"/>
                    <a:gd name="T48" fmla="*/ 2147483647 w 1651"/>
                    <a:gd name="T49" fmla="*/ 2147483647 h 2229"/>
                    <a:gd name="T50" fmla="*/ 2147483647 w 1651"/>
                    <a:gd name="T51" fmla="*/ 2147483647 h 2229"/>
                    <a:gd name="T52" fmla="*/ 2147483647 w 1651"/>
                    <a:gd name="T53" fmla="*/ 2147483647 h 2229"/>
                    <a:gd name="T54" fmla="*/ 2147483647 w 1651"/>
                    <a:gd name="T55" fmla="*/ 2147483647 h 2229"/>
                    <a:gd name="T56" fmla="*/ 2147483647 w 1651"/>
                    <a:gd name="T57" fmla="*/ 2147483647 h 2229"/>
                    <a:gd name="T58" fmla="*/ 2147483647 w 1651"/>
                    <a:gd name="T59" fmla="*/ 2147483647 h 2229"/>
                    <a:gd name="T60" fmla="*/ 2147483647 w 1651"/>
                    <a:gd name="T61" fmla="*/ 2147483647 h 2229"/>
                    <a:gd name="T62" fmla="*/ 2147483647 w 1651"/>
                    <a:gd name="T63" fmla="*/ 2147483647 h 2229"/>
                    <a:gd name="T64" fmla="*/ 2147483647 w 1651"/>
                    <a:gd name="T65" fmla="*/ 2147483647 h 2229"/>
                    <a:gd name="T66" fmla="*/ 2147483647 w 1651"/>
                    <a:gd name="T67" fmla="*/ 2147483647 h 2229"/>
                    <a:gd name="T68" fmla="*/ 2147483647 w 1651"/>
                    <a:gd name="T69" fmla="*/ 2147483647 h 2229"/>
                    <a:gd name="T70" fmla="*/ 2147483647 w 1651"/>
                    <a:gd name="T71" fmla="*/ 2147483647 h 2229"/>
                    <a:gd name="T72" fmla="*/ 0 w 1651"/>
                    <a:gd name="T73" fmla="*/ 2147483647 h 2229"/>
                    <a:gd name="T74" fmla="*/ 2147483647 w 1651"/>
                    <a:gd name="T75" fmla="*/ 2147483647 h 2229"/>
                    <a:gd name="T76" fmla="*/ 2147483647 w 1651"/>
                    <a:gd name="T77" fmla="*/ 2147483647 h 2229"/>
                    <a:gd name="T78" fmla="*/ 2147483647 w 1651"/>
                    <a:gd name="T79" fmla="*/ 2147483647 h 2229"/>
                    <a:gd name="T80" fmla="*/ 2147483647 w 1651"/>
                    <a:gd name="T81" fmla="*/ 2147483647 h 2229"/>
                    <a:gd name="T82" fmla="*/ 2147483647 w 1651"/>
                    <a:gd name="T83" fmla="*/ 2147483647 h 2229"/>
                    <a:gd name="T84" fmla="*/ 2147483647 w 1651"/>
                    <a:gd name="T85" fmla="*/ 2147483647 h 2229"/>
                    <a:gd name="T86" fmla="*/ 2147483647 w 1651"/>
                    <a:gd name="T87" fmla="*/ 2147483647 h 2229"/>
                    <a:gd name="T88" fmla="*/ 2147483647 w 1651"/>
                    <a:gd name="T89" fmla="*/ 2147483647 h 2229"/>
                    <a:gd name="T90" fmla="*/ 2147483647 w 1651"/>
                    <a:gd name="T91" fmla="*/ 2147483647 h 2229"/>
                    <a:gd name="T92" fmla="*/ 2147483647 w 1651"/>
                    <a:gd name="T93" fmla="*/ 2147483647 h 2229"/>
                    <a:gd name="T94" fmla="*/ 2147483647 w 1651"/>
                    <a:gd name="T95" fmla="*/ 2147483647 h 2229"/>
                    <a:gd name="T96" fmla="*/ 2147483647 w 1651"/>
                    <a:gd name="T97" fmla="*/ 2147483647 h 2229"/>
                    <a:gd name="T98" fmla="*/ 2147483647 w 1651"/>
                    <a:gd name="T99" fmla="*/ 2147483647 h 2229"/>
                    <a:gd name="T100" fmla="*/ 2147483647 w 1651"/>
                    <a:gd name="T101" fmla="*/ 2147483647 h 2229"/>
                    <a:gd name="T102" fmla="*/ 2147483647 w 1651"/>
                    <a:gd name="T103" fmla="*/ 2147483647 h 2229"/>
                    <a:gd name="T104" fmla="*/ 2147483647 w 1651"/>
                    <a:gd name="T105" fmla="*/ 2147483647 h 2229"/>
                    <a:gd name="T106" fmla="*/ 2147483647 w 1651"/>
                    <a:gd name="T107" fmla="*/ 2147483647 h 2229"/>
                    <a:gd name="T108" fmla="*/ 2147483647 w 1651"/>
                    <a:gd name="T109" fmla="*/ 2147483647 h 2229"/>
                    <a:gd name="T110" fmla="*/ 2147483647 w 1651"/>
                    <a:gd name="T111" fmla="*/ 2147483647 h 2229"/>
                    <a:gd name="T112" fmla="*/ 2147483647 w 1651"/>
                    <a:gd name="T113" fmla="*/ 2147483647 h 2229"/>
                    <a:gd name="T114" fmla="*/ 2147483647 w 1651"/>
                    <a:gd name="T115" fmla="*/ 2147483647 h 2229"/>
                    <a:gd name="T116" fmla="*/ 2147483647 w 1651"/>
                    <a:gd name="T117" fmla="*/ 2147483647 h 2229"/>
                    <a:gd name="T118" fmla="*/ 2147483647 w 1651"/>
                    <a:gd name="T119" fmla="*/ 2147483647 h 2229"/>
                    <a:gd name="T120" fmla="*/ 2147483647 w 1651"/>
                    <a:gd name="T121" fmla="*/ 2147483647 h 2229"/>
                    <a:gd name="T122" fmla="*/ 2147483647 w 1651"/>
                    <a:gd name="T123" fmla="*/ 2147483647 h 22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1"/>
                    <a:gd name="T187" fmla="*/ 0 h 2229"/>
                    <a:gd name="T188" fmla="*/ 1651 w 1651"/>
                    <a:gd name="T189" fmla="*/ 2229 h 22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1" h="2229">
                      <a:moveTo>
                        <a:pt x="716" y="877"/>
                      </a:moveTo>
                      <a:lnTo>
                        <a:pt x="719" y="869"/>
                      </a:lnTo>
                      <a:lnTo>
                        <a:pt x="719" y="863"/>
                      </a:lnTo>
                      <a:lnTo>
                        <a:pt x="713" y="863"/>
                      </a:lnTo>
                      <a:lnTo>
                        <a:pt x="711" y="863"/>
                      </a:lnTo>
                      <a:lnTo>
                        <a:pt x="708" y="863"/>
                      </a:lnTo>
                      <a:lnTo>
                        <a:pt x="700" y="848"/>
                      </a:lnTo>
                      <a:lnTo>
                        <a:pt x="700" y="840"/>
                      </a:lnTo>
                      <a:lnTo>
                        <a:pt x="700" y="834"/>
                      </a:lnTo>
                      <a:lnTo>
                        <a:pt x="697" y="826"/>
                      </a:lnTo>
                      <a:lnTo>
                        <a:pt x="695" y="816"/>
                      </a:lnTo>
                      <a:lnTo>
                        <a:pt x="689" y="811"/>
                      </a:lnTo>
                      <a:lnTo>
                        <a:pt x="684" y="808"/>
                      </a:lnTo>
                      <a:lnTo>
                        <a:pt x="674" y="808"/>
                      </a:lnTo>
                      <a:lnTo>
                        <a:pt x="660" y="813"/>
                      </a:lnTo>
                      <a:lnTo>
                        <a:pt x="650" y="818"/>
                      </a:lnTo>
                      <a:lnTo>
                        <a:pt x="642" y="818"/>
                      </a:lnTo>
                      <a:lnTo>
                        <a:pt x="639" y="816"/>
                      </a:lnTo>
                      <a:lnTo>
                        <a:pt x="639" y="811"/>
                      </a:lnTo>
                      <a:lnTo>
                        <a:pt x="639" y="797"/>
                      </a:lnTo>
                      <a:lnTo>
                        <a:pt x="642" y="789"/>
                      </a:lnTo>
                      <a:lnTo>
                        <a:pt x="642" y="784"/>
                      </a:lnTo>
                      <a:lnTo>
                        <a:pt x="637" y="782"/>
                      </a:lnTo>
                      <a:lnTo>
                        <a:pt x="626" y="779"/>
                      </a:lnTo>
                      <a:lnTo>
                        <a:pt x="600" y="784"/>
                      </a:lnTo>
                      <a:lnTo>
                        <a:pt x="563" y="792"/>
                      </a:lnTo>
                      <a:lnTo>
                        <a:pt x="568" y="797"/>
                      </a:lnTo>
                      <a:lnTo>
                        <a:pt x="576" y="808"/>
                      </a:lnTo>
                      <a:lnTo>
                        <a:pt x="581" y="816"/>
                      </a:lnTo>
                      <a:lnTo>
                        <a:pt x="581" y="821"/>
                      </a:lnTo>
                      <a:lnTo>
                        <a:pt x="578" y="826"/>
                      </a:lnTo>
                      <a:lnTo>
                        <a:pt x="571" y="829"/>
                      </a:lnTo>
                      <a:lnTo>
                        <a:pt x="557" y="829"/>
                      </a:lnTo>
                      <a:lnTo>
                        <a:pt x="544" y="824"/>
                      </a:lnTo>
                      <a:lnTo>
                        <a:pt x="542" y="824"/>
                      </a:lnTo>
                      <a:lnTo>
                        <a:pt x="542" y="821"/>
                      </a:lnTo>
                      <a:lnTo>
                        <a:pt x="542" y="818"/>
                      </a:lnTo>
                      <a:lnTo>
                        <a:pt x="528" y="816"/>
                      </a:lnTo>
                      <a:lnTo>
                        <a:pt x="518" y="816"/>
                      </a:lnTo>
                      <a:lnTo>
                        <a:pt x="518" y="813"/>
                      </a:lnTo>
                      <a:lnTo>
                        <a:pt x="518" y="811"/>
                      </a:lnTo>
                      <a:lnTo>
                        <a:pt x="520" y="808"/>
                      </a:lnTo>
                      <a:lnTo>
                        <a:pt x="510" y="800"/>
                      </a:lnTo>
                      <a:lnTo>
                        <a:pt x="505" y="797"/>
                      </a:lnTo>
                      <a:lnTo>
                        <a:pt x="494" y="795"/>
                      </a:lnTo>
                      <a:lnTo>
                        <a:pt x="475" y="800"/>
                      </a:lnTo>
                      <a:lnTo>
                        <a:pt x="452" y="805"/>
                      </a:lnTo>
                      <a:lnTo>
                        <a:pt x="431" y="813"/>
                      </a:lnTo>
                      <a:lnTo>
                        <a:pt x="428" y="816"/>
                      </a:lnTo>
                      <a:lnTo>
                        <a:pt x="428" y="821"/>
                      </a:lnTo>
                      <a:lnTo>
                        <a:pt x="420" y="821"/>
                      </a:lnTo>
                      <a:lnTo>
                        <a:pt x="415" y="821"/>
                      </a:lnTo>
                      <a:lnTo>
                        <a:pt x="404" y="826"/>
                      </a:lnTo>
                      <a:lnTo>
                        <a:pt x="399" y="834"/>
                      </a:lnTo>
                      <a:lnTo>
                        <a:pt x="399" y="848"/>
                      </a:lnTo>
                      <a:lnTo>
                        <a:pt x="399" y="861"/>
                      </a:lnTo>
                      <a:lnTo>
                        <a:pt x="399" y="877"/>
                      </a:lnTo>
                      <a:lnTo>
                        <a:pt x="396" y="892"/>
                      </a:lnTo>
                      <a:lnTo>
                        <a:pt x="394" y="903"/>
                      </a:lnTo>
                      <a:lnTo>
                        <a:pt x="391" y="914"/>
                      </a:lnTo>
                      <a:lnTo>
                        <a:pt x="388" y="914"/>
                      </a:lnTo>
                      <a:lnTo>
                        <a:pt x="386" y="911"/>
                      </a:lnTo>
                      <a:lnTo>
                        <a:pt x="383" y="914"/>
                      </a:lnTo>
                      <a:lnTo>
                        <a:pt x="378" y="921"/>
                      </a:lnTo>
                      <a:lnTo>
                        <a:pt x="372" y="935"/>
                      </a:lnTo>
                      <a:lnTo>
                        <a:pt x="372" y="937"/>
                      </a:lnTo>
                      <a:lnTo>
                        <a:pt x="372" y="943"/>
                      </a:lnTo>
                      <a:lnTo>
                        <a:pt x="375" y="953"/>
                      </a:lnTo>
                      <a:lnTo>
                        <a:pt x="372" y="956"/>
                      </a:lnTo>
                      <a:lnTo>
                        <a:pt x="367" y="961"/>
                      </a:lnTo>
                      <a:lnTo>
                        <a:pt x="367" y="982"/>
                      </a:lnTo>
                      <a:lnTo>
                        <a:pt x="370" y="1006"/>
                      </a:lnTo>
                      <a:lnTo>
                        <a:pt x="375" y="1027"/>
                      </a:lnTo>
                      <a:lnTo>
                        <a:pt x="386" y="1048"/>
                      </a:lnTo>
                      <a:lnTo>
                        <a:pt x="396" y="1067"/>
                      </a:lnTo>
                      <a:lnTo>
                        <a:pt x="409" y="1080"/>
                      </a:lnTo>
                      <a:lnTo>
                        <a:pt x="417" y="1085"/>
                      </a:lnTo>
                      <a:lnTo>
                        <a:pt x="428" y="1090"/>
                      </a:lnTo>
                      <a:lnTo>
                        <a:pt x="438" y="1090"/>
                      </a:lnTo>
                      <a:lnTo>
                        <a:pt x="449" y="1090"/>
                      </a:lnTo>
                      <a:lnTo>
                        <a:pt x="462" y="1088"/>
                      </a:lnTo>
                      <a:lnTo>
                        <a:pt x="489" y="1083"/>
                      </a:lnTo>
                      <a:lnTo>
                        <a:pt x="505" y="1075"/>
                      </a:lnTo>
                      <a:lnTo>
                        <a:pt x="518" y="1064"/>
                      </a:lnTo>
                      <a:lnTo>
                        <a:pt x="528" y="1054"/>
                      </a:lnTo>
                      <a:lnTo>
                        <a:pt x="531" y="1046"/>
                      </a:lnTo>
                      <a:lnTo>
                        <a:pt x="534" y="1038"/>
                      </a:lnTo>
                      <a:lnTo>
                        <a:pt x="534" y="1027"/>
                      </a:lnTo>
                      <a:lnTo>
                        <a:pt x="539" y="1022"/>
                      </a:lnTo>
                      <a:lnTo>
                        <a:pt x="544" y="1017"/>
                      </a:lnTo>
                      <a:lnTo>
                        <a:pt x="549" y="1011"/>
                      </a:lnTo>
                      <a:lnTo>
                        <a:pt x="565" y="1009"/>
                      </a:lnTo>
                      <a:lnTo>
                        <a:pt x="581" y="1009"/>
                      </a:lnTo>
                      <a:lnTo>
                        <a:pt x="592" y="1009"/>
                      </a:lnTo>
                      <a:lnTo>
                        <a:pt x="613" y="1011"/>
                      </a:lnTo>
                      <a:lnTo>
                        <a:pt x="610" y="1024"/>
                      </a:lnTo>
                      <a:lnTo>
                        <a:pt x="608" y="1027"/>
                      </a:lnTo>
                      <a:lnTo>
                        <a:pt x="605" y="1027"/>
                      </a:lnTo>
                      <a:lnTo>
                        <a:pt x="602" y="1027"/>
                      </a:lnTo>
                      <a:lnTo>
                        <a:pt x="600" y="1030"/>
                      </a:lnTo>
                      <a:lnTo>
                        <a:pt x="600" y="1040"/>
                      </a:lnTo>
                      <a:lnTo>
                        <a:pt x="600" y="1048"/>
                      </a:lnTo>
                      <a:lnTo>
                        <a:pt x="592" y="1056"/>
                      </a:lnTo>
                      <a:lnTo>
                        <a:pt x="592" y="1061"/>
                      </a:lnTo>
                      <a:lnTo>
                        <a:pt x="592" y="1067"/>
                      </a:lnTo>
                      <a:lnTo>
                        <a:pt x="586" y="1077"/>
                      </a:lnTo>
                      <a:lnTo>
                        <a:pt x="586" y="1088"/>
                      </a:lnTo>
                      <a:lnTo>
                        <a:pt x="589" y="1114"/>
                      </a:lnTo>
                      <a:lnTo>
                        <a:pt x="592" y="1117"/>
                      </a:lnTo>
                      <a:lnTo>
                        <a:pt x="597" y="1120"/>
                      </a:lnTo>
                      <a:lnTo>
                        <a:pt x="594" y="1125"/>
                      </a:lnTo>
                      <a:lnTo>
                        <a:pt x="592" y="1130"/>
                      </a:lnTo>
                      <a:lnTo>
                        <a:pt x="589" y="1141"/>
                      </a:lnTo>
                      <a:lnTo>
                        <a:pt x="586" y="1146"/>
                      </a:lnTo>
                      <a:lnTo>
                        <a:pt x="584" y="1149"/>
                      </a:lnTo>
                      <a:lnTo>
                        <a:pt x="613" y="1143"/>
                      </a:lnTo>
                      <a:lnTo>
                        <a:pt x="615" y="1146"/>
                      </a:lnTo>
                      <a:lnTo>
                        <a:pt x="615" y="1149"/>
                      </a:lnTo>
                      <a:lnTo>
                        <a:pt x="615" y="1151"/>
                      </a:lnTo>
                      <a:lnTo>
                        <a:pt x="626" y="1146"/>
                      </a:lnTo>
                      <a:lnTo>
                        <a:pt x="637" y="1143"/>
                      </a:lnTo>
                      <a:lnTo>
                        <a:pt x="639" y="1143"/>
                      </a:lnTo>
                      <a:lnTo>
                        <a:pt x="645" y="1146"/>
                      </a:lnTo>
                      <a:lnTo>
                        <a:pt x="652" y="1141"/>
                      </a:lnTo>
                      <a:lnTo>
                        <a:pt x="655" y="1138"/>
                      </a:lnTo>
                      <a:lnTo>
                        <a:pt x="658" y="1141"/>
                      </a:lnTo>
                      <a:lnTo>
                        <a:pt x="655" y="1146"/>
                      </a:lnTo>
                      <a:lnTo>
                        <a:pt x="658" y="1149"/>
                      </a:lnTo>
                      <a:lnTo>
                        <a:pt x="671" y="1151"/>
                      </a:lnTo>
                      <a:lnTo>
                        <a:pt x="684" y="1154"/>
                      </a:lnTo>
                      <a:lnTo>
                        <a:pt x="697" y="1159"/>
                      </a:lnTo>
                      <a:lnTo>
                        <a:pt x="705" y="1170"/>
                      </a:lnTo>
                      <a:lnTo>
                        <a:pt x="705" y="1175"/>
                      </a:lnTo>
                      <a:lnTo>
                        <a:pt x="708" y="1183"/>
                      </a:lnTo>
                      <a:lnTo>
                        <a:pt x="705" y="1201"/>
                      </a:lnTo>
                      <a:lnTo>
                        <a:pt x="703" y="1217"/>
                      </a:lnTo>
                      <a:lnTo>
                        <a:pt x="695" y="1236"/>
                      </a:lnTo>
                      <a:lnTo>
                        <a:pt x="692" y="1244"/>
                      </a:lnTo>
                      <a:lnTo>
                        <a:pt x="689" y="1252"/>
                      </a:lnTo>
                      <a:lnTo>
                        <a:pt x="689" y="1262"/>
                      </a:lnTo>
                      <a:lnTo>
                        <a:pt x="689" y="1278"/>
                      </a:lnTo>
                      <a:lnTo>
                        <a:pt x="705" y="1291"/>
                      </a:lnTo>
                      <a:lnTo>
                        <a:pt x="711" y="1302"/>
                      </a:lnTo>
                      <a:lnTo>
                        <a:pt x="719" y="1310"/>
                      </a:lnTo>
                      <a:lnTo>
                        <a:pt x="724" y="1312"/>
                      </a:lnTo>
                      <a:lnTo>
                        <a:pt x="729" y="1312"/>
                      </a:lnTo>
                      <a:lnTo>
                        <a:pt x="734" y="1323"/>
                      </a:lnTo>
                      <a:lnTo>
                        <a:pt x="740" y="1331"/>
                      </a:lnTo>
                      <a:lnTo>
                        <a:pt x="745" y="1331"/>
                      </a:lnTo>
                      <a:lnTo>
                        <a:pt x="748" y="1328"/>
                      </a:lnTo>
                      <a:lnTo>
                        <a:pt x="753" y="1323"/>
                      </a:lnTo>
                      <a:lnTo>
                        <a:pt x="758" y="1320"/>
                      </a:lnTo>
                      <a:lnTo>
                        <a:pt x="777" y="1307"/>
                      </a:lnTo>
                      <a:lnTo>
                        <a:pt x="787" y="1299"/>
                      </a:lnTo>
                      <a:lnTo>
                        <a:pt x="790" y="1302"/>
                      </a:lnTo>
                      <a:lnTo>
                        <a:pt x="795" y="1302"/>
                      </a:lnTo>
                      <a:lnTo>
                        <a:pt x="806" y="1299"/>
                      </a:lnTo>
                      <a:lnTo>
                        <a:pt x="816" y="1296"/>
                      </a:lnTo>
                      <a:lnTo>
                        <a:pt x="827" y="1299"/>
                      </a:lnTo>
                      <a:lnTo>
                        <a:pt x="840" y="1304"/>
                      </a:lnTo>
                      <a:lnTo>
                        <a:pt x="840" y="1312"/>
                      </a:lnTo>
                      <a:lnTo>
                        <a:pt x="840" y="1318"/>
                      </a:lnTo>
                      <a:lnTo>
                        <a:pt x="845" y="1320"/>
                      </a:lnTo>
                      <a:lnTo>
                        <a:pt x="848" y="1320"/>
                      </a:lnTo>
                      <a:lnTo>
                        <a:pt x="853" y="1320"/>
                      </a:lnTo>
                      <a:lnTo>
                        <a:pt x="856" y="1323"/>
                      </a:lnTo>
                      <a:lnTo>
                        <a:pt x="864" y="1315"/>
                      </a:lnTo>
                      <a:lnTo>
                        <a:pt x="872" y="1304"/>
                      </a:lnTo>
                      <a:lnTo>
                        <a:pt x="874" y="1302"/>
                      </a:lnTo>
                      <a:lnTo>
                        <a:pt x="903" y="1265"/>
                      </a:lnTo>
                      <a:lnTo>
                        <a:pt x="909" y="1259"/>
                      </a:lnTo>
                      <a:lnTo>
                        <a:pt x="919" y="1254"/>
                      </a:lnTo>
                      <a:lnTo>
                        <a:pt x="943" y="1244"/>
                      </a:lnTo>
                      <a:lnTo>
                        <a:pt x="967" y="1233"/>
                      </a:lnTo>
                      <a:lnTo>
                        <a:pt x="975" y="1228"/>
                      </a:lnTo>
                      <a:lnTo>
                        <a:pt x="983" y="1225"/>
                      </a:lnTo>
                      <a:lnTo>
                        <a:pt x="985" y="1228"/>
                      </a:lnTo>
                      <a:lnTo>
                        <a:pt x="993" y="1236"/>
                      </a:lnTo>
                      <a:lnTo>
                        <a:pt x="996" y="1241"/>
                      </a:lnTo>
                      <a:lnTo>
                        <a:pt x="996" y="1249"/>
                      </a:lnTo>
                      <a:lnTo>
                        <a:pt x="993" y="1257"/>
                      </a:lnTo>
                      <a:lnTo>
                        <a:pt x="985" y="1265"/>
                      </a:lnTo>
                      <a:lnTo>
                        <a:pt x="972" y="1283"/>
                      </a:lnTo>
                      <a:lnTo>
                        <a:pt x="964" y="1299"/>
                      </a:lnTo>
                      <a:lnTo>
                        <a:pt x="964" y="1307"/>
                      </a:lnTo>
                      <a:lnTo>
                        <a:pt x="964" y="1312"/>
                      </a:lnTo>
                      <a:lnTo>
                        <a:pt x="967" y="1315"/>
                      </a:lnTo>
                      <a:lnTo>
                        <a:pt x="972" y="1315"/>
                      </a:lnTo>
                      <a:lnTo>
                        <a:pt x="980" y="1312"/>
                      </a:lnTo>
                      <a:lnTo>
                        <a:pt x="985" y="1304"/>
                      </a:lnTo>
                      <a:lnTo>
                        <a:pt x="999" y="1283"/>
                      </a:lnTo>
                      <a:lnTo>
                        <a:pt x="1020" y="1236"/>
                      </a:lnTo>
                      <a:lnTo>
                        <a:pt x="1025" y="1228"/>
                      </a:lnTo>
                      <a:lnTo>
                        <a:pt x="1030" y="1225"/>
                      </a:lnTo>
                      <a:lnTo>
                        <a:pt x="1036" y="1228"/>
                      </a:lnTo>
                      <a:lnTo>
                        <a:pt x="1041" y="1230"/>
                      </a:lnTo>
                      <a:lnTo>
                        <a:pt x="1049" y="1236"/>
                      </a:lnTo>
                      <a:lnTo>
                        <a:pt x="1065" y="1257"/>
                      </a:lnTo>
                      <a:lnTo>
                        <a:pt x="1073" y="1265"/>
                      </a:lnTo>
                      <a:lnTo>
                        <a:pt x="1078" y="1270"/>
                      </a:lnTo>
                      <a:lnTo>
                        <a:pt x="1086" y="1273"/>
                      </a:lnTo>
                      <a:lnTo>
                        <a:pt x="1094" y="1275"/>
                      </a:lnTo>
                      <a:lnTo>
                        <a:pt x="1110" y="1273"/>
                      </a:lnTo>
                      <a:lnTo>
                        <a:pt x="1123" y="1267"/>
                      </a:lnTo>
                      <a:lnTo>
                        <a:pt x="1128" y="1267"/>
                      </a:lnTo>
                      <a:lnTo>
                        <a:pt x="1136" y="1267"/>
                      </a:lnTo>
                      <a:lnTo>
                        <a:pt x="1147" y="1270"/>
                      </a:lnTo>
                      <a:lnTo>
                        <a:pt x="1144" y="1262"/>
                      </a:lnTo>
                      <a:lnTo>
                        <a:pt x="1147" y="1257"/>
                      </a:lnTo>
                      <a:lnTo>
                        <a:pt x="1152" y="1252"/>
                      </a:lnTo>
                      <a:lnTo>
                        <a:pt x="1154" y="1252"/>
                      </a:lnTo>
                      <a:lnTo>
                        <a:pt x="1162" y="1254"/>
                      </a:lnTo>
                      <a:lnTo>
                        <a:pt x="1168" y="1254"/>
                      </a:lnTo>
                      <a:lnTo>
                        <a:pt x="1173" y="1254"/>
                      </a:lnTo>
                      <a:lnTo>
                        <a:pt x="1194" y="1246"/>
                      </a:lnTo>
                      <a:lnTo>
                        <a:pt x="1202" y="1244"/>
                      </a:lnTo>
                      <a:lnTo>
                        <a:pt x="1210" y="1244"/>
                      </a:lnTo>
                      <a:lnTo>
                        <a:pt x="1236" y="1262"/>
                      </a:lnTo>
                      <a:lnTo>
                        <a:pt x="1271" y="1289"/>
                      </a:lnTo>
                      <a:lnTo>
                        <a:pt x="1276" y="1291"/>
                      </a:lnTo>
                      <a:lnTo>
                        <a:pt x="1287" y="1291"/>
                      </a:lnTo>
                      <a:lnTo>
                        <a:pt x="1295" y="1291"/>
                      </a:lnTo>
                      <a:lnTo>
                        <a:pt x="1300" y="1294"/>
                      </a:lnTo>
                      <a:lnTo>
                        <a:pt x="1300" y="1296"/>
                      </a:lnTo>
                      <a:lnTo>
                        <a:pt x="1297" y="1302"/>
                      </a:lnTo>
                      <a:lnTo>
                        <a:pt x="1295" y="1304"/>
                      </a:lnTo>
                      <a:lnTo>
                        <a:pt x="1295" y="1307"/>
                      </a:lnTo>
                      <a:lnTo>
                        <a:pt x="1313" y="1323"/>
                      </a:lnTo>
                      <a:lnTo>
                        <a:pt x="1326" y="1323"/>
                      </a:lnTo>
                      <a:lnTo>
                        <a:pt x="1355" y="1320"/>
                      </a:lnTo>
                      <a:lnTo>
                        <a:pt x="1387" y="1320"/>
                      </a:lnTo>
                      <a:lnTo>
                        <a:pt x="1398" y="1323"/>
                      </a:lnTo>
                      <a:lnTo>
                        <a:pt x="1400" y="1326"/>
                      </a:lnTo>
                      <a:lnTo>
                        <a:pt x="1403" y="1328"/>
                      </a:lnTo>
                      <a:lnTo>
                        <a:pt x="1405" y="1344"/>
                      </a:lnTo>
                      <a:lnTo>
                        <a:pt x="1408" y="1344"/>
                      </a:lnTo>
                      <a:lnTo>
                        <a:pt x="1413" y="1347"/>
                      </a:lnTo>
                      <a:lnTo>
                        <a:pt x="1416" y="1352"/>
                      </a:lnTo>
                      <a:lnTo>
                        <a:pt x="1419" y="1357"/>
                      </a:lnTo>
                      <a:lnTo>
                        <a:pt x="1421" y="1365"/>
                      </a:lnTo>
                      <a:lnTo>
                        <a:pt x="1421" y="1378"/>
                      </a:lnTo>
                      <a:lnTo>
                        <a:pt x="1427" y="1378"/>
                      </a:lnTo>
                      <a:lnTo>
                        <a:pt x="1432" y="1378"/>
                      </a:lnTo>
                      <a:lnTo>
                        <a:pt x="1437" y="1381"/>
                      </a:lnTo>
                      <a:lnTo>
                        <a:pt x="1445" y="1386"/>
                      </a:lnTo>
                      <a:lnTo>
                        <a:pt x="1448" y="1394"/>
                      </a:lnTo>
                      <a:lnTo>
                        <a:pt x="1450" y="1407"/>
                      </a:lnTo>
                      <a:lnTo>
                        <a:pt x="1450" y="1423"/>
                      </a:lnTo>
                      <a:lnTo>
                        <a:pt x="1456" y="1421"/>
                      </a:lnTo>
                      <a:lnTo>
                        <a:pt x="1461" y="1418"/>
                      </a:lnTo>
                      <a:lnTo>
                        <a:pt x="1472" y="1418"/>
                      </a:lnTo>
                      <a:lnTo>
                        <a:pt x="1474" y="1421"/>
                      </a:lnTo>
                      <a:lnTo>
                        <a:pt x="1477" y="1423"/>
                      </a:lnTo>
                      <a:lnTo>
                        <a:pt x="1477" y="1426"/>
                      </a:lnTo>
                      <a:lnTo>
                        <a:pt x="1479" y="1428"/>
                      </a:lnTo>
                      <a:lnTo>
                        <a:pt x="1495" y="1436"/>
                      </a:lnTo>
                      <a:lnTo>
                        <a:pt x="1511" y="1442"/>
                      </a:lnTo>
                      <a:lnTo>
                        <a:pt x="1519" y="1442"/>
                      </a:lnTo>
                      <a:lnTo>
                        <a:pt x="1524" y="1436"/>
                      </a:lnTo>
                      <a:lnTo>
                        <a:pt x="1527" y="1434"/>
                      </a:lnTo>
                      <a:lnTo>
                        <a:pt x="1530" y="1431"/>
                      </a:lnTo>
                      <a:lnTo>
                        <a:pt x="1546" y="1439"/>
                      </a:lnTo>
                      <a:lnTo>
                        <a:pt x="1567" y="1450"/>
                      </a:lnTo>
                      <a:lnTo>
                        <a:pt x="1588" y="1455"/>
                      </a:lnTo>
                      <a:lnTo>
                        <a:pt x="1598" y="1455"/>
                      </a:lnTo>
                      <a:lnTo>
                        <a:pt x="1606" y="1452"/>
                      </a:lnTo>
                      <a:lnTo>
                        <a:pt x="1612" y="1452"/>
                      </a:lnTo>
                      <a:lnTo>
                        <a:pt x="1620" y="1452"/>
                      </a:lnTo>
                      <a:lnTo>
                        <a:pt x="1635" y="1460"/>
                      </a:lnTo>
                      <a:lnTo>
                        <a:pt x="1646" y="1468"/>
                      </a:lnTo>
                      <a:lnTo>
                        <a:pt x="1651" y="1473"/>
                      </a:lnTo>
                      <a:lnTo>
                        <a:pt x="1641" y="1505"/>
                      </a:lnTo>
                      <a:lnTo>
                        <a:pt x="1630" y="1537"/>
                      </a:lnTo>
                      <a:lnTo>
                        <a:pt x="1617" y="1576"/>
                      </a:lnTo>
                      <a:lnTo>
                        <a:pt x="1604" y="1598"/>
                      </a:lnTo>
                      <a:lnTo>
                        <a:pt x="1590" y="1621"/>
                      </a:lnTo>
                      <a:lnTo>
                        <a:pt x="1588" y="1629"/>
                      </a:lnTo>
                      <a:lnTo>
                        <a:pt x="1585" y="1637"/>
                      </a:lnTo>
                      <a:lnTo>
                        <a:pt x="1575" y="1653"/>
                      </a:lnTo>
                      <a:lnTo>
                        <a:pt x="1572" y="1653"/>
                      </a:lnTo>
                      <a:lnTo>
                        <a:pt x="1569" y="1650"/>
                      </a:lnTo>
                      <a:lnTo>
                        <a:pt x="1564" y="1664"/>
                      </a:lnTo>
                      <a:lnTo>
                        <a:pt x="1559" y="1674"/>
                      </a:lnTo>
                      <a:lnTo>
                        <a:pt x="1561" y="1685"/>
                      </a:lnTo>
                      <a:lnTo>
                        <a:pt x="1561" y="1695"/>
                      </a:lnTo>
                      <a:lnTo>
                        <a:pt x="1556" y="1714"/>
                      </a:lnTo>
                      <a:lnTo>
                        <a:pt x="1553" y="1714"/>
                      </a:lnTo>
                      <a:lnTo>
                        <a:pt x="1551" y="1711"/>
                      </a:lnTo>
                      <a:lnTo>
                        <a:pt x="1548" y="1714"/>
                      </a:lnTo>
                      <a:lnTo>
                        <a:pt x="1548" y="1727"/>
                      </a:lnTo>
                      <a:lnTo>
                        <a:pt x="1546" y="1740"/>
                      </a:lnTo>
                      <a:lnTo>
                        <a:pt x="1543" y="1745"/>
                      </a:lnTo>
                      <a:lnTo>
                        <a:pt x="1540" y="1753"/>
                      </a:lnTo>
                      <a:lnTo>
                        <a:pt x="1532" y="1764"/>
                      </a:lnTo>
                      <a:lnTo>
                        <a:pt x="1522" y="1772"/>
                      </a:lnTo>
                      <a:lnTo>
                        <a:pt x="1490" y="1811"/>
                      </a:lnTo>
                      <a:lnTo>
                        <a:pt x="1466" y="1835"/>
                      </a:lnTo>
                      <a:lnTo>
                        <a:pt x="1448" y="1848"/>
                      </a:lnTo>
                      <a:lnTo>
                        <a:pt x="1440" y="1854"/>
                      </a:lnTo>
                      <a:lnTo>
                        <a:pt x="1432" y="1856"/>
                      </a:lnTo>
                      <a:lnTo>
                        <a:pt x="1419" y="1859"/>
                      </a:lnTo>
                      <a:lnTo>
                        <a:pt x="1405" y="1864"/>
                      </a:lnTo>
                      <a:lnTo>
                        <a:pt x="1390" y="1872"/>
                      </a:lnTo>
                      <a:lnTo>
                        <a:pt x="1374" y="1883"/>
                      </a:lnTo>
                      <a:lnTo>
                        <a:pt x="1358" y="1896"/>
                      </a:lnTo>
                      <a:lnTo>
                        <a:pt x="1345" y="1912"/>
                      </a:lnTo>
                      <a:lnTo>
                        <a:pt x="1334" y="1925"/>
                      </a:lnTo>
                      <a:lnTo>
                        <a:pt x="1326" y="1943"/>
                      </a:lnTo>
                      <a:lnTo>
                        <a:pt x="1321" y="1957"/>
                      </a:lnTo>
                      <a:lnTo>
                        <a:pt x="1318" y="1957"/>
                      </a:lnTo>
                      <a:lnTo>
                        <a:pt x="1316" y="1957"/>
                      </a:lnTo>
                      <a:lnTo>
                        <a:pt x="1316" y="1954"/>
                      </a:lnTo>
                      <a:lnTo>
                        <a:pt x="1313" y="1954"/>
                      </a:lnTo>
                      <a:lnTo>
                        <a:pt x="1310" y="1970"/>
                      </a:lnTo>
                      <a:lnTo>
                        <a:pt x="1287" y="1994"/>
                      </a:lnTo>
                      <a:lnTo>
                        <a:pt x="1276" y="2004"/>
                      </a:lnTo>
                      <a:lnTo>
                        <a:pt x="1265" y="2015"/>
                      </a:lnTo>
                      <a:lnTo>
                        <a:pt x="1255" y="2017"/>
                      </a:lnTo>
                      <a:lnTo>
                        <a:pt x="1247" y="2020"/>
                      </a:lnTo>
                      <a:lnTo>
                        <a:pt x="1242" y="2025"/>
                      </a:lnTo>
                      <a:lnTo>
                        <a:pt x="1234" y="2033"/>
                      </a:lnTo>
                      <a:lnTo>
                        <a:pt x="1228" y="2036"/>
                      </a:lnTo>
                      <a:lnTo>
                        <a:pt x="1226" y="2036"/>
                      </a:lnTo>
                      <a:lnTo>
                        <a:pt x="1223" y="2033"/>
                      </a:lnTo>
                      <a:lnTo>
                        <a:pt x="1221" y="2033"/>
                      </a:lnTo>
                      <a:lnTo>
                        <a:pt x="1218" y="2036"/>
                      </a:lnTo>
                      <a:lnTo>
                        <a:pt x="1213" y="2041"/>
                      </a:lnTo>
                      <a:lnTo>
                        <a:pt x="1197" y="2052"/>
                      </a:lnTo>
                      <a:lnTo>
                        <a:pt x="1149" y="2052"/>
                      </a:lnTo>
                      <a:lnTo>
                        <a:pt x="1149" y="2054"/>
                      </a:lnTo>
                      <a:lnTo>
                        <a:pt x="1147" y="2068"/>
                      </a:lnTo>
                      <a:lnTo>
                        <a:pt x="1144" y="2078"/>
                      </a:lnTo>
                      <a:lnTo>
                        <a:pt x="1139" y="2083"/>
                      </a:lnTo>
                      <a:lnTo>
                        <a:pt x="1131" y="2089"/>
                      </a:lnTo>
                      <a:lnTo>
                        <a:pt x="1110" y="2099"/>
                      </a:lnTo>
                      <a:lnTo>
                        <a:pt x="1078" y="2118"/>
                      </a:lnTo>
                      <a:lnTo>
                        <a:pt x="1012" y="2155"/>
                      </a:lnTo>
                      <a:lnTo>
                        <a:pt x="980" y="2171"/>
                      </a:lnTo>
                      <a:lnTo>
                        <a:pt x="954" y="2186"/>
                      </a:lnTo>
                      <a:lnTo>
                        <a:pt x="927" y="2205"/>
                      </a:lnTo>
                      <a:lnTo>
                        <a:pt x="898" y="2215"/>
                      </a:lnTo>
                      <a:lnTo>
                        <a:pt x="795" y="2229"/>
                      </a:lnTo>
                      <a:lnTo>
                        <a:pt x="885" y="2160"/>
                      </a:lnTo>
                      <a:lnTo>
                        <a:pt x="896" y="2149"/>
                      </a:lnTo>
                      <a:lnTo>
                        <a:pt x="919" y="2126"/>
                      </a:lnTo>
                      <a:lnTo>
                        <a:pt x="930" y="2110"/>
                      </a:lnTo>
                      <a:lnTo>
                        <a:pt x="940" y="2094"/>
                      </a:lnTo>
                      <a:lnTo>
                        <a:pt x="946" y="2078"/>
                      </a:lnTo>
                      <a:lnTo>
                        <a:pt x="948" y="2062"/>
                      </a:lnTo>
                      <a:lnTo>
                        <a:pt x="948" y="2049"/>
                      </a:lnTo>
                      <a:lnTo>
                        <a:pt x="954" y="2033"/>
                      </a:lnTo>
                      <a:lnTo>
                        <a:pt x="959" y="2017"/>
                      </a:lnTo>
                      <a:lnTo>
                        <a:pt x="967" y="2002"/>
                      </a:lnTo>
                      <a:lnTo>
                        <a:pt x="983" y="1978"/>
                      </a:lnTo>
                      <a:lnTo>
                        <a:pt x="991" y="1967"/>
                      </a:lnTo>
                      <a:lnTo>
                        <a:pt x="1001" y="1938"/>
                      </a:lnTo>
                      <a:lnTo>
                        <a:pt x="1004" y="1936"/>
                      </a:lnTo>
                      <a:lnTo>
                        <a:pt x="1012" y="1930"/>
                      </a:lnTo>
                      <a:lnTo>
                        <a:pt x="1020" y="1928"/>
                      </a:lnTo>
                      <a:lnTo>
                        <a:pt x="1022" y="1922"/>
                      </a:lnTo>
                      <a:lnTo>
                        <a:pt x="1020" y="1920"/>
                      </a:lnTo>
                      <a:lnTo>
                        <a:pt x="1014" y="1917"/>
                      </a:lnTo>
                      <a:lnTo>
                        <a:pt x="1012" y="1917"/>
                      </a:lnTo>
                      <a:lnTo>
                        <a:pt x="1009" y="1914"/>
                      </a:lnTo>
                      <a:lnTo>
                        <a:pt x="1014" y="1891"/>
                      </a:lnTo>
                      <a:lnTo>
                        <a:pt x="1014" y="1872"/>
                      </a:lnTo>
                      <a:lnTo>
                        <a:pt x="1014" y="1862"/>
                      </a:lnTo>
                      <a:lnTo>
                        <a:pt x="1012" y="1856"/>
                      </a:lnTo>
                      <a:lnTo>
                        <a:pt x="1007" y="1851"/>
                      </a:lnTo>
                      <a:lnTo>
                        <a:pt x="999" y="1848"/>
                      </a:lnTo>
                      <a:lnTo>
                        <a:pt x="985" y="1851"/>
                      </a:lnTo>
                      <a:lnTo>
                        <a:pt x="977" y="1851"/>
                      </a:lnTo>
                      <a:lnTo>
                        <a:pt x="970" y="1851"/>
                      </a:lnTo>
                      <a:lnTo>
                        <a:pt x="967" y="1848"/>
                      </a:lnTo>
                      <a:lnTo>
                        <a:pt x="962" y="1843"/>
                      </a:lnTo>
                      <a:lnTo>
                        <a:pt x="954" y="1838"/>
                      </a:lnTo>
                      <a:lnTo>
                        <a:pt x="948" y="1838"/>
                      </a:lnTo>
                      <a:lnTo>
                        <a:pt x="946" y="1838"/>
                      </a:lnTo>
                      <a:lnTo>
                        <a:pt x="943" y="1840"/>
                      </a:lnTo>
                      <a:lnTo>
                        <a:pt x="940" y="1840"/>
                      </a:lnTo>
                      <a:lnTo>
                        <a:pt x="919" y="1830"/>
                      </a:lnTo>
                      <a:lnTo>
                        <a:pt x="898" y="1819"/>
                      </a:lnTo>
                      <a:lnTo>
                        <a:pt x="882" y="1806"/>
                      </a:lnTo>
                      <a:lnTo>
                        <a:pt x="861" y="1764"/>
                      </a:lnTo>
                      <a:lnTo>
                        <a:pt x="845" y="1748"/>
                      </a:lnTo>
                      <a:lnTo>
                        <a:pt x="843" y="1719"/>
                      </a:lnTo>
                      <a:lnTo>
                        <a:pt x="827" y="1727"/>
                      </a:lnTo>
                      <a:lnTo>
                        <a:pt x="766" y="1661"/>
                      </a:lnTo>
                      <a:lnTo>
                        <a:pt x="763" y="1653"/>
                      </a:lnTo>
                      <a:lnTo>
                        <a:pt x="761" y="1640"/>
                      </a:lnTo>
                      <a:lnTo>
                        <a:pt x="761" y="1632"/>
                      </a:lnTo>
                      <a:lnTo>
                        <a:pt x="763" y="1621"/>
                      </a:lnTo>
                      <a:lnTo>
                        <a:pt x="771" y="1613"/>
                      </a:lnTo>
                      <a:lnTo>
                        <a:pt x="782" y="1605"/>
                      </a:lnTo>
                      <a:lnTo>
                        <a:pt x="782" y="1590"/>
                      </a:lnTo>
                      <a:lnTo>
                        <a:pt x="779" y="1579"/>
                      </a:lnTo>
                      <a:lnTo>
                        <a:pt x="777" y="1574"/>
                      </a:lnTo>
                      <a:lnTo>
                        <a:pt x="774" y="1568"/>
                      </a:lnTo>
                      <a:lnTo>
                        <a:pt x="769" y="1563"/>
                      </a:lnTo>
                      <a:lnTo>
                        <a:pt x="766" y="1555"/>
                      </a:lnTo>
                      <a:lnTo>
                        <a:pt x="769" y="1553"/>
                      </a:lnTo>
                      <a:lnTo>
                        <a:pt x="771" y="1547"/>
                      </a:lnTo>
                      <a:lnTo>
                        <a:pt x="779" y="1542"/>
                      </a:lnTo>
                      <a:lnTo>
                        <a:pt x="777" y="1539"/>
                      </a:lnTo>
                      <a:lnTo>
                        <a:pt x="771" y="1537"/>
                      </a:lnTo>
                      <a:lnTo>
                        <a:pt x="766" y="1534"/>
                      </a:lnTo>
                      <a:lnTo>
                        <a:pt x="766" y="1531"/>
                      </a:lnTo>
                      <a:lnTo>
                        <a:pt x="769" y="1521"/>
                      </a:lnTo>
                      <a:lnTo>
                        <a:pt x="774" y="1508"/>
                      </a:lnTo>
                      <a:lnTo>
                        <a:pt x="785" y="1497"/>
                      </a:lnTo>
                      <a:lnTo>
                        <a:pt x="790" y="1495"/>
                      </a:lnTo>
                      <a:lnTo>
                        <a:pt x="795" y="1492"/>
                      </a:lnTo>
                      <a:lnTo>
                        <a:pt x="800" y="1492"/>
                      </a:lnTo>
                      <a:lnTo>
                        <a:pt x="803" y="1492"/>
                      </a:lnTo>
                      <a:lnTo>
                        <a:pt x="806" y="1495"/>
                      </a:lnTo>
                      <a:lnTo>
                        <a:pt x="808" y="1492"/>
                      </a:lnTo>
                      <a:lnTo>
                        <a:pt x="822" y="1489"/>
                      </a:lnTo>
                      <a:lnTo>
                        <a:pt x="837" y="1481"/>
                      </a:lnTo>
                      <a:lnTo>
                        <a:pt x="837" y="1479"/>
                      </a:lnTo>
                      <a:lnTo>
                        <a:pt x="835" y="1479"/>
                      </a:lnTo>
                      <a:lnTo>
                        <a:pt x="832" y="1476"/>
                      </a:lnTo>
                      <a:lnTo>
                        <a:pt x="832" y="1473"/>
                      </a:lnTo>
                      <a:lnTo>
                        <a:pt x="845" y="1452"/>
                      </a:lnTo>
                      <a:lnTo>
                        <a:pt x="853" y="1431"/>
                      </a:lnTo>
                      <a:lnTo>
                        <a:pt x="856" y="1407"/>
                      </a:lnTo>
                      <a:lnTo>
                        <a:pt x="856" y="1397"/>
                      </a:lnTo>
                      <a:lnTo>
                        <a:pt x="853" y="1386"/>
                      </a:lnTo>
                      <a:lnTo>
                        <a:pt x="851" y="1378"/>
                      </a:lnTo>
                      <a:lnTo>
                        <a:pt x="845" y="1357"/>
                      </a:lnTo>
                      <a:lnTo>
                        <a:pt x="843" y="1357"/>
                      </a:lnTo>
                      <a:lnTo>
                        <a:pt x="840" y="1357"/>
                      </a:lnTo>
                      <a:lnTo>
                        <a:pt x="837" y="1352"/>
                      </a:lnTo>
                      <a:lnTo>
                        <a:pt x="840" y="1344"/>
                      </a:lnTo>
                      <a:lnTo>
                        <a:pt x="840" y="1339"/>
                      </a:lnTo>
                      <a:lnTo>
                        <a:pt x="837" y="1339"/>
                      </a:lnTo>
                      <a:lnTo>
                        <a:pt x="835" y="1339"/>
                      </a:lnTo>
                      <a:lnTo>
                        <a:pt x="832" y="1339"/>
                      </a:lnTo>
                      <a:lnTo>
                        <a:pt x="822" y="1323"/>
                      </a:lnTo>
                      <a:lnTo>
                        <a:pt x="816" y="1318"/>
                      </a:lnTo>
                      <a:lnTo>
                        <a:pt x="811" y="1318"/>
                      </a:lnTo>
                      <a:lnTo>
                        <a:pt x="803" y="1318"/>
                      </a:lnTo>
                      <a:lnTo>
                        <a:pt x="798" y="1318"/>
                      </a:lnTo>
                      <a:lnTo>
                        <a:pt x="795" y="1320"/>
                      </a:lnTo>
                      <a:lnTo>
                        <a:pt x="795" y="1328"/>
                      </a:lnTo>
                      <a:lnTo>
                        <a:pt x="795" y="1336"/>
                      </a:lnTo>
                      <a:lnTo>
                        <a:pt x="793" y="1339"/>
                      </a:lnTo>
                      <a:lnTo>
                        <a:pt x="790" y="1339"/>
                      </a:lnTo>
                      <a:lnTo>
                        <a:pt x="790" y="1341"/>
                      </a:lnTo>
                      <a:lnTo>
                        <a:pt x="790" y="1349"/>
                      </a:lnTo>
                      <a:lnTo>
                        <a:pt x="790" y="1357"/>
                      </a:lnTo>
                      <a:lnTo>
                        <a:pt x="787" y="1362"/>
                      </a:lnTo>
                      <a:lnTo>
                        <a:pt x="785" y="1368"/>
                      </a:lnTo>
                      <a:lnTo>
                        <a:pt x="779" y="1373"/>
                      </a:lnTo>
                      <a:lnTo>
                        <a:pt x="774" y="1373"/>
                      </a:lnTo>
                      <a:lnTo>
                        <a:pt x="763" y="1373"/>
                      </a:lnTo>
                      <a:lnTo>
                        <a:pt x="756" y="1370"/>
                      </a:lnTo>
                      <a:lnTo>
                        <a:pt x="742" y="1360"/>
                      </a:lnTo>
                      <a:lnTo>
                        <a:pt x="732" y="1349"/>
                      </a:lnTo>
                      <a:lnTo>
                        <a:pt x="729" y="1344"/>
                      </a:lnTo>
                      <a:lnTo>
                        <a:pt x="721" y="1339"/>
                      </a:lnTo>
                      <a:lnTo>
                        <a:pt x="705" y="1323"/>
                      </a:lnTo>
                      <a:lnTo>
                        <a:pt x="684" y="1310"/>
                      </a:lnTo>
                      <a:lnTo>
                        <a:pt x="674" y="1304"/>
                      </a:lnTo>
                      <a:lnTo>
                        <a:pt x="660" y="1302"/>
                      </a:lnTo>
                      <a:lnTo>
                        <a:pt x="652" y="1302"/>
                      </a:lnTo>
                      <a:lnTo>
                        <a:pt x="645" y="1299"/>
                      </a:lnTo>
                      <a:lnTo>
                        <a:pt x="639" y="1294"/>
                      </a:lnTo>
                      <a:lnTo>
                        <a:pt x="637" y="1286"/>
                      </a:lnTo>
                      <a:lnTo>
                        <a:pt x="634" y="1273"/>
                      </a:lnTo>
                      <a:lnTo>
                        <a:pt x="637" y="1262"/>
                      </a:lnTo>
                      <a:lnTo>
                        <a:pt x="637" y="1257"/>
                      </a:lnTo>
                      <a:lnTo>
                        <a:pt x="631" y="1249"/>
                      </a:lnTo>
                      <a:lnTo>
                        <a:pt x="615" y="1233"/>
                      </a:lnTo>
                      <a:lnTo>
                        <a:pt x="592" y="1217"/>
                      </a:lnTo>
                      <a:lnTo>
                        <a:pt x="581" y="1212"/>
                      </a:lnTo>
                      <a:lnTo>
                        <a:pt x="571" y="1212"/>
                      </a:lnTo>
                      <a:lnTo>
                        <a:pt x="549" y="1212"/>
                      </a:lnTo>
                      <a:lnTo>
                        <a:pt x="539" y="1209"/>
                      </a:lnTo>
                      <a:lnTo>
                        <a:pt x="526" y="1204"/>
                      </a:lnTo>
                      <a:lnTo>
                        <a:pt x="512" y="1196"/>
                      </a:lnTo>
                      <a:lnTo>
                        <a:pt x="499" y="1188"/>
                      </a:lnTo>
                      <a:lnTo>
                        <a:pt x="483" y="1172"/>
                      </a:lnTo>
                      <a:lnTo>
                        <a:pt x="468" y="1154"/>
                      </a:lnTo>
                      <a:lnTo>
                        <a:pt x="465" y="1149"/>
                      </a:lnTo>
                      <a:lnTo>
                        <a:pt x="460" y="1143"/>
                      </a:lnTo>
                      <a:lnTo>
                        <a:pt x="454" y="1138"/>
                      </a:lnTo>
                      <a:lnTo>
                        <a:pt x="449" y="1135"/>
                      </a:lnTo>
                      <a:lnTo>
                        <a:pt x="441" y="1135"/>
                      </a:lnTo>
                      <a:lnTo>
                        <a:pt x="431" y="1138"/>
                      </a:lnTo>
                      <a:lnTo>
                        <a:pt x="417" y="1146"/>
                      </a:lnTo>
                      <a:lnTo>
                        <a:pt x="412" y="1146"/>
                      </a:lnTo>
                      <a:lnTo>
                        <a:pt x="394" y="1146"/>
                      </a:lnTo>
                      <a:lnTo>
                        <a:pt x="378" y="1141"/>
                      </a:lnTo>
                      <a:lnTo>
                        <a:pt x="357" y="1135"/>
                      </a:lnTo>
                      <a:lnTo>
                        <a:pt x="330" y="1125"/>
                      </a:lnTo>
                      <a:lnTo>
                        <a:pt x="296" y="1109"/>
                      </a:lnTo>
                      <a:lnTo>
                        <a:pt x="291" y="1101"/>
                      </a:lnTo>
                      <a:lnTo>
                        <a:pt x="275" y="1085"/>
                      </a:lnTo>
                      <a:lnTo>
                        <a:pt x="251" y="1069"/>
                      </a:lnTo>
                      <a:lnTo>
                        <a:pt x="240" y="1064"/>
                      </a:lnTo>
                      <a:lnTo>
                        <a:pt x="230" y="1061"/>
                      </a:lnTo>
                      <a:lnTo>
                        <a:pt x="219" y="1061"/>
                      </a:lnTo>
                      <a:lnTo>
                        <a:pt x="209" y="1056"/>
                      </a:lnTo>
                      <a:lnTo>
                        <a:pt x="201" y="1051"/>
                      </a:lnTo>
                      <a:lnTo>
                        <a:pt x="193" y="1046"/>
                      </a:lnTo>
                      <a:lnTo>
                        <a:pt x="190" y="1035"/>
                      </a:lnTo>
                      <a:lnTo>
                        <a:pt x="187" y="1027"/>
                      </a:lnTo>
                      <a:lnTo>
                        <a:pt x="190" y="1017"/>
                      </a:lnTo>
                      <a:lnTo>
                        <a:pt x="195" y="1009"/>
                      </a:lnTo>
                      <a:lnTo>
                        <a:pt x="203" y="998"/>
                      </a:lnTo>
                      <a:lnTo>
                        <a:pt x="209" y="990"/>
                      </a:lnTo>
                      <a:lnTo>
                        <a:pt x="209" y="982"/>
                      </a:lnTo>
                      <a:lnTo>
                        <a:pt x="209" y="974"/>
                      </a:lnTo>
                      <a:lnTo>
                        <a:pt x="206" y="964"/>
                      </a:lnTo>
                      <a:lnTo>
                        <a:pt x="198" y="953"/>
                      </a:lnTo>
                      <a:lnTo>
                        <a:pt x="174" y="921"/>
                      </a:lnTo>
                      <a:lnTo>
                        <a:pt x="150" y="887"/>
                      </a:lnTo>
                      <a:lnTo>
                        <a:pt x="135" y="863"/>
                      </a:lnTo>
                      <a:lnTo>
                        <a:pt x="127" y="845"/>
                      </a:lnTo>
                      <a:lnTo>
                        <a:pt x="119" y="837"/>
                      </a:lnTo>
                      <a:lnTo>
                        <a:pt x="106" y="818"/>
                      </a:lnTo>
                      <a:lnTo>
                        <a:pt x="100" y="808"/>
                      </a:lnTo>
                      <a:lnTo>
                        <a:pt x="98" y="795"/>
                      </a:lnTo>
                      <a:lnTo>
                        <a:pt x="98" y="784"/>
                      </a:lnTo>
                      <a:lnTo>
                        <a:pt x="100" y="776"/>
                      </a:lnTo>
                      <a:lnTo>
                        <a:pt x="103" y="766"/>
                      </a:lnTo>
                      <a:lnTo>
                        <a:pt x="103" y="758"/>
                      </a:lnTo>
                      <a:lnTo>
                        <a:pt x="98" y="747"/>
                      </a:lnTo>
                      <a:lnTo>
                        <a:pt x="92" y="739"/>
                      </a:lnTo>
                      <a:lnTo>
                        <a:pt x="84" y="731"/>
                      </a:lnTo>
                      <a:lnTo>
                        <a:pt x="79" y="729"/>
                      </a:lnTo>
                      <a:lnTo>
                        <a:pt x="74" y="729"/>
                      </a:lnTo>
                      <a:lnTo>
                        <a:pt x="71" y="734"/>
                      </a:lnTo>
                      <a:lnTo>
                        <a:pt x="74" y="758"/>
                      </a:lnTo>
                      <a:lnTo>
                        <a:pt x="79" y="792"/>
                      </a:lnTo>
                      <a:lnTo>
                        <a:pt x="87" y="834"/>
                      </a:lnTo>
                      <a:lnTo>
                        <a:pt x="98" y="850"/>
                      </a:lnTo>
                      <a:lnTo>
                        <a:pt x="103" y="866"/>
                      </a:lnTo>
                      <a:lnTo>
                        <a:pt x="106" y="874"/>
                      </a:lnTo>
                      <a:lnTo>
                        <a:pt x="106" y="884"/>
                      </a:lnTo>
                      <a:lnTo>
                        <a:pt x="106" y="892"/>
                      </a:lnTo>
                      <a:lnTo>
                        <a:pt x="108" y="900"/>
                      </a:lnTo>
                      <a:lnTo>
                        <a:pt x="119" y="911"/>
                      </a:lnTo>
                      <a:lnTo>
                        <a:pt x="129" y="921"/>
                      </a:lnTo>
                      <a:lnTo>
                        <a:pt x="135" y="927"/>
                      </a:lnTo>
                      <a:lnTo>
                        <a:pt x="135" y="932"/>
                      </a:lnTo>
                      <a:lnTo>
                        <a:pt x="129" y="943"/>
                      </a:lnTo>
                      <a:lnTo>
                        <a:pt x="127" y="945"/>
                      </a:lnTo>
                      <a:lnTo>
                        <a:pt x="121" y="945"/>
                      </a:lnTo>
                      <a:lnTo>
                        <a:pt x="113" y="940"/>
                      </a:lnTo>
                      <a:lnTo>
                        <a:pt x="106" y="929"/>
                      </a:lnTo>
                      <a:lnTo>
                        <a:pt x="100" y="921"/>
                      </a:lnTo>
                      <a:lnTo>
                        <a:pt x="92" y="916"/>
                      </a:lnTo>
                      <a:lnTo>
                        <a:pt x="79" y="908"/>
                      </a:lnTo>
                      <a:lnTo>
                        <a:pt x="74" y="903"/>
                      </a:lnTo>
                      <a:lnTo>
                        <a:pt x="71" y="898"/>
                      </a:lnTo>
                      <a:lnTo>
                        <a:pt x="71" y="892"/>
                      </a:lnTo>
                      <a:lnTo>
                        <a:pt x="76" y="884"/>
                      </a:lnTo>
                      <a:lnTo>
                        <a:pt x="79" y="877"/>
                      </a:lnTo>
                      <a:lnTo>
                        <a:pt x="82" y="869"/>
                      </a:lnTo>
                      <a:lnTo>
                        <a:pt x="82" y="866"/>
                      </a:lnTo>
                      <a:lnTo>
                        <a:pt x="79" y="861"/>
                      </a:lnTo>
                      <a:lnTo>
                        <a:pt x="69" y="853"/>
                      </a:lnTo>
                      <a:lnTo>
                        <a:pt x="58" y="842"/>
                      </a:lnTo>
                      <a:lnTo>
                        <a:pt x="39" y="813"/>
                      </a:lnTo>
                      <a:lnTo>
                        <a:pt x="37" y="808"/>
                      </a:lnTo>
                      <a:lnTo>
                        <a:pt x="37" y="805"/>
                      </a:lnTo>
                      <a:lnTo>
                        <a:pt x="39" y="805"/>
                      </a:lnTo>
                      <a:lnTo>
                        <a:pt x="47" y="805"/>
                      </a:lnTo>
                      <a:lnTo>
                        <a:pt x="53" y="805"/>
                      </a:lnTo>
                      <a:lnTo>
                        <a:pt x="61" y="803"/>
                      </a:lnTo>
                      <a:lnTo>
                        <a:pt x="66" y="797"/>
                      </a:lnTo>
                      <a:lnTo>
                        <a:pt x="69" y="792"/>
                      </a:lnTo>
                      <a:lnTo>
                        <a:pt x="69" y="787"/>
                      </a:lnTo>
                      <a:lnTo>
                        <a:pt x="69" y="782"/>
                      </a:lnTo>
                      <a:lnTo>
                        <a:pt x="66" y="779"/>
                      </a:lnTo>
                      <a:lnTo>
                        <a:pt x="58" y="776"/>
                      </a:lnTo>
                      <a:lnTo>
                        <a:pt x="53" y="774"/>
                      </a:lnTo>
                      <a:lnTo>
                        <a:pt x="47" y="768"/>
                      </a:lnTo>
                      <a:lnTo>
                        <a:pt x="39" y="758"/>
                      </a:lnTo>
                      <a:lnTo>
                        <a:pt x="39" y="747"/>
                      </a:lnTo>
                      <a:lnTo>
                        <a:pt x="37" y="742"/>
                      </a:lnTo>
                      <a:lnTo>
                        <a:pt x="34" y="671"/>
                      </a:lnTo>
                      <a:lnTo>
                        <a:pt x="29" y="671"/>
                      </a:lnTo>
                      <a:lnTo>
                        <a:pt x="16" y="665"/>
                      </a:lnTo>
                      <a:lnTo>
                        <a:pt x="10" y="660"/>
                      </a:lnTo>
                      <a:lnTo>
                        <a:pt x="5" y="655"/>
                      </a:lnTo>
                      <a:lnTo>
                        <a:pt x="0" y="649"/>
                      </a:lnTo>
                      <a:lnTo>
                        <a:pt x="0" y="642"/>
                      </a:lnTo>
                      <a:lnTo>
                        <a:pt x="3" y="618"/>
                      </a:lnTo>
                      <a:lnTo>
                        <a:pt x="3" y="581"/>
                      </a:lnTo>
                      <a:lnTo>
                        <a:pt x="0" y="533"/>
                      </a:lnTo>
                      <a:lnTo>
                        <a:pt x="32" y="483"/>
                      </a:lnTo>
                      <a:lnTo>
                        <a:pt x="55" y="441"/>
                      </a:lnTo>
                      <a:lnTo>
                        <a:pt x="76" y="409"/>
                      </a:lnTo>
                      <a:lnTo>
                        <a:pt x="87" y="391"/>
                      </a:lnTo>
                      <a:lnTo>
                        <a:pt x="92" y="372"/>
                      </a:lnTo>
                      <a:lnTo>
                        <a:pt x="92" y="356"/>
                      </a:lnTo>
                      <a:lnTo>
                        <a:pt x="87" y="343"/>
                      </a:lnTo>
                      <a:lnTo>
                        <a:pt x="87" y="338"/>
                      </a:lnTo>
                      <a:lnTo>
                        <a:pt x="87" y="330"/>
                      </a:lnTo>
                      <a:lnTo>
                        <a:pt x="90" y="319"/>
                      </a:lnTo>
                      <a:lnTo>
                        <a:pt x="95" y="309"/>
                      </a:lnTo>
                      <a:lnTo>
                        <a:pt x="95" y="301"/>
                      </a:lnTo>
                      <a:lnTo>
                        <a:pt x="92" y="280"/>
                      </a:lnTo>
                      <a:lnTo>
                        <a:pt x="92" y="269"/>
                      </a:lnTo>
                      <a:lnTo>
                        <a:pt x="95" y="259"/>
                      </a:lnTo>
                      <a:lnTo>
                        <a:pt x="98" y="251"/>
                      </a:lnTo>
                      <a:lnTo>
                        <a:pt x="106" y="248"/>
                      </a:lnTo>
                      <a:lnTo>
                        <a:pt x="108" y="248"/>
                      </a:lnTo>
                      <a:lnTo>
                        <a:pt x="95" y="253"/>
                      </a:lnTo>
                      <a:lnTo>
                        <a:pt x="87" y="259"/>
                      </a:lnTo>
                      <a:lnTo>
                        <a:pt x="76" y="267"/>
                      </a:lnTo>
                      <a:lnTo>
                        <a:pt x="71" y="274"/>
                      </a:lnTo>
                      <a:lnTo>
                        <a:pt x="66" y="285"/>
                      </a:lnTo>
                      <a:lnTo>
                        <a:pt x="66" y="293"/>
                      </a:lnTo>
                      <a:lnTo>
                        <a:pt x="63" y="293"/>
                      </a:lnTo>
                      <a:lnTo>
                        <a:pt x="63" y="290"/>
                      </a:lnTo>
                      <a:lnTo>
                        <a:pt x="63" y="282"/>
                      </a:lnTo>
                      <a:lnTo>
                        <a:pt x="66" y="272"/>
                      </a:lnTo>
                      <a:lnTo>
                        <a:pt x="71" y="259"/>
                      </a:lnTo>
                      <a:lnTo>
                        <a:pt x="82" y="243"/>
                      </a:lnTo>
                      <a:lnTo>
                        <a:pt x="95" y="227"/>
                      </a:lnTo>
                      <a:lnTo>
                        <a:pt x="111" y="211"/>
                      </a:lnTo>
                      <a:lnTo>
                        <a:pt x="119" y="195"/>
                      </a:lnTo>
                      <a:lnTo>
                        <a:pt x="124" y="179"/>
                      </a:lnTo>
                      <a:lnTo>
                        <a:pt x="124" y="164"/>
                      </a:lnTo>
                      <a:lnTo>
                        <a:pt x="119" y="153"/>
                      </a:lnTo>
                      <a:lnTo>
                        <a:pt x="111" y="145"/>
                      </a:lnTo>
                      <a:lnTo>
                        <a:pt x="100" y="140"/>
                      </a:lnTo>
                      <a:lnTo>
                        <a:pt x="87" y="140"/>
                      </a:lnTo>
                      <a:lnTo>
                        <a:pt x="76" y="142"/>
                      </a:lnTo>
                      <a:lnTo>
                        <a:pt x="66" y="148"/>
                      </a:lnTo>
                      <a:lnTo>
                        <a:pt x="50" y="161"/>
                      </a:lnTo>
                      <a:lnTo>
                        <a:pt x="34" y="171"/>
                      </a:lnTo>
                      <a:lnTo>
                        <a:pt x="26" y="174"/>
                      </a:lnTo>
                      <a:lnTo>
                        <a:pt x="13" y="177"/>
                      </a:lnTo>
                      <a:lnTo>
                        <a:pt x="69" y="132"/>
                      </a:lnTo>
                      <a:lnTo>
                        <a:pt x="90" y="119"/>
                      </a:lnTo>
                      <a:lnTo>
                        <a:pt x="143" y="90"/>
                      </a:lnTo>
                      <a:lnTo>
                        <a:pt x="214" y="50"/>
                      </a:lnTo>
                      <a:lnTo>
                        <a:pt x="251" y="34"/>
                      </a:lnTo>
                      <a:lnTo>
                        <a:pt x="288" y="18"/>
                      </a:lnTo>
                      <a:lnTo>
                        <a:pt x="291" y="32"/>
                      </a:lnTo>
                      <a:lnTo>
                        <a:pt x="296" y="42"/>
                      </a:lnTo>
                      <a:lnTo>
                        <a:pt x="301" y="45"/>
                      </a:lnTo>
                      <a:lnTo>
                        <a:pt x="304" y="47"/>
                      </a:lnTo>
                      <a:lnTo>
                        <a:pt x="320" y="50"/>
                      </a:lnTo>
                      <a:lnTo>
                        <a:pt x="346" y="50"/>
                      </a:lnTo>
                      <a:lnTo>
                        <a:pt x="370" y="50"/>
                      </a:lnTo>
                      <a:lnTo>
                        <a:pt x="380" y="53"/>
                      </a:lnTo>
                      <a:lnTo>
                        <a:pt x="388" y="55"/>
                      </a:lnTo>
                      <a:lnTo>
                        <a:pt x="401" y="68"/>
                      </a:lnTo>
                      <a:lnTo>
                        <a:pt x="417" y="79"/>
                      </a:lnTo>
                      <a:lnTo>
                        <a:pt x="423" y="79"/>
                      </a:lnTo>
                      <a:lnTo>
                        <a:pt x="428" y="84"/>
                      </a:lnTo>
                      <a:lnTo>
                        <a:pt x="431" y="82"/>
                      </a:lnTo>
                      <a:lnTo>
                        <a:pt x="436" y="84"/>
                      </a:lnTo>
                      <a:lnTo>
                        <a:pt x="441" y="82"/>
                      </a:lnTo>
                      <a:lnTo>
                        <a:pt x="444" y="79"/>
                      </a:lnTo>
                      <a:lnTo>
                        <a:pt x="441" y="76"/>
                      </a:lnTo>
                      <a:lnTo>
                        <a:pt x="441" y="74"/>
                      </a:lnTo>
                      <a:lnTo>
                        <a:pt x="438" y="74"/>
                      </a:lnTo>
                      <a:lnTo>
                        <a:pt x="438" y="71"/>
                      </a:lnTo>
                      <a:lnTo>
                        <a:pt x="436" y="71"/>
                      </a:lnTo>
                      <a:lnTo>
                        <a:pt x="428" y="63"/>
                      </a:lnTo>
                      <a:lnTo>
                        <a:pt x="423" y="61"/>
                      </a:lnTo>
                      <a:lnTo>
                        <a:pt x="423" y="55"/>
                      </a:lnTo>
                      <a:lnTo>
                        <a:pt x="425" y="53"/>
                      </a:lnTo>
                      <a:lnTo>
                        <a:pt x="425" y="50"/>
                      </a:lnTo>
                      <a:lnTo>
                        <a:pt x="428" y="47"/>
                      </a:lnTo>
                      <a:lnTo>
                        <a:pt x="428" y="45"/>
                      </a:lnTo>
                      <a:lnTo>
                        <a:pt x="425" y="45"/>
                      </a:lnTo>
                      <a:lnTo>
                        <a:pt x="412" y="34"/>
                      </a:lnTo>
                      <a:lnTo>
                        <a:pt x="412" y="37"/>
                      </a:lnTo>
                      <a:lnTo>
                        <a:pt x="409" y="37"/>
                      </a:lnTo>
                      <a:lnTo>
                        <a:pt x="407" y="34"/>
                      </a:lnTo>
                      <a:lnTo>
                        <a:pt x="404" y="34"/>
                      </a:lnTo>
                      <a:lnTo>
                        <a:pt x="401" y="29"/>
                      </a:lnTo>
                      <a:lnTo>
                        <a:pt x="399" y="26"/>
                      </a:lnTo>
                      <a:lnTo>
                        <a:pt x="399" y="21"/>
                      </a:lnTo>
                      <a:lnTo>
                        <a:pt x="404" y="18"/>
                      </a:lnTo>
                      <a:lnTo>
                        <a:pt x="420" y="13"/>
                      </a:lnTo>
                      <a:lnTo>
                        <a:pt x="423" y="13"/>
                      </a:lnTo>
                      <a:lnTo>
                        <a:pt x="425" y="16"/>
                      </a:lnTo>
                      <a:lnTo>
                        <a:pt x="428" y="13"/>
                      </a:lnTo>
                      <a:lnTo>
                        <a:pt x="428" y="10"/>
                      </a:lnTo>
                      <a:lnTo>
                        <a:pt x="441" y="10"/>
                      </a:lnTo>
                      <a:lnTo>
                        <a:pt x="454" y="10"/>
                      </a:lnTo>
                      <a:lnTo>
                        <a:pt x="454" y="8"/>
                      </a:lnTo>
                      <a:lnTo>
                        <a:pt x="452" y="5"/>
                      </a:lnTo>
                      <a:lnTo>
                        <a:pt x="452" y="2"/>
                      </a:lnTo>
                      <a:lnTo>
                        <a:pt x="465" y="0"/>
                      </a:lnTo>
                      <a:lnTo>
                        <a:pt x="475" y="0"/>
                      </a:lnTo>
                      <a:lnTo>
                        <a:pt x="483" y="2"/>
                      </a:lnTo>
                      <a:lnTo>
                        <a:pt x="486" y="8"/>
                      </a:lnTo>
                      <a:lnTo>
                        <a:pt x="486" y="16"/>
                      </a:lnTo>
                      <a:lnTo>
                        <a:pt x="489" y="18"/>
                      </a:lnTo>
                      <a:lnTo>
                        <a:pt x="491" y="21"/>
                      </a:lnTo>
                      <a:lnTo>
                        <a:pt x="489" y="21"/>
                      </a:lnTo>
                      <a:lnTo>
                        <a:pt x="491" y="24"/>
                      </a:lnTo>
                      <a:lnTo>
                        <a:pt x="491" y="26"/>
                      </a:lnTo>
                      <a:lnTo>
                        <a:pt x="494" y="26"/>
                      </a:lnTo>
                      <a:lnTo>
                        <a:pt x="502" y="26"/>
                      </a:lnTo>
                      <a:lnTo>
                        <a:pt x="523" y="45"/>
                      </a:lnTo>
                      <a:lnTo>
                        <a:pt x="526" y="47"/>
                      </a:lnTo>
                      <a:lnTo>
                        <a:pt x="528" y="47"/>
                      </a:lnTo>
                      <a:lnTo>
                        <a:pt x="531" y="53"/>
                      </a:lnTo>
                      <a:lnTo>
                        <a:pt x="528" y="61"/>
                      </a:lnTo>
                      <a:lnTo>
                        <a:pt x="526" y="63"/>
                      </a:lnTo>
                      <a:lnTo>
                        <a:pt x="520" y="66"/>
                      </a:lnTo>
                      <a:lnTo>
                        <a:pt x="512" y="68"/>
                      </a:lnTo>
                      <a:lnTo>
                        <a:pt x="505" y="68"/>
                      </a:lnTo>
                      <a:lnTo>
                        <a:pt x="499" y="71"/>
                      </a:lnTo>
                      <a:lnTo>
                        <a:pt x="497" y="68"/>
                      </a:lnTo>
                      <a:lnTo>
                        <a:pt x="494" y="68"/>
                      </a:lnTo>
                      <a:lnTo>
                        <a:pt x="489" y="71"/>
                      </a:lnTo>
                      <a:lnTo>
                        <a:pt x="478" y="74"/>
                      </a:lnTo>
                      <a:lnTo>
                        <a:pt x="473" y="79"/>
                      </a:lnTo>
                      <a:lnTo>
                        <a:pt x="470" y="82"/>
                      </a:lnTo>
                      <a:lnTo>
                        <a:pt x="473" y="84"/>
                      </a:lnTo>
                      <a:lnTo>
                        <a:pt x="478" y="84"/>
                      </a:lnTo>
                      <a:lnTo>
                        <a:pt x="518" y="82"/>
                      </a:lnTo>
                      <a:lnTo>
                        <a:pt x="523" y="84"/>
                      </a:lnTo>
                      <a:lnTo>
                        <a:pt x="523" y="82"/>
                      </a:lnTo>
                      <a:lnTo>
                        <a:pt x="534" y="82"/>
                      </a:lnTo>
                      <a:lnTo>
                        <a:pt x="536" y="82"/>
                      </a:lnTo>
                      <a:lnTo>
                        <a:pt x="565" y="76"/>
                      </a:lnTo>
                      <a:lnTo>
                        <a:pt x="568" y="66"/>
                      </a:lnTo>
                      <a:lnTo>
                        <a:pt x="571" y="63"/>
                      </a:lnTo>
                      <a:lnTo>
                        <a:pt x="571" y="61"/>
                      </a:lnTo>
                      <a:lnTo>
                        <a:pt x="573" y="55"/>
                      </a:lnTo>
                      <a:lnTo>
                        <a:pt x="571" y="55"/>
                      </a:lnTo>
                      <a:lnTo>
                        <a:pt x="573" y="45"/>
                      </a:lnTo>
                      <a:lnTo>
                        <a:pt x="584" y="45"/>
                      </a:lnTo>
                      <a:lnTo>
                        <a:pt x="584" y="47"/>
                      </a:lnTo>
                      <a:lnTo>
                        <a:pt x="584" y="50"/>
                      </a:lnTo>
                      <a:lnTo>
                        <a:pt x="586" y="53"/>
                      </a:lnTo>
                      <a:lnTo>
                        <a:pt x="589" y="50"/>
                      </a:lnTo>
                      <a:lnTo>
                        <a:pt x="592" y="47"/>
                      </a:lnTo>
                      <a:lnTo>
                        <a:pt x="597" y="53"/>
                      </a:lnTo>
                      <a:lnTo>
                        <a:pt x="602" y="47"/>
                      </a:lnTo>
                      <a:lnTo>
                        <a:pt x="608" y="63"/>
                      </a:lnTo>
                      <a:lnTo>
                        <a:pt x="608" y="66"/>
                      </a:lnTo>
                      <a:lnTo>
                        <a:pt x="610" y="68"/>
                      </a:lnTo>
                      <a:lnTo>
                        <a:pt x="618" y="82"/>
                      </a:lnTo>
                      <a:lnTo>
                        <a:pt x="623" y="90"/>
                      </a:lnTo>
                      <a:lnTo>
                        <a:pt x="631" y="98"/>
                      </a:lnTo>
                      <a:lnTo>
                        <a:pt x="637" y="103"/>
                      </a:lnTo>
                      <a:lnTo>
                        <a:pt x="637" y="111"/>
                      </a:lnTo>
                      <a:lnTo>
                        <a:pt x="631" y="119"/>
                      </a:lnTo>
                      <a:lnTo>
                        <a:pt x="621" y="124"/>
                      </a:lnTo>
                      <a:lnTo>
                        <a:pt x="618" y="129"/>
                      </a:lnTo>
                      <a:lnTo>
                        <a:pt x="615" y="127"/>
                      </a:lnTo>
                      <a:lnTo>
                        <a:pt x="613" y="129"/>
                      </a:lnTo>
                      <a:lnTo>
                        <a:pt x="610" y="129"/>
                      </a:lnTo>
                      <a:lnTo>
                        <a:pt x="608" y="129"/>
                      </a:lnTo>
                      <a:lnTo>
                        <a:pt x="602" y="135"/>
                      </a:lnTo>
                      <a:lnTo>
                        <a:pt x="594" y="135"/>
                      </a:lnTo>
                      <a:lnTo>
                        <a:pt x="584" y="135"/>
                      </a:lnTo>
                      <a:lnTo>
                        <a:pt x="586" y="137"/>
                      </a:lnTo>
                      <a:lnTo>
                        <a:pt x="586" y="140"/>
                      </a:lnTo>
                      <a:lnTo>
                        <a:pt x="584" y="142"/>
                      </a:lnTo>
                      <a:lnTo>
                        <a:pt x="565" y="153"/>
                      </a:lnTo>
                      <a:lnTo>
                        <a:pt x="547" y="166"/>
                      </a:lnTo>
                      <a:lnTo>
                        <a:pt x="542" y="177"/>
                      </a:lnTo>
                      <a:lnTo>
                        <a:pt x="536" y="185"/>
                      </a:lnTo>
                      <a:lnTo>
                        <a:pt x="536" y="195"/>
                      </a:lnTo>
                      <a:lnTo>
                        <a:pt x="536" y="208"/>
                      </a:lnTo>
                      <a:lnTo>
                        <a:pt x="539" y="211"/>
                      </a:lnTo>
                      <a:lnTo>
                        <a:pt x="552" y="219"/>
                      </a:lnTo>
                      <a:lnTo>
                        <a:pt x="578" y="232"/>
                      </a:lnTo>
                      <a:lnTo>
                        <a:pt x="615" y="248"/>
                      </a:lnTo>
                      <a:lnTo>
                        <a:pt x="652" y="261"/>
                      </a:lnTo>
                      <a:lnTo>
                        <a:pt x="674" y="272"/>
                      </a:lnTo>
                      <a:lnTo>
                        <a:pt x="679" y="274"/>
                      </a:lnTo>
                      <a:lnTo>
                        <a:pt x="684" y="280"/>
                      </a:lnTo>
                      <a:lnTo>
                        <a:pt x="687" y="293"/>
                      </a:lnTo>
                      <a:lnTo>
                        <a:pt x="695" y="311"/>
                      </a:lnTo>
                      <a:lnTo>
                        <a:pt x="703" y="330"/>
                      </a:lnTo>
                      <a:lnTo>
                        <a:pt x="711" y="335"/>
                      </a:lnTo>
                      <a:lnTo>
                        <a:pt x="716" y="340"/>
                      </a:lnTo>
                      <a:lnTo>
                        <a:pt x="724" y="343"/>
                      </a:lnTo>
                      <a:lnTo>
                        <a:pt x="732" y="338"/>
                      </a:lnTo>
                      <a:lnTo>
                        <a:pt x="737" y="335"/>
                      </a:lnTo>
                      <a:lnTo>
                        <a:pt x="742" y="327"/>
                      </a:lnTo>
                      <a:lnTo>
                        <a:pt x="745" y="322"/>
                      </a:lnTo>
                      <a:lnTo>
                        <a:pt x="745" y="314"/>
                      </a:lnTo>
                      <a:lnTo>
                        <a:pt x="745" y="306"/>
                      </a:lnTo>
                      <a:lnTo>
                        <a:pt x="742" y="296"/>
                      </a:lnTo>
                      <a:lnTo>
                        <a:pt x="734" y="280"/>
                      </a:lnTo>
                      <a:lnTo>
                        <a:pt x="734" y="272"/>
                      </a:lnTo>
                      <a:lnTo>
                        <a:pt x="737" y="267"/>
                      </a:lnTo>
                      <a:lnTo>
                        <a:pt x="740" y="264"/>
                      </a:lnTo>
                      <a:lnTo>
                        <a:pt x="745" y="261"/>
                      </a:lnTo>
                      <a:lnTo>
                        <a:pt x="756" y="259"/>
                      </a:lnTo>
                      <a:lnTo>
                        <a:pt x="758" y="256"/>
                      </a:lnTo>
                      <a:lnTo>
                        <a:pt x="766" y="251"/>
                      </a:lnTo>
                      <a:lnTo>
                        <a:pt x="769" y="248"/>
                      </a:lnTo>
                      <a:lnTo>
                        <a:pt x="771" y="243"/>
                      </a:lnTo>
                      <a:lnTo>
                        <a:pt x="771" y="235"/>
                      </a:lnTo>
                      <a:lnTo>
                        <a:pt x="769" y="230"/>
                      </a:lnTo>
                      <a:lnTo>
                        <a:pt x="753" y="219"/>
                      </a:lnTo>
                      <a:lnTo>
                        <a:pt x="745" y="208"/>
                      </a:lnTo>
                      <a:lnTo>
                        <a:pt x="740" y="203"/>
                      </a:lnTo>
                      <a:lnTo>
                        <a:pt x="740" y="201"/>
                      </a:lnTo>
                      <a:lnTo>
                        <a:pt x="740" y="195"/>
                      </a:lnTo>
                      <a:lnTo>
                        <a:pt x="742" y="190"/>
                      </a:lnTo>
                      <a:lnTo>
                        <a:pt x="742" y="182"/>
                      </a:lnTo>
                      <a:lnTo>
                        <a:pt x="740" y="179"/>
                      </a:lnTo>
                      <a:lnTo>
                        <a:pt x="734" y="177"/>
                      </a:lnTo>
                      <a:lnTo>
                        <a:pt x="734" y="166"/>
                      </a:lnTo>
                      <a:lnTo>
                        <a:pt x="737" y="164"/>
                      </a:lnTo>
                      <a:lnTo>
                        <a:pt x="740" y="161"/>
                      </a:lnTo>
                      <a:lnTo>
                        <a:pt x="753" y="153"/>
                      </a:lnTo>
                      <a:lnTo>
                        <a:pt x="761" y="150"/>
                      </a:lnTo>
                      <a:lnTo>
                        <a:pt x="766" y="150"/>
                      </a:lnTo>
                      <a:lnTo>
                        <a:pt x="774" y="153"/>
                      </a:lnTo>
                      <a:lnTo>
                        <a:pt x="785" y="156"/>
                      </a:lnTo>
                      <a:lnTo>
                        <a:pt x="787" y="156"/>
                      </a:lnTo>
                      <a:lnTo>
                        <a:pt x="790" y="153"/>
                      </a:lnTo>
                      <a:lnTo>
                        <a:pt x="793" y="153"/>
                      </a:lnTo>
                      <a:lnTo>
                        <a:pt x="803" y="156"/>
                      </a:lnTo>
                      <a:lnTo>
                        <a:pt x="814" y="161"/>
                      </a:lnTo>
                      <a:lnTo>
                        <a:pt x="824" y="169"/>
                      </a:lnTo>
                      <a:lnTo>
                        <a:pt x="830" y="179"/>
                      </a:lnTo>
                      <a:lnTo>
                        <a:pt x="832" y="187"/>
                      </a:lnTo>
                      <a:lnTo>
                        <a:pt x="840" y="201"/>
                      </a:lnTo>
                      <a:lnTo>
                        <a:pt x="845" y="208"/>
                      </a:lnTo>
                      <a:lnTo>
                        <a:pt x="851" y="211"/>
                      </a:lnTo>
                      <a:lnTo>
                        <a:pt x="859" y="214"/>
                      </a:lnTo>
                      <a:lnTo>
                        <a:pt x="866" y="211"/>
                      </a:lnTo>
                      <a:lnTo>
                        <a:pt x="880" y="195"/>
                      </a:lnTo>
                      <a:lnTo>
                        <a:pt x="885" y="182"/>
                      </a:lnTo>
                      <a:lnTo>
                        <a:pt x="888" y="177"/>
                      </a:lnTo>
                      <a:lnTo>
                        <a:pt x="885" y="174"/>
                      </a:lnTo>
                      <a:lnTo>
                        <a:pt x="888" y="174"/>
                      </a:lnTo>
                      <a:lnTo>
                        <a:pt x="893" y="174"/>
                      </a:lnTo>
                      <a:lnTo>
                        <a:pt x="903" y="182"/>
                      </a:lnTo>
                      <a:lnTo>
                        <a:pt x="917" y="195"/>
                      </a:lnTo>
                      <a:lnTo>
                        <a:pt x="927" y="206"/>
                      </a:lnTo>
                      <a:lnTo>
                        <a:pt x="940" y="214"/>
                      </a:lnTo>
                      <a:lnTo>
                        <a:pt x="940" y="216"/>
                      </a:lnTo>
                      <a:lnTo>
                        <a:pt x="940" y="219"/>
                      </a:lnTo>
                      <a:lnTo>
                        <a:pt x="940" y="222"/>
                      </a:lnTo>
                      <a:lnTo>
                        <a:pt x="954" y="224"/>
                      </a:lnTo>
                      <a:lnTo>
                        <a:pt x="964" y="227"/>
                      </a:lnTo>
                      <a:lnTo>
                        <a:pt x="1025" y="253"/>
                      </a:lnTo>
                      <a:lnTo>
                        <a:pt x="1036" y="259"/>
                      </a:lnTo>
                      <a:lnTo>
                        <a:pt x="1054" y="272"/>
                      </a:lnTo>
                      <a:lnTo>
                        <a:pt x="1059" y="277"/>
                      </a:lnTo>
                      <a:lnTo>
                        <a:pt x="1062" y="282"/>
                      </a:lnTo>
                      <a:lnTo>
                        <a:pt x="1067" y="304"/>
                      </a:lnTo>
                      <a:lnTo>
                        <a:pt x="1073" y="319"/>
                      </a:lnTo>
                      <a:lnTo>
                        <a:pt x="1083" y="335"/>
                      </a:lnTo>
                      <a:lnTo>
                        <a:pt x="1107" y="343"/>
                      </a:lnTo>
                      <a:lnTo>
                        <a:pt x="1125" y="354"/>
                      </a:lnTo>
                      <a:lnTo>
                        <a:pt x="1131" y="359"/>
                      </a:lnTo>
                      <a:lnTo>
                        <a:pt x="1136" y="364"/>
                      </a:lnTo>
                      <a:lnTo>
                        <a:pt x="1139" y="375"/>
                      </a:lnTo>
                      <a:lnTo>
                        <a:pt x="1136" y="388"/>
                      </a:lnTo>
                      <a:lnTo>
                        <a:pt x="1136" y="393"/>
                      </a:lnTo>
                      <a:lnTo>
                        <a:pt x="1131" y="396"/>
                      </a:lnTo>
                      <a:lnTo>
                        <a:pt x="1125" y="399"/>
                      </a:lnTo>
                      <a:lnTo>
                        <a:pt x="1117" y="399"/>
                      </a:lnTo>
                      <a:lnTo>
                        <a:pt x="1102" y="396"/>
                      </a:lnTo>
                      <a:lnTo>
                        <a:pt x="1086" y="391"/>
                      </a:lnTo>
                      <a:lnTo>
                        <a:pt x="1083" y="385"/>
                      </a:lnTo>
                      <a:lnTo>
                        <a:pt x="1081" y="380"/>
                      </a:lnTo>
                      <a:lnTo>
                        <a:pt x="1078" y="383"/>
                      </a:lnTo>
                      <a:lnTo>
                        <a:pt x="1073" y="385"/>
                      </a:lnTo>
                      <a:lnTo>
                        <a:pt x="1059" y="380"/>
                      </a:lnTo>
                      <a:lnTo>
                        <a:pt x="1054" y="375"/>
                      </a:lnTo>
                      <a:lnTo>
                        <a:pt x="1057" y="354"/>
                      </a:lnTo>
                      <a:lnTo>
                        <a:pt x="1057" y="335"/>
                      </a:lnTo>
                      <a:lnTo>
                        <a:pt x="1057" y="327"/>
                      </a:lnTo>
                      <a:lnTo>
                        <a:pt x="1057" y="317"/>
                      </a:lnTo>
                      <a:lnTo>
                        <a:pt x="1054" y="311"/>
                      </a:lnTo>
                      <a:lnTo>
                        <a:pt x="1051" y="311"/>
                      </a:lnTo>
                      <a:lnTo>
                        <a:pt x="1046" y="314"/>
                      </a:lnTo>
                      <a:lnTo>
                        <a:pt x="1036" y="322"/>
                      </a:lnTo>
                      <a:lnTo>
                        <a:pt x="1038" y="325"/>
                      </a:lnTo>
                      <a:lnTo>
                        <a:pt x="1041" y="333"/>
                      </a:lnTo>
                      <a:lnTo>
                        <a:pt x="1041" y="335"/>
                      </a:lnTo>
                      <a:lnTo>
                        <a:pt x="1036" y="340"/>
                      </a:lnTo>
                      <a:lnTo>
                        <a:pt x="1028" y="343"/>
                      </a:lnTo>
                      <a:lnTo>
                        <a:pt x="1017" y="343"/>
                      </a:lnTo>
                      <a:lnTo>
                        <a:pt x="1004" y="343"/>
                      </a:lnTo>
                      <a:lnTo>
                        <a:pt x="991" y="338"/>
                      </a:lnTo>
                      <a:lnTo>
                        <a:pt x="967" y="333"/>
                      </a:lnTo>
                      <a:lnTo>
                        <a:pt x="956" y="330"/>
                      </a:lnTo>
                      <a:lnTo>
                        <a:pt x="946" y="333"/>
                      </a:lnTo>
                      <a:lnTo>
                        <a:pt x="935" y="338"/>
                      </a:lnTo>
                      <a:lnTo>
                        <a:pt x="927" y="348"/>
                      </a:lnTo>
                      <a:lnTo>
                        <a:pt x="906" y="388"/>
                      </a:lnTo>
                      <a:lnTo>
                        <a:pt x="917" y="383"/>
                      </a:lnTo>
                      <a:lnTo>
                        <a:pt x="938" y="370"/>
                      </a:lnTo>
                      <a:lnTo>
                        <a:pt x="948" y="367"/>
                      </a:lnTo>
                      <a:lnTo>
                        <a:pt x="959" y="364"/>
                      </a:lnTo>
                      <a:lnTo>
                        <a:pt x="967" y="364"/>
                      </a:lnTo>
                      <a:lnTo>
                        <a:pt x="970" y="367"/>
                      </a:lnTo>
                      <a:lnTo>
                        <a:pt x="972" y="370"/>
                      </a:lnTo>
                      <a:lnTo>
                        <a:pt x="970" y="383"/>
                      </a:lnTo>
                      <a:lnTo>
                        <a:pt x="970" y="396"/>
                      </a:lnTo>
                      <a:lnTo>
                        <a:pt x="972" y="404"/>
                      </a:lnTo>
                      <a:lnTo>
                        <a:pt x="975" y="407"/>
                      </a:lnTo>
                      <a:lnTo>
                        <a:pt x="985" y="409"/>
                      </a:lnTo>
                      <a:lnTo>
                        <a:pt x="1001" y="407"/>
                      </a:lnTo>
                      <a:lnTo>
                        <a:pt x="1012" y="407"/>
                      </a:lnTo>
                      <a:lnTo>
                        <a:pt x="1017" y="409"/>
                      </a:lnTo>
                      <a:lnTo>
                        <a:pt x="1017" y="414"/>
                      </a:lnTo>
                      <a:lnTo>
                        <a:pt x="1025" y="407"/>
                      </a:lnTo>
                      <a:lnTo>
                        <a:pt x="1033" y="401"/>
                      </a:lnTo>
                      <a:lnTo>
                        <a:pt x="1038" y="399"/>
                      </a:lnTo>
                      <a:lnTo>
                        <a:pt x="1041" y="401"/>
                      </a:lnTo>
                      <a:lnTo>
                        <a:pt x="1044" y="407"/>
                      </a:lnTo>
                      <a:lnTo>
                        <a:pt x="1046" y="407"/>
                      </a:lnTo>
                      <a:lnTo>
                        <a:pt x="1049" y="404"/>
                      </a:lnTo>
                      <a:lnTo>
                        <a:pt x="1051" y="414"/>
                      </a:lnTo>
                      <a:lnTo>
                        <a:pt x="1059" y="420"/>
                      </a:lnTo>
                      <a:lnTo>
                        <a:pt x="1062" y="420"/>
                      </a:lnTo>
                      <a:lnTo>
                        <a:pt x="1044" y="438"/>
                      </a:lnTo>
                      <a:lnTo>
                        <a:pt x="1004" y="473"/>
                      </a:lnTo>
                      <a:lnTo>
                        <a:pt x="996" y="478"/>
                      </a:lnTo>
                      <a:lnTo>
                        <a:pt x="991" y="478"/>
                      </a:lnTo>
                      <a:lnTo>
                        <a:pt x="988" y="475"/>
                      </a:lnTo>
                      <a:lnTo>
                        <a:pt x="988" y="467"/>
                      </a:lnTo>
                      <a:lnTo>
                        <a:pt x="991" y="451"/>
                      </a:lnTo>
                      <a:lnTo>
                        <a:pt x="993" y="436"/>
                      </a:lnTo>
                      <a:lnTo>
                        <a:pt x="991" y="433"/>
                      </a:lnTo>
                      <a:lnTo>
                        <a:pt x="991" y="430"/>
                      </a:lnTo>
                      <a:lnTo>
                        <a:pt x="983" y="436"/>
                      </a:lnTo>
                      <a:lnTo>
                        <a:pt x="970" y="443"/>
                      </a:lnTo>
                      <a:lnTo>
                        <a:pt x="948" y="462"/>
                      </a:lnTo>
                      <a:lnTo>
                        <a:pt x="927" y="475"/>
                      </a:lnTo>
                      <a:lnTo>
                        <a:pt x="903" y="488"/>
                      </a:lnTo>
                      <a:lnTo>
                        <a:pt x="909" y="510"/>
                      </a:lnTo>
                      <a:lnTo>
                        <a:pt x="909" y="523"/>
                      </a:lnTo>
                      <a:lnTo>
                        <a:pt x="906" y="528"/>
                      </a:lnTo>
                      <a:lnTo>
                        <a:pt x="903" y="533"/>
                      </a:lnTo>
                      <a:lnTo>
                        <a:pt x="896" y="539"/>
                      </a:lnTo>
                      <a:lnTo>
                        <a:pt x="890" y="539"/>
                      </a:lnTo>
                      <a:lnTo>
                        <a:pt x="888" y="541"/>
                      </a:lnTo>
                      <a:lnTo>
                        <a:pt x="885" y="544"/>
                      </a:lnTo>
                      <a:lnTo>
                        <a:pt x="874" y="544"/>
                      </a:lnTo>
                      <a:lnTo>
                        <a:pt x="866" y="546"/>
                      </a:lnTo>
                      <a:lnTo>
                        <a:pt x="861" y="549"/>
                      </a:lnTo>
                      <a:lnTo>
                        <a:pt x="861" y="552"/>
                      </a:lnTo>
                      <a:lnTo>
                        <a:pt x="859" y="554"/>
                      </a:lnTo>
                      <a:lnTo>
                        <a:pt x="837" y="570"/>
                      </a:lnTo>
                      <a:lnTo>
                        <a:pt x="840" y="573"/>
                      </a:lnTo>
                      <a:lnTo>
                        <a:pt x="843" y="576"/>
                      </a:lnTo>
                      <a:lnTo>
                        <a:pt x="830" y="597"/>
                      </a:lnTo>
                      <a:lnTo>
                        <a:pt x="830" y="607"/>
                      </a:lnTo>
                      <a:lnTo>
                        <a:pt x="832" y="620"/>
                      </a:lnTo>
                      <a:lnTo>
                        <a:pt x="835" y="636"/>
                      </a:lnTo>
                      <a:lnTo>
                        <a:pt x="837" y="644"/>
                      </a:lnTo>
                      <a:lnTo>
                        <a:pt x="837" y="652"/>
                      </a:lnTo>
                      <a:lnTo>
                        <a:pt x="830" y="671"/>
                      </a:lnTo>
                      <a:lnTo>
                        <a:pt x="824" y="673"/>
                      </a:lnTo>
                      <a:lnTo>
                        <a:pt x="822" y="681"/>
                      </a:lnTo>
                      <a:lnTo>
                        <a:pt x="816" y="689"/>
                      </a:lnTo>
                      <a:lnTo>
                        <a:pt x="814" y="689"/>
                      </a:lnTo>
                      <a:lnTo>
                        <a:pt x="811" y="686"/>
                      </a:lnTo>
                      <a:lnTo>
                        <a:pt x="811" y="692"/>
                      </a:lnTo>
                      <a:lnTo>
                        <a:pt x="808" y="697"/>
                      </a:lnTo>
                      <a:lnTo>
                        <a:pt x="806" y="700"/>
                      </a:lnTo>
                      <a:lnTo>
                        <a:pt x="806" y="702"/>
                      </a:lnTo>
                      <a:lnTo>
                        <a:pt x="795" y="705"/>
                      </a:lnTo>
                      <a:lnTo>
                        <a:pt x="782" y="708"/>
                      </a:lnTo>
                      <a:lnTo>
                        <a:pt x="777" y="705"/>
                      </a:lnTo>
                      <a:lnTo>
                        <a:pt x="774" y="705"/>
                      </a:lnTo>
                      <a:lnTo>
                        <a:pt x="771" y="710"/>
                      </a:lnTo>
                      <a:lnTo>
                        <a:pt x="771" y="718"/>
                      </a:lnTo>
                      <a:lnTo>
                        <a:pt x="769" y="726"/>
                      </a:lnTo>
                      <a:lnTo>
                        <a:pt x="766" y="726"/>
                      </a:lnTo>
                      <a:lnTo>
                        <a:pt x="763" y="723"/>
                      </a:lnTo>
                      <a:lnTo>
                        <a:pt x="761" y="721"/>
                      </a:lnTo>
                      <a:lnTo>
                        <a:pt x="758" y="721"/>
                      </a:lnTo>
                      <a:lnTo>
                        <a:pt x="748" y="731"/>
                      </a:lnTo>
                      <a:lnTo>
                        <a:pt x="742" y="745"/>
                      </a:lnTo>
                      <a:lnTo>
                        <a:pt x="740" y="747"/>
                      </a:lnTo>
                      <a:lnTo>
                        <a:pt x="737" y="747"/>
                      </a:lnTo>
                      <a:lnTo>
                        <a:pt x="737" y="755"/>
                      </a:lnTo>
                      <a:lnTo>
                        <a:pt x="734" y="766"/>
                      </a:lnTo>
                      <a:lnTo>
                        <a:pt x="732" y="776"/>
                      </a:lnTo>
                      <a:lnTo>
                        <a:pt x="734" y="789"/>
                      </a:lnTo>
                      <a:lnTo>
                        <a:pt x="740" y="803"/>
                      </a:lnTo>
                      <a:lnTo>
                        <a:pt x="748" y="821"/>
                      </a:lnTo>
                      <a:lnTo>
                        <a:pt x="750" y="832"/>
                      </a:lnTo>
                      <a:lnTo>
                        <a:pt x="753" y="845"/>
                      </a:lnTo>
                      <a:lnTo>
                        <a:pt x="756" y="848"/>
                      </a:lnTo>
                      <a:lnTo>
                        <a:pt x="758" y="848"/>
                      </a:lnTo>
                      <a:lnTo>
                        <a:pt x="763" y="871"/>
                      </a:lnTo>
                      <a:lnTo>
                        <a:pt x="769" y="892"/>
                      </a:lnTo>
                      <a:lnTo>
                        <a:pt x="769" y="911"/>
                      </a:lnTo>
                      <a:lnTo>
                        <a:pt x="766" y="916"/>
                      </a:lnTo>
                      <a:lnTo>
                        <a:pt x="761" y="919"/>
                      </a:lnTo>
                      <a:lnTo>
                        <a:pt x="753" y="921"/>
                      </a:lnTo>
                      <a:lnTo>
                        <a:pt x="748" y="919"/>
                      </a:lnTo>
                      <a:lnTo>
                        <a:pt x="734" y="911"/>
                      </a:lnTo>
                      <a:lnTo>
                        <a:pt x="726" y="898"/>
                      </a:lnTo>
                      <a:lnTo>
                        <a:pt x="724" y="890"/>
                      </a:lnTo>
                      <a:lnTo>
                        <a:pt x="721" y="884"/>
                      </a:lnTo>
                      <a:lnTo>
                        <a:pt x="716" y="8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grpSp>
            <p:nvGrpSpPr>
              <p:cNvPr id="57" name="Group 9"/>
              <p:cNvGrpSpPr>
                <a:grpSpLocks/>
              </p:cNvGrpSpPr>
              <p:nvPr/>
            </p:nvGrpSpPr>
            <p:grpSpPr bwMode="auto">
              <a:xfrm>
                <a:off x="2665413" y="4497388"/>
                <a:ext cx="730250" cy="628650"/>
                <a:chOff x="2606754" y="4566276"/>
                <a:chExt cx="802127" cy="688236"/>
              </a:xfrm>
              <a:solidFill>
                <a:schemeClr val="bg1">
                  <a:lumMod val="85000"/>
                </a:schemeClr>
              </a:solidFill>
            </p:grpSpPr>
            <p:grpSp>
              <p:nvGrpSpPr>
                <p:cNvPr id="64" name="Group 8"/>
                <p:cNvGrpSpPr>
                  <a:grpSpLocks/>
                </p:cNvGrpSpPr>
                <p:nvPr/>
              </p:nvGrpSpPr>
              <p:grpSpPr bwMode="auto">
                <a:xfrm>
                  <a:off x="2606754" y="4566276"/>
                  <a:ext cx="741523" cy="496821"/>
                  <a:chOff x="7035800" y="1363644"/>
                  <a:chExt cx="706893" cy="473618"/>
                </a:xfrm>
                <a:grpFill/>
              </p:grpSpPr>
              <p:sp>
                <p:nvSpPr>
                  <p:cNvPr id="68" name="Oval Callout 67"/>
                  <p:cNvSpPr/>
                  <p:nvPr/>
                </p:nvSpPr>
                <p:spPr>
                  <a:xfrm>
                    <a:off x="7035800" y="1363644"/>
                    <a:ext cx="706485" cy="473846"/>
                  </a:xfrm>
                  <a:prstGeom prst="wedgeEllipseCallou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9" name="5-Point Star 68"/>
                  <p:cNvSpPr/>
                  <p:nvPr/>
                </p:nvSpPr>
                <p:spPr>
                  <a:xfrm>
                    <a:off x="7238603" y="1438200"/>
                    <a:ext cx="299217" cy="301538"/>
                  </a:xfrm>
                  <a:prstGeom prst="star5">
                    <a:avLst>
                      <a:gd name="adj" fmla="val 26194"/>
                      <a:gd name="hf" fmla="val 105146"/>
                      <a:gd name="vf" fmla="val 11055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nvGrpSpPr>
                <p:cNvPr id="65" name="Group 305"/>
                <p:cNvGrpSpPr>
                  <a:grpSpLocks/>
                </p:cNvGrpSpPr>
                <p:nvPr/>
              </p:nvGrpSpPr>
              <p:grpSpPr bwMode="auto">
                <a:xfrm>
                  <a:off x="2995133" y="4977301"/>
                  <a:ext cx="413748" cy="277211"/>
                  <a:chOff x="7035800" y="1363644"/>
                  <a:chExt cx="706893" cy="473618"/>
                </a:xfrm>
                <a:grpFill/>
              </p:grpSpPr>
              <p:sp>
                <p:nvSpPr>
                  <p:cNvPr id="66" name="Oval Callout 65"/>
                  <p:cNvSpPr/>
                  <p:nvPr/>
                </p:nvSpPr>
                <p:spPr>
                  <a:xfrm>
                    <a:off x="7036616" y="1362168"/>
                    <a:ext cx="706077" cy="475094"/>
                  </a:xfrm>
                  <a:prstGeom prst="wedgeEllipseCallout">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7" name="5-Point Star 66"/>
                  <p:cNvSpPr/>
                  <p:nvPr/>
                </p:nvSpPr>
                <p:spPr>
                  <a:xfrm>
                    <a:off x="7239203" y="1436401"/>
                    <a:ext cx="300902" cy="302872"/>
                  </a:xfrm>
                  <a:prstGeom prst="star5">
                    <a:avLst>
                      <a:gd name="adj" fmla="val 26194"/>
                      <a:gd name="hf" fmla="val 105146"/>
                      <a:gd name="vf" fmla="val 11055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sp>
            <p:nvSpPr>
              <p:cNvPr id="58" name="Oval 57"/>
              <p:cNvSpPr/>
              <p:nvPr/>
            </p:nvSpPr>
            <p:spPr>
              <a:xfrm>
                <a:off x="3932931" y="2705930"/>
                <a:ext cx="1217720" cy="121559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9" name="Circular Arrow 58"/>
              <p:cNvSpPr/>
              <p:nvPr/>
            </p:nvSpPr>
            <p:spPr>
              <a:xfrm>
                <a:off x="4114194" y="2894196"/>
                <a:ext cx="852868" cy="853003"/>
              </a:xfrm>
              <a:prstGeom prst="circularArrow">
                <a:avLst>
                  <a:gd name="adj1" fmla="val 12500"/>
                  <a:gd name="adj2" fmla="val 1142319"/>
                  <a:gd name="adj3" fmla="val 20457681"/>
                  <a:gd name="adj4" fmla="val 1085162"/>
                  <a:gd name="adj5" fmla="val 12500"/>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grpSp>
            <p:nvGrpSpPr>
              <p:cNvPr id="60" name="Group 2"/>
              <p:cNvGrpSpPr>
                <a:grpSpLocks/>
              </p:cNvGrpSpPr>
              <p:nvPr/>
            </p:nvGrpSpPr>
            <p:grpSpPr bwMode="auto">
              <a:xfrm>
                <a:off x="7310438" y="3005138"/>
                <a:ext cx="688975" cy="530225"/>
                <a:chOff x="7215188" y="1"/>
                <a:chExt cx="2387921" cy="1837262"/>
              </a:xfrm>
              <a:solidFill>
                <a:schemeClr val="bg1">
                  <a:lumMod val="85000"/>
                </a:schemeClr>
              </a:solidFill>
            </p:grpSpPr>
            <p:sp>
              <p:nvSpPr>
                <p:cNvPr id="61" name="Rectangle 60"/>
                <p:cNvSpPr/>
                <p:nvPr/>
              </p:nvSpPr>
              <p:spPr>
                <a:xfrm>
                  <a:off x="7215188" y="715103"/>
                  <a:ext cx="764793" cy="112216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2" name="Rectangle 61"/>
                <p:cNvSpPr/>
                <p:nvPr/>
              </p:nvSpPr>
              <p:spPr>
                <a:xfrm>
                  <a:off x="8029502" y="1"/>
                  <a:ext cx="764793" cy="183726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3" name="Rectangle 62"/>
                <p:cNvSpPr/>
                <p:nvPr/>
              </p:nvSpPr>
              <p:spPr>
                <a:xfrm>
                  <a:off x="8838312" y="1144164"/>
                  <a:ext cx="764797" cy="69309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grpSp>
      </p:grpSp>
    </p:spTree>
    <p:extLst>
      <p:ext uri="{BB962C8B-B14F-4D97-AF65-F5344CB8AC3E}">
        <p14:creationId xmlns:p14="http://schemas.microsoft.com/office/powerpoint/2010/main" val="254095945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43785"/>
          </a:xfrm>
        </p:spPr>
        <p:txBody>
          <a:bodyPr/>
          <a:lstStyle/>
          <a:p>
            <a:pPr>
              <a:lnSpc>
                <a:spcPct val="80000"/>
              </a:lnSpc>
            </a:pPr>
            <a:r>
              <a:rPr lang="en-US"/>
              <a:t>Replace this text</a:t>
            </a:r>
            <a:endParaRPr lang="en-US" dirty="0"/>
          </a:p>
        </p:txBody>
      </p:sp>
      <p:sp>
        <p:nvSpPr>
          <p:cNvPr id="39" name="Slide Number Placeholder 38"/>
          <p:cNvSpPr>
            <a:spLocks noGrp="1"/>
          </p:cNvSpPr>
          <p:nvPr>
            <p:ph type="sldNum" sz="quarter" idx="12"/>
          </p:nvPr>
        </p:nvSpPr>
        <p:spPr/>
        <p:txBody>
          <a:bodyPr/>
          <a:lstStyle/>
          <a:p>
            <a:pPr>
              <a:defRPr/>
            </a:pPr>
            <a:fld id="{AD19CF00-AE30-45AC-A0F3-222CEA30FB4A}" type="slidenum">
              <a:rPr lang="da-DK" smtClean="0"/>
              <a:pPr>
                <a:defRPr/>
              </a:pPr>
              <a:t>45</a:t>
            </a:fld>
            <a:endParaRPr lang="da-DK"/>
          </a:p>
        </p:txBody>
      </p:sp>
      <p:sp>
        <p:nvSpPr>
          <p:cNvPr id="34" name="Rectangle 32"/>
          <p:cNvSpPr>
            <a:spLocks noChangeArrowheads="1"/>
          </p:cNvSpPr>
          <p:nvPr>
            <p:custDataLst>
              <p:tags r:id="rId1"/>
            </p:custDataLst>
          </p:nvPr>
        </p:nvSpPr>
        <p:spPr bwMode="auto">
          <a:xfrm>
            <a:off x="280988" y="2033588"/>
            <a:ext cx="8647112" cy="592137"/>
          </a:xfrm>
          <a:prstGeom prst="rect">
            <a:avLst/>
          </a:prstGeom>
          <a:solidFill>
            <a:schemeClr val="bg1">
              <a:alpha val="3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solidFill>
                <a:srgbClr val="404040"/>
              </a:solidFill>
              <a:latin typeface="Calibri" charset="0"/>
            </a:endParaRPr>
          </a:p>
        </p:txBody>
      </p:sp>
      <p:sp>
        <p:nvSpPr>
          <p:cNvPr id="48" name="Rektangel 23"/>
          <p:cNvSpPr>
            <a:spLocks noChangeArrowheads="1"/>
          </p:cNvSpPr>
          <p:nvPr>
            <p:custDataLst>
              <p:tags r:id="rId2"/>
            </p:custDataLst>
          </p:nvPr>
        </p:nvSpPr>
        <p:spPr bwMode="auto">
          <a:xfrm>
            <a:off x="1862138" y="1825625"/>
            <a:ext cx="2019300"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801688">
              <a:spcBef>
                <a:spcPct val="20000"/>
              </a:spcBef>
            </a:pPr>
            <a:r>
              <a:rPr b="1" noProof="1">
                <a:solidFill>
                  <a:srgbClr val="404040"/>
                </a:solidFill>
                <a:latin typeface="Calibri" charset="0"/>
                <a:cs typeface="Arial" charset="0"/>
              </a:rPr>
              <a:t>Personal Sales </a:t>
            </a:r>
          </a:p>
        </p:txBody>
      </p:sp>
      <p:sp>
        <p:nvSpPr>
          <p:cNvPr id="52" name="Rectangle 51"/>
          <p:cNvSpPr/>
          <p:nvPr>
            <p:custDataLst>
              <p:tags r:id="rId3"/>
            </p:custDataLst>
          </p:nvPr>
        </p:nvSpPr>
        <p:spPr>
          <a:xfrm>
            <a:off x="1881188" y="2228850"/>
            <a:ext cx="2327275" cy="419100"/>
          </a:xfrm>
          <a:prstGeom prst="rect">
            <a:avLst/>
          </a:prstGeom>
          <a:effectLst/>
        </p:spPr>
        <p:txBody>
          <a:bodyPr>
            <a:spAutoFit/>
          </a:bodyPr>
          <a:lstStyle/>
          <a:p>
            <a:pPr algn="just">
              <a:defRPr/>
            </a:pPr>
            <a:r>
              <a:rPr lang="en-US" sz="1200" dirty="0">
                <a:solidFill>
                  <a:srgbClr val="404040"/>
                </a:solidFill>
                <a:latin typeface="+mj-lt"/>
                <a:ea typeface="MS PGothic" pitchFamily="34" charset="-128"/>
                <a:cs typeface="+mn-cs"/>
              </a:rPr>
              <a:t>This is an example text. Go ahead an replace it with your own text. </a:t>
            </a:r>
          </a:p>
        </p:txBody>
      </p:sp>
      <p:grpSp>
        <p:nvGrpSpPr>
          <p:cNvPr id="55" name="Group 56"/>
          <p:cNvGrpSpPr>
            <a:grpSpLocks/>
          </p:cNvGrpSpPr>
          <p:nvPr>
            <p:custDataLst>
              <p:tags r:id="rId4"/>
            </p:custDataLst>
          </p:nvPr>
        </p:nvGrpSpPr>
        <p:grpSpPr bwMode="auto">
          <a:xfrm>
            <a:off x="944563" y="1973262"/>
            <a:ext cx="919162" cy="846138"/>
            <a:chOff x="-2186263" y="4240608"/>
            <a:chExt cx="1211284" cy="1115617"/>
          </a:xfrm>
        </p:grpSpPr>
        <p:grpSp>
          <p:nvGrpSpPr>
            <p:cNvPr id="56" name="Group 55"/>
            <p:cNvGrpSpPr>
              <a:grpSpLocks/>
            </p:cNvGrpSpPr>
            <p:nvPr/>
          </p:nvGrpSpPr>
          <p:grpSpPr bwMode="auto">
            <a:xfrm>
              <a:off x="-2186263" y="4240608"/>
              <a:ext cx="1211284" cy="1115617"/>
              <a:chOff x="-2056957" y="4624938"/>
              <a:chExt cx="1211284" cy="1115617"/>
            </a:xfrm>
          </p:grpSpPr>
          <p:sp>
            <p:nvSpPr>
              <p:cNvPr id="62" name="Rounded Rectangle 61"/>
              <p:cNvSpPr/>
              <p:nvPr>
                <p:custDataLst>
                  <p:tags r:id="rId13"/>
                </p:custDataLst>
              </p:nvPr>
            </p:nvSpPr>
            <p:spPr>
              <a:xfrm>
                <a:off x="-1795454" y="4706569"/>
                <a:ext cx="673633" cy="443735"/>
              </a:xfrm>
              <a:prstGeom prst="roundRect">
                <a:avLst>
                  <a:gd name="adj" fmla="val 33503"/>
                </a:avLst>
              </a:prstGeom>
              <a:solidFill>
                <a:schemeClr val="tx2">
                  <a:lumMod val="75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sp>
            <p:nvSpPr>
              <p:cNvPr id="63" name="Rounded Rectangle 62"/>
              <p:cNvSpPr/>
              <p:nvPr>
                <p:custDataLst>
                  <p:tags r:id="rId14"/>
                </p:custDataLst>
              </p:nvPr>
            </p:nvSpPr>
            <p:spPr>
              <a:xfrm>
                <a:off x="-1721177" y="4762301"/>
                <a:ext cx="526843" cy="217555"/>
              </a:xfrm>
              <a:prstGeom prst="roundRect">
                <a:avLst>
                  <a:gd name="adj" fmla="val 18270"/>
                </a:avLst>
              </a:prstGeom>
              <a:gradFill>
                <a:gsLst>
                  <a:gs pos="1000">
                    <a:schemeClr val="bg1">
                      <a:lumMod val="85000"/>
                      <a:alpha val="91000"/>
                    </a:schemeClr>
                  </a:gs>
                  <a:gs pos="100000">
                    <a:schemeClr val="bg1">
                      <a:lumMod val="95000"/>
                    </a:schemeClr>
                  </a:gs>
                </a:gsLst>
              </a:gradFill>
              <a:ln w="25400">
                <a:noFill/>
              </a:ln>
              <a:effectLst>
                <a:glow rad="101600">
                  <a:schemeClr val="tx1">
                    <a:alpha val="5000"/>
                  </a:schemeClr>
                </a:glo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id-ID" smtClean="0">
                  <a:solidFill>
                    <a:srgbClr val="FFFFFF"/>
                  </a:solidFill>
                  <a:latin typeface="Calibri" pitchFamily="34" charset="0"/>
                </a:endParaRPr>
              </a:p>
            </p:txBody>
          </p:sp>
          <p:sp>
            <p:nvSpPr>
              <p:cNvPr id="64" name="Rounded Rectangle 63"/>
              <p:cNvSpPr/>
              <p:nvPr>
                <p:custDataLst>
                  <p:tags r:id="rId15"/>
                </p:custDataLst>
              </p:nvPr>
            </p:nvSpPr>
            <p:spPr>
              <a:xfrm>
                <a:off x="-1669932" y="4624938"/>
                <a:ext cx="424682" cy="192564"/>
              </a:xfrm>
              <a:prstGeom prst="roundRect">
                <a:avLst>
                  <a:gd name="adj" fmla="val 33503"/>
                </a:avLst>
              </a:prstGeom>
              <a:solidFill>
                <a:schemeClr val="tx2">
                  <a:lumMod val="75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sp>
            <p:nvSpPr>
              <p:cNvPr id="65" name="Rounded Rectangle 64"/>
              <p:cNvSpPr/>
              <p:nvPr>
                <p:custDataLst>
                  <p:tags r:id="rId16"/>
                </p:custDataLst>
              </p:nvPr>
            </p:nvSpPr>
            <p:spPr>
              <a:xfrm>
                <a:off x="-2056957" y="4869830"/>
                <a:ext cx="1211284" cy="870725"/>
              </a:xfrm>
              <a:prstGeom prst="roundRect">
                <a:avLst/>
              </a:prstGeom>
              <a:solidFill>
                <a:schemeClr val="tx2">
                  <a:lumMod val="75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sp>
            <p:nvSpPr>
              <p:cNvPr id="66" name="Rounded Rectangle 45"/>
              <p:cNvSpPr/>
              <p:nvPr>
                <p:custDataLst>
                  <p:tags r:id="rId17"/>
                </p:custDataLst>
              </p:nvPr>
            </p:nvSpPr>
            <p:spPr>
              <a:xfrm>
                <a:off x="-2056957" y="4869830"/>
                <a:ext cx="1211284" cy="435362"/>
              </a:xfrm>
              <a:custGeom>
                <a:avLst/>
                <a:gdLst/>
                <a:ahLst/>
                <a:cxnLst/>
                <a:rect l="l" t="t" r="r" b="b"/>
                <a:pathLst>
                  <a:path w="1211284" h="490847">
                    <a:moveTo>
                      <a:pt x="132610" y="0"/>
                    </a:moveTo>
                    <a:lnTo>
                      <a:pt x="1078674" y="0"/>
                    </a:lnTo>
                    <a:cubicBezTo>
                      <a:pt x="1151912" y="0"/>
                      <a:pt x="1211284" y="59372"/>
                      <a:pt x="1211284" y="132610"/>
                    </a:cubicBezTo>
                    <a:lnTo>
                      <a:pt x="1211284" y="358237"/>
                    </a:lnTo>
                    <a:cubicBezTo>
                      <a:pt x="1211284" y="431475"/>
                      <a:pt x="1151912" y="490847"/>
                      <a:pt x="1078674" y="490847"/>
                    </a:cubicBezTo>
                    <a:lnTo>
                      <a:pt x="132610" y="490847"/>
                    </a:lnTo>
                    <a:cubicBezTo>
                      <a:pt x="59372" y="490847"/>
                      <a:pt x="0" y="431475"/>
                      <a:pt x="0" y="358237"/>
                    </a:cubicBezTo>
                    <a:lnTo>
                      <a:pt x="0" y="132610"/>
                    </a:lnTo>
                    <a:cubicBezTo>
                      <a:pt x="0" y="59372"/>
                      <a:pt x="59372" y="0"/>
                      <a:pt x="132610" y="0"/>
                    </a:cubicBezTo>
                    <a:close/>
                  </a:path>
                </a:pathLst>
              </a:custGeom>
              <a:solidFill>
                <a:schemeClr val="tx2">
                  <a:lumMod val="75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p>
            </p:txBody>
          </p:sp>
          <p:sp>
            <p:nvSpPr>
              <p:cNvPr id="67" name="Rounded Rectangle 66"/>
              <p:cNvSpPr/>
              <p:nvPr>
                <p:custDataLst>
                  <p:tags r:id="rId18"/>
                </p:custDataLst>
              </p:nvPr>
            </p:nvSpPr>
            <p:spPr>
              <a:xfrm>
                <a:off x="-1531858" y="5236120"/>
                <a:ext cx="169455" cy="186286"/>
              </a:xfrm>
              <a:prstGeom prst="round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grpSp>
        <p:sp>
          <p:nvSpPr>
            <p:cNvPr id="61" name="TextBox 3"/>
            <p:cNvSpPr txBox="1">
              <a:spLocks noChangeArrowheads="1"/>
            </p:cNvSpPr>
            <p:nvPr/>
          </p:nvSpPr>
          <p:spPr bwMode="auto">
            <a:xfrm>
              <a:off x="-2022774" y="4986975"/>
              <a:ext cx="882653" cy="364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MS PGothic" charset="0"/>
                  <a:cs typeface="MS PGothic" charset="0"/>
                </a:defRPr>
              </a:lvl1pPr>
              <a:lvl2pPr marL="742950" indent="-285750" eaLnBrk="0" hangingPunct="0">
                <a:defRPr>
                  <a:solidFill>
                    <a:schemeClr val="tx1"/>
                  </a:solidFill>
                  <a:latin typeface="Arial" charset="0"/>
                  <a:ea typeface="MS PGothic" charset="0"/>
                  <a:cs typeface="MS PGothic" charset="0"/>
                </a:defRPr>
              </a:lvl2pPr>
              <a:lvl3pPr marL="1143000" indent="-228600" eaLnBrk="0" hangingPunct="0">
                <a:defRPr>
                  <a:solidFill>
                    <a:schemeClr val="tx1"/>
                  </a:solidFill>
                  <a:latin typeface="Arial" charset="0"/>
                  <a:ea typeface="MS PGothic" charset="0"/>
                  <a:cs typeface="MS PGothic" charset="0"/>
                </a:defRPr>
              </a:lvl3pPr>
              <a:lvl4pPr marL="1600200" indent="-228600" eaLnBrk="0" hangingPunct="0">
                <a:defRPr>
                  <a:solidFill>
                    <a:schemeClr val="tx1"/>
                  </a:solidFill>
                  <a:latin typeface="Arial" charset="0"/>
                  <a:ea typeface="MS PGothic" charset="0"/>
                  <a:cs typeface="MS PGothic" charset="0"/>
                </a:defRPr>
              </a:lvl4pPr>
              <a:lvl5pPr marL="2057400" indent="-228600" eaLnBrk="0" hangingPunct="0">
                <a:defRPr>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Arial" charset="0"/>
                  <a:ea typeface="MS PGothic" charset="0"/>
                  <a:cs typeface="MS PGothic" charset="0"/>
                </a:defRPr>
              </a:lvl9pPr>
            </a:lstStyle>
            <a:p>
              <a:pPr eaLnBrk="1" hangingPunct="1"/>
              <a:r>
                <a:rPr lang="id-ID" sz="1200">
                  <a:solidFill>
                    <a:schemeClr val="bg1"/>
                  </a:solidFill>
                  <a:latin typeface="Calibri" charset="0"/>
                </a:rPr>
                <a:t>Produ</a:t>
              </a:r>
              <a:r>
                <a:rPr lang="en-US" sz="1200">
                  <a:solidFill>
                    <a:schemeClr val="bg1"/>
                  </a:solidFill>
                  <a:latin typeface="Calibri" charset="0"/>
                </a:rPr>
                <a:t>ct</a:t>
              </a:r>
            </a:p>
          </p:txBody>
        </p:sp>
      </p:grpSp>
      <p:sp>
        <p:nvSpPr>
          <p:cNvPr id="68" name="Rektangel 23"/>
          <p:cNvSpPr>
            <a:spLocks noChangeArrowheads="1"/>
          </p:cNvSpPr>
          <p:nvPr>
            <p:custDataLst>
              <p:tags r:id="rId5"/>
            </p:custDataLst>
          </p:nvPr>
        </p:nvSpPr>
        <p:spPr bwMode="auto">
          <a:xfrm>
            <a:off x="5021263" y="1812925"/>
            <a:ext cx="2133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defTabSz="801688">
              <a:spcBef>
                <a:spcPct val="20000"/>
              </a:spcBef>
            </a:pPr>
            <a:r>
              <a:rPr b="1" noProof="1">
                <a:solidFill>
                  <a:srgbClr val="404040"/>
                </a:solidFill>
                <a:latin typeface="Calibri" charset="0"/>
                <a:cs typeface="Arial" charset="0"/>
              </a:rPr>
              <a:t>Effective Sales</a:t>
            </a:r>
          </a:p>
        </p:txBody>
      </p:sp>
      <p:sp>
        <p:nvSpPr>
          <p:cNvPr id="69" name="Rectangle 68"/>
          <p:cNvSpPr/>
          <p:nvPr>
            <p:custDataLst>
              <p:tags r:id="rId6"/>
            </p:custDataLst>
          </p:nvPr>
        </p:nvSpPr>
        <p:spPr>
          <a:xfrm>
            <a:off x="4859338" y="2212975"/>
            <a:ext cx="2327275" cy="461962"/>
          </a:xfrm>
          <a:prstGeom prst="rect">
            <a:avLst/>
          </a:prstGeom>
          <a:effectLst/>
        </p:spPr>
        <p:txBody>
          <a:bodyPr>
            <a:spAutoFit/>
          </a:bodyPr>
          <a:lstStyle/>
          <a:p>
            <a:pPr algn="r">
              <a:defRPr/>
            </a:pPr>
            <a:r>
              <a:rPr lang="en-US" sz="1200" dirty="0">
                <a:solidFill>
                  <a:srgbClr val="404040"/>
                </a:solidFill>
                <a:latin typeface="+mj-lt"/>
                <a:ea typeface="MS PGothic" pitchFamily="34" charset="-128"/>
                <a:cs typeface="+mn-cs"/>
              </a:rPr>
              <a:t>This is an example text. Go ahead an replace it with your own text. </a:t>
            </a:r>
          </a:p>
        </p:txBody>
      </p:sp>
      <p:grpSp>
        <p:nvGrpSpPr>
          <p:cNvPr id="70" name="Group 79"/>
          <p:cNvGrpSpPr>
            <a:grpSpLocks/>
          </p:cNvGrpSpPr>
          <p:nvPr/>
        </p:nvGrpSpPr>
        <p:grpSpPr bwMode="auto">
          <a:xfrm>
            <a:off x="7110413" y="1727200"/>
            <a:ext cx="1171575" cy="1071562"/>
            <a:chOff x="-3501283" y="4402132"/>
            <a:chExt cx="1370353" cy="1252248"/>
          </a:xfrm>
        </p:grpSpPr>
        <p:sp>
          <p:nvSpPr>
            <p:cNvPr id="71" name="Freeform 18"/>
            <p:cNvSpPr>
              <a:spLocks noEditPoints="1"/>
            </p:cNvSpPr>
            <p:nvPr>
              <p:custDataLst>
                <p:tags r:id="rId7"/>
              </p:custDataLst>
            </p:nvPr>
          </p:nvSpPr>
          <p:spPr bwMode="auto">
            <a:xfrm rot="2421969">
              <a:off x="-2444738" y="4632175"/>
              <a:ext cx="230249" cy="500899"/>
            </a:xfrm>
            <a:custGeom>
              <a:avLst/>
              <a:gdLst/>
              <a:ahLst/>
              <a:cxnLst>
                <a:cxn ang="0">
                  <a:pos x="77" y="0"/>
                </a:cxn>
                <a:cxn ang="0">
                  <a:pos x="70" y="1"/>
                </a:cxn>
                <a:cxn ang="0">
                  <a:pos x="46" y="6"/>
                </a:cxn>
                <a:cxn ang="0">
                  <a:pos x="22" y="23"/>
                </a:cxn>
                <a:cxn ang="0">
                  <a:pos x="5" y="47"/>
                </a:cxn>
                <a:cxn ang="0">
                  <a:pos x="0" y="69"/>
                </a:cxn>
                <a:cxn ang="0">
                  <a:pos x="0" y="1164"/>
                </a:cxn>
                <a:cxn ang="0">
                  <a:pos x="0" y="1172"/>
                </a:cxn>
                <a:cxn ang="0">
                  <a:pos x="5" y="1194"/>
                </a:cxn>
                <a:cxn ang="0">
                  <a:pos x="22" y="1218"/>
                </a:cxn>
                <a:cxn ang="0">
                  <a:pos x="46" y="1235"/>
                </a:cxn>
                <a:cxn ang="0">
                  <a:pos x="70" y="1242"/>
                </a:cxn>
                <a:cxn ang="0">
                  <a:pos x="499" y="1242"/>
                </a:cxn>
                <a:cxn ang="0">
                  <a:pos x="507" y="1242"/>
                </a:cxn>
                <a:cxn ang="0">
                  <a:pos x="529" y="1235"/>
                </a:cxn>
                <a:cxn ang="0">
                  <a:pos x="554" y="1218"/>
                </a:cxn>
                <a:cxn ang="0">
                  <a:pos x="570" y="1194"/>
                </a:cxn>
                <a:cxn ang="0">
                  <a:pos x="576" y="1172"/>
                </a:cxn>
                <a:cxn ang="0">
                  <a:pos x="577" y="77"/>
                </a:cxn>
                <a:cxn ang="0">
                  <a:pos x="576" y="69"/>
                </a:cxn>
                <a:cxn ang="0">
                  <a:pos x="570" y="47"/>
                </a:cxn>
                <a:cxn ang="0">
                  <a:pos x="554" y="23"/>
                </a:cxn>
                <a:cxn ang="0">
                  <a:pos x="529" y="6"/>
                </a:cxn>
                <a:cxn ang="0">
                  <a:pos x="507" y="1"/>
                </a:cxn>
                <a:cxn ang="0">
                  <a:pos x="499" y="0"/>
                </a:cxn>
                <a:cxn ang="0">
                  <a:pos x="76" y="222"/>
                </a:cxn>
                <a:cxn ang="0">
                  <a:pos x="488" y="265"/>
                </a:cxn>
                <a:cxn ang="0">
                  <a:pos x="164" y="378"/>
                </a:cxn>
                <a:cxn ang="0">
                  <a:pos x="164" y="386"/>
                </a:cxn>
                <a:cxn ang="0">
                  <a:pos x="159" y="398"/>
                </a:cxn>
                <a:cxn ang="0">
                  <a:pos x="148" y="408"/>
                </a:cxn>
                <a:cxn ang="0">
                  <a:pos x="135" y="414"/>
                </a:cxn>
                <a:cxn ang="0">
                  <a:pos x="129" y="414"/>
                </a:cxn>
                <a:cxn ang="0">
                  <a:pos x="115" y="411"/>
                </a:cxn>
                <a:cxn ang="0">
                  <a:pos x="103" y="404"/>
                </a:cxn>
                <a:cxn ang="0">
                  <a:pos x="95" y="392"/>
                </a:cxn>
                <a:cxn ang="0">
                  <a:pos x="93" y="378"/>
                </a:cxn>
                <a:cxn ang="0">
                  <a:pos x="94" y="371"/>
                </a:cxn>
                <a:cxn ang="0">
                  <a:pos x="99" y="358"/>
                </a:cxn>
                <a:cxn ang="0">
                  <a:pos x="108" y="348"/>
                </a:cxn>
                <a:cxn ang="0">
                  <a:pos x="121" y="343"/>
                </a:cxn>
                <a:cxn ang="0">
                  <a:pos x="129" y="343"/>
                </a:cxn>
                <a:cxn ang="0">
                  <a:pos x="142" y="346"/>
                </a:cxn>
                <a:cxn ang="0">
                  <a:pos x="153" y="353"/>
                </a:cxn>
                <a:cxn ang="0">
                  <a:pos x="161" y="365"/>
                </a:cxn>
                <a:cxn ang="0">
                  <a:pos x="164" y="378"/>
                </a:cxn>
                <a:cxn ang="0">
                  <a:pos x="499" y="1045"/>
                </a:cxn>
                <a:cxn ang="0">
                  <a:pos x="88" y="1001"/>
                </a:cxn>
                <a:cxn ang="0">
                  <a:pos x="499" y="1045"/>
                </a:cxn>
                <a:cxn ang="0">
                  <a:pos x="88" y="952"/>
                </a:cxn>
                <a:cxn ang="0">
                  <a:pos x="499" y="908"/>
                </a:cxn>
                <a:cxn ang="0">
                  <a:pos x="499" y="859"/>
                </a:cxn>
                <a:cxn ang="0">
                  <a:pos x="88" y="815"/>
                </a:cxn>
                <a:cxn ang="0">
                  <a:pos x="499" y="859"/>
                </a:cxn>
              </a:cxnLst>
              <a:rect l="0" t="0" r="r" b="b"/>
              <a:pathLst>
                <a:path w="577" h="1242">
                  <a:moveTo>
                    <a:pt x="499" y="0"/>
                  </a:moveTo>
                  <a:lnTo>
                    <a:pt x="77" y="0"/>
                  </a:lnTo>
                  <a:lnTo>
                    <a:pt x="77" y="0"/>
                  </a:lnTo>
                  <a:lnTo>
                    <a:pt x="70" y="1"/>
                  </a:lnTo>
                  <a:lnTo>
                    <a:pt x="62" y="1"/>
                  </a:lnTo>
                  <a:lnTo>
                    <a:pt x="46" y="6"/>
                  </a:lnTo>
                  <a:lnTo>
                    <a:pt x="33" y="12"/>
                  </a:lnTo>
                  <a:lnTo>
                    <a:pt x="22" y="23"/>
                  </a:lnTo>
                  <a:lnTo>
                    <a:pt x="13" y="34"/>
                  </a:lnTo>
                  <a:lnTo>
                    <a:pt x="5" y="47"/>
                  </a:lnTo>
                  <a:lnTo>
                    <a:pt x="1" y="62"/>
                  </a:lnTo>
                  <a:lnTo>
                    <a:pt x="0" y="69"/>
                  </a:lnTo>
                  <a:lnTo>
                    <a:pt x="0" y="77"/>
                  </a:lnTo>
                  <a:lnTo>
                    <a:pt x="0" y="1164"/>
                  </a:lnTo>
                  <a:lnTo>
                    <a:pt x="0" y="1164"/>
                  </a:lnTo>
                  <a:lnTo>
                    <a:pt x="0" y="1172"/>
                  </a:lnTo>
                  <a:lnTo>
                    <a:pt x="1" y="1180"/>
                  </a:lnTo>
                  <a:lnTo>
                    <a:pt x="5" y="1194"/>
                  </a:lnTo>
                  <a:lnTo>
                    <a:pt x="13" y="1207"/>
                  </a:lnTo>
                  <a:lnTo>
                    <a:pt x="22" y="1218"/>
                  </a:lnTo>
                  <a:lnTo>
                    <a:pt x="33" y="1229"/>
                  </a:lnTo>
                  <a:lnTo>
                    <a:pt x="46" y="1235"/>
                  </a:lnTo>
                  <a:lnTo>
                    <a:pt x="62" y="1240"/>
                  </a:lnTo>
                  <a:lnTo>
                    <a:pt x="70" y="1242"/>
                  </a:lnTo>
                  <a:lnTo>
                    <a:pt x="77" y="1242"/>
                  </a:lnTo>
                  <a:lnTo>
                    <a:pt x="499" y="1242"/>
                  </a:lnTo>
                  <a:lnTo>
                    <a:pt x="499" y="1242"/>
                  </a:lnTo>
                  <a:lnTo>
                    <a:pt x="507" y="1242"/>
                  </a:lnTo>
                  <a:lnTo>
                    <a:pt x="515" y="1240"/>
                  </a:lnTo>
                  <a:lnTo>
                    <a:pt x="529" y="1235"/>
                  </a:lnTo>
                  <a:lnTo>
                    <a:pt x="542" y="1229"/>
                  </a:lnTo>
                  <a:lnTo>
                    <a:pt x="554" y="1218"/>
                  </a:lnTo>
                  <a:lnTo>
                    <a:pt x="563" y="1207"/>
                  </a:lnTo>
                  <a:lnTo>
                    <a:pt x="570" y="1194"/>
                  </a:lnTo>
                  <a:lnTo>
                    <a:pt x="574" y="1180"/>
                  </a:lnTo>
                  <a:lnTo>
                    <a:pt x="576" y="1172"/>
                  </a:lnTo>
                  <a:lnTo>
                    <a:pt x="577" y="1164"/>
                  </a:lnTo>
                  <a:lnTo>
                    <a:pt x="577" y="77"/>
                  </a:lnTo>
                  <a:lnTo>
                    <a:pt x="577" y="77"/>
                  </a:lnTo>
                  <a:lnTo>
                    <a:pt x="576" y="69"/>
                  </a:lnTo>
                  <a:lnTo>
                    <a:pt x="574" y="62"/>
                  </a:lnTo>
                  <a:lnTo>
                    <a:pt x="570" y="47"/>
                  </a:lnTo>
                  <a:lnTo>
                    <a:pt x="563" y="34"/>
                  </a:lnTo>
                  <a:lnTo>
                    <a:pt x="554" y="23"/>
                  </a:lnTo>
                  <a:lnTo>
                    <a:pt x="542" y="12"/>
                  </a:lnTo>
                  <a:lnTo>
                    <a:pt x="529" y="6"/>
                  </a:lnTo>
                  <a:lnTo>
                    <a:pt x="515" y="1"/>
                  </a:lnTo>
                  <a:lnTo>
                    <a:pt x="507" y="1"/>
                  </a:lnTo>
                  <a:lnTo>
                    <a:pt x="499" y="0"/>
                  </a:lnTo>
                  <a:lnTo>
                    <a:pt x="499" y="0"/>
                  </a:lnTo>
                  <a:close/>
                  <a:moveTo>
                    <a:pt x="76" y="265"/>
                  </a:moveTo>
                  <a:lnTo>
                    <a:pt x="76" y="222"/>
                  </a:lnTo>
                  <a:lnTo>
                    <a:pt x="488" y="222"/>
                  </a:lnTo>
                  <a:lnTo>
                    <a:pt x="488" y="265"/>
                  </a:lnTo>
                  <a:lnTo>
                    <a:pt x="76" y="265"/>
                  </a:lnTo>
                  <a:close/>
                  <a:moveTo>
                    <a:pt x="164" y="378"/>
                  </a:moveTo>
                  <a:lnTo>
                    <a:pt x="164" y="378"/>
                  </a:lnTo>
                  <a:lnTo>
                    <a:pt x="164" y="386"/>
                  </a:lnTo>
                  <a:lnTo>
                    <a:pt x="161" y="392"/>
                  </a:lnTo>
                  <a:lnTo>
                    <a:pt x="159" y="398"/>
                  </a:lnTo>
                  <a:lnTo>
                    <a:pt x="153" y="404"/>
                  </a:lnTo>
                  <a:lnTo>
                    <a:pt x="148" y="408"/>
                  </a:lnTo>
                  <a:lnTo>
                    <a:pt x="142" y="411"/>
                  </a:lnTo>
                  <a:lnTo>
                    <a:pt x="135" y="414"/>
                  </a:lnTo>
                  <a:lnTo>
                    <a:pt x="129" y="414"/>
                  </a:lnTo>
                  <a:lnTo>
                    <a:pt x="129" y="414"/>
                  </a:lnTo>
                  <a:lnTo>
                    <a:pt x="121" y="414"/>
                  </a:lnTo>
                  <a:lnTo>
                    <a:pt x="115" y="411"/>
                  </a:lnTo>
                  <a:lnTo>
                    <a:pt x="108" y="408"/>
                  </a:lnTo>
                  <a:lnTo>
                    <a:pt x="103" y="404"/>
                  </a:lnTo>
                  <a:lnTo>
                    <a:pt x="99" y="398"/>
                  </a:lnTo>
                  <a:lnTo>
                    <a:pt x="95" y="392"/>
                  </a:lnTo>
                  <a:lnTo>
                    <a:pt x="94" y="386"/>
                  </a:lnTo>
                  <a:lnTo>
                    <a:pt x="93" y="378"/>
                  </a:lnTo>
                  <a:lnTo>
                    <a:pt x="93" y="378"/>
                  </a:lnTo>
                  <a:lnTo>
                    <a:pt x="94" y="371"/>
                  </a:lnTo>
                  <a:lnTo>
                    <a:pt x="95" y="365"/>
                  </a:lnTo>
                  <a:lnTo>
                    <a:pt x="99" y="358"/>
                  </a:lnTo>
                  <a:lnTo>
                    <a:pt x="103" y="353"/>
                  </a:lnTo>
                  <a:lnTo>
                    <a:pt x="108" y="348"/>
                  </a:lnTo>
                  <a:lnTo>
                    <a:pt x="115" y="346"/>
                  </a:lnTo>
                  <a:lnTo>
                    <a:pt x="121" y="343"/>
                  </a:lnTo>
                  <a:lnTo>
                    <a:pt x="129" y="343"/>
                  </a:lnTo>
                  <a:lnTo>
                    <a:pt x="129" y="343"/>
                  </a:lnTo>
                  <a:lnTo>
                    <a:pt x="135" y="343"/>
                  </a:lnTo>
                  <a:lnTo>
                    <a:pt x="142" y="346"/>
                  </a:lnTo>
                  <a:lnTo>
                    <a:pt x="148" y="348"/>
                  </a:lnTo>
                  <a:lnTo>
                    <a:pt x="153" y="353"/>
                  </a:lnTo>
                  <a:lnTo>
                    <a:pt x="159" y="358"/>
                  </a:lnTo>
                  <a:lnTo>
                    <a:pt x="161" y="365"/>
                  </a:lnTo>
                  <a:lnTo>
                    <a:pt x="164" y="371"/>
                  </a:lnTo>
                  <a:lnTo>
                    <a:pt x="164" y="378"/>
                  </a:lnTo>
                  <a:lnTo>
                    <a:pt x="164" y="378"/>
                  </a:lnTo>
                  <a:close/>
                  <a:moveTo>
                    <a:pt x="499" y="1045"/>
                  </a:moveTo>
                  <a:lnTo>
                    <a:pt x="88" y="1045"/>
                  </a:lnTo>
                  <a:lnTo>
                    <a:pt x="88" y="1001"/>
                  </a:lnTo>
                  <a:lnTo>
                    <a:pt x="499" y="1001"/>
                  </a:lnTo>
                  <a:lnTo>
                    <a:pt x="499" y="1045"/>
                  </a:lnTo>
                  <a:close/>
                  <a:moveTo>
                    <a:pt x="499" y="952"/>
                  </a:moveTo>
                  <a:lnTo>
                    <a:pt x="88" y="952"/>
                  </a:lnTo>
                  <a:lnTo>
                    <a:pt x="88" y="908"/>
                  </a:lnTo>
                  <a:lnTo>
                    <a:pt x="499" y="908"/>
                  </a:lnTo>
                  <a:lnTo>
                    <a:pt x="499" y="952"/>
                  </a:lnTo>
                  <a:close/>
                  <a:moveTo>
                    <a:pt x="499" y="859"/>
                  </a:moveTo>
                  <a:lnTo>
                    <a:pt x="88" y="859"/>
                  </a:lnTo>
                  <a:lnTo>
                    <a:pt x="88" y="815"/>
                  </a:lnTo>
                  <a:lnTo>
                    <a:pt x="499" y="815"/>
                  </a:lnTo>
                  <a:lnTo>
                    <a:pt x="499" y="859"/>
                  </a:lnTo>
                  <a:close/>
                </a:path>
              </a:pathLst>
            </a:custGeom>
            <a:solidFill>
              <a:schemeClr val="tx1">
                <a:lumMod val="75000"/>
                <a:lumOff val="25000"/>
              </a:schemeClr>
            </a:solidFill>
            <a:ln w="6350" cap="flat" cmpd="sng" algn="ctr">
              <a:noFill/>
              <a:prstDash val="solid"/>
            </a:ln>
            <a:effectLst/>
          </p:spPr>
          <p:txBody>
            <a:bodyPr anchor="ctr"/>
            <a:lstStyle/>
            <a:p>
              <a:pPr marL="342900" indent="-342900" algn="ctr">
                <a:buFont typeface="Calibri" charset="0"/>
                <a:buAutoNum type="arabicPeriod"/>
                <a:defRPr/>
              </a:pPr>
              <a:endParaRPr lang="en-US" dirty="0">
                <a:solidFill>
                  <a:srgbClr val="FFFFFF"/>
                </a:solidFill>
                <a:latin typeface="Calibri" charset="0"/>
                <a:ea typeface="ＭＳ Ｐゴシック" charset="-128"/>
                <a:cs typeface="+mn-cs"/>
              </a:endParaRPr>
            </a:p>
          </p:txBody>
        </p:sp>
        <p:grpSp>
          <p:nvGrpSpPr>
            <p:cNvPr id="72" name="Group 63"/>
            <p:cNvGrpSpPr/>
            <p:nvPr>
              <p:custDataLst>
                <p:tags r:id="rId8"/>
              </p:custDataLst>
            </p:nvPr>
          </p:nvGrpSpPr>
          <p:grpSpPr bwMode="auto">
            <a:xfrm rot="4338823">
              <a:off x="-3455347" y="4634849"/>
              <a:ext cx="525683" cy="617567"/>
              <a:chOff x="-2798391" y="4456390"/>
              <a:chExt cx="444500" cy="522287"/>
            </a:xfrm>
            <a:solidFill>
              <a:schemeClr val="tx1">
                <a:lumMod val="75000"/>
                <a:lumOff val="25000"/>
              </a:schemeClr>
            </a:solidFill>
          </p:grpSpPr>
          <p:sp>
            <p:nvSpPr>
              <p:cNvPr id="77" name="Freeform 27"/>
              <p:cNvSpPr>
                <a:spLocks/>
              </p:cNvSpPr>
              <p:nvPr/>
            </p:nvSpPr>
            <p:spPr bwMode="auto">
              <a:xfrm rot="665944">
                <a:off x="-2723779" y="4912002"/>
                <a:ext cx="112713" cy="66675"/>
              </a:xfrm>
              <a:custGeom>
                <a:avLst/>
                <a:gdLst/>
                <a:ahLst/>
                <a:cxnLst>
                  <a:cxn ang="0">
                    <a:pos x="0" y="14"/>
                  </a:cxn>
                  <a:cxn ang="0">
                    <a:pos x="0" y="14"/>
                  </a:cxn>
                  <a:cxn ang="0">
                    <a:pos x="0" y="22"/>
                  </a:cxn>
                  <a:cxn ang="0">
                    <a:pos x="6" y="46"/>
                  </a:cxn>
                  <a:cxn ang="0">
                    <a:pos x="12" y="60"/>
                  </a:cxn>
                  <a:cxn ang="0">
                    <a:pos x="18" y="78"/>
                  </a:cxn>
                  <a:cxn ang="0">
                    <a:pos x="28" y="96"/>
                  </a:cxn>
                  <a:cxn ang="0">
                    <a:pos x="40" y="114"/>
                  </a:cxn>
                  <a:cxn ang="0">
                    <a:pos x="54" y="132"/>
                  </a:cxn>
                  <a:cxn ang="0">
                    <a:pos x="70" y="150"/>
                  </a:cxn>
                  <a:cxn ang="0">
                    <a:pos x="90" y="166"/>
                  </a:cxn>
                  <a:cxn ang="0">
                    <a:pos x="112" y="180"/>
                  </a:cxn>
                  <a:cxn ang="0">
                    <a:pos x="140" y="190"/>
                  </a:cxn>
                  <a:cxn ang="0">
                    <a:pos x="170" y="198"/>
                  </a:cxn>
                  <a:cxn ang="0">
                    <a:pos x="186" y="200"/>
                  </a:cxn>
                  <a:cxn ang="0">
                    <a:pos x="204" y="202"/>
                  </a:cxn>
                  <a:cxn ang="0">
                    <a:pos x="224" y="202"/>
                  </a:cxn>
                  <a:cxn ang="0">
                    <a:pos x="242" y="200"/>
                  </a:cxn>
                  <a:cxn ang="0">
                    <a:pos x="242" y="200"/>
                  </a:cxn>
                  <a:cxn ang="0">
                    <a:pos x="280" y="198"/>
                  </a:cxn>
                  <a:cxn ang="0">
                    <a:pos x="306" y="194"/>
                  </a:cxn>
                  <a:cxn ang="0">
                    <a:pos x="326" y="190"/>
                  </a:cxn>
                  <a:cxn ang="0">
                    <a:pos x="336" y="186"/>
                  </a:cxn>
                  <a:cxn ang="0">
                    <a:pos x="342" y="182"/>
                  </a:cxn>
                  <a:cxn ang="0">
                    <a:pos x="344" y="180"/>
                  </a:cxn>
                  <a:cxn ang="0">
                    <a:pos x="342" y="178"/>
                  </a:cxn>
                  <a:cxn ang="0">
                    <a:pos x="338" y="174"/>
                  </a:cxn>
                  <a:cxn ang="0">
                    <a:pos x="332" y="170"/>
                  </a:cxn>
                  <a:cxn ang="0">
                    <a:pos x="310" y="164"/>
                  </a:cxn>
                  <a:cxn ang="0">
                    <a:pos x="284" y="158"/>
                  </a:cxn>
                  <a:cxn ang="0">
                    <a:pos x="256" y="154"/>
                  </a:cxn>
                  <a:cxn ang="0">
                    <a:pos x="256" y="154"/>
                  </a:cxn>
                  <a:cxn ang="0">
                    <a:pos x="248" y="156"/>
                  </a:cxn>
                  <a:cxn ang="0">
                    <a:pos x="228" y="160"/>
                  </a:cxn>
                  <a:cxn ang="0">
                    <a:pos x="216" y="162"/>
                  </a:cxn>
                  <a:cxn ang="0">
                    <a:pos x="200" y="162"/>
                  </a:cxn>
                  <a:cxn ang="0">
                    <a:pos x="182" y="162"/>
                  </a:cxn>
                  <a:cxn ang="0">
                    <a:pos x="164" y="160"/>
                  </a:cxn>
                  <a:cxn ang="0">
                    <a:pos x="146" y="154"/>
                  </a:cxn>
                  <a:cxn ang="0">
                    <a:pos x="126" y="146"/>
                  </a:cxn>
                  <a:cxn ang="0">
                    <a:pos x="106" y="132"/>
                  </a:cxn>
                  <a:cxn ang="0">
                    <a:pos x="86" y="116"/>
                  </a:cxn>
                  <a:cxn ang="0">
                    <a:pos x="66" y="96"/>
                  </a:cxn>
                  <a:cxn ang="0">
                    <a:pos x="48" y="70"/>
                  </a:cxn>
                  <a:cxn ang="0">
                    <a:pos x="30" y="38"/>
                  </a:cxn>
                  <a:cxn ang="0">
                    <a:pos x="14" y="0"/>
                  </a:cxn>
                  <a:cxn ang="0">
                    <a:pos x="0" y="14"/>
                  </a:cxn>
                </a:cxnLst>
                <a:rect l="0" t="0" r="r" b="b"/>
                <a:pathLst>
                  <a:path w="344" h="202">
                    <a:moveTo>
                      <a:pt x="0" y="14"/>
                    </a:moveTo>
                    <a:lnTo>
                      <a:pt x="0" y="14"/>
                    </a:lnTo>
                    <a:lnTo>
                      <a:pt x="0" y="22"/>
                    </a:lnTo>
                    <a:lnTo>
                      <a:pt x="6" y="46"/>
                    </a:lnTo>
                    <a:lnTo>
                      <a:pt x="12" y="60"/>
                    </a:lnTo>
                    <a:lnTo>
                      <a:pt x="18" y="78"/>
                    </a:lnTo>
                    <a:lnTo>
                      <a:pt x="28" y="96"/>
                    </a:lnTo>
                    <a:lnTo>
                      <a:pt x="40" y="114"/>
                    </a:lnTo>
                    <a:lnTo>
                      <a:pt x="54" y="132"/>
                    </a:lnTo>
                    <a:lnTo>
                      <a:pt x="70" y="150"/>
                    </a:lnTo>
                    <a:lnTo>
                      <a:pt x="90" y="166"/>
                    </a:lnTo>
                    <a:lnTo>
                      <a:pt x="112" y="180"/>
                    </a:lnTo>
                    <a:lnTo>
                      <a:pt x="140" y="190"/>
                    </a:lnTo>
                    <a:lnTo>
                      <a:pt x="170" y="198"/>
                    </a:lnTo>
                    <a:lnTo>
                      <a:pt x="186" y="200"/>
                    </a:lnTo>
                    <a:lnTo>
                      <a:pt x="204" y="202"/>
                    </a:lnTo>
                    <a:lnTo>
                      <a:pt x="224" y="202"/>
                    </a:lnTo>
                    <a:lnTo>
                      <a:pt x="242" y="200"/>
                    </a:lnTo>
                    <a:lnTo>
                      <a:pt x="242" y="200"/>
                    </a:lnTo>
                    <a:lnTo>
                      <a:pt x="280" y="198"/>
                    </a:lnTo>
                    <a:lnTo>
                      <a:pt x="306" y="194"/>
                    </a:lnTo>
                    <a:lnTo>
                      <a:pt x="326" y="190"/>
                    </a:lnTo>
                    <a:lnTo>
                      <a:pt x="336" y="186"/>
                    </a:lnTo>
                    <a:lnTo>
                      <a:pt x="342" y="182"/>
                    </a:lnTo>
                    <a:lnTo>
                      <a:pt x="344" y="180"/>
                    </a:lnTo>
                    <a:lnTo>
                      <a:pt x="342" y="178"/>
                    </a:lnTo>
                    <a:lnTo>
                      <a:pt x="338" y="174"/>
                    </a:lnTo>
                    <a:lnTo>
                      <a:pt x="332" y="170"/>
                    </a:lnTo>
                    <a:lnTo>
                      <a:pt x="310" y="164"/>
                    </a:lnTo>
                    <a:lnTo>
                      <a:pt x="284" y="158"/>
                    </a:lnTo>
                    <a:lnTo>
                      <a:pt x="256" y="154"/>
                    </a:lnTo>
                    <a:lnTo>
                      <a:pt x="256" y="154"/>
                    </a:lnTo>
                    <a:lnTo>
                      <a:pt x="248" y="156"/>
                    </a:lnTo>
                    <a:lnTo>
                      <a:pt x="228" y="160"/>
                    </a:lnTo>
                    <a:lnTo>
                      <a:pt x="216" y="162"/>
                    </a:lnTo>
                    <a:lnTo>
                      <a:pt x="200" y="162"/>
                    </a:lnTo>
                    <a:lnTo>
                      <a:pt x="182" y="162"/>
                    </a:lnTo>
                    <a:lnTo>
                      <a:pt x="164" y="160"/>
                    </a:lnTo>
                    <a:lnTo>
                      <a:pt x="146" y="154"/>
                    </a:lnTo>
                    <a:lnTo>
                      <a:pt x="126" y="146"/>
                    </a:lnTo>
                    <a:lnTo>
                      <a:pt x="106" y="132"/>
                    </a:lnTo>
                    <a:lnTo>
                      <a:pt x="86" y="116"/>
                    </a:lnTo>
                    <a:lnTo>
                      <a:pt x="66" y="96"/>
                    </a:lnTo>
                    <a:lnTo>
                      <a:pt x="48" y="70"/>
                    </a:lnTo>
                    <a:lnTo>
                      <a:pt x="30" y="38"/>
                    </a:lnTo>
                    <a:lnTo>
                      <a:pt x="14" y="0"/>
                    </a:lnTo>
                    <a:lnTo>
                      <a:pt x="0" y="14"/>
                    </a:lnTo>
                    <a:close/>
                  </a:path>
                </a:pathLst>
              </a:custGeom>
              <a:grpFill/>
              <a:ln w="6350" cap="flat" cmpd="sng" algn="ctr">
                <a:noFill/>
                <a:prstDash val="solid"/>
              </a:ln>
              <a:effectLst/>
            </p:spPr>
            <p:txBody>
              <a:bodyPr anchor="ctr"/>
              <a:lstStyle/>
              <a:p>
                <a:pPr marL="342900" indent="-342900" algn="ctr">
                  <a:buFont typeface="Calibri" charset="0"/>
                  <a:buAutoNum type="arabicPeriod"/>
                  <a:defRPr/>
                </a:pPr>
                <a:endParaRPr lang="en-US">
                  <a:solidFill>
                    <a:srgbClr val="FFFFFF"/>
                  </a:solidFill>
                  <a:latin typeface="Calibri" charset="0"/>
                  <a:ea typeface="ＭＳ Ｐゴシック" charset="-128"/>
                  <a:cs typeface="+mn-cs"/>
                </a:endParaRPr>
              </a:p>
            </p:txBody>
          </p:sp>
          <p:sp>
            <p:nvSpPr>
              <p:cNvPr id="78" name="Freeform 77"/>
              <p:cNvSpPr>
                <a:spLocks/>
              </p:cNvSpPr>
              <p:nvPr/>
            </p:nvSpPr>
            <p:spPr bwMode="auto">
              <a:xfrm rot="665944">
                <a:off x="-2739654" y="4864377"/>
                <a:ext cx="60325" cy="44450"/>
              </a:xfrm>
              <a:custGeom>
                <a:avLst/>
                <a:gdLst/>
                <a:ahLst/>
                <a:cxnLst>
                  <a:cxn ang="0">
                    <a:pos x="72" y="96"/>
                  </a:cxn>
                  <a:cxn ang="0">
                    <a:pos x="98" y="68"/>
                  </a:cxn>
                  <a:cxn ang="0">
                    <a:pos x="120" y="54"/>
                  </a:cxn>
                  <a:cxn ang="0">
                    <a:pos x="130" y="54"/>
                  </a:cxn>
                  <a:cxn ang="0">
                    <a:pos x="140" y="62"/>
                  </a:cxn>
                  <a:cxn ang="0">
                    <a:pos x="142" y="68"/>
                  </a:cxn>
                  <a:cxn ang="0">
                    <a:pos x="138" y="78"/>
                  </a:cxn>
                  <a:cxn ang="0">
                    <a:pos x="126" y="90"/>
                  </a:cxn>
                  <a:cxn ang="0">
                    <a:pos x="108" y="96"/>
                  </a:cxn>
                  <a:cxn ang="0">
                    <a:pos x="88" y="100"/>
                  </a:cxn>
                  <a:cxn ang="0">
                    <a:pos x="68" y="94"/>
                  </a:cxn>
                  <a:cxn ang="0">
                    <a:pos x="50" y="82"/>
                  </a:cxn>
                  <a:cxn ang="0">
                    <a:pos x="38" y="56"/>
                  </a:cxn>
                  <a:cxn ang="0">
                    <a:pos x="34" y="40"/>
                  </a:cxn>
                  <a:cxn ang="0">
                    <a:pos x="30" y="12"/>
                  </a:cxn>
                  <a:cxn ang="0">
                    <a:pos x="20" y="0"/>
                  </a:cxn>
                  <a:cxn ang="0">
                    <a:pos x="12" y="2"/>
                  </a:cxn>
                  <a:cxn ang="0">
                    <a:pos x="4" y="14"/>
                  </a:cxn>
                  <a:cxn ang="0">
                    <a:pos x="0" y="34"/>
                  </a:cxn>
                  <a:cxn ang="0">
                    <a:pos x="2" y="58"/>
                  </a:cxn>
                  <a:cxn ang="0">
                    <a:pos x="10" y="84"/>
                  </a:cxn>
                  <a:cxn ang="0">
                    <a:pos x="28" y="106"/>
                  </a:cxn>
                  <a:cxn ang="0">
                    <a:pos x="40" y="116"/>
                  </a:cxn>
                  <a:cxn ang="0">
                    <a:pos x="66" y="128"/>
                  </a:cxn>
                  <a:cxn ang="0">
                    <a:pos x="96" y="132"/>
                  </a:cxn>
                  <a:cxn ang="0">
                    <a:pos x="124" y="128"/>
                  </a:cxn>
                  <a:cxn ang="0">
                    <a:pos x="150" y="118"/>
                  </a:cxn>
                  <a:cxn ang="0">
                    <a:pos x="170" y="102"/>
                  </a:cxn>
                  <a:cxn ang="0">
                    <a:pos x="182" y="82"/>
                  </a:cxn>
                  <a:cxn ang="0">
                    <a:pos x="184" y="58"/>
                  </a:cxn>
                  <a:cxn ang="0">
                    <a:pos x="180" y="46"/>
                  </a:cxn>
                  <a:cxn ang="0">
                    <a:pos x="166" y="26"/>
                  </a:cxn>
                  <a:cxn ang="0">
                    <a:pos x="148" y="18"/>
                  </a:cxn>
                  <a:cxn ang="0">
                    <a:pos x="128" y="20"/>
                  </a:cxn>
                  <a:cxn ang="0">
                    <a:pos x="108" y="26"/>
                  </a:cxn>
                  <a:cxn ang="0">
                    <a:pos x="74" y="56"/>
                  </a:cxn>
                  <a:cxn ang="0">
                    <a:pos x="62" y="72"/>
                  </a:cxn>
                  <a:cxn ang="0">
                    <a:pos x="58" y="88"/>
                  </a:cxn>
                </a:cxnLst>
                <a:rect l="0" t="0" r="r" b="b"/>
                <a:pathLst>
                  <a:path w="184" h="132">
                    <a:moveTo>
                      <a:pt x="72" y="96"/>
                    </a:moveTo>
                    <a:lnTo>
                      <a:pt x="72" y="96"/>
                    </a:lnTo>
                    <a:lnTo>
                      <a:pt x="80" y="86"/>
                    </a:lnTo>
                    <a:lnTo>
                      <a:pt x="98" y="68"/>
                    </a:lnTo>
                    <a:lnTo>
                      <a:pt x="110" y="60"/>
                    </a:lnTo>
                    <a:lnTo>
                      <a:pt x="120" y="54"/>
                    </a:lnTo>
                    <a:lnTo>
                      <a:pt x="126" y="54"/>
                    </a:lnTo>
                    <a:lnTo>
                      <a:pt x="130" y="54"/>
                    </a:lnTo>
                    <a:lnTo>
                      <a:pt x="136" y="58"/>
                    </a:lnTo>
                    <a:lnTo>
                      <a:pt x="140" y="62"/>
                    </a:lnTo>
                    <a:lnTo>
                      <a:pt x="140" y="62"/>
                    </a:lnTo>
                    <a:lnTo>
                      <a:pt x="142" y="68"/>
                    </a:lnTo>
                    <a:lnTo>
                      <a:pt x="140" y="74"/>
                    </a:lnTo>
                    <a:lnTo>
                      <a:pt x="138" y="78"/>
                    </a:lnTo>
                    <a:lnTo>
                      <a:pt x="132" y="84"/>
                    </a:lnTo>
                    <a:lnTo>
                      <a:pt x="126" y="90"/>
                    </a:lnTo>
                    <a:lnTo>
                      <a:pt x="118" y="94"/>
                    </a:lnTo>
                    <a:lnTo>
                      <a:pt x="108" y="96"/>
                    </a:lnTo>
                    <a:lnTo>
                      <a:pt x="98" y="98"/>
                    </a:lnTo>
                    <a:lnTo>
                      <a:pt x="88" y="100"/>
                    </a:lnTo>
                    <a:lnTo>
                      <a:pt x="78" y="98"/>
                    </a:lnTo>
                    <a:lnTo>
                      <a:pt x="68" y="94"/>
                    </a:lnTo>
                    <a:lnTo>
                      <a:pt x="58" y="90"/>
                    </a:lnTo>
                    <a:lnTo>
                      <a:pt x="50" y="82"/>
                    </a:lnTo>
                    <a:lnTo>
                      <a:pt x="44" y="70"/>
                    </a:lnTo>
                    <a:lnTo>
                      <a:pt x="38" y="56"/>
                    </a:lnTo>
                    <a:lnTo>
                      <a:pt x="34" y="40"/>
                    </a:lnTo>
                    <a:lnTo>
                      <a:pt x="34" y="40"/>
                    </a:lnTo>
                    <a:lnTo>
                      <a:pt x="32" y="24"/>
                    </a:lnTo>
                    <a:lnTo>
                      <a:pt x="30" y="12"/>
                    </a:lnTo>
                    <a:lnTo>
                      <a:pt x="26" y="4"/>
                    </a:lnTo>
                    <a:lnTo>
                      <a:pt x="20" y="0"/>
                    </a:lnTo>
                    <a:lnTo>
                      <a:pt x="16" y="0"/>
                    </a:lnTo>
                    <a:lnTo>
                      <a:pt x="12" y="2"/>
                    </a:lnTo>
                    <a:lnTo>
                      <a:pt x="8" y="8"/>
                    </a:lnTo>
                    <a:lnTo>
                      <a:pt x="4" y="14"/>
                    </a:lnTo>
                    <a:lnTo>
                      <a:pt x="2" y="24"/>
                    </a:lnTo>
                    <a:lnTo>
                      <a:pt x="0" y="34"/>
                    </a:lnTo>
                    <a:lnTo>
                      <a:pt x="0" y="46"/>
                    </a:lnTo>
                    <a:lnTo>
                      <a:pt x="2" y="58"/>
                    </a:lnTo>
                    <a:lnTo>
                      <a:pt x="6" y="70"/>
                    </a:lnTo>
                    <a:lnTo>
                      <a:pt x="10" y="84"/>
                    </a:lnTo>
                    <a:lnTo>
                      <a:pt x="18" y="96"/>
                    </a:lnTo>
                    <a:lnTo>
                      <a:pt x="28" y="106"/>
                    </a:lnTo>
                    <a:lnTo>
                      <a:pt x="28" y="106"/>
                    </a:lnTo>
                    <a:lnTo>
                      <a:pt x="40" y="116"/>
                    </a:lnTo>
                    <a:lnTo>
                      <a:pt x="52" y="124"/>
                    </a:lnTo>
                    <a:lnTo>
                      <a:pt x="66" y="128"/>
                    </a:lnTo>
                    <a:lnTo>
                      <a:pt x="80" y="132"/>
                    </a:lnTo>
                    <a:lnTo>
                      <a:pt x="96" y="132"/>
                    </a:lnTo>
                    <a:lnTo>
                      <a:pt x="110" y="132"/>
                    </a:lnTo>
                    <a:lnTo>
                      <a:pt x="124" y="128"/>
                    </a:lnTo>
                    <a:lnTo>
                      <a:pt x="138" y="124"/>
                    </a:lnTo>
                    <a:lnTo>
                      <a:pt x="150" y="118"/>
                    </a:lnTo>
                    <a:lnTo>
                      <a:pt x="160" y="110"/>
                    </a:lnTo>
                    <a:lnTo>
                      <a:pt x="170" y="102"/>
                    </a:lnTo>
                    <a:lnTo>
                      <a:pt x="178" y="92"/>
                    </a:lnTo>
                    <a:lnTo>
                      <a:pt x="182" y="82"/>
                    </a:lnTo>
                    <a:lnTo>
                      <a:pt x="184" y="70"/>
                    </a:lnTo>
                    <a:lnTo>
                      <a:pt x="184" y="58"/>
                    </a:lnTo>
                    <a:lnTo>
                      <a:pt x="180" y="46"/>
                    </a:lnTo>
                    <a:lnTo>
                      <a:pt x="180" y="46"/>
                    </a:lnTo>
                    <a:lnTo>
                      <a:pt x="174" y="34"/>
                    </a:lnTo>
                    <a:lnTo>
                      <a:pt x="166" y="26"/>
                    </a:lnTo>
                    <a:lnTo>
                      <a:pt x="158" y="22"/>
                    </a:lnTo>
                    <a:lnTo>
                      <a:pt x="148" y="18"/>
                    </a:lnTo>
                    <a:lnTo>
                      <a:pt x="138" y="18"/>
                    </a:lnTo>
                    <a:lnTo>
                      <a:pt x="128" y="20"/>
                    </a:lnTo>
                    <a:lnTo>
                      <a:pt x="118" y="22"/>
                    </a:lnTo>
                    <a:lnTo>
                      <a:pt x="108" y="26"/>
                    </a:lnTo>
                    <a:lnTo>
                      <a:pt x="90" y="40"/>
                    </a:lnTo>
                    <a:lnTo>
                      <a:pt x="74" y="56"/>
                    </a:lnTo>
                    <a:lnTo>
                      <a:pt x="66" y="64"/>
                    </a:lnTo>
                    <a:lnTo>
                      <a:pt x="62" y="72"/>
                    </a:lnTo>
                    <a:lnTo>
                      <a:pt x="60" y="80"/>
                    </a:lnTo>
                    <a:lnTo>
                      <a:pt x="58" y="88"/>
                    </a:lnTo>
                  </a:path>
                </a:pathLst>
              </a:custGeom>
              <a:grpFill/>
              <a:ln w="6350" cap="flat" cmpd="sng" algn="ctr">
                <a:noFill/>
                <a:prstDash val="solid"/>
              </a:ln>
              <a:effectLst/>
            </p:spPr>
            <p:txBody>
              <a:bodyPr anchor="ctr"/>
              <a:lstStyle/>
              <a:p>
                <a:pPr marL="342900" indent="-342900" algn="ctr">
                  <a:buFont typeface="Calibri" charset="0"/>
                  <a:buAutoNum type="arabicPeriod"/>
                  <a:defRPr/>
                </a:pPr>
                <a:endParaRPr lang="en-US">
                  <a:solidFill>
                    <a:srgbClr val="FFFFFF"/>
                  </a:solidFill>
                  <a:latin typeface="Calibri" charset="0"/>
                  <a:ea typeface="ＭＳ Ｐゴシック" charset="-128"/>
                  <a:cs typeface="+mn-cs"/>
                </a:endParaRPr>
              </a:p>
            </p:txBody>
          </p:sp>
          <p:sp>
            <p:nvSpPr>
              <p:cNvPr id="79" name="Freeform 31"/>
              <p:cNvSpPr>
                <a:spLocks/>
              </p:cNvSpPr>
              <p:nvPr/>
            </p:nvSpPr>
            <p:spPr bwMode="auto">
              <a:xfrm rot="665944">
                <a:off x="-2763466" y="4819927"/>
                <a:ext cx="68262" cy="49213"/>
              </a:xfrm>
              <a:custGeom>
                <a:avLst/>
                <a:gdLst/>
                <a:ahLst/>
                <a:cxnLst>
                  <a:cxn ang="0">
                    <a:pos x="80" y="108"/>
                  </a:cxn>
                  <a:cxn ang="0">
                    <a:pos x="98" y="88"/>
                  </a:cxn>
                  <a:cxn ang="0">
                    <a:pos x="122" y="68"/>
                  </a:cxn>
                  <a:cxn ang="0">
                    <a:pos x="140" y="62"/>
                  </a:cxn>
                  <a:cxn ang="0">
                    <a:pos x="152" y="64"/>
                  </a:cxn>
                  <a:cxn ang="0">
                    <a:pos x="156" y="70"/>
                  </a:cxn>
                  <a:cxn ang="0">
                    <a:pos x="158" y="82"/>
                  </a:cxn>
                  <a:cxn ang="0">
                    <a:pos x="148" y="96"/>
                  </a:cxn>
                  <a:cxn ang="0">
                    <a:pos x="132" y="106"/>
                  </a:cxn>
                  <a:cxn ang="0">
                    <a:pos x="110" y="112"/>
                  </a:cxn>
                  <a:cxn ang="0">
                    <a:pos x="86" y="110"/>
                  </a:cxn>
                  <a:cxn ang="0">
                    <a:pos x="64" y="100"/>
                  </a:cxn>
                  <a:cxn ang="0">
                    <a:pos x="48" y="80"/>
                  </a:cxn>
                  <a:cxn ang="0">
                    <a:pos x="38" y="46"/>
                  </a:cxn>
                  <a:cxn ang="0">
                    <a:pos x="36" y="26"/>
                  </a:cxn>
                  <a:cxn ang="0">
                    <a:pos x="28" y="6"/>
                  </a:cxn>
                  <a:cxn ang="0">
                    <a:pos x="18" y="0"/>
                  </a:cxn>
                  <a:cxn ang="0">
                    <a:pos x="8" y="8"/>
                  </a:cxn>
                  <a:cxn ang="0">
                    <a:pos x="2" y="26"/>
                  </a:cxn>
                  <a:cxn ang="0">
                    <a:pos x="0" y="52"/>
                  </a:cxn>
                  <a:cxn ang="0">
                    <a:pos x="4" y="80"/>
                  </a:cxn>
                  <a:cxn ang="0">
                    <a:pos x="18" y="108"/>
                  </a:cxn>
                  <a:cxn ang="0">
                    <a:pos x="30" y="120"/>
                  </a:cxn>
                  <a:cxn ang="0">
                    <a:pos x="58" y="140"/>
                  </a:cxn>
                  <a:cxn ang="0">
                    <a:pos x="90" y="148"/>
                  </a:cxn>
                  <a:cxn ang="0">
                    <a:pos x="122" y="148"/>
                  </a:cxn>
                  <a:cxn ang="0">
                    <a:pos x="154" y="140"/>
                  </a:cxn>
                  <a:cxn ang="0">
                    <a:pos x="180" y="124"/>
                  </a:cxn>
                  <a:cxn ang="0">
                    <a:pos x="198" y="104"/>
                  </a:cxn>
                  <a:cxn ang="0">
                    <a:pos x="208" y="78"/>
                  </a:cxn>
                  <a:cxn ang="0">
                    <a:pos x="202" y="50"/>
                  </a:cxn>
                  <a:cxn ang="0">
                    <a:pos x="194" y="38"/>
                  </a:cxn>
                  <a:cxn ang="0">
                    <a:pos x="178" y="24"/>
                  </a:cxn>
                  <a:cxn ang="0">
                    <a:pos x="156" y="20"/>
                  </a:cxn>
                  <a:cxn ang="0">
                    <a:pos x="132" y="26"/>
                  </a:cxn>
                  <a:cxn ang="0">
                    <a:pos x="110" y="36"/>
                  </a:cxn>
                  <a:cxn ang="0">
                    <a:pos x="90" y="54"/>
                  </a:cxn>
                  <a:cxn ang="0">
                    <a:pos x="74" y="72"/>
                  </a:cxn>
                  <a:cxn ang="0">
                    <a:pos x="66" y="90"/>
                  </a:cxn>
                </a:cxnLst>
                <a:rect l="0" t="0" r="r" b="b"/>
                <a:pathLst>
                  <a:path w="208" h="150">
                    <a:moveTo>
                      <a:pt x="80" y="108"/>
                    </a:moveTo>
                    <a:lnTo>
                      <a:pt x="80" y="108"/>
                    </a:lnTo>
                    <a:lnTo>
                      <a:pt x="88" y="98"/>
                    </a:lnTo>
                    <a:lnTo>
                      <a:pt x="98" y="88"/>
                    </a:lnTo>
                    <a:lnTo>
                      <a:pt x="110" y="76"/>
                    </a:lnTo>
                    <a:lnTo>
                      <a:pt x="122" y="68"/>
                    </a:lnTo>
                    <a:lnTo>
                      <a:pt x="136" y="62"/>
                    </a:lnTo>
                    <a:lnTo>
                      <a:pt x="140" y="62"/>
                    </a:lnTo>
                    <a:lnTo>
                      <a:pt x="146" y="62"/>
                    </a:lnTo>
                    <a:lnTo>
                      <a:pt x="152" y="64"/>
                    </a:lnTo>
                    <a:lnTo>
                      <a:pt x="156" y="70"/>
                    </a:lnTo>
                    <a:lnTo>
                      <a:pt x="156" y="70"/>
                    </a:lnTo>
                    <a:lnTo>
                      <a:pt x="158" y="76"/>
                    </a:lnTo>
                    <a:lnTo>
                      <a:pt x="158" y="82"/>
                    </a:lnTo>
                    <a:lnTo>
                      <a:pt x="154" y="88"/>
                    </a:lnTo>
                    <a:lnTo>
                      <a:pt x="148" y="96"/>
                    </a:lnTo>
                    <a:lnTo>
                      <a:pt x="140" y="100"/>
                    </a:lnTo>
                    <a:lnTo>
                      <a:pt x="132" y="106"/>
                    </a:lnTo>
                    <a:lnTo>
                      <a:pt x="120" y="108"/>
                    </a:lnTo>
                    <a:lnTo>
                      <a:pt x="110" y="112"/>
                    </a:lnTo>
                    <a:lnTo>
                      <a:pt x="98" y="112"/>
                    </a:lnTo>
                    <a:lnTo>
                      <a:pt x="86" y="110"/>
                    </a:lnTo>
                    <a:lnTo>
                      <a:pt x="76" y="106"/>
                    </a:lnTo>
                    <a:lnTo>
                      <a:pt x="64" y="100"/>
                    </a:lnTo>
                    <a:lnTo>
                      <a:pt x="56" y="92"/>
                    </a:lnTo>
                    <a:lnTo>
                      <a:pt x="48" y="80"/>
                    </a:lnTo>
                    <a:lnTo>
                      <a:pt x="42" y="64"/>
                    </a:lnTo>
                    <a:lnTo>
                      <a:pt x="38" y="46"/>
                    </a:lnTo>
                    <a:lnTo>
                      <a:pt x="38" y="46"/>
                    </a:lnTo>
                    <a:lnTo>
                      <a:pt x="36" y="26"/>
                    </a:lnTo>
                    <a:lnTo>
                      <a:pt x="32" y="14"/>
                    </a:lnTo>
                    <a:lnTo>
                      <a:pt x="28" y="6"/>
                    </a:lnTo>
                    <a:lnTo>
                      <a:pt x="22" y="0"/>
                    </a:lnTo>
                    <a:lnTo>
                      <a:pt x="18" y="0"/>
                    </a:lnTo>
                    <a:lnTo>
                      <a:pt x="12" y="2"/>
                    </a:lnTo>
                    <a:lnTo>
                      <a:pt x="8" y="8"/>
                    </a:lnTo>
                    <a:lnTo>
                      <a:pt x="4" y="16"/>
                    </a:lnTo>
                    <a:lnTo>
                      <a:pt x="2" y="26"/>
                    </a:lnTo>
                    <a:lnTo>
                      <a:pt x="0" y="38"/>
                    </a:lnTo>
                    <a:lnTo>
                      <a:pt x="0" y="52"/>
                    </a:lnTo>
                    <a:lnTo>
                      <a:pt x="2" y="66"/>
                    </a:lnTo>
                    <a:lnTo>
                      <a:pt x="4" y="80"/>
                    </a:lnTo>
                    <a:lnTo>
                      <a:pt x="10" y="94"/>
                    </a:lnTo>
                    <a:lnTo>
                      <a:pt x="18" y="108"/>
                    </a:lnTo>
                    <a:lnTo>
                      <a:pt x="30" y="120"/>
                    </a:lnTo>
                    <a:lnTo>
                      <a:pt x="30" y="120"/>
                    </a:lnTo>
                    <a:lnTo>
                      <a:pt x="44" y="132"/>
                    </a:lnTo>
                    <a:lnTo>
                      <a:pt x="58" y="140"/>
                    </a:lnTo>
                    <a:lnTo>
                      <a:pt x="74" y="146"/>
                    </a:lnTo>
                    <a:lnTo>
                      <a:pt x="90" y="148"/>
                    </a:lnTo>
                    <a:lnTo>
                      <a:pt x="106" y="150"/>
                    </a:lnTo>
                    <a:lnTo>
                      <a:pt x="122" y="148"/>
                    </a:lnTo>
                    <a:lnTo>
                      <a:pt x="138" y="144"/>
                    </a:lnTo>
                    <a:lnTo>
                      <a:pt x="154" y="140"/>
                    </a:lnTo>
                    <a:lnTo>
                      <a:pt x="168" y="132"/>
                    </a:lnTo>
                    <a:lnTo>
                      <a:pt x="180" y="124"/>
                    </a:lnTo>
                    <a:lnTo>
                      <a:pt x="190" y="114"/>
                    </a:lnTo>
                    <a:lnTo>
                      <a:pt x="198" y="104"/>
                    </a:lnTo>
                    <a:lnTo>
                      <a:pt x="204" y="92"/>
                    </a:lnTo>
                    <a:lnTo>
                      <a:pt x="208" y="78"/>
                    </a:lnTo>
                    <a:lnTo>
                      <a:pt x="206" y="66"/>
                    </a:lnTo>
                    <a:lnTo>
                      <a:pt x="202" y="50"/>
                    </a:lnTo>
                    <a:lnTo>
                      <a:pt x="202" y="50"/>
                    </a:lnTo>
                    <a:lnTo>
                      <a:pt x="194" y="38"/>
                    </a:lnTo>
                    <a:lnTo>
                      <a:pt x="186" y="30"/>
                    </a:lnTo>
                    <a:lnTo>
                      <a:pt x="178" y="24"/>
                    </a:lnTo>
                    <a:lnTo>
                      <a:pt x="166" y="22"/>
                    </a:lnTo>
                    <a:lnTo>
                      <a:pt x="156" y="20"/>
                    </a:lnTo>
                    <a:lnTo>
                      <a:pt x="144" y="22"/>
                    </a:lnTo>
                    <a:lnTo>
                      <a:pt x="132" y="26"/>
                    </a:lnTo>
                    <a:lnTo>
                      <a:pt x="122" y="30"/>
                    </a:lnTo>
                    <a:lnTo>
                      <a:pt x="110" y="36"/>
                    </a:lnTo>
                    <a:lnTo>
                      <a:pt x="100" y="44"/>
                    </a:lnTo>
                    <a:lnTo>
                      <a:pt x="90" y="54"/>
                    </a:lnTo>
                    <a:lnTo>
                      <a:pt x="82" y="62"/>
                    </a:lnTo>
                    <a:lnTo>
                      <a:pt x="74" y="72"/>
                    </a:lnTo>
                    <a:lnTo>
                      <a:pt x="70" y="82"/>
                    </a:lnTo>
                    <a:lnTo>
                      <a:pt x="66" y="90"/>
                    </a:lnTo>
                    <a:lnTo>
                      <a:pt x="64" y="100"/>
                    </a:lnTo>
                  </a:path>
                </a:pathLst>
              </a:custGeom>
              <a:grpFill/>
              <a:ln w="6350" cap="flat" cmpd="sng" algn="ctr">
                <a:noFill/>
                <a:prstDash val="solid"/>
              </a:ln>
              <a:effectLst/>
            </p:spPr>
            <p:txBody>
              <a:bodyPr anchor="ctr"/>
              <a:lstStyle/>
              <a:p>
                <a:pPr marL="342900" indent="-342900" algn="ctr">
                  <a:buFont typeface="Calibri" charset="0"/>
                  <a:buAutoNum type="arabicPeriod"/>
                  <a:defRPr/>
                </a:pPr>
                <a:endParaRPr lang="en-US">
                  <a:solidFill>
                    <a:srgbClr val="FFFFFF"/>
                  </a:solidFill>
                  <a:latin typeface="Calibri" charset="0"/>
                  <a:ea typeface="ＭＳ Ｐゴシック" charset="-128"/>
                  <a:cs typeface="+mn-cs"/>
                </a:endParaRPr>
              </a:p>
            </p:txBody>
          </p:sp>
          <p:sp>
            <p:nvSpPr>
              <p:cNvPr id="80" name="Freeform 33"/>
              <p:cNvSpPr>
                <a:spLocks/>
              </p:cNvSpPr>
              <p:nvPr/>
            </p:nvSpPr>
            <p:spPr bwMode="auto">
              <a:xfrm rot="665944">
                <a:off x="-2798391" y="4759602"/>
                <a:ext cx="95250" cy="68263"/>
              </a:xfrm>
              <a:custGeom>
                <a:avLst/>
                <a:gdLst/>
                <a:ahLst/>
                <a:cxnLst>
                  <a:cxn ang="0">
                    <a:pos x="110" y="154"/>
                  </a:cxn>
                  <a:cxn ang="0">
                    <a:pos x="136" y="124"/>
                  </a:cxn>
                  <a:cxn ang="0">
                    <a:pos x="172" y="96"/>
                  </a:cxn>
                  <a:cxn ang="0">
                    <a:pos x="190" y="86"/>
                  </a:cxn>
                  <a:cxn ang="0">
                    <a:pos x="206" y="86"/>
                  </a:cxn>
                  <a:cxn ang="0">
                    <a:pos x="220" y="96"/>
                  </a:cxn>
                  <a:cxn ang="0">
                    <a:pos x="222" y="106"/>
                  </a:cxn>
                  <a:cxn ang="0">
                    <a:pos x="216" y="124"/>
                  </a:cxn>
                  <a:cxn ang="0">
                    <a:pos x="198" y="140"/>
                  </a:cxn>
                  <a:cxn ang="0">
                    <a:pos x="170" y="152"/>
                  </a:cxn>
                  <a:cxn ang="0">
                    <a:pos x="138" y="156"/>
                  </a:cxn>
                  <a:cxn ang="0">
                    <a:pos x="106" y="148"/>
                  </a:cxn>
                  <a:cxn ang="0">
                    <a:pos x="78" y="128"/>
                  </a:cxn>
                  <a:cxn ang="0">
                    <a:pos x="60" y="90"/>
                  </a:cxn>
                  <a:cxn ang="0">
                    <a:pos x="54" y="62"/>
                  </a:cxn>
                  <a:cxn ang="0">
                    <a:pos x="46" y="18"/>
                  </a:cxn>
                  <a:cxn ang="0">
                    <a:pos x="32" y="0"/>
                  </a:cxn>
                  <a:cxn ang="0">
                    <a:pos x="26" y="0"/>
                  </a:cxn>
                  <a:cxn ang="0">
                    <a:pos x="12" y="12"/>
                  </a:cxn>
                  <a:cxn ang="0">
                    <a:pos x="4" y="36"/>
                  </a:cxn>
                  <a:cxn ang="0">
                    <a:pos x="0" y="72"/>
                  </a:cxn>
                  <a:cxn ang="0">
                    <a:pos x="8" y="110"/>
                  </a:cxn>
                  <a:cxn ang="0">
                    <a:pos x="28" y="150"/>
                  </a:cxn>
                  <a:cxn ang="0">
                    <a:pos x="42" y="168"/>
                  </a:cxn>
                  <a:cxn ang="0">
                    <a:pos x="82" y="194"/>
                  </a:cxn>
                  <a:cxn ang="0">
                    <a:pos x="126" y="206"/>
                  </a:cxn>
                  <a:cxn ang="0">
                    <a:pos x="172" y="206"/>
                  </a:cxn>
                  <a:cxn ang="0">
                    <a:pos x="216" y="194"/>
                  </a:cxn>
                  <a:cxn ang="0">
                    <a:pos x="254" y="172"/>
                  </a:cxn>
                  <a:cxn ang="0">
                    <a:pos x="280" y="144"/>
                  </a:cxn>
                  <a:cxn ang="0">
                    <a:pos x="290" y="110"/>
                  </a:cxn>
                  <a:cxn ang="0">
                    <a:pos x="290" y="90"/>
                  </a:cxn>
                  <a:cxn ang="0">
                    <a:pos x="284" y="70"/>
                  </a:cxn>
                  <a:cxn ang="0">
                    <a:pos x="274" y="54"/>
                  </a:cxn>
                  <a:cxn ang="0">
                    <a:pos x="248" y="34"/>
                  </a:cxn>
                  <a:cxn ang="0">
                    <a:pos x="218" y="28"/>
                  </a:cxn>
                  <a:cxn ang="0">
                    <a:pos x="186" y="34"/>
                  </a:cxn>
                  <a:cxn ang="0">
                    <a:pos x="156" y="52"/>
                  </a:cxn>
                  <a:cxn ang="0">
                    <a:pos x="128" y="74"/>
                  </a:cxn>
                  <a:cxn ang="0">
                    <a:pos x="106" y="100"/>
                  </a:cxn>
                  <a:cxn ang="0">
                    <a:pos x="94" y="126"/>
                  </a:cxn>
                </a:cxnLst>
                <a:rect l="0" t="0" r="r" b="b"/>
                <a:pathLst>
                  <a:path w="290" h="208">
                    <a:moveTo>
                      <a:pt x="110" y="154"/>
                    </a:moveTo>
                    <a:lnTo>
                      <a:pt x="110" y="154"/>
                    </a:lnTo>
                    <a:lnTo>
                      <a:pt x="122" y="140"/>
                    </a:lnTo>
                    <a:lnTo>
                      <a:pt x="136" y="124"/>
                    </a:lnTo>
                    <a:lnTo>
                      <a:pt x="154" y="108"/>
                    </a:lnTo>
                    <a:lnTo>
                      <a:pt x="172" y="96"/>
                    </a:lnTo>
                    <a:lnTo>
                      <a:pt x="180" y="90"/>
                    </a:lnTo>
                    <a:lnTo>
                      <a:pt x="190" y="86"/>
                    </a:lnTo>
                    <a:lnTo>
                      <a:pt x="198" y="86"/>
                    </a:lnTo>
                    <a:lnTo>
                      <a:pt x="206" y="86"/>
                    </a:lnTo>
                    <a:lnTo>
                      <a:pt x="214" y="90"/>
                    </a:lnTo>
                    <a:lnTo>
                      <a:pt x="220" y="96"/>
                    </a:lnTo>
                    <a:lnTo>
                      <a:pt x="220" y="96"/>
                    </a:lnTo>
                    <a:lnTo>
                      <a:pt x="222" y="106"/>
                    </a:lnTo>
                    <a:lnTo>
                      <a:pt x="222" y="114"/>
                    </a:lnTo>
                    <a:lnTo>
                      <a:pt x="216" y="124"/>
                    </a:lnTo>
                    <a:lnTo>
                      <a:pt x="208" y="132"/>
                    </a:lnTo>
                    <a:lnTo>
                      <a:pt x="198" y="140"/>
                    </a:lnTo>
                    <a:lnTo>
                      <a:pt x="184" y="146"/>
                    </a:lnTo>
                    <a:lnTo>
                      <a:pt x="170" y="152"/>
                    </a:lnTo>
                    <a:lnTo>
                      <a:pt x="154" y="154"/>
                    </a:lnTo>
                    <a:lnTo>
                      <a:pt x="138" y="156"/>
                    </a:lnTo>
                    <a:lnTo>
                      <a:pt x="122" y="154"/>
                    </a:lnTo>
                    <a:lnTo>
                      <a:pt x="106" y="148"/>
                    </a:lnTo>
                    <a:lnTo>
                      <a:pt x="92" y="140"/>
                    </a:lnTo>
                    <a:lnTo>
                      <a:pt x="78" y="128"/>
                    </a:lnTo>
                    <a:lnTo>
                      <a:pt x="68" y="110"/>
                    </a:lnTo>
                    <a:lnTo>
                      <a:pt x="60" y="90"/>
                    </a:lnTo>
                    <a:lnTo>
                      <a:pt x="54" y="62"/>
                    </a:lnTo>
                    <a:lnTo>
                      <a:pt x="54" y="62"/>
                    </a:lnTo>
                    <a:lnTo>
                      <a:pt x="50" y="38"/>
                    </a:lnTo>
                    <a:lnTo>
                      <a:pt x="46" y="18"/>
                    </a:lnTo>
                    <a:lnTo>
                      <a:pt x="40" y="6"/>
                    </a:lnTo>
                    <a:lnTo>
                      <a:pt x="32" y="0"/>
                    </a:lnTo>
                    <a:lnTo>
                      <a:pt x="30" y="0"/>
                    </a:lnTo>
                    <a:lnTo>
                      <a:pt x="26" y="0"/>
                    </a:lnTo>
                    <a:lnTo>
                      <a:pt x="20" y="4"/>
                    </a:lnTo>
                    <a:lnTo>
                      <a:pt x="12" y="12"/>
                    </a:lnTo>
                    <a:lnTo>
                      <a:pt x="8" y="22"/>
                    </a:lnTo>
                    <a:lnTo>
                      <a:pt x="4" y="36"/>
                    </a:lnTo>
                    <a:lnTo>
                      <a:pt x="2" y="52"/>
                    </a:lnTo>
                    <a:lnTo>
                      <a:pt x="0" y="72"/>
                    </a:lnTo>
                    <a:lnTo>
                      <a:pt x="4" y="90"/>
                    </a:lnTo>
                    <a:lnTo>
                      <a:pt x="8" y="110"/>
                    </a:lnTo>
                    <a:lnTo>
                      <a:pt x="16" y="130"/>
                    </a:lnTo>
                    <a:lnTo>
                      <a:pt x="28" y="150"/>
                    </a:lnTo>
                    <a:lnTo>
                      <a:pt x="42" y="168"/>
                    </a:lnTo>
                    <a:lnTo>
                      <a:pt x="42" y="168"/>
                    </a:lnTo>
                    <a:lnTo>
                      <a:pt x="62" y="184"/>
                    </a:lnTo>
                    <a:lnTo>
                      <a:pt x="82" y="194"/>
                    </a:lnTo>
                    <a:lnTo>
                      <a:pt x="104" y="202"/>
                    </a:lnTo>
                    <a:lnTo>
                      <a:pt x="126" y="206"/>
                    </a:lnTo>
                    <a:lnTo>
                      <a:pt x="150" y="208"/>
                    </a:lnTo>
                    <a:lnTo>
                      <a:pt x="172" y="206"/>
                    </a:lnTo>
                    <a:lnTo>
                      <a:pt x="196" y="202"/>
                    </a:lnTo>
                    <a:lnTo>
                      <a:pt x="216" y="194"/>
                    </a:lnTo>
                    <a:lnTo>
                      <a:pt x="236" y="184"/>
                    </a:lnTo>
                    <a:lnTo>
                      <a:pt x="254" y="172"/>
                    </a:lnTo>
                    <a:lnTo>
                      <a:pt x="268" y="160"/>
                    </a:lnTo>
                    <a:lnTo>
                      <a:pt x="280" y="144"/>
                    </a:lnTo>
                    <a:lnTo>
                      <a:pt x="288" y="128"/>
                    </a:lnTo>
                    <a:lnTo>
                      <a:pt x="290" y="110"/>
                    </a:lnTo>
                    <a:lnTo>
                      <a:pt x="290" y="100"/>
                    </a:lnTo>
                    <a:lnTo>
                      <a:pt x="290" y="90"/>
                    </a:lnTo>
                    <a:lnTo>
                      <a:pt x="288" y="80"/>
                    </a:lnTo>
                    <a:lnTo>
                      <a:pt x="284" y="70"/>
                    </a:lnTo>
                    <a:lnTo>
                      <a:pt x="284" y="70"/>
                    </a:lnTo>
                    <a:lnTo>
                      <a:pt x="274" y="54"/>
                    </a:lnTo>
                    <a:lnTo>
                      <a:pt x="262" y="42"/>
                    </a:lnTo>
                    <a:lnTo>
                      <a:pt x="248" y="34"/>
                    </a:lnTo>
                    <a:lnTo>
                      <a:pt x="234" y="30"/>
                    </a:lnTo>
                    <a:lnTo>
                      <a:pt x="218" y="28"/>
                    </a:lnTo>
                    <a:lnTo>
                      <a:pt x="202" y="30"/>
                    </a:lnTo>
                    <a:lnTo>
                      <a:pt x="186" y="34"/>
                    </a:lnTo>
                    <a:lnTo>
                      <a:pt x="170" y="42"/>
                    </a:lnTo>
                    <a:lnTo>
                      <a:pt x="156" y="52"/>
                    </a:lnTo>
                    <a:lnTo>
                      <a:pt x="140" y="62"/>
                    </a:lnTo>
                    <a:lnTo>
                      <a:pt x="128" y="74"/>
                    </a:lnTo>
                    <a:lnTo>
                      <a:pt x="116" y="86"/>
                    </a:lnTo>
                    <a:lnTo>
                      <a:pt x="106" y="100"/>
                    </a:lnTo>
                    <a:lnTo>
                      <a:pt x="98" y="114"/>
                    </a:lnTo>
                    <a:lnTo>
                      <a:pt x="94" y="126"/>
                    </a:lnTo>
                    <a:lnTo>
                      <a:pt x="92" y="140"/>
                    </a:lnTo>
                  </a:path>
                </a:pathLst>
              </a:custGeom>
              <a:grpFill/>
              <a:ln w="6350" cap="flat" cmpd="sng" algn="ctr">
                <a:noFill/>
                <a:prstDash val="solid"/>
              </a:ln>
              <a:effectLst/>
            </p:spPr>
            <p:txBody>
              <a:bodyPr anchor="ctr"/>
              <a:lstStyle/>
              <a:p>
                <a:pPr marL="342900" indent="-342900" algn="ctr">
                  <a:buFont typeface="Calibri" charset="0"/>
                  <a:buAutoNum type="arabicPeriod"/>
                  <a:defRPr/>
                </a:pPr>
                <a:endParaRPr lang="en-US">
                  <a:solidFill>
                    <a:srgbClr val="FFFFFF"/>
                  </a:solidFill>
                  <a:latin typeface="Calibri" charset="0"/>
                  <a:ea typeface="ＭＳ Ｐゴシック" charset="-128"/>
                  <a:cs typeface="+mn-cs"/>
                </a:endParaRPr>
              </a:p>
            </p:txBody>
          </p:sp>
          <p:sp>
            <p:nvSpPr>
              <p:cNvPr id="81" name="Freeform 39"/>
              <p:cNvSpPr>
                <a:spLocks/>
              </p:cNvSpPr>
              <p:nvPr/>
            </p:nvSpPr>
            <p:spPr bwMode="auto">
              <a:xfrm rot="665944">
                <a:off x="-2788866" y="4726265"/>
                <a:ext cx="39687" cy="44450"/>
              </a:xfrm>
              <a:custGeom>
                <a:avLst/>
                <a:gdLst/>
                <a:ahLst/>
                <a:cxnLst>
                  <a:cxn ang="0">
                    <a:pos x="4" y="106"/>
                  </a:cxn>
                  <a:cxn ang="0">
                    <a:pos x="4" y="106"/>
                  </a:cxn>
                  <a:cxn ang="0">
                    <a:pos x="14" y="116"/>
                  </a:cxn>
                  <a:cxn ang="0">
                    <a:pos x="24" y="124"/>
                  </a:cxn>
                  <a:cxn ang="0">
                    <a:pos x="38" y="132"/>
                  </a:cxn>
                  <a:cxn ang="0">
                    <a:pos x="46" y="134"/>
                  </a:cxn>
                  <a:cxn ang="0">
                    <a:pos x="54" y="136"/>
                  </a:cxn>
                  <a:cxn ang="0">
                    <a:pos x="64" y="136"/>
                  </a:cxn>
                  <a:cxn ang="0">
                    <a:pos x="72" y="136"/>
                  </a:cxn>
                  <a:cxn ang="0">
                    <a:pos x="82" y="132"/>
                  </a:cxn>
                  <a:cxn ang="0">
                    <a:pos x="92" y="126"/>
                  </a:cxn>
                  <a:cxn ang="0">
                    <a:pos x="102" y="118"/>
                  </a:cxn>
                  <a:cxn ang="0">
                    <a:pos x="110" y="106"/>
                  </a:cxn>
                  <a:cxn ang="0">
                    <a:pos x="110" y="106"/>
                  </a:cxn>
                  <a:cxn ang="0">
                    <a:pos x="118" y="94"/>
                  </a:cxn>
                  <a:cxn ang="0">
                    <a:pos x="122" y="80"/>
                  </a:cxn>
                  <a:cxn ang="0">
                    <a:pos x="122" y="68"/>
                  </a:cxn>
                  <a:cxn ang="0">
                    <a:pos x="118" y="58"/>
                  </a:cxn>
                  <a:cxn ang="0">
                    <a:pos x="112" y="46"/>
                  </a:cxn>
                  <a:cxn ang="0">
                    <a:pos x="106" y="36"/>
                  </a:cxn>
                  <a:cxn ang="0">
                    <a:pos x="96" y="26"/>
                  </a:cxn>
                  <a:cxn ang="0">
                    <a:pos x="86" y="18"/>
                  </a:cxn>
                  <a:cxn ang="0">
                    <a:pos x="74" y="12"/>
                  </a:cxn>
                  <a:cxn ang="0">
                    <a:pos x="62" y="6"/>
                  </a:cxn>
                  <a:cxn ang="0">
                    <a:pos x="50" y="2"/>
                  </a:cxn>
                  <a:cxn ang="0">
                    <a:pos x="40" y="0"/>
                  </a:cxn>
                  <a:cxn ang="0">
                    <a:pos x="30" y="0"/>
                  </a:cxn>
                  <a:cxn ang="0">
                    <a:pos x="20" y="2"/>
                  </a:cxn>
                  <a:cxn ang="0">
                    <a:pos x="14" y="6"/>
                  </a:cxn>
                  <a:cxn ang="0">
                    <a:pos x="8" y="12"/>
                  </a:cxn>
                  <a:cxn ang="0">
                    <a:pos x="8" y="12"/>
                  </a:cxn>
                  <a:cxn ang="0">
                    <a:pos x="4" y="26"/>
                  </a:cxn>
                  <a:cxn ang="0">
                    <a:pos x="0" y="42"/>
                  </a:cxn>
                  <a:cxn ang="0">
                    <a:pos x="0" y="58"/>
                  </a:cxn>
                  <a:cxn ang="0">
                    <a:pos x="0" y="74"/>
                  </a:cxn>
                  <a:cxn ang="0">
                    <a:pos x="2" y="96"/>
                  </a:cxn>
                  <a:cxn ang="0">
                    <a:pos x="4" y="106"/>
                  </a:cxn>
                  <a:cxn ang="0">
                    <a:pos x="4" y="106"/>
                  </a:cxn>
                </a:cxnLst>
                <a:rect l="0" t="0" r="r" b="b"/>
                <a:pathLst>
                  <a:path w="122" h="136">
                    <a:moveTo>
                      <a:pt x="4" y="106"/>
                    </a:moveTo>
                    <a:lnTo>
                      <a:pt x="4" y="106"/>
                    </a:lnTo>
                    <a:lnTo>
                      <a:pt x="14" y="116"/>
                    </a:lnTo>
                    <a:lnTo>
                      <a:pt x="24" y="124"/>
                    </a:lnTo>
                    <a:lnTo>
                      <a:pt x="38" y="132"/>
                    </a:lnTo>
                    <a:lnTo>
                      <a:pt x="46" y="134"/>
                    </a:lnTo>
                    <a:lnTo>
                      <a:pt x="54" y="136"/>
                    </a:lnTo>
                    <a:lnTo>
                      <a:pt x="64" y="136"/>
                    </a:lnTo>
                    <a:lnTo>
                      <a:pt x="72" y="136"/>
                    </a:lnTo>
                    <a:lnTo>
                      <a:pt x="82" y="132"/>
                    </a:lnTo>
                    <a:lnTo>
                      <a:pt x="92" y="126"/>
                    </a:lnTo>
                    <a:lnTo>
                      <a:pt x="102" y="118"/>
                    </a:lnTo>
                    <a:lnTo>
                      <a:pt x="110" y="106"/>
                    </a:lnTo>
                    <a:lnTo>
                      <a:pt x="110" y="106"/>
                    </a:lnTo>
                    <a:lnTo>
                      <a:pt x="118" y="94"/>
                    </a:lnTo>
                    <a:lnTo>
                      <a:pt x="122" y="80"/>
                    </a:lnTo>
                    <a:lnTo>
                      <a:pt x="122" y="68"/>
                    </a:lnTo>
                    <a:lnTo>
                      <a:pt x="118" y="58"/>
                    </a:lnTo>
                    <a:lnTo>
                      <a:pt x="112" y="46"/>
                    </a:lnTo>
                    <a:lnTo>
                      <a:pt x="106" y="36"/>
                    </a:lnTo>
                    <a:lnTo>
                      <a:pt x="96" y="26"/>
                    </a:lnTo>
                    <a:lnTo>
                      <a:pt x="86" y="18"/>
                    </a:lnTo>
                    <a:lnTo>
                      <a:pt x="74" y="12"/>
                    </a:lnTo>
                    <a:lnTo>
                      <a:pt x="62" y="6"/>
                    </a:lnTo>
                    <a:lnTo>
                      <a:pt x="50" y="2"/>
                    </a:lnTo>
                    <a:lnTo>
                      <a:pt x="40" y="0"/>
                    </a:lnTo>
                    <a:lnTo>
                      <a:pt x="30" y="0"/>
                    </a:lnTo>
                    <a:lnTo>
                      <a:pt x="20" y="2"/>
                    </a:lnTo>
                    <a:lnTo>
                      <a:pt x="14" y="6"/>
                    </a:lnTo>
                    <a:lnTo>
                      <a:pt x="8" y="12"/>
                    </a:lnTo>
                    <a:lnTo>
                      <a:pt x="8" y="12"/>
                    </a:lnTo>
                    <a:lnTo>
                      <a:pt x="4" y="26"/>
                    </a:lnTo>
                    <a:lnTo>
                      <a:pt x="0" y="42"/>
                    </a:lnTo>
                    <a:lnTo>
                      <a:pt x="0" y="58"/>
                    </a:lnTo>
                    <a:lnTo>
                      <a:pt x="0" y="74"/>
                    </a:lnTo>
                    <a:lnTo>
                      <a:pt x="2" y="96"/>
                    </a:lnTo>
                    <a:lnTo>
                      <a:pt x="4" y="106"/>
                    </a:lnTo>
                    <a:lnTo>
                      <a:pt x="4" y="106"/>
                    </a:lnTo>
                    <a:close/>
                  </a:path>
                </a:pathLst>
              </a:custGeom>
              <a:grpFill/>
              <a:ln w="6350" cap="flat" cmpd="sng" algn="ctr">
                <a:noFill/>
                <a:prstDash val="solid"/>
              </a:ln>
              <a:effectLst/>
            </p:spPr>
            <p:txBody>
              <a:bodyPr anchor="ctr"/>
              <a:lstStyle/>
              <a:p>
                <a:pPr marL="342900" indent="-342900" algn="ctr">
                  <a:buFont typeface="Calibri" charset="0"/>
                  <a:buAutoNum type="arabicPeriod"/>
                  <a:defRPr/>
                </a:pPr>
                <a:endParaRPr lang="en-US">
                  <a:solidFill>
                    <a:srgbClr val="FFFFFF"/>
                  </a:solidFill>
                  <a:latin typeface="Calibri" charset="0"/>
                  <a:ea typeface="ＭＳ Ｐゴシック" charset="-128"/>
                  <a:cs typeface="+mn-cs"/>
                </a:endParaRPr>
              </a:p>
            </p:txBody>
          </p:sp>
          <p:sp>
            <p:nvSpPr>
              <p:cNvPr id="82" name="Freeform 43"/>
              <p:cNvSpPr>
                <a:spLocks/>
              </p:cNvSpPr>
              <p:nvPr/>
            </p:nvSpPr>
            <p:spPr bwMode="auto">
              <a:xfrm rot="665944">
                <a:off x="-2784104" y="4456390"/>
                <a:ext cx="430213" cy="312737"/>
              </a:xfrm>
              <a:custGeom>
                <a:avLst/>
                <a:gdLst/>
                <a:ahLst/>
                <a:cxnLst>
                  <a:cxn ang="0">
                    <a:pos x="476" y="148"/>
                  </a:cxn>
                  <a:cxn ang="0">
                    <a:pos x="412" y="188"/>
                  </a:cxn>
                  <a:cxn ang="0">
                    <a:pos x="346" y="234"/>
                  </a:cxn>
                  <a:cxn ang="0">
                    <a:pos x="234" y="328"/>
                  </a:cxn>
                  <a:cxn ang="0">
                    <a:pos x="144" y="422"/>
                  </a:cxn>
                  <a:cxn ang="0">
                    <a:pos x="78" y="516"/>
                  </a:cxn>
                  <a:cxn ang="0">
                    <a:pos x="32" y="610"/>
                  </a:cxn>
                  <a:cxn ang="0">
                    <a:pos x="6" y="700"/>
                  </a:cxn>
                  <a:cxn ang="0">
                    <a:pos x="0" y="790"/>
                  </a:cxn>
                  <a:cxn ang="0">
                    <a:pos x="10" y="876"/>
                  </a:cxn>
                  <a:cxn ang="0">
                    <a:pos x="22" y="916"/>
                  </a:cxn>
                  <a:cxn ang="0">
                    <a:pos x="48" y="934"/>
                  </a:cxn>
                  <a:cxn ang="0">
                    <a:pos x="76" y="946"/>
                  </a:cxn>
                  <a:cxn ang="0">
                    <a:pos x="106" y="952"/>
                  </a:cxn>
                  <a:cxn ang="0">
                    <a:pos x="170" y="952"/>
                  </a:cxn>
                  <a:cxn ang="0">
                    <a:pos x="238" y="936"/>
                  </a:cxn>
                  <a:cxn ang="0">
                    <a:pos x="302" y="908"/>
                  </a:cxn>
                  <a:cxn ang="0">
                    <a:pos x="360" y="872"/>
                  </a:cxn>
                  <a:cxn ang="0">
                    <a:pos x="404" y="830"/>
                  </a:cxn>
                  <a:cxn ang="0">
                    <a:pos x="432" y="788"/>
                  </a:cxn>
                  <a:cxn ang="0">
                    <a:pos x="438" y="766"/>
                  </a:cxn>
                  <a:cxn ang="0">
                    <a:pos x="424" y="742"/>
                  </a:cxn>
                  <a:cxn ang="0">
                    <a:pos x="396" y="702"/>
                  </a:cxn>
                  <a:cxn ang="0">
                    <a:pos x="358" y="666"/>
                  </a:cxn>
                  <a:cxn ang="0">
                    <a:pos x="348" y="658"/>
                  </a:cxn>
                  <a:cxn ang="0">
                    <a:pos x="380" y="606"/>
                  </a:cxn>
                  <a:cxn ang="0">
                    <a:pos x="412" y="558"/>
                  </a:cxn>
                  <a:cxn ang="0">
                    <a:pos x="484" y="482"/>
                  </a:cxn>
                  <a:cxn ang="0">
                    <a:pos x="484" y="484"/>
                  </a:cxn>
                  <a:cxn ang="0">
                    <a:pos x="498" y="470"/>
                  </a:cxn>
                  <a:cxn ang="0">
                    <a:pos x="566" y="420"/>
                  </a:cxn>
                  <a:cxn ang="0">
                    <a:pos x="628" y="382"/>
                  </a:cxn>
                  <a:cxn ang="0">
                    <a:pos x="664" y="364"/>
                  </a:cxn>
                  <a:cxn ang="0">
                    <a:pos x="702" y="348"/>
                  </a:cxn>
                  <a:cxn ang="0">
                    <a:pos x="708" y="346"/>
                  </a:cxn>
                  <a:cxn ang="0">
                    <a:pos x="714" y="344"/>
                  </a:cxn>
                  <a:cxn ang="0">
                    <a:pos x="812" y="318"/>
                  </a:cxn>
                  <a:cxn ang="0">
                    <a:pos x="868" y="310"/>
                  </a:cxn>
                  <a:cxn ang="0">
                    <a:pos x="928" y="308"/>
                  </a:cxn>
                  <a:cxn ang="0">
                    <a:pos x="930" y="318"/>
                  </a:cxn>
                  <a:cxn ang="0">
                    <a:pos x="944" y="368"/>
                  </a:cxn>
                  <a:cxn ang="0">
                    <a:pos x="966" y="412"/>
                  </a:cxn>
                  <a:cxn ang="0">
                    <a:pos x="982" y="436"/>
                  </a:cxn>
                  <a:cxn ang="0">
                    <a:pos x="1004" y="440"/>
                  </a:cxn>
                  <a:cxn ang="0">
                    <a:pos x="1054" y="436"/>
                  </a:cxn>
                  <a:cxn ang="0">
                    <a:pos x="1112" y="416"/>
                  </a:cxn>
                  <a:cxn ang="0">
                    <a:pos x="1170" y="382"/>
                  </a:cxn>
                  <a:cxn ang="0">
                    <a:pos x="1226" y="338"/>
                  </a:cxn>
                  <a:cxn ang="0">
                    <a:pos x="1270" y="286"/>
                  </a:cxn>
                  <a:cxn ang="0">
                    <a:pos x="1300" y="228"/>
                  </a:cxn>
                  <a:cxn ang="0">
                    <a:pos x="1308" y="198"/>
                  </a:cxn>
                  <a:cxn ang="0">
                    <a:pos x="1310" y="168"/>
                  </a:cxn>
                  <a:cxn ang="0">
                    <a:pos x="1306" y="138"/>
                  </a:cxn>
                  <a:cxn ang="0">
                    <a:pos x="1276" y="108"/>
                  </a:cxn>
                  <a:cxn ang="0">
                    <a:pos x="1204" y="58"/>
                  </a:cxn>
                  <a:cxn ang="0">
                    <a:pos x="1122" y="24"/>
                  </a:cxn>
                  <a:cxn ang="0">
                    <a:pos x="1028" y="4"/>
                  </a:cxn>
                  <a:cxn ang="0">
                    <a:pos x="924" y="0"/>
                  </a:cxn>
                  <a:cxn ang="0">
                    <a:pos x="810" y="18"/>
                  </a:cxn>
                  <a:cxn ang="0">
                    <a:pos x="684" y="54"/>
                  </a:cxn>
                  <a:cxn ang="0">
                    <a:pos x="548" y="112"/>
                  </a:cxn>
                  <a:cxn ang="0">
                    <a:pos x="476" y="148"/>
                  </a:cxn>
                </a:cxnLst>
                <a:rect l="0" t="0" r="r" b="b"/>
                <a:pathLst>
                  <a:path w="1310" h="954">
                    <a:moveTo>
                      <a:pt x="476" y="148"/>
                    </a:moveTo>
                    <a:lnTo>
                      <a:pt x="476" y="148"/>
                    </a:lnTo>
                    <a:lnTo>
                      <a:pt x="476" y="148"/>
                    </a:lnTo>
                    <a:lnTo>
                      <a:pt x="412" y="188"/>
                    </a:lnTo>
                    <a:lnTo>
                      <a:pt x="412" y="188"/>
                    </a:lnTo>
                    <a:lnTo>
                      <a:pt x="346" y="234"/>
                    </a:lnTo>
                    <a:lnTo>
                      <a:pt x="288" y="280"/>
                    </a:lnTo>
                    <a:lnTo>
                      <a:pt x="234" y="328"/>
                    </a:lnTo>
                    <a:lnTo>
                      <a:pt x="186" y="374"/>
                    </a:lnTo>
                    <a:lnTo>
                      <a:pt x="144" y="422"/>
                    </a:lnTo>
                    <a:lnTo>
                      <a:pt x="108" y="468"/>
                    </a:lnTo>
                    <a:lnTo>
                      <a:pt x="78" y="516"/>
                    </a:lnTo>
                    <a:lnTo>
                      <a:pt x="52" y="562"/>
                    </a:lnTo>
                    <a:lnTo>
                      <a:pt x="32" y="610"/>
                    </a:lnTo>
                    <a:lnTo>
                      <a:pt x="16" y="656"/>
                    </a:lnTo>
                    <a:lnTo>
                      <a:pt x="6" y="700"/>
                    </a:lnTo>
                    <a:lnTo>
                      <a:pt x="2" y="746"/>
                    </a:lnTo>
                    <a:lnTo>
                      <a:pt x="0" y="790"/>
                    </a:lnTo>
                    <a:lnTo>
                      <a:pt x="4" y="832"/>
                    </a:lnTo>
                    <a:lnTo>
                      <a:pt x="10" y="876"/>
                    </a:lnTo>
                    <a:lnTo>
                      <a:pt x="22" y="916"/>
                    </a:lnTo>
                    <a:lnTo>
                      <a:pt x="22" y="916"/>
                    </a:lnTo>
                    <a:lnTo>
                      <a:pt x="34" y="926"/>
                    </a:lnTo>
                    <a:lnTo>
                      <a:pt x="48" y="934"/>
                    </a:lnTo>
                    <a:lnTo>
                      <a:pt x="62" y="940"/>
                    </a:lnTo>
                    <a:lnTo>
                      <a:pt x="76" y="946"/>
                    </a:lnTo>
                    <a:lnTo>
                      <a:pt x="90" y="950"/>
                    </a:lnTo>
                    <a:lnTo>
                      <a:pt x="106" y="952"/>
                    </a:lnTo>
                    <a:lnTo>
                      <a:pt x="138" y="954"/>
                    </a:lnTo>
                    <a:lnTo>
                      <a:pt x="170" y="952"/>
                    </a:lnTo>
                    <a:lnTo>
                      <a:pt x="204" y="946"/>
                    </a:lnTo>
                    <a:lnTo>
                      <a:pt x="238" y="936"/>
                    </a:lnTo>
                    <a:lnTo>
                      <a:pt x="272" y="924"/>
                    </a:lnTo>
                    <a:lnTo>
                      <a:pt x="302" y="908"/>
                    </a:lnTo>
                    <a:lnTo>
                      <a:pt x="332" y="892"/>
                    </a:lnTo>
                    <a:lnTo>
                      <a:pt x="360" y="872"/>
                    </a:lnTo>
                    <a:lnTo>
                      <a:pt x="384" y="852"/>
                    </a:lnTo>
                    <a:lnTo>
                      <a:pt x="404" y="830"/>
                    </a:lnTo>
                    <a:lnTo>
                      <a:pt x="420" y="810"/>
                    </a:lnTo>
                    <a:lnTo>
                      <a:pt x="432" y="788"/>
                    </a:lnTo>
                    <a:lnTo>
                      <a:pt x="436" y="776"/>
                    </a:lnTo>
                    <a:lnTo>
                      <a:pt x="438" y="766"/>
                    </a:lnTo>
                    <a:lnTo>
                      <a:pt x="438" y="766"/>
                    </a:lnTo>
                    <a:lnTo>
                      <a:pt x="424" y="742"/>
                    </a:lnTo>
                    <a:lnTo>
                      <a:pt x="410" y="720"/>
                    </a:lnTo>
                    <a:lnTo>
                      <a:pt x="396" y="702"/>
                    </a:lnTo>
                    <a:lnTo>
                      <a:pt x="380" y="686"/>
                    </a:lnTo>
                    <a:lnTo>
                      <a:pt x="358" y="666"/>
                    </a:lnTo>
                    <a:lnTo>
                      <a:pt x="348" y="658"/>
                    </a:lnTo>
                    <a:lnTo>
                      <a:pt x="348" y="658"/>
                    </a:lnTo>
                    <a:lnTo>
                      <a:pt x="364" y="632"/>
                    </a:lnTo>
                    <a:lnTo>
                      <a:pt x="380" y="606"/>
                    </a:lnTo>
                    <a:lnTo>
                      <a:pt x="396" y="582"/>
                    </a:lnTo>
                    <a:lnTo>
                      <a:pt x="412" y="558"/>
                    </a:lnTo>
                    <a:lnTo>
                      <a:pt x="448" y="518"/>
                    </a:lnTo>
                    <a:lnTo>
                      <a:pt x="484" y="482"/>
                    </a:lnTo>
                    <a:lnTo>
                      <a:pt x="484" y="482"/>
                    </a:lnTo>
                    <a:lnTo>
                      <a:pt x="484" y="484"/>
                    </a:lnTo>
                    <a:lnTo>
                      <a:pt x="484" y="484"/>
                    </a:lnTo>
                    <a:lnTo>
                      <a:pt x="498" y="470"/>
                    </a:lnTo>
                    <a:lnTo>
                      <a:pt x="538" y="440"/>
                    </a:lnTo>
                    <a:lnTo>
                      <a:pt x="566" y="420"/>
                    </a:lnTo>
                    <a:lnTo>
                      <a:pt x="596" y="400"/>
                    </a:lnTo>
                    <a:lnTo>
                      <a:pt x="628" y="382"/>
                    </a:lnTo>
                    <a:lnTo>
                      <a:pt x="664" y="364"/>
                    </a:lnTo>
                    <a:lnTo>
                      <a:pt x="664" y="364"/>
                    </a:lnTo>
                    <a:lnTo>
                      <a:pt x="702" y="348"/>
                    </a:lnTo>
                    <a:lnTo>
                      <a:pt x="702" y="348"/>
                    </a:lnTo>
                    <a:lnTo>
                      <a:pt x="708" y="346"/>
                    </a:lnTo>
                    <a:lnTo>
                      <a:pt x="708" y="346"/>
                    </a:lnTo>
                    <a:lnTo>
                      <a:pt x="714" y="344"/>
                    </a:lnTo>
                    <a:lnTo>
                      <a:pt x="714" y="344"/>
                    </a:lnTo>
                    <a:lnTo>
                      <a:pt x="760" y="330"/>
                    </a:lnTo>
                    <a:lnTo>
                      <a:pt x="812" y="318"/>
                    </a:lnTo>
                    <a:lnTo>
                      <a:pt x="840" y="314"/>
                    </a:lnTo>
                    <a:lnTo>
                      <a:pt x="868" y="310"/>
                    </a:lnTo>
                    <a:lnTo>
                      <a:pt x="898" y="308"/>
                    </a:lnTo>
                    <a:lnTo>
                      <a:pt x="928" y="308"/>
                    </a:lnTo>
                    <a:lnTo>
                      <a:pt x="928" y="308"/>
                    </a:lnTo>
                    <a:lnTo>
                      <a:pt x="930" y="318"/>
                    </a:lnTo>
                    <a:lnTo>
                      <a:pt x="938" y="348"/>
                    </a:lnTo>
                    <a:lnTo>
                      <a:pt x="944" y="368"/>
                    </a:lnTo>
                    <a:lnTo>
                      <a:pt x="954" y="390"/>
                    </a:lnTo>
                    <a:lnTo>
                      <a:pt x="966" y="412"/>
                    </a:lnTo>
                    <a:lnTo>
                      <a:pt x="982" y="436"/>
                    </a:lnTo>
                    <a:lnTo>
                      <a:pt x="982" y="436"/>
                    </a:lnTo>
                    <a:lnTo>
                      <a:pt x="992" y="438"/>
                    </a:lnTo>
                    <a:lnTo>
                      <a:pt x="1004" y="440"/>
                    </a:lnTo>
                    <a:lnTo>
                      <a:pt x="1028" y="440"/>
                    </a:lnTo>
                    <a:lnTo>
                      <a:pt x="1054" y="436"/>
                    </a:lnTo>
                    <a:lnTo>
                      <a:pt x="1084" y="428"/>
                    </a:lnTo>
                    <a:lnTo>
                      <a:pt x="1112" y="416"/>
                    </a:lnTo>
                    <a:lnTo>
                      <a:pt x="1142" y="400"/>
                    </a:lnTo>
                    <a:lnTo>
                      <a:pt x="1170" y="382"/>
                    </a:lnTo>
                    <a:lnTo>
                      <a:pt x="1198" y="362"/>
                    </a:lnTo>
                    <a:lnTo>
                      <a:pt x="1226" y="338"/>
                    </a:lnTo>
                    <a:lnTo>
                      <a:pt x="1250" y="312"/>
                    </a:lnTo>
                    <a:lnTo>
                      <a:pt x="1270" y="286"/>
                    </a:lnTo>
                    <a:lnTo>
                      <a:pt x="1288" y="256"/>
                    </a:lnTo>
                    <a:lnTo>
                      <a:pt x="1300" y="228"/>
                    </a:lnTo>
                    <a:lnTo>
                      <a:pt x="1306" y="212"/>
                    </a:lnTo>
                    <a:lnTo>
                      <a:pt x="1308" y="198"/>
                    </a:lnTo>
                    <a:lnTo>
                      <a:pt x="1310" y="182"/>
                    </a:lnTo>
                    <a:lnTo>
                      <a:pt x="1310" y="168"/>
                    </a:lnTo>
                    <a:lnTo>
                      <a:pt x="1310" y="152"/>
                    </a:lnTo>
                    <a:lnTo>
                      <a:pt x="1306" y="138"/>
                    </a:lnTo>
                    <a:lnTo>
                      <a:pt x="1306" y="138"/>
                    </a:lnTo>
                    <a:lnTo>
                      <a:pt x="1276" y="108"/>
                    </a:lnTo>
                    <a:lnTo>
                      <a:pt x="1242" y="82"/>
                    </a:lnTo>
                    <a:lnTo>
                      <a:pt x="1204" y="58"/>
                    </a:lnTo>
                    <a:lnTo>
                      <a:pt x="1164" y="38"/>
                    </a:lnTo>
                    <a:lnTo>
                      <a:pt x="1122" y="24"/>
                    </a:lnTo>
                    <a:lnTo>
                      <a:pt x="1076" y="12"/>
                    </a:lnTo>
                    <a:lnTo>
                      <a:pt x="1028" y="4"/>
                    </a:lnTo>
                    <a:lnTo>
                      <a:pt x="978" y="0"/>
                    </a:lnTo>
                    <a:lnTo>
                      <a:pt x="924" y="0"/>
                    </a:lnTo>
                    <a:lnTo>
                      <a:pt x="868" y="6"/>
                    </a:lnTo>
                    <a:lnTo>
                      <a:pt x="810" y="18"/>
                    </a:lnTo>
                    <a:lnTo>
                      <a:pt x="748" y="32"/>
                    </a:lnTo>
                    <a:lnTo>
                      <a:pt x="684" y="54"/>
                    </a:lnTo>
                    <a:lnTo>
                      <a:pt x="618" y="80"/>
                    </a:lnTo>
                    <a:lnTo>
                      <a:pt x="548" y="112"/>
                    </a:lnTo>
                    <a:lnTo>
                      <a:pt x="476" y="148"/>
                    </a:lnTo>
                    <a:lnTo>
                      <a:pt x="476" y="148"/>
                    </a:lnTo>
                    <a:close/>
                  </a:path>
                </a:pathLst>
              </a:custGeom>
              <a:grpFill/>
              <a:ln w="6350" cap="flat" cmpd="sng" algn="ctr">
                <a:noFill/>
                <a:prstDash val="solid"/>
              </a:ln>
              <a:effectLst/>
            </p:spPr>
            <p:txBody>
              <a:bodyPr anchor="ctr"/>
              <a:lstStyle/>
              <a:p>
                <a:pPr marL="342900" indent="-342900" algn="ctr">
                  <a:buFont typeface="Calibri" charset="0"/>
                  <a:buAutoNum type="arabicPeriod"/>
                  <a:defRPr/>
                </a:pPr>
                <a:endParaRPr lang="en-US">
                  <a:solidFill>
                    <a:srgbClr val="FFFFFF"/>
                  </a:solidFill>
                  <a:latin typeface="Calibri" charset="0"/>
                  <a:ea typeface="ＭＳ Ｐゴシック" charset="-128"/>
                  <a:cs typeface="+mn-cs"/>
                </a:endParaRPr>
              </a:p>
            </p:txBody>
          </p:sp>
        </p:grpSp>
        <p:sp>
          <p:nvSpPr>
            <p:cNvPr id="73" name="Isosceles Triangle 2"/>
            <p:cNvSpPr/>
            <p:nvPr>
              <p:custDataLst>
                <p:tags r:id="rId9"/>
              </p:custDataLst>
            </p:nvPr>
          </p:nvSpPr>
          <p:spPr bwMode="auto">
            <a:xfrm rot="1639972">
              <a:off x="-2777113" y="4647016"/>
              <a:ext cx="248817" cy="261580"/>
            </a:xfrm>
            <a:custGeom>
              <a:avLst/>
              <a:gdLst/>
              <a:ahLst/>
              <a:cxnLst/>
              <a:rect l="l" t="t" r="r" b="b"/>
              <a:pathLst>
                <a:path w="1760156" h="1846610">
                  <a:moveTo>
                    <a:pt x="879978" y="1255479"/>
                  </a:moveTo>
                  <a:lnTo>
                    <a:pt x="1759956" y="1846610"/>
                  </a:lnTo>
                  <a:lnTo>
                    <a:pt x="0" y="1846610"/>
                  </a:lnTo>
                  <a:close/>
                  <a:moveTo>
                    <a:pt x="1760156" y="621680"/>
                  </a:moveTo>
                  <a:lnTo>
                    <a:pt x="1760156" y="1812676"/>
                  </a:lnTo>
                  <a:lnTo>
                    <a:pt x="880078" y="1217178"/>
                  </a:lnTo>
                  <a:close/>
                  <a:moveTo>
                    <a:pt x="0" y="621680"/>
                  </a:moveTo>
                  <a:lnTo>
                    <a:pt x="880078" y="1217178"/>
                  </a:lnTo>
                  <a:lnTo>
                    <a:pt x="0" y="1812676"/>
                  </a:lnTo>
                  <a:close/>
                  <a:moveTo>
                    <a:pt x="879978" y="0"/>
                  </a:moveTo>
                  <a:lnTo>
                    <a:pt x="1759956" y="591131"/>
                  </a:lnTo>
                  <a:lnTo>
                    <a:pt x="0" y="591131"/>
                  </a:lnTo>
                  <a:close/>
                </a:path>
              </a:pathLst>
            </a:custGeom>
            <a:solidFill>
              <a:schemeClr val="tx1">
                <a:lumMod val="75000"/>
                <a:lumOff val="25000"/>
              </a:schemeClr>
            </a:solidFill>
            <a:ln w="6350" cap="flat" cmpd="sng" algn="ctr">
              <a:noFill/>
              <a:prstDash val="solid"/>
            </a:ln>
            <a:effectLst/>
          </p:spPr>
          <p:txBody>
            <a:bodyPr anchor="ctr"/>
            <a:lstStyle/>
            <a:p>
              <a:pPr marL="342900" indent="-342900" algn="ctr">
                <a:buFont typeface="Calibri" charset="0"/>
                <a:buAutoNum type="arabicPeriod"/>
                <a:defRPr/>
              </a:pPr>
              <a:endParaRPr lang="en-US">
                <a:solidFill>
                  <a:srgbClr val="FFFFFF"/>
                </a:solidFill>
                <a:latin typeface="Calibri" charset="0"/>
                <a:ea typeface="ＭＳ Ｐゴシック" charset="-128"/>
                <a:cs typeface="+mn-cs"/>
              </a:endParaRPr>
            </a:p>
          </p:txBody>
        </p:sp>
        <p:sp>
          <p:nvSpPr>
            <p:cNvPr id="74" name="Freeform 73"/>
            <p:cNvSpPr>
              <a:spLocks noEditPoints="1"/>
            </p:cNvSpPr>
            <p:nvPr>
              <p:custDataLst>
                <p:tags r:id="rId10"/>
              </p:custDataLst>
            </p:nvPr>
          </p:nvSpPr>
          <p:spPr bwMode="auto">
            <a:xfrm rot="20700000">
              <a:off x="-3165194" y="4402132"/>
              <a:ext cx="304523" cy="302394"/>
            </a:xfrm>
            <a:custGeom>
              <a:avLst/>
              <a:gdLst>
                <a:gd name="T0" fmla="*/ 14568 w 16042"/>
                <a:gd name="T1" fmla="*/ 14159 h 16003"/>
                <a:gd name="T2" fmla="*/ 11889 w 16042"/>
                <a:gd name="T3" fmla="*/ 15574 h 16003"/>
                <a:gd name="T4" fmla="*/ 8173 w 16042"/>
                <a:gd name="T5" fmla="*/ 15995 h 16003"/>
                <a:gd name="T6" fmla="*/ 4715 w 16042"/>
                <a:gd name="T7" fmla="*/ 15390 h 16003"/>
                <a:gd name="T8" fmla="*/ 2110 w 16042"/>
                <a:gd name="T9" fmla="*/ 13839 h 16003"/>
                <a:gd name="T10" fmla="*/ 546 w 16042"/>
                <a:gd name="T11" fmla="*/ 11411 h 16003"/>
                <a:gd name="T12" fmla="*/ 1 w 16042"/>
                <a:gd name="T13" fmla="*/ 8529 h 16003"/>
                <a:gd name="T14" fmla="*/ 522 w 16042"/>
                <a:gd name="T15" fmla="*/ 5332 h 16003"/>
                <a:gd name="T16" fmla="*/ 2139 w 16042"/>
                <a:gd name="T17" fmla="*/ 2566 h 16003"/>
                <a:gd name="T18" fmla="*/ 4622 w 16042"/>
                <a:gd name="T19" fmla="*/ 774 h 16003"/>
                <a:gd name="T20" fmla="*/ 7766 w 16042"/>
                <a:gd name="T21" fmla="*/ 25 h 16003"/>
                <a:gd name="T22" fmla="*/ 10734 w 16042"/>
                <a:gd name="T23" fmla="*/ 259 h 16003"/>
                <a:gd name="T24" fmla="*/ 13105 w 16042"/>
                <a:gd name="T25" fmla="*/ 1327 h 16003"/>
                <a:gd name="T26" fmla="*/ 14742 w 16042"/>
                <a:gd name="T27" fmla="*/ 3133 h 16003"/>
                <a:gd name="T28" fmla="*/ 15534 w 16042"/>
                <a:gd name="T29" fmla="*/ 5436 h 16003"/>
                <a:gd name="T30" fmla="*/ 15351 w 16042"/>
                <a:gd name="T31" fmla="*/ 8195 h 16003"/>
                <a:gd name="T32" fmla="*/ 13761 w 16042"/>
                <a:gd name="T33" fmla="*/ 10875 h 16003"/>
                <a:gd name="T34" fmla="*/ 10721 w 16042"/>
                <a:gd name="T35" fmla="*/ 12381 h 16003"/>
                <a:gd name="T36" fmla="*/ 9336 w 16042"/>
                <a:gd name="T37" fmla="*/ 12312 h 16003"/>
                <a:gd name="T38" fmla="*/ 8826 w 16042"/>
                <a:gd name="T39" fmla="*/ 11961 h 16003"/>
                <a:gd name="T40" fmla="*/ 8404 w 16042"/>
                <a:gd name="T41" fmla="*/ 11637 h 16003"/>
                <a:gd name="T42" fmla="*/ 6798 w 16042"/>
                <a:gd name="T43" fmla="*/ 12382 h 16003"/>
                <a:gd name="T44" fmla="*/ 4994 w 16042"/>
                <a:gd name="T45" fmla="*/ 12147 h 16003"/>
                <a:gd name="T46" fmla="*/ 3639 w 16042"/>
                <a:gd name="T47" fmla="*/ 10948 h 16003"/>
                <a:gd name="T48" fmla="*/ 3126 w 16042"/>
                <a:gd name="T49" fmla="*/ 9026 h 16003"/>
                <a:gd name="T50" fmla="*/ 3645 w 16042"/>
                <a:gd name="T51" fmla="*/ 6401 h 16003"/>
                <a:gd name="T52" fmla="*/ 5429 w 16042"/>
                <a:gd name="T53" fmla="*/ 4088 h 16003"/>
                <a:gd name="T54" fmla="*/ 7992 w 16042"/>
                <a:gd name="T55" fmla="*/ 3412 h 16003"/>
                <a:gd name="T56" fmla="*/ 9582 w 16042"/>
                <a:gd name="T57" fmla="*/ 4201 h 16003"/>
                <a:gd name="T58" fmla="*/ 10853 w 16042"/>
                <a:gd name="T59" fmla="*/ 10280 h 16003"/>
                <a:gd name="T60" fmla="*/ 11025 w 16042"/>
                <a:gd name="T61" fmla="*/ 10677 h 16003"/>
                <a:gd name="T62" fmla="*/ 11539 w 16042"/>
                <a:gd name="T63" fmla="*/ 10638 h 16003"/>
                <a:gd name="T64" fmla="*/ 12417 w 16042"/>
                <a:gd name="T65" fmla="*/ 10070 h 16003"/>
                <a:gd name="T66" fmla="*/ 13409 w 16042"/>
                <a:gd name="T67" fmla="*/ 8860 h 16003"/>
                <a:gd name="T68" fmla="*/ 14004 w 16042"/>
                <a:gd name="T69" fmla="*/ 7315 h 16003"/>
                <a:gd name="T70" fmla="*/ 13987 w 16042"/>
                <a:gd name="T71" fmla="*/ 5234 h 16003"/>
                <a:gd name="T72" fmla="*/ 12624 w 16042"/>
                <a:gd name="T73" fmla="*/ 2908 h 16003"/>
                <a:gd name="T74" fmla="*/ 9890 w 16042"/>
                <a:gd name="T75" fmla="*/ 1640 h 16003"/>
                <a:gd name="T76" fmla="*/ 6650 w 16042"/>
                <a:gd name="T77" fmla="*/ 1707 h 16003"/>
                <a:gd name="T78" fmla="*/ 4199 w 16042"/>
                <a:gd name="T79" fmla="*/ 2757 h 16003"/>
                <a:gd name="T80" fmla="*/ 2519 w 16042"/>
                <a:gd name="T81" fmla="*/ 4633 h 16003"/>
                <a:gd name="T82" fmla="*/ 1644 w 16042"/>
                <a:gd name="T83" fmla="*/ 7068 h 16003"/>
                <a:gd name="T84" fmla="*/ 1599 w 16042"/>
                <a:gd name="T85" fmla="*/ 9580 h 16003"/>
                <a:gd name="T86" fmla="*/ 2454 w 16042"/>
                <a:gd name="T87" fmla="*/ 11798 h 16003"/>
                <a:gd name="T88" fmla="*/ 4130 w 16042"/>
                <a:gd name="T89" fmla="*/ 13430 h 16003"/>
                <a:gd name="T90" fmla="*/ 6488 w 16042"/>
                <a:gd name="T91" fmla="*/ 14285 h 16003"/>
                <a:gd name="T92" fmla="*/ 9274 w 16042"/>
                <a:gd name="T93" fmla="*/ 14452 h 16003"/>
                <a:gd name="T94" fmla="*/ 11695 w 16042"/>
                <a:gd name="T95" fmla="*/ 14017 h 16003"/>
                <a:gd name="T96" fmla="*/ 13537 w 16042"/>
                <a:gd name="T97" fmla="*/ 13009 h 16003"/>
                <a:gd name="T98" fmla="*/ 5322 w 16042"/>
                <a:gd name="T99" fmla="*/ 9443 h 16003"/>
                <a:gd name="T100" fmla="*/ 5736 w 16042"/>
                <a:gd name="T101" fmla="*/ 10424 h 16003"/>
                <a:gd name="T102" fmla="*/ 6465 w 16042"/>
                <a:gd name="T103" fmla="*/ 10862 h 16003"/>
                <a:gd name="T104" fmla="*/ 7607 w 16042"/>
                <a:gd name="T105" fmla="*/ 10688 h 16003"/>
                <a:gd name="T106" fmla="*/ 8444 w 16042"/>
                <a:gd name="T107" fmla="*/ 9928 h 16003"/>
                <a:gd name="T108" fmla="*/ 8984 w 16042"/>
                <a:gd name="T109" fmla="*/ 8833 h 16003"/>
                <a:gd name="T110" fmla="*/ 9319 w 16042"/>
                <a:gd name="T111" fmla="*/ 7489 h 16003"/>
                <a:gd name="T112" fmla="*/ 9313 w 16042"/>
                <a:gd name="T113" fmla="*/ 6245 h 16003"/>
                <a:gd name="T114" fmla="*/ 8872 w 16042"/>
                <a:gd name="T115" fmla="*/ 5336 h 16003"/>
                <a:gd name="T116" fmla="*/ 8106 w 16042"/>
                <a:gd name="T117" fmla="*/ 4918 h 16003"/>
                <a:gd name="T118" fmla="*/ 7138 w 16042"/>
                <a:gd name="T119" fmla="*/ 5032 h 16003"/>
                <a:gd name="T120" fmla="*/ 6252 w 16042"/>
                <a:gd name="T121" fmla="*/ 5710 h 16003"/>
                <a:gd name="T122" fmla="*/ 5627 w 16042"/>
                <a:gd name="T123" fmla="*/ 6898 h 16003"/>
                <a:gd name="T124" fmla="*/ 5288 w 16042"/>
                <a:gd name="T125" fmla="*/ 8584 h 16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42" h="16003">
                  <a:moveTo>
                    <a:pt x="14270" y="12256"/>
                  </a:moveTo>
                  <a:lnTo>
                    <a:pt x="16042" y="12256"/>
                  </a:lnTo>
                  <a:lnTo>
                    <a:pt x="15989" y="12361"/>
                  </a:lnTo>
                  <a:lnTo>
                    <a:pt x="15935" y="12465"/>
                  </a:lnTo>
                  <a:lnTo>
                    <a:pt x="15879" y="12567"/>
                  </a:lnTo>
                  <a:lnTo>
                    <a:pt x="15820" y="12667"/>
                  </a:lnTo>
                  <a:lnTo>
                    <a:pt x="15760" y="12767"/>
                  </a:lnTo>
                  <a:lnTo>
                    <a:pt x="15699" y="12865"/>
                  </a:lnTo>
                  <a:lnTo>
                    <a:pt x="15636" y="12961"/>
                  </a:lnTo>
                  <a:lnTo>
                    <a:pt x="15571" y="13056"/>
                  </a:lnTo>
                  <a:lnTo>
                    <a:pt x="15505" y="13150"/>
                  </a:lnTo>
                  <a:lnTo>
                    <a:pt x="15435" y="13241"/>
                  </a:lnTo>
                  <a:lnTo>
                    <a:pt x="15365" y="13331"/>
                  </a:lnTo>
                  <a:lnTo>
                    <a:pt x="15294" y="13421"/>
                  </a:lnTo>
                  <a:lnTo>
                    <a:pt x="15220" y="13509"/>
                  </a:lnTo>
                  <a:lnTo>
                    <a:pt x="15145" y="13595"/>
                  </a:lnTo>
                  <a:lnTo>
                    <a:pt x="15067" y="13680"/>
                  </a:lnTo>
                  <a:lnTo>
                    <a:pt x="14988" y="13763"/>
                  </a:lnTo>
                  <a:lnTo>
                    <a:pt x="14908" y="13845"/>
                  </a:lnTo>
                  <a:lnTo>
                    <a:pt x="14826" y="13925"/>
                  </a:lnTo>
                  <a:lnTo>
                    <a:pt x="14742" y="14005"/>
                  </a:lnTo>
                  <a:lnTo>
                    <a:pt x="14655" y="14083"/>
                  </a:lnTo>
                  <a:lnTo>
                    <a:pt x="14568" y="14159"/>
                  </a:lnTo>
                  <a:lnTo>
                    <a:pt x="14479" y="14233"/>
                  </a:lnTo>
                  <a:lnTo>
                    <a:pt x="14388" y="14308"/>
                  </a:lnTo>
                  <a:lnTo>
                    <a:pt x="14294" y="14379"/>
                  </a:lnTo>
                  <a:lnTo>
                    <a:pt x="14200" y="14450"/>
                  </a:lnTo>
                  <a:lnTo>
                    <a:pt x="14104" y="14518"/>
                  </a:lnTo>
                  <a:lnTo>
                    <a:pt x="14006" y="14586"/>
                  </a:lnTo>
                  <a:lnTo>
                    <a:pt x="13906" y="14653"/>
                  </a:lnTo>
                  <a:lnTo>
                    <a:pt x="13805" y="14718"/>
                  </a:lnTo>
                  <a:lnTo>
                    <a:pt x="13702" y="14781"/>
                  </a:lnTo>
                  <a:lnTo>
                    <a:pt x="13597" y="14843"/>
                  </a:lnTo>
                  <a:lnTo>
                    <a:pt x="13490" y="14903"/>
                  </a:lnTo>
                  <a:lnTo>
                    <a:pt x="13366" y="14972"/>
                  </a:lnTo>
                  <a:lnTo>
                    <a:pt x="13240" y="15037"/>
                  </a:lnTo>
                  <a:lnTo>
                    <a:pt x="13112" y="15100"/>
                  </a:lnTo>
                  <a:lnTo>
                    <a:pt x="12983" y="15161"/>
                  </a:lnTo>
                  <a:lnTo>
                    <a:pt x="12853" y="15221"/>
                  </a:lnTo>
                  <a:lnTo>
                    <a:pt x="12720" y="15278"/>
                  </a:lnTo>
                  <a:lnTo>
                    <a:pt x="12586" y="15332"/>
                  </a:lnTo>
                  <a:lnTo>
                    <a:pt x="12450" y="15385"/>
                  </a:lnTo>
                  <a:lnTo>
                    <a:pt x="12312" y="15435"/>
                  </a:lnTo>
                  <a:lnTo>
                    <a:pt x="12173" y="15483"/>
                  </a:lnTo>
                  <a:lnTo>
                    <a:pt x="12032" y="15529"/>
                  </a:lnTo>
                  <a:lnTo>
                    <a:pt x="11889" y="15574"/>
                  </a:lnTo>
                  <a:lnTo>
                    <a:pt x="11745" y="15616"/>
                  </a:lnTo>
                  <a:lnTo>
                    <a:pt x="11598" y="15655"/>
                  </a:lnTo>
                  <a:lnTo>
                    <a:pt x="11451" y="15693"/>
                  </a:lnTo>
                  <a:lnTo>
                    <a:pt x="11302" y="15728"/>
                  </a:lnTo>
                  <a:lnTo>
                    <a:pt x="11150" y="15761"/>
                  </a:lnTo>
                  <a:lnTo>
                    <a:pt x="10998" y="15792"/>
                  </a:lnTo>
                  <a:lnTo>
                    <a:pt x="10843" y="15821"/>
                  </a:lnTo>
                  <a:lnTo>
                    <a:pt x="10687" y="15849"/>
                  </a:lnTo>
                  <a:lnTo>
                    <a:pt x="10529" y="15874"/>
                  </a:lnTo>
                  <a:lnTo>
                    <a:pt x="10369" y="15896"/>
                  </a:lnTo>
                  <a:lnTo>
                    <a:pt x="10208" y="15916"/>
                  </a:lnTo>
                  <a:lnTo>
                    <a:pt x="10045" y="15935"/>
                  </a:lnTo>
                  <a:lnTo>
                    <a:pt x="9881" y="15951"/>
                  </a:lnTo>
                  <a:lnTo>
                    <a:pt x="9714" y="15964"/>
                  </a:lnTo>
                  <a:lnTo>
                    <a:pt x="9546" y="15976"/>
                  </a:lnTo>
                  <a:lnTo>
                    <a:pt x="9377" y="15986"/>
                  </a:lnTo>
                  <a:lnTo>
                    <a:pt x="9205" y="15993"/>
                  </a:lnTo>
                  <a:lnTo>
                    <a:pt x="9033" y="15999"/>
                  </a:lnTo>
                  <a:lnTo>
                    <a:pt x="8857" y="16002"/>
                  </a:lnTo>
                  <a:lnTo>
                    <a:pt x="8681" y="16003"/>
                  </a:lnTo>
                  <a:lnTo>
                    <a:pt x="8510" y="16002"/>
                  </a:lnTo>
                  <a:lnTo>
                    <a:pt x="8341" y="15999"/>
                  </a:lnTo>
                  <a:lnTo>
                    <a:pt x="8173" y="15995"/>
                  </a:lnTo>
                  <a:lnTo>
                    <a:pt x="8007" y="15989"/>
                  </a:lnTo>
                  <a:lnTo>
                    <a:pt x="7843" y="15980"/>
                  </a:lnTo>
                  <a:lnTo>
                    <a:pt x="7679" y="15970"/>
                  </a:lnTo>
                  <a:lnTo>
                    <a:pt x="7517" y="15959"/>
                  </a:lnTo>
                  <a:lnTo>
                    <a:pt x="7356" y="15945"/>
                  </a:lnTo>
                  <a:lnTo>
                    <a:pt x="7197" y="15930"/>
                  </a:lnTo>
                  <a:lnTo>
                    <a:pt x="7039" y="15913"/>
                  </a:lnTo>
                  <a:lnTo>
                    <a:pt x="6883" y="15894"/>
                  </a:lnTo>
                  <a:lnTo>
                    <a:pt x="6729" y="15873"/>
                  </a:lnTo>
                  <a:lnTo>
                    <a:pt x="6575" y="15850"/>
                  </a:lnTo>
                  <a:lnTo>
                    <a:pt x="6424" y="15825"/>
                  </a:lnTo>
                  <a:lnTo>
                    <a:pt x="6273" y="15799"/>
                  </a:lnTo>
                  <a:lnTo>
                    <a:pt x="6124" y="15771"/>
                  </a:lnTo>
                  <a:lnTo>
                    <a:pt x="5977" y="15741"/>
                  </a:lnTo>
                  <a:lnTo>
                    <a:pt x="5831" y="15709"/>
                  </a:lnTo>
                  <a:lnTo>
                    <a:pt x="5686" y="15676"/>
                  </a:lnTo>
                  <a:lnTo>
                    <a:pt x="5544" y="15640"/>
                  </a:lnTo>
                  <a:lnTo>
                    <a:pt x="5402" y="15603"/>
                  </a:lnTo>
                  <a:lnTo>
                    <a:pt x="5262" y="15564"/>
                  </a:lnTo>
                  <a:lnTo>
                    <a:pt x="5122" y="15523"/>
                  </a:lnTo>
                  <a:lnTo>
                    <a:pt x="4986" y="15480"/>
                  </a:lnTo>
                  <a:lnTo>
                    <a:pt x="4850" y="15436"/>
                  </a:lnTo>
                  <a:lnTo>
                    <a:pt x="4715" y="15390"/>
                  </a:lnTo>
                  <a:lnTo>
                    <a:pt x="4583" y="15342"/>
                  </a:lnTo>
                  <a:lnTo>
                    <a:pt x="4452" y="15292"/>
                  </a:lnTo>
                  <a:lnTo>
                    <a:pt x="4321" y="15241"/>
                  </a:lnTo>
                  <a:lnTo>
                    <a:pt x="4193" y="15186"/>
                  </a:lnTo>
                  <a:lnTo>
                    <a:pt x="4066" y="15131"/>
                  </a:lnTo>
                  <a:lnTo>
                    <a:pt x="3940" y="15074"/>
                  </a:lnTo>
                  <a:lnTo>
                    <a:pt x="3817" y="15015"/>
                  </a:lnTo>
                  <a:lnTo>
                    <a:pt x="3695" y="14955"/>
                  </a:lnTo>
                  <a:lnTo>
                    <a:pt x="3575" y="14892"/>
                  </a:lnTo>
                  <a:lnTo>
                    <a:pt x="3458" y="14828"/>
                  </a:lnTo>
                  <a:lnTo>
                    <a:pt x="3342" y="14762"/>
                  </a:lnTo>
                  <a:lnTo>
                    <a:pt x="3228" y="14695"/>
                  </a:lnTo>
                  <a:lnTo>
                    <a:pt x="3117" y="14626"/>
                  </a:lnTo>
                  <a:lnTo>
                    <a:pt x="3007" y="14554"/>
                  </a:lnTo>
                  <a:lnTo>
                    <a:pt x="2900" y="14482"/>
                  </a:lnTo>
                  <a:lnTo>
                    <a:pt x="2793" y="14408"/>
                  </a:lnTo>
                  <a:lnTo>
                    <a:pt x="2690" y="14332"/>
                  </a:lnTo>
                  <a:lnTo>
                    <a:pt x="2588" y="14254"/>
                  </a:lnTo>
                  <a:lnTo>
                    <a:pt x="2489" y="14174"/>
                  </a:lnTo>
                  <a:lnTo>
                    <a:pt x="2390" y="14093"/>
                  </a:lnTo>
                  <a:lnTo>
                    <a:pt x="2295" y="14011"/>
                  </a:lnTo>
                  <a:lnTo>
                    <a:pt x="2201" y="13925"/>
                  </a:lnTo>
                  <a:lnTo>
                    <a:pt x="2110" y="13839"/>
                  </a:lnTo>
                  <a:lnTo>
                    <a:pt x="2019" y="13751"/>
                  </a:lnTo>
                  <a:lnTo>
                    <a:pt x="1932" y="13662"/>
                  </a:lnTo>
                  <a:lnTo>
                    <a:pt x="1846" y="13569"/>
                  </a:lnTo>
                  <a:lnTo>
                    <a:pt x="1762" y="13476"/>
                  </a:lnTo>
                  <a:lnTo>
                    <a:pt x="1680" y="13382"/>
                  </a:lnTo>
                  <a:lnTo>
                    <a:pt x="1600" y="13284"/>
                  </a:lnTo>
                  <a:lnTo>
                    <a:pt x="1522" y="13186"/>
                  </a:lnTo>
                  <a:lnTo>
                    <a:pt x="1447" y="13086"/>
                  </a:lnTo>
                  <a:lnTo>
                    <a:pt x="1373" y="12984"/>
                  </a:lnTo>
                  <a:lnTo>
                    <a:pt x="1300" y="12880"/>
                  </a:lnTo>
                  <a:lnTo>
                    <a:pt x="1230" y="12775"/>
                  </a:lnTo>
                  <a:lnTo>
                    <a:pt x="1163" y="12667"/>
                  </a:lnTo>
                  <a:lnTo>
                    <a:pt x="1097" y="12559"/>
                  </a:lnTo>
                  <a:lnTo>
                    <a:pt x="1033" y="12449"/>
                  </a:lnTo>
                  <a:lnTo>
                    <a:pt x="971" y="12336"/>
                  </a:lnTo>
                  <a:lnTo>
                    <a:pt x="911" y="12223"/>
                  </a:lnTo>
                  <a:lnTo>
                    <a:pt x="853" y="12109"/>
                  </a:lnTo>
                  <a:lnTo>
                    <a:pt x="797" y="11993"/>
                  </a:lnTo>
                  <a:lnTo>
                    <a:pt x="743" y="11879"/>
                  </a:lnTo>
                  <a:lnTo>
                    <a:pt x="691" y="11762"/>
                  </a:lnTo>
                  <a:lnTo>
                    <a:pt x="641" y="11646"/>
                  </a:lnTo>
                  <a:lnTo>
                    <a:pt x="593" y="11529"/>
                  </a:lnTo>
                  <a:lnTo>
                    <a:pt x="546" y="11411"/>
                  </a:lnTo>
                  <a:lnTo>
                    <a:pt x="501" y="11292"/>
                  </a:lnTo>
                  <a:lnTo>
                    <a:pt x="459" y="11174"/>
                  </a:lnTo>
                  <a:lnTo>
                    <a:pt x="418" y="11053"/>
                  </a:lnTo>
                  <a:lnTo>
                    <a:pt x="379" y="10934"/>
                  </a:lnTo>
                  <a:lnTo>
                    <a:pt x="342" y="10812"/>
                  </a:lnTo>
                  <a:lnTo>
                    <a:pt x="307" y="10691"/>
                  </a:lnTo>
                  <a:lnTo>
                    <a:pt x="274" y="10569"/>
                  </a:lnTo>
                  <a:lnTo>
                    <a:pt x="243" y="10446"/>
                  </a:lnTo>
                  <a:lnTo>
                    <a:pt x="214" y="10323"/>
                  </a:lnTo>
                  <a:lnTo>
                    <a:pt x="185" y="10199"/>
                  </a:lnTo>
                  <a:lnTo>
                    <a:pt x="160" y="10074"/>
                  </a:lnTo>
                  <a:lnTo>
                    <a:pt x="136" y="9949"/>
                  </a:lnTo>
                  <a:lnTo>
                    <a:pt x="114" y="9822"/>
                  </a:lnTo>
                  <a:lnTo>
                    <a:pt x="95" y="9696"/>
                  </a:lnTo>
                  <a:lnTo>
                    <a:pt x="77" y="9569"/>
                  </a:lnTo>
                  <a:lnTo>
                    <a:pt x="61" y="9441"/>
                  </a:lnTo>
                  <a:lnTo>
                    <a:pt x="46" y="9313"/>
                  </a:lnTo>
                  <a:lnTo>
                    <a:pt x="34" y="9184"/>
                  </a:lnTo>
                  <a:lnTo>
                    <a:pt x="24" y="9054"/>
                  </a:lnTo>
                  <a:lnTo>
                    <a:pt x="15" y="8923"/>
                  </a:lnTo>
                  <a:lnTo>
                    <a:pt x="9" y="8793"/>
                  </a:lnTo>
                  <a:lnTo>
                    <a:pt x="4" y="8662"/>
                  </a:lnTo>
                  <a:lnTo>
                    <a:pt x="1" y="8529"/>
                  </a:lnTo>
                  <a:lnTo>
                    <a:pt x="0" y="8397"/>
                  </a:lnTo>
                  <a:lnTo>
                    <a:pt x="1" y="8250"/>
                  </a:lnTo>
                  <a:lnTo>
                    <a:pt x="4" y="8105"/>
                  </a:lnTo>
                  <a:lnTo>
                    <a:pt x="10" y="7960"/>
                  </a:lnTo>
                  <a:lnTo>
                    <a:pt x="17" y="7817"/>
                  </a:lnTo>
                  <a:lnTo>
                    <a:pt x="27" y="7673"/>
                  </a:lnTo>
                  <a:lnTo>
                    <a:pt x="39" y="7531"/>
                  </a:lnTo>
                  <a:lnTo>
                    <a:pt x="53" y="7389"/>
                  </a:lnTo>
                  <a:lnTo>
                    <a:pt x="69" y="7247"/>
                  </a:lnTo>
                  <a:lnTo>
                    <a:pt x="87" y="7106"/>
                  </a:lnTo>
                  <a:lnTo>
                    <a:pt x="108" y="6966"/>
                  </a:lnTo>
                  <a:lnTo>
                    <a:pt x="130" y="6827"/>
                  </a:lnTo>
                  <a:lnTo>
                    <a:pt x="155" y="6687"/>
                  </a:lnTo>
                  <a:lnTo>
                    <a:pt x="182" y="6549"/>
                  </a:lnTo>
                  <a:lnTo>
                    <a:pt x="212" y="6411"/>
                  </a:lnTo>
                  <a:lnTo>
                    <a:pt x="243" y="6274"/>
                  </a:lnTo>
                  <a:lnTo>
                    <a:pt x="277" y="6138"/>
                  </a:lnTo>
                  <a:lnTo>
                    <a:pt x="312" y="6002"/>
                  </a:lnTo>
                  <a:lnTo>
                    <a:pt x="350" y="5867"/>
                  </a:lnTo>
                  <a:lnTo>
                    <a:pt x="390" y="5732"/>
                  </a:lnTo>
                  <a:lnTo>
                    <a:pt x="432" y="5598"/>
                  </a:lnTo>
                  <a:lnTo>
                    <a:pt x="476" y="5464"/>
                  </a:lnTo>
                  <a:lnTo>
                    <a:pt x="522" y="5332"/>
                  </a:lnTo>
                  <a:lnTo>
                    <a:pt x="570" y="5201"/>
                  </a:lnTo>
                  <a:lnTo>
                    <a:pt x="622" y="5068"/>
                  </a:lnTo>
                  <a:lnTo>
                    <a:pt x="675" y="4938"/>
                  </a:lnTo>
                  <a:lnTo>
                    <a:pt x="729" y="4807"/>
                  </a:lnTo>
                  <a:lnTo>
                    <a:pt x="786" y="4678"/>
                  </a:lnTo>
                  <a:lnTo>
                    <a:pt x="846" y="4548"/>
                  </a:lnTo>
                  <a:lnTo>
                    <a:pt x="907" y="4420"/>
                  </a:lnTo>
                  <a:lnTo>
                    <a:pt x="971" y="4293"/>
                  </a:lnTo>
                  <a:lnTo>
                    <a:pt x="1037" y="4165"/>
                  </a:lnTo>
                  <a:lnTo>
                    <a:pt x="1104" y="4039"/>
                  </a:lnTo>
                  <a:lnTo>
                    <a:pt x="1174" y="3914"/>
                  </a:lnTo>
                  <a:lnTo>
                    <a:pt x="1246" y="3791"/>
                  </a:lnTo>
                  <a:lnTo>
                    <a:pt x="1319" y="3670"/>
                  </a:lnTo>
                  <a:lnTo>
                    <a:pt x="1394" y="3551"/>
                  </a:lnTo>
                  <a:lnTo>
                    <a:pt x="1470" y="3434"/>
                  </a:lnTo>
                  <a:lnTo>
                    <a:pt x="1548" y="3319"/>
                  </a:lnTo>
                  <a:lnTo>
                    <a:pt x="1627" y="3205"/>
                  </a:lnTo>
                  <a:lnTo>
                    <a:pt x="1708" y="3094"/>
                  </a:lnTo>
                  <a:lnTo>
                    <a:pt x="1792" y="2985"/>
                  </a:lnTo>
                  <a:lnTo>
                    <a:pt x="1876" y="2877"/>
                  </a:lnTo>
                  <a:lnTo>
                    <a:pt x="1962" y="2772"/>
                  </a:lnTo>
                  <a:lnTo>
                    <a:pt x="2049" y="2669"/>
                  </a:lnTo>
                  <a:lnTo>
                    <a:pt x="2139" y="2566"/>
                  </a:lnTo>
                  <a:lnTo>
                    <a:pt x="2229" y="2467"/>
                  </a:lnTo>
                  <a:lnTo>
                    <a:pt x="2321" y="2370"/>
                  </a:lnTo>
                  <a:lnTo>
                    <a:pt x="2415" y="2274"/>
                  </a:lnTo>
                  <a:lnTo>
                    <a:pt x="2511" y="2180"/>
                  </a:lnTo>
                  <a:lnTo>
                    <a:pt x="2608" y="2089"/>
                  </a:lnTo>
                  <a:lnTo>
                    <a:pt x="2707" y="1998"/>
                  </a:lnTo>
                  <a:lnTo>
                    <a:pt x="2807" y="1911"/>
                  </a:lnTo>
                  <a:lnTo>
                    <a:pt x="2909" y="1825"/>
                  </a:lnTo>
                  <a:lnTo>
                    <a:pt x="3012" y="1742"/>
                  </a:lnTo>
                  <a:lnTo>
                    <a:pt x="3117" y="1659"/>
                  </a:lnTo>
                  <a:lnTo>
                    <a:pt x="3223" y="1579"/>
                  </a:lnTo>
                  <a:lnTo>
                    <a:pt x="3332" y="1502"/>
                  </a:lnTo>
                  <a:lnTo>
                    <a:pt x="3442" y="1426"/>
                  </a:lnTo>
                  <a:lnTo>
                    <a:pt x="3553" y="1351"/>
                  </a:lnTo>
                  <a:lnTo>
                    <a:pt x="3666" y="1279"/>
                  </a:lnTo>
                  <a:lnTo>
                    <a:pt x="3780" y="1210"/>
                  </a:lnTo>
                  <a:lnTo>
                    <a:pt x="3896" y="1142"/>
                  </a:lnTo>
                  <a:lnTo>
                    <a:pt x="4015" y="1075"/>
                  </a:lnTo>
                  <a:lnTo>
                    <a:pt x="4133" y="1011"/>
                  </a:lnTo>
                  <a:lnTo>
                    <a:pt x="4254" y="949"/>
                  </a:lnTo>
                  <a:lnTo>
                    <a:pt x="4375" y="889"/>
                  </a:lnTo>
                  <a:lnTo>
                    <a:pt x="4498" y="831"/>
                  </a:lnTo>
                  <a:lnTo>
                    <a:pt x="4622" y="774"/>
                  </a:lnTo>
                  <a:lnTo>
                    <a:pt x="4746" y="720"/>
                  </a:lnTo>
                  <a:lnTo>
                    <a:pt x="4873" y="668"/>
                  </a:lnTo>
                  <a:lnTo>
                    <a:pt x="5000" y="618"/>
                  </a:lnTo>
                  <a:lnTo>
                    <a:pt x="5128" y="569"/>
                  </a:lnTo>
                  <a:lnTo>
                    <a:pt x="5257" y="523"/>
                  </a:lnTo>
                  <a:lnTo>
                    <a:pt x="5387" y="479"/>
                  </a:lnTo>
                  <a:lnTo>
                    <a:pt x="5518" y="436"/>
                  </a:lnTo>
                  <a:lnTo>
                    <a:pt x="5652" y="395"/>
                  </a:lnTo>
                  <a:lnTo>
                    <a:pt x="5785" y="357"/>
                  </a:lnTo>
                  <a:lnTo>
                    <a:pt x="5919" y="320"/>
                  </a:lnTo>
                  <a:lnTo>
                    <a:pt x="6055" y="286"/>
                  </a:lnTo>
                  <a:lnTo>
                    <a:pt x="6192" y="253"/>
                  </a:lnTo>
                  <a:lnTo>
                    <a:pt x="6330" y="223"/>
                  </a:lnTo>
                  <a:lnTo>
                    <a:pt x="6468" y="194"/>
                  </a:lnTo>
                  <a:lnTo>
                    <a:pt x="6608" y="168"/>
                  </a:lnTo>
                  <a:lnTo>
                    <a:pt x="6750" y="142"/>
                  </a:lnTo>
                  <a:lnTo>
                    <a:pt x="6891" y="119"/>
                  </a:lnTo>
                  <a:lnTo>
                    <a:pt x="7034" y="99"/>
                  </a:lnTo>
                  <a:lnTo>
                    <a:pt x="7179" y="80"/>
                  </a:lnTo>
                  <a:lnTo>
                    <a:pt x="7324" y="63"/>
                  </a:lnTo>
                  <a:lnTo>
                    <a:pt x="7471" y="48"/>
                  </a:lnTo>
                  <a:lnTo>
                    <a:pt x="7618" y="36"/>
                  </a:lnTo>
                  <a:lnTo>
                    <a:pt x="7766" y="25"/>
                  </a:lnTo>
                  <a:lnTo>
                    <a:pt x="7916" y="16"/>
                  </a:lnTo>
                  <a:lnTo>
                    <a:pt x="8067" y="9"/>
                  </a:lnTo>
                  <a:lnTo>
                    <a:pt x="8219" y="4"/>
                  </a:lnTo>
                  <a:lnTo>
                    <a:pt x="8371" y="1"/>
                  </a:lnTo>
                  <a:lnTo>
                    <a:pt x="8525" y="0"/>
                  </a:lnTo>
                  <a:lnTo>
                    <a:pt x="8656" y="1"/>
                  </a:lnTo>
                  <a:lnTo>
                    <a:pt x="8785" y="3"/>
                  </a:lnTo>
                  <a:lnTo>
                    <a:pt x="8913" y="7"/>
                  </a:lnTo>
                  <a:lnTo>
                    <a:pt x="9042" y="13"/>
                  </a:lnTo>
                  <a:lnTo>
                    <a:pt x="9168" y="20"/>
                  </a:lnTo>
                  <a:lnTo>
                    <a:pt x="9294" y="29"/>
                  </a:lnTo>
                  <a:lnTo>
                    <a:pt x="9419" y="39"/>
                  </a:lnTo>
                  <a:lnTo>
                    <a:pt x="9543" y="51"/>
                  </a:lnTo>
                  <a:lnTo>
                    <a:pt x="9666" y="64"/>
                  </a:lnTo>
                  <a:lnTo>
                    <a:pt x="9789" y="80"/>
                  </a:lnTo>
                  <a:lnTo>
                    <a:pt x="9910" y="96"/>
                  </a:lnTo>
                  <a:lnTo>
                    <a:pt x="10030" y="115"/>
                  </a:lnTo>
                  <a:lnTo>
                    <a:pt x="10150" y="134"/>
                  </a:lnTo>
                  <a:lnTo>
                    <a:pt x="10269" y="156"/>
                  </a:lnTo>
                  <a:lnTo>
                    <a:pt x="10386" y="180"/>
                  </a:lnTo>
                  <a:lnTo>
                    <a:pt x="10503" y="205"/>
                  </a:lnTo>
                  <a:lnTo>
                    <a:pt x="10619" y="231"/>
                  </a:lnTo>
                  <a:lnTo>
                    <a:pt x="10734" y="259"/>
                  </a:lnTo>
                  <a:lnTo>
                    <a:pt x="10848" y="288"/>
                  </a:lnTo>
                  <a:lnTo>
                    <a:pt x="10962" y="319"/>
                  </a:lnTo>
                  <a:lnTo>
                    <a:pt x="11074" y="351"/>
                  </a:lnTo>
                  <a:lnTo>
                    <a:pt x="11185" y="385"/>
                  </a:lnTo>
                  <a:lnTo>
                    <a:pt x="11296" y="421"/>
                  </a:lnTo>
                  <a:lnTo>
                    <a:pt x="11405" y="458"/>
                  </a:lnTo>
                  <a:lnTo>
                    <a:pt x="11514" y="498"/>
                  </a:lnTo>
                  <a:lnTo>
                    <a:pt x="11621" y="539"/>
                  </a:lnTo>
                  <a:lnTo>
                    <a:pt x="11729" y="581"/>
                  </a:lnTo>
                  <a:lnTo>
                    <a:pt x="11834" y="624"/>
                  </a:lnTo>
                  <a:lnTo>
                    <a:pt x="11939" y="670"/>
                  </a:lnTo>
                  <a:lnTo>
                    <a:pt x="12044" y="716"/>
                  </a:lnTo>
                  <a:lnTo>
                    <a:pt x="12147" y="765"/>
                  </a:lnTo>
                  <a:lnTo>
                    <a:pt x="12249" y="816"/>
                  </a:lnTo>
                  <a:lnTo>
                    <a:pt x="12350" y="867"/>
                  </a:lnTo>
                  <a:lnTo>
                    <a:pt x="12451" y="920"/>
                  </a:lnTo>
                  <a:lnTo>
                    <a:pt x="12548" y="974"/>
                  </a:lnTo>
                  <a:lnTo>
                    <a:pt x="12645" y="1029"/>
                  </a:lnTo>
                  <a:lnTo>
                    <a:pt x="12740" y="1086"/>
                  </a:lnTo>
                  <a:lnTo>
                    <a:pt x="12834" y="1145"/>
                  </a:lnTo>
                  <a:lnTo>
                    <a:pt x="12926" y="1204"/>
                  </a:lnTo>
                  <a:lnTo>
                    <a:pt x="13016" y="1265"/>
                  </a:lnTo>
                  <a:lnTo>
                    <a:pt x="13105" y="1327"/>
                  </a:lnTo>
                  <a:lnTo>
                    <a:pt x="13194" y="1391"/>
                  </a:lnTo>
                  <a:lnTo>
                    <a:pt x="13280" y="1457"/>
                  </a:lnTo>
                  <a:lnTo>
                    <a:pt x="13364" y="1523"/>
                  </a:lnTo>
                  <a:lnTo>
                    <a:pt x="13447" y="1590"/>
                  </a:lnTo>
                  <a:lnTo>
                    <a:pt x="13528" y="1659"/>
                  </a:lnTo>
                  <a:lnTo>
                    <a:pt x="13609" y="1730"/>
                  </a:lnTo>
                  <a:lnTo>
                    <a:pt x="13687" y="1802"/>
                  </a:lnTo>
                  <a:lnTo>
                    <a:pt x="13764" y="1875"/>
                  </a:lnTo>
                  <a:lnTo>
                    <a:pt x="13840" y="1949"/>
                  </a:lnTo>
                  <a:lnTo>
                    <a:pt x="13914" y="2024"/>
                  </a:lnTo>
                  <a:lnTo>
                    <a:pt x="13987" y="2102"/>
                  </a:lnTo>
                  <a:lnTo>
                    <a:pt x="14058" y="2181"/>
                  </a:lnTo>
                  <a:lnTo>
                    <a:pt x="14127" y="2260"/>
                  </a:lnTo>
                  <a:lnTo>
                    <a:pt x="14195" y="2341"/>
                  </a:lnTo>
                  <a:lnTo>
                    <a:pt x="14262" y="2424"/>
                  </a:lnTo>
                  <a:lnTo>
                    <a:pt x="14328" y="2508"/>
                  </a:lnTo>
                  <a:lnTo>
                    <a:pt x="14391" y="2593"/>
                  </a:lnTo>
                  <a:lnTo>
                    <a:pt x="14453" y="2680"/>
                  </a:lnTo>
                  <a:lnTo>
                    <a:pt x="14514" y="2768"/>
                  </a:lnTo>
                  <a:lnTo>
                    <a:pt x="14573" y="2857"/>
                  </a:lnTo>
                  <a:lnTo>
                    <a:pt x="14631" y="2947"/>
                  </a:lnTo>
                  <a:lnTo>
                    <a:pt x="14687" y="3040"/>
                  </a:lnTo>
                  <a:lnTo>
                    <a:pt x="14742" y="3133"/>
                  </a:lnTo>
                  <a:lnTo>
                    <a:pt x="14795" y="3227"/>
                  </a:lnTo>
                  <a:lnTo>
                    <a:pt x="14846" y="3322"/>
                  </a:lnTo>
                  <a:lnTo>
                    <a:pt x="14896" y="3417"/>
                  </a:lnTo>
                  <a:lnTo>
                    <a:pt x="14943" y="3512"/>
                  </a:lnTo>
                  <a:lnTo>
                    <a:pt x="14989" y="3608"/>
                  </a:lnTo>
                  <a:lnTo>
                    <a:pt x="15034" y="3706"/>
                  </a:lnTo>
                  <a:lnTo>
                    <a:pt x="15077" y="3803"/>
                  </a:lnTo>
                  <a:lnTo>
                    <a:pt x="15119" y="3900"/>
                  </a:lnTo>
                  <a:lnTo>
                    <a:pt x="15158" y="4000"/>
                  </a:lnTo>
                  <a:lnTo>
                    <a:pt x="15196" y="4098"/>
                  </a:lnTo>
                  <a:lnTo>
                    <a:pt x="15232" y="4198"/>
                  </a:lnTo>
                  <a:lnTo>
                    <a:pt x="15266" y="4299"/>
                  </a:lnTo>
                  <a:lnTo>
                    <a:pt x="15299" y="4399"/>
                  </a:lnTo>
                  <a:lnTo>
                    <a:pt x="15330" y="4500"/>
                  </a:lnTo>
                  <a:lnTo>
                    <a:pt x="15359" y="4602"/>
                  </a:lnTo>
                  <a:lnTo>
                    <a:pt x="15387" y="4704"/>
                  </a:lnTo>
                  <a:lnTo>
                    <a:pt x="15413" y="4807"/>
                  </a:lnTo>
                  <a:lnTo>
                    <a:pt x="15437" y="4911"/>
                  </a:lnTo>
                  <a:lnTo>
                    <a:pt x="15460" y="5015"/>
                  </a:lnTo>
                  <a:lnTo>
                    <a:pt x="15481" y="5119"/>
                  </a:lnTo>
                  <a:lnTo>
                    <a:pt x="15501" y="5225"/>
                  </a:lnTo>
                  <a:lnTo>
                    <a:pt x="15518" y="5330"/>
                  </a:lnTo>
                  <a:lnTo>
                    <a:pt x="15534" y="5436"/>
                  </a:lnTo>
                  <a:lnTo>
                    <a:pt x="15549" y="5544"/>
                  </a:lnTo>
                  <a:lnTo>
                    <a:pt x="15561" y="5650"/>
                  </a:lnTo>
                  <a:lnTo>
                    <a:pt x="15572" y="5758"/>
                  </a:lnTo>
                  <a:lnTo>
                    <a:pt x="15581" y="5867"/>
                  </a:lnTo>
                  <a:lnTo>
                    <a:pt x="15589" y="5976"/>
                  </a:lnTo>
                  <a:lnTo>
                    <a:pt x="15595" y="6085"/>
                  </a:lnTo>
                  <a:lnTo>
                    <a:pt x="15599" y="6195"/>
                  </a:lnTo>
                  <a:lnTo>
                    <a:pt x="15601" y="6305"/>
                  </a:lnTo>
                  <a:lnTo>
                    <a:pt x="15602" y="6416"/>
                  </a:lnTo>
                  <a:lnTo>
                    <a:pt x="15601" y="6549"/>
                  </a:lnTo>
                  <a:lnTo>
                    <a:pt x="15597" y="6680"/>
                  </a:lnTo>
                  <a:lnTo>
                    <a:pt x="15591" y="6811"/>
                  </a:lnTo>
                  <a:lnTo>
                    <a:pt x="15582" y="6940"/>
                  </a:lnTo>
                  <a:lnTo>
                    <a:pt x="15570" y="7070"/>
                  </a:lnTo>
                  <a:lnTo>
                    <a:pt x="15556" y="7198"/>
                  </a:lnTo>
                  <a:lnTo>
                    <a:pt x="15540" y="7325"/>
                  </a:lnTo>
                  <a:lnTo>
                    <a:pt x="15520" y="7452"/>
                  </a:lnTo>
                  <a:lnTo>
                    <a:pt x="15499" y="7578"/>
                  </a:lnTo>
                  <a:lnTo>
                    <a:pt x="15475" y="7703"/>
                  </a:lnTo>
                  <a:lnTo>
                    <a:pt x="15447" y="7827"/>
                  </a:lnTo>
                  <a:lnTo>
                    <a:pt x="15417" y="7950"/>
                  </a:lnTo>
                  <a:lnTo>
                    <a:pt x="15386" y="8073"/>
                  </a:lnTo>
                  <a:lnTo>
                    <a:pt x="15351" y="8195"/>
                  </a:lnTo>
                  <a:lnTo>
                    <a:pt x="15314" y="8316"/>
                  </a:lnTo>
                  <a:lnTo>
                    <a:pt x="15275" y="8436"/>
                  </a:lnTo>
                  <a:lnTo>
                    <a:pt x="15233" y="8555"/>
                  </a:lnTo>
                  <a:lnTo>
                    <a:pt x="15188" y="8675"/>
                  </a:lnTo>
                  <a:lnTo>
                    <a:pt x="15141" y="8792"/>
                  </a:lnTo>
                  <a:lnTo>
                    <a:pt x="15092" y="8909"/>
                  </a:lnTo>
                  <a:lnTo>
                    <a:pt x="15038" y="9025"/>
                  </a:lnTo>
                  <a:lnTo>
                    <a:pt x="14984" y="9141"/>
                  </a:lnTo>
                  <a:lnTo>
                    <a:pt x="14926" y="9255"/>
                  </a:lnTo>
                  <a:lnTo>
                    <a:pt x="14867" y="9369"/>
                  </a:lnTo>
                  <a:lnTo>
                    <a:pt x="14804" y="9482"/>
                  </a:lnTo>
                  <a:lnTo>
                    <a:pt x="14740" y="9595"/>
                  </a:lnTo>
                  <a:lnTo>
                    <a:pt x="14671" y="9706"/>
                  </a:lnTo>
                  <a:lnTo>
                    <a:pt x="14601" y="9816"/>
                  </a:lnTo>
                  <a:lnTo>
                    <a:pt x="14529" y="9927"/>
                  </a:lnTo>
                  <a:lnTo>
                    <a:pt x="14454" y="10035"/>
                  </a:lnTo>
                  <a:lnTo>
                    <a:pt x="14377" y="10143"/>
                  </a:lnTo>
                  <a:lnTo>
                    <a:pt x="14296" y="10251"/>
                  </a:lnTo>
                  <a:lnTo>
                    <a:pt x="14193" y="10384"/>
                  </a:lnTo>
                  <a:lnTo>
                    <a:pt x="14088" y="10514"/>
                  </a:lnTo>
                  <a:lnTo>
                    <a:pt x="13981" y="10638"/>
                  </a:lnTo>
                  <a:lnTo>
                    <a:pt x="13872" y="10758"/>
                  </a:lnTo>
                  <a:lnTo>
                    <a:pt x="13761" y="10875"/>
                  </a:lnTo>
                  <a:lnTo>
                    <a:pt x="13649" y="10987"/>
                  </a:lnTo>
                  <a:lnTo>
                    <a:pt x="13534" y="11094"/>
                  </a:lnTo>
                  <a:lnTo>
                    <a:pt x="13419" y="11198"/>
                  </a:lnTo>
                  <a:lnTo>
                    <a:pt x="13301" y="11297"/>
                  </a:lnTo>
                  <a:lnTo>
                    <a:pt x="13182" y="11392"/>
                  </a:lnTo>
                  <a:lnTo>
                    <a:pt x="13060" y="11484"/>
                  </a:lnTo>
                  <a:lnTo>
                    <a:pt x="12937" y="11570"/>
                  </a:lnTo>
                  <a:lnTo>
                    <a:pt x="12813" y="11652"/>
                  </a:lnTo>
                  <a:lnTo>
                    <a:pt x="12685" y="11730"/>
                  </a:lnTo>
                  <a:lnTo>
                    <a:pt x="12557" y="11805"/>
                  </a:lnTo>
                  <a:lnTo>
                    <a:pt x="12427" y="11875"/>
                  </a:lnTo>
                  <a:lnTo>
                    <a:pt x="12294" y="11940"/>
                  </a:lnTo>
                  <a:lnTo>
                    <a:pt x="12160" y="12001"/>
                  </a:lnTo>
                  <a:lnTo>
                    <a:pt x="12024" y="12058"/>
                  </a:lnTo>
                  <a:lnTo>
                    <a:pt x="11887" y="12112"/>
                  </a:lnTo>
                  <a:lnTo>
                    <a:pt x="11748" y="12160"/>
                  </a:lnTo>
                  <a:lnTo>
                    <a:pt x="11606" y="12204"/>
                  </a:lnTo>
                  <a:lnTo>
                    <a:pt x="11463" y="12244"/>
                  </a:lnTo>
                  <a:lnTo>
                    <a:pt x="11319" y="12280"/>
                  </a:lnTo>
                  <a:lnTo>
                    <a:pt x="11172" y="12312"/>
                  </a:lnTo>
                  <a:lnTo>
                    <a:pt x="11024" y="12339"/>
                  </a:lnTo>
                  <a:lnTo>
                    <a:pt x="10873" y="12362"/>
                  </a:lnTo>
                  <a:lnTo>
                    <a:pt x="10721" y="12381"/>
                  </a:lnTo>
                  <a:lnTo>
                    <a:pt x="10568" y="12397"/>
                  </a:lnTo>
                  <a:lnTo>
                    <a:pt x="10411" y="12408"/>
                  </a:lnTo>
                  <a:lnTo>
                    <a:pt x="10254" y="12414"/>
                  </a:lnTo>
                  <a:lnTo>
                    <a:pt x="10094" y="12416"/>
                  </a:lnTo>
                  <a:lnTo>
                    <a:pt x="10010" y="12415"/>
                  </a:lnTo>
                  <a:lnTo>
                    <a:pt x="9928" y="12412"/>
                  </a:lnTo>
                  <a:lnTo>
                    <a:pt x="9888" y="12410"/>
                  </a:lnTo>
                  <a:lnTo>
                    <a:pt x="9848" y="12408"/>
                  </a:lnTo>
                  <a:lnTo>
                    <a:pt x="9810" y="12405"/>
                  </a:lnTo>
                  <a:lnTo>
                    <a:pt x="9772" y="12401"/>
                  </a:lnTo>
                  <a:lnTo>
                    <a:pt x="9733" y="12397"/>
                  </a:lnTo>
                  <a:lnTo>
                    <a:pt x="9696" y="12392"/>
                  </a:lnTo>
                  <a:lnTo>
                    <a:pt x="9660" y="12387"/>
                  </a:lnTo>
                  <a:lnTo>
                    <a:pt x="9625" y="12381"/>
                  </a:lnTo>
                  <a:lnTo>
                    <a:pt x="9590" y="12376"/>
                  </a:lnTo>
                  <a:lnTo>
                    <a:pt x="9556" y="12369"/>
                  </a:lnTo>
                  <a:lnTo>
                    <a:pt x="9523" y="12362"/>
                  </a:lnTo>
                  <a:lnTo>
                    <a:pt x="9490" y="12355"/>
                  </a:lnTo>
                  <a:lnTo>
                    <a:pt x="9458" y="12347"/>
                  </a:lnTo>
                  <a:lnTo>
                    <a:pt x="9427" y="12339"/>
                  </a:lnTo>
                  <a:lnTo>
                    <a:pt x="9396" y="12331"/>
                  </a:lnTo>
                  <a:lnTo>
                    <a:pt x="9366" y="12321"/>
                  </a:lnTo>
                  <a:lnTo>
                    <a:pt x="9336" y="12312"/>
                  </a:lnTo>
                  <a:lnTo>
                    <a:pt x="9307" y="12302"/>
                  </a:lnTo>
                  <a:lnTo>
                    <a:pt x="9279" y="12291"/>
                  </a:lnTo>
                  <a:lnTo>
                    <a:pt x="9251" y="12280"/>
                  </a:lnTo>
                  <a:lnTo>
                    <a:pt x="9225" y="12268"/>
                  </a:lnTo>
                  <a:lnTo>
                    <a:pt x="9199" y="12256"/>
                  </a:lnTo>
                  <a:lnTo>
                    <a:pt x="9173" y="12244"/>
                  </a:lnTo>
                  <a:lnTo>
                    <a:pt x="9148" y="12231"/>
                  </a:lnTo>
                  <a:lnTo>
                    <a:pt x="9124" y="12218"/>
                  </a:lnTo>
                  <a:lnTo>
                    <a:pt x="9101" y="12204"/>
                  </a:lnTo>
                  <a:lnTo>
                    <a:pt x="9078" y="12189"/>
                  </a:lnTo>
                  <a:lnTo>
                    <a:pt x="9056" y="12174"/>
                  </a:lnTo>
                  <a:lnTo>
                    <a:pt x="9034" y="12159"/>
                  </a:lnTo>
                  <a:lnTo>
                    <a:pt x="9013" y="12143"/>
                  </a:lnTo>
                  <a:lnTo>
                    <a:pt x="8993" y="12127"/>
                  </a:lnTo>
                  <a:lnTo>
                    <a:pt x="8972" y="12110"/>
                  </a:lnTo>
                  <a:lnTo>
                    <a:pt x="8952" y="12093"/>
                  </a:lnTo>
                  <a:lnTo>
                    <a:pt x="8933" y="12075"/>
                  </a:lnTo>
                  <a:lnTo>
                    <a:pt x="8914" y="12057"/>
                  </a:lnTo>
                  <a:lnTo>
                    <a:pt x="8895" y="12038"/>
                  </a:lnTo>
                  <a:lnTo>
                    <a:pt x="8877" y="12020"/>
                  </a:lnTo>
                  <a:lnTo>
                    <a:pt x="8860" y="12000"/>
                  </a:lnTo>
                  <a:lnTo>
                    <a:pt x="8843" y="11981"/>
                  </a:lnTo>
                  <a:lnTo>
                    <a:pt x="8826" y="11961"/>
                  </a:lnTo>
                  <a:lnTo>
                    <a:pt x="8810" y="11940"/>
                  </a:lnTo>
                  <a:lnTo>
                    <a:pt x="8794" y="11919"/>
                  </a:lnTo>
                  <a:lnTo>
                    <a:pt x="8779" y="11898"/>
                  </a:lnTo>
                  <a:lnTo>
                    <a:pt x="8764" y="11876"/>
                  </a:lnTo>
                  <a:lnTo>
                    <a:pt x="8750" y="11854"/>
                  </a:lnTo>
                  <a:lnTo>
                    <a:pt x="8736" y="11831"/>
                  </a:lnTo>
                  <a:lnTo>
                    <a:pt x="8723" y="11808"/>
                  </a:lnTo>
                  <a:lnTo>
                    <a:pt x="8710" y="11784"/>
                  </a:lnTo>
                  <a:lnTo>
                    <a:pt x="8698" y="11759"/>
                  </a:lnTo>
                  <a:lnTo>
                    <a:pt x="8685" y="11735"/>
                  </a:lnTo>
                  <a:lnTo>
                    <a:pt x="8674" y="11710"/>
                  </a:lnTo>
                  <a:lnTo>
                    <a:pt x="8663" y="11685"/>
                  </a:lnTo>
                  <a:lnTo>
                    <a:pt x="8652" y="11659"/>
                  </a:lnTo>
                  <a:lnTo>
                    <a:pt x="8642" y="11633"/>
                  </a:lnTo>
                  <a:lnTo>
                    <a:pt x="8632" y="11607"/>
                  </a:lnTo>
                  <a:lnTo>
                    <a:pt x="8623" y="11580"/>
                  </a:lnTo>
                  <a:lnTo>
                    <a:pt x="8614" y="11552"/>
                  </a:lnTo>
                  <a:lnTo>
                    <a:pt x="8606" y="11524"/>
                  </a:lnTo>
                  <a:lnTo>
                    <a:pt x="8598" y="11496"/>
                  </a:lnTo>
                  <a:lnTo>
                    <a:pt x="8590" y="11467"/>
                  </a:lnTo>
                  <a:lnTo>
                    <a:pt x="8528" y="11526"/>
                  </a:lnTo>
                  <a:lnTo>
                    <a:pt x="8466" y="11582"/>
                  </a:lnTo>
                  <a:lnTo>
                    <a:pt x="8404" y="11637"/>
                  </a:lnTo>
                  <a:lnTo>
                    <a:pt x="8341" y="11689"/>
                  </a:lnTo>
                  <a:lnTo>
                    <a:pt x="8277" y="11740"/>
                  </a:lnTo>
                  <a:lnTo>
                    <a:pt x="8213" y="11790"/>
                  </a:lnTo>
                  <a:lnTo>
                    <a:pt x="8147" y="11837"/>
                  </a:lnTo>
                  <a:lnTo>
                    <a:pt x="8081" y="11882"/>
                  </a:lnTo>
                  <a:lnTo>
                    <a:pt x="8015" y="11926"/>
                  </a:lnTo>
                  <a:lnTo>
                    <a:pt x="7948" y="11967"/>
                  </a:lnTo>
                  <a:lnTo>
                    <a:pt x="7881" y="12007"/>
                  </a:lnTo>
                  <a:lnTo>
                    <a:pt x="7812" y="12045"/>
                  </a:lnTo>
                  <a:lnTo>
                    <a:pt x="7744" y="12082"/>
                  </a:lnTo>
                  <a:lnTo>
                    <a:pt x="7675" y="12116"/>
                  </a:lnTo>
                  <a:lnTo>
                    <a:pt x="7605" y="12148"/>
                  </a:lnTo>
                  <a:lnTo>
                    <a:pt x="7535" y="12179"/>
                  </a:lnTo>
                  <a:lnTo>
                    <a:pt x="7464" y="12208"/>
                  </a:lnTo>
                  <a:lnTo>
                    <a:pt x="7392" y="12234"/>
                  </a:lnTo>
                  <a:lnTo>
                    <a:pt x="7320" y="12259"/>
                  </a:lnTo>
                  <a:lnTo>
                    <a:pt x="7247" y="12282"/>
                  </a:lnTo>
                  <a:lnTo>
                    <a:pt x="7174" y="12303"/>
                  </a:lnTo>
                  <a:lnTo>
                    <a:pt x="7100" y="12323"/>
                  </a:lnTo>
                  <a:lnTo>
                    <a:pt x="7025" y="12340"/>
                  </a:lnTo>
                  <a:lnTo>
                    <a:pt x="6950" y="12356"/>
                  </a:lnTo>
                  <a:lnTo>
                    <a:pt x="6874" y="12370"/>
                  </a:lnTo>
                  <a:lnTo>
                    <a:pt x="6798" y="12382"/>
                  </a:lnTo>
                  <a:lnTo>
                    <a:pt x="6721" y="12392"/>
                  </a:lnTo>
                  <a:lnTo>
                    <a:pt x="6643" y="12401"/>
                  </a:lnTo>
                  <a:lnTo>
                    <a:pt x="6565" y="12408"/>
                  </a:lnTo>
                  <a:lnTo>
                    <a:pt x="6487" y="12412"/>
                  </a:lnTo>
                  <a:lnTo>
                    <a:pt x="6408" y="12415"/>
                  </a:lnTo>
                  <a:lnTo>
                    <a:pt x="6328" y="12416"/>
                  </a:lnTo>
                  <a:lnTo>
                    <a:pt x="6242" y="12415"/>
                  </a:lnTo>
                  <a:lnTo>
                    <a:pt x="6157" y="12412"/>
                  </a:lnTo>
                  <a:lnTo>
                    <a:pt x="6073" y="12408"/>
                  </a:lnTo>
                  <a:lnTo>
                    <a:pt x="5990" y="12401"/>
                  </a:lnTo>
                  <a:lnTo>
                    <a:pt x="5907" y="12392"/>
                  </a:lnTo>
                  <a:lnTo>
                    <a:pt x="5826" y="12382"/>
                  </a:lnTo>
                  <a:lnTo>
                    <a:pt x="5746" y="12369"/>
                  </a:lnTo>
                  <a:lnTo>
                    <a:pt x="5667" y="12356"/>
                  </a:lnTo>
                  <a:lnTo>
                    <a:pt x="5589" y="12340"/>
                  </a:lnTo>
                  <a:lnTo>
                    <a:pt x="5511" y="12322"/>
                  </a:lnTo>
                  <a:lnTo>
                    <a:pt x="5434" y="12303"/>
                  </a:lnTo>
                  <a:lnTo>
                    <a:pt x="5359" y="12281"/>
                  </a:lnTo>
                  <a:lnTo>
                    <a:pt x="5284" y="12258"/>
                  </a:lnTo>
                  <a:lnTo>
                    <a:pt x="5210" y="12233"/>
                  </a:lnTo>
                  <a:lnTo>
                    <a:pt x="5137" y="12206"/>
                  </a:lnTo>
                  <a:lnTo>
                    <a:pt x="5065" y="12177"/>
                  </a:lnTo>
                  <a:lnTo>
                    <a:pt x="4994" y="12147"/>
                  </a:lnTo>
                  <a:lnTo>
                    <a:pt x="4924" y="12114"/>
                  </a:lnTo>
                  <a:lnTo>
                    <a:pt x="4855" y="12079"/>
                  </a:lnTo>
                  <a:lnTo>
                    <a:pt x="4787" y="12043"/>
                  </a:lnTo>
                  <a:lnTo>
                    <a:pt x="4718" y="12005"/>
                  </a:lnTo>
                  <a:lnTo>
                    <a:pt x="4652" y="11965"/>
                  </a:lnTo>
                  <a:lnTo>
                    <a:pt x="4586" y="11924"/>
                  </a:lnTo>
                  <a:lnTo>
                    <a:pt x="4522" y="11880"/>
                  </a:lnTo>
                  <a:lnTo>
                    <a:pt x="4458" y="11835"/>
                  </a:lnTo>
                  <a:lnTo>
                    <a:pt x="4395" y="11787"/>
                  </a:lnTo>
                  <a:lnTo>
                    <a:pt x="4333" y="11737"/>
                  </a:lnTo>
                  <a:lnTo>
                    <a:pt x="4272" y="11686"/>
                  </a:lnTo>
                  <a:lnTo>
                    <a:pt x="4212" y="11634"/>
                  </a:lnTo>
                  <a:lnTo>
                    <a:pt x="4153" y="11579"/>
                  </a:lnTo>
                  <a:lnTo>
                    <a:pt x="4094" y="11523"/>
                  </a:lnTo>
                  <a:lnTo>
                    <a:pt x="4037" y="11464"/>
                  </a:lnTo>
                  <a:lnTo>
                    <a:pt x="3980" y="11403"/>
                  </a:lnTo>
                  <a:lnTo>
                    <a:pt x="3926" y="11342"/>
                  </a:lnTo>
                  <a:lnTo>
                    <a:pt x="3874" y="11280"/>
                  </a:lnTo>
                  <a:lnTo>
                    <a:pt x="3823" y="11216"/>
                  </a:lnTo>
                  <a:lnTo>
                    <a:pt x="3774" y="11151"/>
                  </a:lnTo>
                  <a:lnTo>
                    <a:pt x="3727" y="11084"/>
                  </a:lnTo>
                  <a:lnTo>
                    <a:pt x="3682" y="11017"/>
                  </a:lnTo>
                  <a:lnTo>
                    <a:pt x="3639" y="10948"/>
                  </a:lnTo>
                  <a:lnTo>
                    <a:pt x="3596" y="10878"/>
                  </a:lnTo>
                  <a:lnTo>
                    <a:pt x="3556" y="10806"/>
                  </a:lnTo>
                  <a:lnTo>
                    <a:pt x="3518" y="10734"/>
                  </a:lnTo>
                  <a:lnTo>
                    <a:pt x="3481" y="10660"/>
                  </a:lnTo>
                  <a:lnTo>
                    <a:pt x="3447" y="10586"/>
                  </a:lnTo>
                  <a:lnTo>
                    <a:pt x="3414" y="10509"/>
                  </a:lnTo>
                  <a:lnTo>
                    <a:pt x="3383" y="10432"/>
                  </a:lnTo>
                  <a:lnTo>
                    <a:pt x="3354" y="10353"/>
                  </a:lnTo>
                  <a:lnTo>
                    <a:pt x="3326" y="10274"/>
                  </a:lnTo>
                  <a:lnTo>
                    <a:pt x="3300" y="10192"/>
                  </a:lnTo>
                  <a:lnTo>
                    <a:pt x="3276" y="10110"/>
                  </a:lnTo>
                  <a:lnTo>
                    <a:pt x="3254" y="10027"/>
                  </a:lnTo>
                  <a:lnTo>
                    <a:pt x="3233" y="9942"/>
                  </a:lnTo>
                  <a:lnTo>
                    <a:pt x="3214" y="9855"/>
                  </a:lnTo>
                  <a:lnTo>
                    <a:pt x="3197" y="9768"/>
                  </a:lnTo>
                  <a:lnTo>
                    <a:pt x="3182" y="9680"/>
                  </a:lnTo>
                  <a:lnTo>
                    <a:pt x="3169" y="9591"/>
                  </a:lnTo>
                  <a:lnTo>
                    <a:pt x="3157" y="9499"/>
                  </a:lnTo>
                  <a:lnTo>
                    <a:pt x="3148" y="9407"/>
                  </a:lnTo>
                  <a:lnTo>
                    <a:pt x="3140" y="9314"/>
                  </a:lnTo>
                  <a:lnTo>
                    <a:pt x="3133" y="9219"/>
                  </a:lnTo>
                  <a:lnTo>
                    <a:pt x="3129" y="9123"/>
                  </a:lnTo>
                  <a:lnTo>
                    <a:pt x="3126" y="9026"/>
                  </a:lnTo>
                  <a:lnTo>
                    <a:pt x="3125" y="8927"/>
                  </a:lnTo>
                  <a:lnTo>
                    <a:pt x="3126" y="8806"/>
                  </a:lnTo>
                  <a:lnTo>
                    <a:pt x="3130" y="8685"/>
                  </a:lnTo>
                  <a:lnTo>
                    <a:pt x="3135" y="8564"/>
                  </a:lnTo>
                  <a:lnTo>
                    <a:pt x="3142" y="8444"/>
                  </a:lnTo>
                  <a:lnTo>
                    <a:pt x="3152" y="8325"/>
                  </a:lnTo>
                  <a:lnTo>
                    <a:pt x="3164" y="8206"/>
                  </a:lnTo>
                  <a:lnTo>
                    <a:pt x="3178" y="8089"/>
                  </a:lnTo>
                  <a:lnTo>
                    <a:pt x="3194" y="7971"/>
                  </a:lnTo>
                  <a:lnTo>
                    <a:pt x="3212" y="7855"/>
                  </a:lnTo>
                  <a:lnTo>
                    <a:pt x="3232" y="7739"/>
                  </a:lnTo>
                  <a:lnTo>
                    <a:pt x="3256" y="7624"/>
                  </a:lnTo>
                  <a:lnTo>
                    <a:pt x="3280" y="7510"/>
                  </a:lnTo>
                  <a:lnTo>
                    <a:pt x="3307" y="7396"/>
                  </a:lnTo>
                  <a:lnTo>
                    <a:pt x="3336" y="7282"/>
                  </a:lnTo>
                  <a:lnTo>
                    <a:pt x="3367" y="7170"/>
                  </a:lnTo>
                  <a:lnTo>
                    <a:pt x="3400" y="7058"/>
                  </a:lnTo>
                  <a:lnTo>
                    <a:pt x="3436" y="6947"/>
                  </a:lnTo>
                  <a:lnTo>
                    <a:pt x="3473" y="6837"/>
                  </a:lnTo>
                  <a:lnTo>
                    <a:pt x="3513" y="6727"/>
                  </a:lnTo>
                  <a:lnTo>
                    <a:pt x="3554" y="6618"/>
                  </a:lnTo>
                  <a:lnTo>
                    <a:pt x="3598" y="6510"/>
                  </a:lnTo>
                  <a:lnTo>
                    <a:pt x="3645" y="6401"/>
                  </a:lnTo>
                  <a:lnTo>
                    <a:pt x="3693" y="6295"/>
                  </a:lnTo>
                  <a:lnTo>
                    <a:pt x="3744" y="6188"/>
                  </a:lnTo>
                  <a:lnTo>
                    <a:pt x="3796" y="6082"/>
                  </a:lnTo>
                  <a:lnTo>
                    <a:pt x="3851" y="5977"/>
                  </a:lnTo>
                  <a:lnTo>
                    <a:pt x="3907" y="5873"/>
                  </a:lnTo>
                  <a:lnTo>
                    <a:pt x="3966" y="5768"/>
                  </a:lnTo>
                  <a:lnTo>
                    <a:pt x="4028" y="5666"/>
                  </a:lnTo>
                  <a:lnTo>
                    <a:pt x="4091" y="5563"/>
                  </a:lnTo>
                  <a:lnTo>
                    <a:pt x="4157" y="5461"/>
                  </a:lnTo>
                  <a:lnTo>
                    <a:pt x="4224" y="5360"/>
                  </a:lnTo>
                  <a:lnTo>
                    <a:pt x="4308" y="5239"/>
                  </a:lnTo>
                  <a:lnTo>
                    <a:pt x="4394" y="5122"/>
                  </a:lnTo>
                  <a:lnTo>
                    <a:pt x="4481" y="5009"/>
                  </a:lnTo>
                  <a:lnTo>
                    <a:pt x="4569" y="4900"/>
                  </a:lnTo>
                  <a:lnTo>
                    <a:pt x="4659" y="4794"/>
                  </a:lnTo>
                  <a:lnTo>
                    <a:pt x="4750" y="4692"/>
                  </a:lnTo>
                  <a:lnTo>
                    <a:pt x="4843" y="4595"/>
                  </a:lnTo>
                  <a:lnTo>
                    <a:pt x="4937" y="4500"/>
                  </a:lnTo>
                  <a:lnTo>
                    <a:pt x="5032" y="4410"/>
                  </a:lnTo>
                  <a:lnTo>
                    <a:pt x="5129" y="4324"/>
                  </a:lnTo>
                  <a:lnTo>
                    <a:pt x="5228" y="4242"/>
                  </a:lnTo>
                  <a:lnTo>
                    <a:pt x="5328" y="4162"/>
                  </a:lnTo>
                  <a:lnTo>
                    <a:pt x="5429" y="4088"/>
                  </a:lnTo>
                  <a:lnTo>
                    <a:pt x="5532" y="4017"/>
                  </a:lnTo>
                  <a:lnTo>
                    <a:pt x="5637" y="3950"/>
                  </a:lnTo>
                  <a:lnTo>
                    <a:pt x="5742" y="3886"/>
                  </a:lnTo>
                  <a:lnTo>
                    <a:pt x="5849" y="3826"/>
                  </a:lnTo>
                  <a:lnTo>
                    <a:pt x="5959" y="3771"/>
                  </a:lnTo>
                  <a:lnTo>
                    <a:pt x="6069" y="3719"/>
                  </a:lnTo>
                  <a:lnTo>
                    <a:pt x="6180" y="3671"/>
                  </a:lnTo>
                  <a:lnTo>
                    <a:pt x="6293" y="3627"/>
                  </a:lnTo>
                  <a:lnTo>
                    <a:pt x="6408" y="3586"/>
                  </a:lnTo>
                  <a:lnTo>
                    <a:pt x="6524" y="3550"/>
                  </a:lnTo>
                  <a:lnTo>
                    <a:pt x="6641" y="3517"/>
                  </a:lnTo>
                  <a:lnTo>
                    <a:pt x="6761" y="3488"/>
                  </a:lnTo>
                  <a:lnTo>
                    <a:pt x="6881" y="3463"/>
                  </a:lnTo>
                  <a:lnTo>
                    <a:pt x="7002" y="3442"/>
                  </a:lnTo>
                  <a:lnTo>
                    <a:pt x="7126" y="3425"/>
                  </a:lnTo>
                  <a:lnTo>
                    <a:pt x="7250" y="3412"/>
                  </a:lnTo>
                  <a:lnTo>
                    <a:pt x="7376" y="3402"/>
                  </a:lnTo>
                  <a:lnTo>
                    <a:pt x="7505" y="3396"/>
                  </a:lnTo>
                  <a:lnTo>
                    <a:pt x="7634" y="3394"/>
                  </a:lnTo>
                  <a:lnTo>
                    <a:pt x="7725" y="3396"/>
                  </a:lnTo>
                  <a:lnTo>
                    <a:pt x="7815" y="3399"/>
                  </a:lnTo>
                  <a:lnTo>
                    <a:pt x="7905" y="3404"/>
                  </a:lnTo>
                  <a:lnTo>
                    <a:pt x="7992" y="3412"/>
                  </a:lnTo>
                  <a:lnTo>
                    <a:pt x="8077" y="3422"/>
                  </a:lnTo>
                  <a:lnTo>
                    <a:pt x="8162" y="3434"/>
                  </a:lnTo>
                  <a:lnTo>
                    <a:pt x="8245" y="3449"/>
                  </a:lnTo>
                  <a:lnTo>
                    <a:pt x="8326" y="3465"/>
                  </a:lnTo>
                  <a:lnTo>
                    <a:pt x="8406" y="3484"/>
                  </a:lnTo>
                  <a:lnTo>
                    <a:pt x="8484" y="3505"/>
                  </a:lnTo>
                  <a:lnTo>
                    <a:pt x="8560" y="3528"/>
                  </a:lnTo>
                  <a:lnTo>
                    <a:pt x="8636" y="3553"/>
                  </a:lnTo>
                  <a:lnTo>
                    <a:pt x="8710" y="3581"/>
                  </a:lnTo>
                  <a:lnTo>
                    <a:pt x="8782" y="3612"/>
                  </a:lnTo>
                  <a:lnTo>
                    <a:pt x="8852" y="3644"/>
                  </a:lnTo>
                  <a:lnTo>
                    <a:pt x="8921" y="3678"/>
                  </a:lnTo>
                  <a:lnTo>
                    <a:pt x="8990" y="3714"/>
                  </a:lnTo>
                  <a:lnTo>
                    <a:pt x="9056" y="3753"/>
                  </a:lnTo>
                  <a:lnTo>
                    <a:pt x="9120" y="3794"/>
                  </a:lnTo>
                  <a:lnTo>
                    <a:pt x="9183" y="3837"/>
                  </a:lnTo>
                  <a:lnTo>
                    <a:pt x="9244" y="3882"/>
                  </a:lnTo>
                  <a:lnTo>
                    <a:pt x="9304" y="3930"/>
                  </a:lnTo>
                  <a:lnTo>
                    <a:pt x="9364" y="3980"/>
                  </a:lnTo>
                  <a:lnTo>
                    <a:pt x="9421" y="4032"/>
                  </a:lnTo>
                  <a:lnTo>
                    <a:pt x="9476" y="4086"/>
                  </a:lnTo>
                  <a:lnTo>
                    <a:pt x="9530" y="4142"/>
                  </a:lnTo>
                  <a:lnTo>
                    <a:pt x="9582" y="4201"/>
                  </a:lnTo>
                  <a:lnTo>
                    <a:pt x="9633" y="4262"/>
                  </a:lnTo>
                  <a:lnTo>
                    <a:pt x="9683" y="4325"/>
                  </a:lnTo>
                  <a:lnTo>
                    <a:pt x="9730" y="4390"/>
                  </a:lnTo>
                  <a:lnTo>
                    <a:pt x="9778" y="4458"/>
                  </a:lnTo>
                  <a:lnTo>
                    <a:pt x="9822" y="4527"/>
                  </a:lnTo>
                  <a:lnTo>
                    <a:pt x="10029" y="3601"/>
                  </a:lnTo>
                  <a:lnTo>
                    <a:pt x="12224" y="3601"/>
                  </a:lnTo>
                  <a:lnTo>
                    <a:pt x="10969" y="9569"/>
                  </a:lnTo>
                  <a:lnTo>
                    <a:pt x="10955" y="9639"/>
                  </a:lnTo>
                  <a:lnTo>
                    <a:pt x="10942" y="9705"/>
                  </a:lnTo>
                  <a:lnTo>
                    <a:pt x="10930" y="9768"/>
                  </a:lnTo>
                  <a:lnTo>
                    <a:pt x="10919" y="9827"/>
                  </a:lnTo>
                  <a:lnTo>
                    <a:pt x="10909" y="9885"/>
                  </a:lnTo>
                  <a:lnTo>
                    <a:pt x="10899" y="9938"/>
                  </a:lnTo>
                  <a:lnTo>
                    <a:pt x="10890" y="9989"/>
                  </a:lnTo>
                  <a:lnTo>
                    <a:pt x="10882" y="10036"/>
                  </a:lnTo>
                  <a:lnTo>
                    <a:pt x="10875" y="10080"/>
                  </a:lnTo>
                  <a:lnTo>
                    <a:pt x="10869" y="10121"/>
                  </a:lnTo>
                  <a:lnTo>
                    <a:pt x="10864" y="10159"/>
                  </a:lnTo>
                  <a:lnTo>
                    <a:pt x="10860" y="10194"/>
                  </a:lnTo>
                  <a:lnTo>
                    <a:pt x="10856" y="10226"/>
                  </a:lnTo>
                  <a:lnTo>
                    <a:pt x="10854" y="10255"/>
                  </a:lnTo>
                  <a:lnTo>
                    <a:pt x="10853" y="10280"/>
                  </a:lnTo>
                  <a:lnTo>
                    <a:pt x="10852" y="10302"/>
                  </a:lnTo>
                  <a:lnTo>
                    <a:pt x="10853" y="10328"/>
                  </a:lnTo>
                  <a:lnTo>
                    <a:pt x="10854" y="10353"/>
                  </a:lnTo>
                  <a:lnTo>
                    <a:pt x="10856" y="10377"/>
                  </a:lnTo>
                  <a:lnTo>
                    <a:pt x="10858" y="10400"/>
                  </a:lnTo>
                  <a:lnTo>
                    <a:pt x="10861" y="10422"/>
                  </a:lnTo>
                  <a:lnTo>
                    <a:pt x="10866" y="10443"/>
                  </a:lnTo>
                  <a:lnTo>
                    <a:pt x="10870" y="10464"/>
                  </a:lnTo>
                  <a:lnTo>
                    <a:pt x="10876" y="10484"/>
                  </a:lnTo>
                  <a:lnTo>
                    <a:pt x="10882" y="10503"/>
                  </a:lnTo>
                  <a:lnTo>
                    <a:pt x="10890" y="10522"/>
                  </a:lnTo>
                  <a:lnTo>
                    <a:pt x="10898" y="10539"/>
                  </a:lnTo>
                  <a:lnTo>
                    <a:pt x="10907" y="10556"/>
                  </a:lnTo>
                  <a:lnTo>
                    <a:pt x="10916" y="10572"/>
                  </a:lnTo>
                  <a:lnTo>
                    <a:pt x="10927" y="10587"/>
                  </a:lnTo>
                  <a:lnTo>
                    <a:pt x="10938" y="10601"/>
                  </a:lnTo>
                  <a:lnTo>
                    <a:pt x="10950" y="10615"/>
                  </a:lnTo>
                  <a:lnTo>
                    <a:pt x="10961" y="10627"/>
                  </a:lnTo>
                  <a:lnTo>
                    <a:pt x="10974" y="10639"/>
                  </a:lnTo>
                  <a:lnTo>
                    <a:pt x="10986" y="10650"/>
                  </a:lnTo>
                  <a:lnTo>
                    <a:pt x="10999" y="10659"/>
                  </a:lnTo>
                  <a:lnTo>
                    <a:pt x="11012" y="10669"/>
                  </a:lnTo>
                  <a:lnTo>
                    <a:pt x="11025" y="10677"/>
                  </a:lnTo>
                  <a:lnTo>
                    <a:pt x="11039" y="10685"/>
                  </a:lnTo>
                  <a:lnTo>
                    <a:pt x="11053" y="10691"/>
                  </a:lnTo>
                  <a:lnTo>
                    <a:pt x="11068" y="10697"/>
                  </a:lnTo>
                  <a:lnTo>
                    <a:pt x="11082" y="10702"/>
                  </a:lnTo>
                  <a:lnTo>
                    <a:pt x="11097" y="10707"/>
                  </a:lnTo>
                  <a:lnTo>
                    <a:pt x="11112" y="10710"/>
                  </a:lnTo>
                  <a:lnTo>
                    <a:pt x="11128" y="10713"/>
                  </a:lnTo>
                  <a:lnTo>
                    <a:pt x="11144" y="10715"/>
                  </a:lnTo>
                  <a:lnTo>
                    <a:pt x="11160" y="10716"/>
                  </a:lnTo>
                  <a:lnTo>
                    <a:pt x="11176" y="10717"/>
                  </a:lnTo>
                  <a:lnTo>
                    <a:pt x="11201" y="10716"/>
                  </a:lnTo>
                  <a:lnTo>
                    <a:pt x="11227" y="10715"/>
                  </a:lnTo>
                  <a:lnTo>
                    <a:pt x="11253" y="10713"/>
                  </a:lnTo>
                  <a:lnTo>
                    <a:pt x="11280" y="10709"/>
                  </a:lnTo>
                  <a:lnTo>
                    <a:pt x="11307" y="10705"/>
                  </a:lnTo>
                  <a:lnTo>
                    <a:pt x="11335" y="10700"/>
                  </a:lnTo>
                  <a:lnTo>
                    <a:pt x="11363" y="10694"/>
                  </a:lnTo>
                  <a:lnTo>
                    <a:pt x="11391" y="10687"/>
                  </a:lnTo>
                  <a:lnTo>
                    <a:pt x="11420" y="10679"/>
                  </a:lnTo>
                  <a:lnTo>
                    <a:pt x="11449" y="10670"/>
                  </a:lnTo>
                  <a:lnTo>
                    <a:pt x="11479" y="10660"/>
                  </a:lnTo>
                  <a:lnTo>
                    <a:pt x="11509" y="10650"/>
                  </a:lnTo>
                  <a:lnTo>
                    <a:pt x="11539" y="10638"/>
                  </a:lnTo>
                  <a:lnTo>
                    <a:pt x="11571" y="10625"/>
                  </a:lnTo>
                  <a:lnTo>
                    <a:pt x="11602" y="10612"/>
                  </a:lnTo>
                  <a:lnTo>
                    <a:pt x="11634" y="10597"/>
                  </a:lnTo>
                  <a:lnTo>
                    <a:pt x="11667" y="10582"/>
                  </a:lnTo>
                  <a:lnTo>
                    <a:pt x="11700" y="10565"/>
                  </a:lnTo>
                  <a:lnTo>
                    <a:pt x="11734" y="10548"/>
                  </a:lnTo>
                  <a:lnTo>
                    <a:pt x="11767" y="10530"/>
                  </a:lnTo>
                  <a:lnTo>
                    <a:pt x="11802" y="10509"/>
                  </a:lnTo>
                  <a:lnTo>
                    <a:pt x="11836" y="10489"/>
                  </a:lnTo>
                  <a:lnTo>
                    <a:pt x="11871" y="10468"/>
                  </a:lnTo>
                  <a:lnTo>
                    <a:pt x="11907" y="10446"/>
                  </a:lnTo>
                  <a:lnTo>
                    <a:pt x="11943" y="10423"/>
                  </a:lnTo>
                  <a:lnTo>
                    <a:pt x="11980" y="10399"/>
                  </a:lnTo>
                  <a:lnTo>
                    <a:pt x="12017" y="10374"/>
                  </a:lnTo>
                  <a:lnTo>
                    <a:pt x="12055" y="10348"/>
                  </a:lnTo>
                  <a:lnTo>
                    <a:pt x="12093" y="10321"/>
                  </a:lnTo>
                  <a:lnTo>
                    <a:pt x="12131" y="10293"/>
                  </a:lnTo>
                  <a:lnTo>
                    <a:pt x="12170" y="10264"/>
                  </a:lnTo>
                  <a:lnTo>
                    <a:pt x="12210" y="10234"/>
                  </a:lnTo>
                  <a:lnTo>
                    <a:pt x="12262" y="10194"/>
                  </a:lnTo>
                  <a:lnTo>
                    <a:pt x="12314" y="10153"/>
                  </a:lnTo>
                  <a:lnTo>
                    <a:pt x="12365" y="10112"/>
                  </a:lnTo>
                  <a:lnTo>
                    <a:pt x="12417" y="10070"/>
                  </a:lnTo>
                  <a:lnTo>
                    <a:pt x="12467" y="10026"/>
                  </a:lnTo>
                  <a:lnTo>
                    <a:pt x="12516" y="9983"/>
                  </a:lnTo>
                  <a:lnTo>
                    <a:pt x="12565" y="9938"/>
                  </a:lnTo>
                  <a:lnTo>
                    <a:pt x="12613" y="9892"/>
                  </a:lnTo>
                  <a:lnTo>
                    <a:pt x="12661" y="9845"/>
                  </a:lnTo>
                  <a:lnTo>
                    <a:pt x="12707" y="9797"/>
                  </a:lnTo>
                  <a:lnTo>
                    <a:pt x="12754" y="9749"/>
                  </a:lnTo>
                  <a:lnTo>
                    <a:pt x="12800" y="9700"/>
                  </a:lnTo>
                  <a:lnTo>
                    <a:pt x="12845" y="9650"/>
                  </a:lnTo>
                  <a:lnTo>
                    <a:pt x="12889" y="9600"/>
                  </a:lnTo>
                  <a:lnTo>
                    <a:pt x="12933" y="9547"/>
                  </a:lnTo>
                  <a:lnTo>
                    <a:pt x="12976" y="9495"/>
                  </a:lnTo>
                  <a:lnTo>
                    <a:pt x="13019" y="9441"/>
                  </a:lnTo>
                  <a:lnTo>
                    <a:pt x="13060" y="9387"/>
                  </a:lnTo>
                  <a:lnTo>
                    <a:pt x="13101" y="9332"/>
                  </a:lnTo>
                  <a:lnTo>
                    <a:pt x="13142" y="9277"/>
                  </a:lnTo>
                  <a:lnTo>
                    <a:pt x="13183" y="9219"/>
                  </a:lnTo>
                  <a:lnTo>
                    <a:pt x="13222" y="9161"/>
                  </a:lnTo>
                  <a:lnTo>
                    <a:pt x="13261" y="9103"/>
                  </a:lnTo>
                  <a:lnTo>
                    <a:pt x="13299" y="9044"/>
                  </a:lnTo>
                  <a:lnTo>
                    <a:pt x="13336" y="8984"/>
                  </a:lnTo>
                  <a:lnTo>
                    <a:pt x="13373" y="8922"/>
                  </a:lnTo>
                  <a:lnTo>
                    <a:pt x="13409" y="8860"/>
                  </a:lnTo>
                  <a:lnTo>
                    <a:pt x="13445" y="8798"/>
                  </a:lnTo>
                  <a:lnTo>
                    <a:pt x="13479" y="8734"/>
                  </a:lnTo>
                  <a:lnTo>
                    <a:pt x="13514" y="8670"/>
                  </a:lnTo>
                  <a:lnTo>
                    <a:pt x="13547" y="8604"/>
                  </a:lnTo>
                  <a:lnTo>
                    <a:pt x="13581" y="8538"/>
                  </a:lnTo>
                  <a:lnTo>
                    <a:pt x="13613" y="8472"/>
                  </a:lnTo>
                  <a:lnTo>
                    <a:pt x="13644" y="8405"/>
                  </a:lnTo>
                  <a:lnTo>
                    <a:pt x="13675" y="8338"/>
                  </a:lnTo>
                  <a:lnTo>
                    <a:pt x="13704" y="8270"/>
                  </a:lnTo>
                  <a:lnTo>
                    <a:pt x="13732" y="8203"/>
                  </a:lnTo>
                  <a:lnTo>
                    <a:pt x="13759" y="8136"/>
                  </a:lnTo>
                  <a:lnTo>
                    <a:pt x="13785" y="8069"/>
                  </a:lnTo>
                  <a:lnTo>
                    <a:pt x="13810" y="8000"/>
                  </a:lnTo>
                  <a:lnTo>
                    <a:pt x="13833" y="7933"/>
                  </a:lnTo>
                  <a:lnTo>
                    <a:pt x="13856" y="7865"/>
                  </a:lnTo>
                  <a:lnTo>
                    <a:pt x="13878" y="7797"/>
                  </a:lnTo>
                  <a:lnTo>
                    <a:pt x="13899" y="7729"/>
                  </a:lnTo>
                  <a:lnTo>
                    <a:pt x="13919" y="7660"/>
                  </a:lnTo>
                  <a:lnTo>
                    <a:pt x="13938" y="7591"/>
                  </a:lnTo>
                  <a:lnTo>
                    <a:pt x="13957" y="7523"/>
                  </a:lnTo>
                  <a:lnTo>
                    <a:pt x="13973" y="7454"/>
                  </a:lnTo>
                  <a:lnTo>
                    <a:pt x="13989" y="7385"/>
                  </a:lnTo>
                  <a:lnTo>
                    <a:pt x="14004" y="7315"/>
                  </a:lnTo>
                  <a:lnTo>
                    <a:pt x="14017" y="7246"/>
                  </a:lnTo>
                  <a:lnTo>
                    <a:pt x="14030" y="7177"/>
                  </a:lnTo>
                  <a:lnTo>
                    <a:pt x="14042" y="7108"/>
                  </a:lnTo>
                  <a:lnTo>
                    <a:pt x="14052" y="7037"/>
                  </a:lnTo>
                  <a:lnTo>
                    <a:pt x="14062" y="6967"/>
                  </a:lnTo>
                  <a:lnTo>
                    <a:pt x="14071" y="6897"/>
                  </a:lnTo>
                  <a:lnTo>
                    <a:pt x="14078" y="6827"/>
                  </a:lnTo>
                  <a:lnTo>
                    <a:pt x="14085" y="6757"/>
                  </a:lnTo>
                  <a:lnTo>
                    <a:pt x="14091" y="6686"/>
                  </a:lnTo>
                  <a:lnTo>
                    <a:pt x="14095" y="6616"/>
                  </a:lnTo>
                  <a:lnTo>
                    <a:pt x="14099" y="6545"/>
                  </a:lnTo>
                  <a:lnTo>
                    <a:pt x="14101" y="6474"/>
                  </a:lnTo>
                  <a:lnTo>
                    <a:pt x="14103" y="6402"/>
                  </a:lnTo>
                  <a:lnTo>
                    <a:pt x="14103" y="6331"/>
                  </a:lnTo>
                  <a:lnTo>
                    <a:pt x="14102" y="6204"/>
                  </a:lnTo>
                  <a:lnTo>
                    <a:pt x="14097" y="6078"/>
                  </a:lnTo>
                  <a:lnTo>
                    <a:pt x="14090" y="5954"/>
                  </a:lnTo>
                  <a:lnTo>
                    <a:pt x="14080" y="5831"/>
                  </a:lnTo>
                  <a:lnTo>
                    <a:pt x="14067" y="5708"/>
                  </a:lnTo>
                  <a:lnTo>
                    <a:pt x="14051" y="5588"/>
                  </a:lnTo>
                  <a:lnTo>
                    <a:pt x="14033" y="5468"/>
                  </a:lnTo>
                  <a:lnTo>
                    <a:pt x="14011" y="5350"/>
                  </a:lnTo>
                  <a:lnTo>
                    <a:pt x="13987" y="5234"/>
                  </a:lnTo>
                  <a:lnTo>
                    <a:pt x="13959" y="5118"/>
                  </a:lnTo>
                  <a:lnTo>
                    <a:pt x="13928" y="5004"/>
                  </a:lnTo>
                  <a:lnTo>
                    <a:pt x="13895" y="4892"/>
                  </a:lnTo>
                  <a:lnTo>
                    <a:pt x="13859" y="4779"/>
                  </a:lnTo>
                  <a:lnTo>
                    <a:pt x="13820" y="4669"/>
                  </a:lnTo>
                  <a:lnTo>
                    <a:pt x="13779" y="4561"/>
                  </a:lnTo>
                  <a:lnTo>
                    <a:pt x="13734" y="4453"/>
                  </a:lnTo>
                  <a:lnTo>
                    <a:pt x="13687" y="4347"/>
                  </a:lnTo>
                  <a:lnTo>
                    <a:pt x="13636" y="4242"/>
                  </a:lnTo>
                  <a:lnTo>
                    <a:pt x="13583" y="4137"/>
                  </a:lnTo>
                  <a:lnTo>
                    <a:pt x="13526" y="4035"/>
                  </a:lnTo>
                  <a:lnTo>
                    <a:pt x="13467" y="3935"/>
                  </a:lnTo>
                  <a:lnTo>
                    <a:pt x="13405" y="3834"/>
                  </a:lnTo>
                  <a:lnTo>
                    <a:pt x="13340" y="3736"/>
                  </a:lnTo>
                  <a:lnTo>
                    <a:pt x="13272" y="3639"/>
                  </a:lnTo>
                  <a:lnTo>
                    <a:pt x="13202" y="3543"/>
                  </a:lnTo>
                  <a:lnTo>
                    <a:pt x="13127" y="3448"/>
                  </a:lnTo>
                  <a:lnTo>
                    <a:pt x="13051" y="3355"/>
                  </a:lnTo>
                  <a:lnTo>
                    <a:pt x="12971" y="3263"/>
                  </a:lnTo>
                  <a:lnTo>
                    <a:pt x="12889" y="3172"/>
                  </a:lnTo>
                  <a:lnTo>
                    <a:pt x="12804" y="3083"/>
                  </a:lnTo>
                  <a:lnTo>
                    <a:pt x="12715" y="2996"/>
                  </a:lnTo>
                  <a:lnTo>
                    <a:pt x="12624" y="2908"/>
                  </a:lnTo>
                  <a:lnTo>
                    <a:pt x="12531" y="2824"/>
                  </a:lnTo>
                  <a:lnTo>
                    <a:pt x="12435" y="2742"/>
                  </a:lnTo>
                  <a:lnTo>
                    <a:pt x="12336" y="2662"/>
                  </a:lnTo>
                  <a:lnTo>
                    <a:pt x="12235" y="2586"/>
                  </a:lnTo>
                  <a:lnTo>
                    <a:pt x="12133" y="2512"/>
                  </a:lnTo>
                  <a:lnTo>
                    <a:pt x="12027" y="2441"/>
                  </a:lnTo>
                  <a:lnTo>
                    <a:pt x="11920" y="2373"/>
                  </a:lnTo>
                  <a:lnTo>
                    <a:pt x="11810" y="2306"/>
                  </a:lnTo>
                  <a:lnTo>
                    <a:pt x="11699" y="2243"/>
                  </a:lnTo>
                  <a:lnTo>
                    <a:pt x="11584" y="2183"/>
                  </a:lnTo>
                  <a:lnTo>
                    <a:pt x="11467" y="2125"/>
                  </a:lnTo>
                  <a:lnTo>
                    <a:pt x="11349" y="2070"/>
                  </a:lnTo>
                  <a:lnTo>
                    <a:pt x="11227" y="2017"/>
                  </a:lnTo>
                  <a:lnTo>
                    <a:pt x="11104" y="1967"/>
                  </a:lnTo>
                  <a:lnTo>
                    <a:pt x="10978" y="1920"/>
                  </a:lnTo>
                  <a:lnTo>
                    <a:pt x="10850" y="1876"/>
                  </a:lnTo>
                  <a:lnTo>
                    <a:pt x="10720" y="1834"/>
                  </a:lnTo>
                  <a:lnTo>
                    <a:pt x="10588" y="1795"/>
                  </a:lnTo>
                  <a:lnTo>
                    <a:pt x="10452" y="1759"/>
                  </a:lnTo>
                  <a:lnTo>
                    <a:pt x="10315" y="1724"/>
                  </a:lnTo>
                  <a:lnTo>
                    <a:pt x="10176" y="1694"/>
                  </a:lnTo>
                  <a:lnTo>
                    <a:pt x="10034" y="1665"/>
                  </a:lnTo>
                  <a:lnTo>
                    <a:pt x="9890" y="1640"/>
                  </a:lnTo>
                  <a:lnTo>
                    <a:pt x="9744" y="1617"/>
                  </a:lnTo>
                  <a:lnTo>
                    <a:pt x="9595" y="1597"/>
                  </a:lnTo>
                  <a:lnTo>
                    <a:pt x="9445" y="1579"/>
                  </a:lnTo>
                  <a:lnTo>
                    <a:pt x="9291" y="1565"/>
                  </a:lnTo>
                  <a:lnTo>
                    <a:pt x="9136" y="1553"/>
                  </a:lnTo>
                  <a:lnTo>
                    <a:pt x="8978" y="1543"/>
                  </a:lnTo>
                  <a:lnTo>
                    <a:pt x="8818" y="1536"/>
                  </a:lnTo>
                  <a:lnTo>
                    <a:pt x="8656" y="1532"/>
                  </a:lnTo>
                  <a:lnTo>
                    <a:pt x="8491" y="1531"/>
                  </a:lnTo>
                  <a:lnTo>
                    <a:pt x="8351" y="1532"/>
                  </a:lnTo>
                  <a:lnTo>
                    <a:pt x="8211" y="1535"/>
                  </a:lnTo>
                  <a:lnTo>
                    <a:pt x="8074" y="1539"/>
                  </a:lnTo>
                  <a:lnTo>
                    <a:pt x="7939" y="1545"/>
                  </a:lnTo>
                  <a:lnTo>
                    <a:pt x="7803" y="1554"/>
                  </a:lnTo>
                  <a:lnTo>
                    <a:pt x="7670" y="1563"/>
                  </a:lnTo>
                  <a:lnTo>
                    <a:pt x="7538" y="1575"/>
                  </a:lnTo>
                  <a:lnTo>
                    <a:pt x="7407" y="1588"/>
                  </a:lnTo>
                  <a:lnTo>
                    <a:pt x="7278" y="1604"/>
                  </a:lnTo>
                  <a:lnTo>
                    <a:pt x="7150" y="1621"/>
                  </a:lnTo>
                  <a:lnTo>
                    <a:pt x="7022" y="1640"/>
                  </a:lnTo>
                  <a:lnTo>
                    <a:pt x="6897" y="1660"/>
                  </a:lnTo>
                  <a:lnTo>
                    <a:pt x="6774" y="1683"/>
                  </a:lnTo>
                  <a:lnTo>
                    <a:pt x="6650" y="1707"/>
                  </a:lnTo>
                  <a:lnTo>
                    <a:pt x="6529" y="1734"/>
                  </a:lnTo>
                  <a:lnTo>
                    <a:pt x="6409" y="1761"/>
                  </a:lnTo>
                  <a:lnTo>
                    <a:pt x="6290" y="1791"/>
                  </a:lnTo>
                  <a:lnTo>
                    <a:pt x="6173" y="1822"/>
                  </a:lnTo>
                  <a:lnTo>
                    <a:pt x="6057" y="1856"/>
                  </a:lnTo>
                  <a:lnTo>
                    <a:pt x="5942" y="1890"/>
                  </a:lnTo>
                  <a:lnTo>
                    <a:pt x="5828" y="1927"/>
                  </a:lnTo>
                  <a:lnTo>
                    <a:pt x="5716" y="1966"/>
                  </a:lnTo>
                  <a:lnTo>
                    <a:pt x="5606" y="2006"/>
                  </a:lnTo>
                  <a:lnTo>
                    <a:pt x="5496" y="2049"/>
                  </a:lnTo>
                  <a:lnTo>
                    <a:pt x="5388" y="2093"/>
                  </a:lnTo>
                  <a:lnTo>
                    <a:pt x="5282" y="2139"/>
                  </a:lnTo>
                  <a:lnTo>
                    <a:pt x="5177" y="2186"/>
                  </a:lnTo>
                  <a:lnTo>
                    <a:pt x="5072" y="2236"/>
                  </a:lnTo>
                  <a:lnTo>
                    <a:pt x="4970" y="2287"/>
                  </a:lnTo>
                  <a:lnTo>
                    <a:pt x="4869" y="2339"/>
                  </a:lnTo>
                  <a:lnTo>
                    <a:pt x="4768" y="2395"/>
                  </a:lnTo>
                  <a:lnTo>
                    <a:pt x="4670" y="2452"/>
                  </a:lnTo>
                  <a:lnTo>
                    <a:pt x="4573" y="2510"/>
                  </a:lnTo>
                  <a:lnTo>
                    <a:pt x="4477" y="2569"/>
                  </a:lnTo>
                  <a:lnTo>
                    <a:pt x="4382" y="2630"/>
                  </a:lnTo>
                  <a:lnTo>
                    <a:pt x="4290" y="2693"/>
                  </a:lnTo>
                  <a:lnTo>
                    <a:pt x="4199" y="2757"/>
                  </a:lnTo>
                  <a:lnTo>
                    <a:pt x="4109" y="2823"/>
                  </a:lnTo>
                  <a:lnTo>
                    <a:pt x="4021" y="2889"/>
                  </a:lnTo>
                  <a:lnTo>
                    <a:pt x="3934" y="2957"/>
                  </a:lnTo>
                  <a:lnTo>
                    <a:pt x="3849" y="3028"/>
                  </a:lnTo>
                  <a:lnTo>
                    <a:pt x="3766" y="3099"/>
                  </a:lnTo>
                  <a:lnTo>
                    <a:pt x="3684" y="3172"/>
                  </a:lnTo>
                  <a:lnTo>
                    <a:pt x="3602" y="3246"/>
                  </a:lnTo>
                  <a:lnTo>
                    <a:pt x="3523" y="3322"/>
                  </a:lnTo>
                  <a:lnTo>
                    <a:pt x="3446" y="3399"/>
                  </a:lnTo>
                  <a:lnTo>
                    <a:pt x="3370" y="3477"/>
                  </a:lnTo>
                  <a:lnTo>
                    <a:pt x="3295" y="3557"/>
                  </a:lnTo>
                  <a:lnTo>
                    <a:pt x="3222" y="3640"/>
                  </a:lnTo>
                  <a:lnTo>
                    <a:pt x="3150" y="3722"/>
                  </a:lnTo>
                  <a:lnTo>
                    <a:pt x="3080" y="3807"/>
                  </a:lnTo>
                  <a:lnTo>
                    <a:pt x="3012" y="3892"/>
                  </a:lnTo>
                  <a:lnTo>
                    <a:pt x="2945" y="3980"/>
                  </a:lnTo>
                  <a:lnTo>
                    <a:pt x="2880" y="4069"/>
                  </a:lnTo>
                  <a:lnTo>
                    <a:pt x="2815" y="4159"/>
                  </a:lnTo>
                  <a:lnTo>
                    <a:pt x="2753" y="4252"/>
                  </a:lnTo>
                  <a:lnTo>
                    <a:pt x="2692" y="4345"/>
                  </a:lnTo>
                  <a:lnTo>
                    <a:pt x="2633" y="4439"/>
                  </a:lnTo>
                  <a:lnTo>
                    <a:pt x="2575" y="4535"/>
                  </a:lnTo>
                  <a:lnTo>
                    <a:pt x="2519" y="4633"/>
                  </a:lnTo>
                  <a:lnTo>
                    <a:pt x="2463" y="4732"/>
                  </a:lnTo>
                  <a:lnTo>
                    <a:pt x="2410" y="4833"/>
                  </a:lnTo>
                  <a:lnTo>
                    <a:pt x="2358" y="4936"/>
                  </a:lnTo>
                  <a:lnTo>
                    <a:pt x="2308" y="5039"/>
                  </a:lnTo>
                  <a:lnTo>
                    <a:pt x="2259" y="5143"/>
                  </a:lnTo>
                  <a:lnTo>
                    <a:pt x="2212" y="5248"/>
                  </a:lnTo>
                  <a:lnTo>
                    <a:pt x="2166" y="5352"/>
                  </a:lnTo>
                  <a:lnTo>
                    <a:pt x="2122" y="5457"/>
                  </a:lnTo>
                  <a:lnTo>
                    <a:pt x="2078" y="5563"/>
                  </a:lnTo>
                  <a:lnTo>
                    <a:pt x="2037" y="5669"/>
                  </a:lnTo>
                  <a:lnTo>
                    <a:pt x="1998" y="5774"/>
                  </a:lnTo>
                  <a:lnTo>
                    <a:pt x="1960" y="5881"/>
                  </a:lnTo>
                  <a:lnTo>
                    <a:pt x="1923" y="5987"/>
                  </a:lnTo>
                  <a:lnTo>
                    <a:pt x="1888" y="6094"/>
                  </a:lnTo>
                  <a:lnTo>
                    <a:pt x="1855" y="6201"/>
                  </a:lnTo>
                  <a:lnTo>
                    <a:pt x="1823" y="6308"/>
                  </a:lnTo>
                  <a:lnTo>
                    <a:pt x="1793" y="6416"/>
                  </a:lnTo>
                  <a:lnTo>
                    <a:pt x="1765" y="6524"/>
                  </a:lnTo>
                  <a:lnTo>
                    <a:pt x="1737" y="6632"/>
                  </a:lnTo>
                  <a:lnTo>
                    <a:pt x="1711" y="6740"/>
                  </a:lnTo>
                  <a:lnTo>
                    <a:pt x="1687" y="6850"/>
                  </a:lnTo>
                  <a:lnTo>
                    <a:pt x="1665" y="6958"/>
                  </a:lnTo>
                  <a:lnTo>
                    <a:pt x="1644" y="7068"/>
                  </a:lnTo>
                  <a:lnTo>
                    <a:pt x="1624" y="7177"/>
                  </a:lnTo>
                  <a:lnTo>
                    <a:pt x="1607" y="7287"/>
                  </a:lnTo>
                  <a:lnTo>
                    <a:pt x="1590" y="7398"/>
                  </a:lnTo>
                  <a:lnTo>
                    <a:pt x="1576" y="7508"/>
                  </a:lnTo>
                  <a:lnTo>
                    <a:pt x="1563" y="7618"/>
                  </a:lnTo>
                  <a:lnTo>
                    <a:pt x="1551" y="7729"/>
                  </a:lnTo>
                  <a:lnTo>
                    <a:pt x="1541" y="7840"/>
                  </a:lnTo>
                  <a:lnTo>
                    <a:pt x="1532" y="7951"/>
                  </a:lnTo>
                  <a:lnTo>
                    <a:pt x="1525" y="8064"/>
                  </a:lnTo>
                  <a:lnTo>
                    <a:pt x="1520" y="8175"/>
                  </a:lnTo>
                  <a:lnTo>
                    <a:pt x="1516" y="8287"/>
                  </a:lnTo>
                  <a:lnTo>
                    <a:pt x="1514" y="8400"/>
                  </a:lnTo>
                  <a:lnTo>
                    <a:pt x="1513" y="8513"/>
                  </a:lnTo>
                  <a:lnTo>
                    <a:pt x="1514" y="8622"/>
                  </a:lnTo>
                  <a:lnTo>
                    <a:pt x="1517" y="8731"/>
                  </a:lnTo>
                  <a:lnTo>
                    <a:pt x="1521" y="8839"/>
                  </a:lnTo>
                  <a:lnTo>
                    <a:pt x="1527" y="8947"/>
                  </a:lnTo>
                  <a:lnTo>
                    <a:pt x="1535" y="9054"/>
                  </a:lnTo>
                  <a:lnTo>
                    <a:pt x="1544" y="9160"/>
                  </a:lnTo>
                  <a:lnTo>
                    <a:pt x="1555" y="9266"/>
                  </a:lnTo>
                  <a:lnTo>
                    <a:pt x="1568" y="9371"/>
                  </a:lnTo>
                  <a:lnTo>
                    <a:pt x="1583" y="9475"/>
                  </a:lnTo>
                  <a:lnTo>
                    <a:pt x="1599" y="9580"/>
                  </a:lnTo>
                  <a:lnTo>
                    <a:pt x="1617" y="9682"/>
                  </a:lnTo>
                  <a:lnTo>
                    <a:pt x="1637" y="9785"/>
                  </a:lnTo>
                  <a:lnTo>
                    <a:pt x="1659" y="9887"/>
                  </a:lnTo>
                  <a:lnTo>
                    <a:pt x="1682" y="9989"/>
                  </a:lnTo>
                  <a:lnTo>
                    <a:pt x="1707" y="10089"/>
                  </a:lnTo>
                  <a:lnTo>
                    <a:pt x="1735" y="10189"/>
                  </a:lnTo>
                  <a:lnTo>
                    <a:pt x="1763" y="10289"/>
                  </a:lnTo>
                  <a:lnTo>
                    <a:pt x="1794" y="10388"/>
                  </a:lnTo>
                  <a:lnTo>
                    <a:pt x="1826" y="10486"/>
                  </a:lnTo>
                  <a:lnTo>
                    <a:pt x="1859" y="10584"/>
                  </a:lnTo>
                  <a:lnTo>
                    <a:pt x="1895" y="10681"/>
                  </a:lnTo>
                  <a:lnTo>
                    <a:pt x="1932" y="10777"/>
                  </a:lnTo>
                  <a:lnTo>
                    <a:pt x="1970" y="10874"/>
                  </a:lnTo>
                  <a:lnTo>
                    <a:pt x="2011" y="10969"/>
                  </a:lnTo>
                  <a:lnTo>
                    <a:pt x="2053" y="11063"/>
                  </a:lnTo>
                  <a:lnTo>
                    <a:pt x="2097" y="11158"/>
                  </a:lnTo>
                  <a:lnTo>
                    <a:pt x="2144" y="11251"/>
                  </a:lnTo>
                  <a:lnTo>
                    <a:pt x="2191" y="11343"/>
                  </a:lnTo>
                  <a:lnTo>
                    <a:pt x="2241" y="11435"/>
                  </a:lnTo>
                  <a:lnTo>
                    <a:pt x="2292" y="11527"/>
                  </a:lnTo>
                  <a:lnTo>
                    <a:pt x="2344" y="11618"/>
                  </a:lnTo>
                  <a:lnTo>
                    <a:pt x="2398" y="11708"/>
                  </a:lnTo>
                  <a:lnTo>
                    <a:pt x="2454" y="11798"/>
                  </a:lnTo>
                  <a:lnTo>
                    <a:pt x="2513" y="11885"/>
                  </a:lnTo>
                  <a:lnTo>
                    <a:pt x="2571" y="11971"/>
                  </a:lnTo>
                  <a:lnTo>
                    <a:pt x="2631" y="12056"/>
                  </a:lnTo>
                  <a:lnTo>
                    <a:pt x="2693" y="12139"/>
                  </a:lnTo>
                  <a:lnTo>
                    <a:pt x="2756" y="12221"/>
                  </a:lnTo>
                  <a:lnTo>
                    <a:pt x="2820" y="12301"/>
                  </a:lnTo>
                  <a:lnTo>
                    <a:pt x="2887" y="12379"/>
                  </a:lnTo>
                  <a:lnTo>
                    <a:pt x="2954" y="12457"/>
                  </a:lnTo>
                  <a:lnTo>
                    <a:pt x="3022" y="12532"/>
                  </a:lnTo>
                  <a:lnTo>
                    <a:pt x="3092" y="12606"/>
                  </a:lnTo>
                  <a:lnTo>
                    <a:pt x="3163" y="12678"/>
                  </a:lnTo>
                  <a:lnTo>
                    <a:pt x="3236" y="12750"/>
                  </a:lnTo>
                  <a:lnTo>
                    <a:pt x="3311" y="12819"/>
                  </a:lnTo>
                  <a:lnTo>
                    <a:pt x="3386" y="12887"/>
                  </a:lnTo>
                  <a:lnTo>
                    <a:pt x="3463" y="12953"/>
                  </a:lnTo>
                  <a:lnTo>
                    <a:pt x="3541" y="13017"/>
                  </a:lnTo>
                  <a:lnTo>
                    <a:pt x="3621" y="13082"/>
                  </a:lnTo>
                  <a:lnTo>
                    <a:pt x="3703" y="13143"/>
                  </a:lnTo>
                  <a:lnTo>
                    <a:pt x="3785" y="13203"/>
                  </a:lnTo>
                  <a:lnTo>
                    <a:pt x="3869" y="13262"/>
                  </a:lnTo>
                  <a:lnTo>
                    <a:pt x="3954" y="13319"/>
                  </a:lnTo>
                  <a:lnTo>
                    <a:pt x="4042" y="13376"/>
                  </a:lnTo>
                  <a:lnTo>
                    <a:pt x="4130" y="13430"/>
                  </a:lnTo>
                  <a:lnTo>
                    <a:pt x="4219" y="13483"/>
                  </a:lnTo>
                  <a:lnTo>
                    <a:pt x="4310" y="13534"/>
                  </a:lnTo>
                  <a:lnTo>
                    <a:pt x="4403" y="13583"/>
                  </a:lnTo>
                  <a:lnTo>
                    <a:pt x="4497" y="13632"/>
                  </a:lnTo>
                  <a:lnTo>
                    <a:pt x="4592" y="13679"/>
                  </a:lnTo>
                  <a:lnTo>
                    <a:pt x="4688" y="13724"/>
                  </a:lnTo>
                  <a:lnTo>
                    <a:pt x="4787" y="13768"/>
                  </a:lnTo>
                  <a:lnTo>
                    <a:pt x="4886" y="13810"/>
                  </a:lnTo>
                  <a:lnTo>
                    <a:pt x="4986" y="13851"/>
                  </a:lnTo>
                  <a:lnTo>
                    <a:pt x="5087" y="13890"/>
                  </a:lnTo>
                  <a:lnTo>
                    <a:pt x="5190" y="13928"/>
                  </a:lnTo>
                  <a:lnTo>
                    <a:pt x="5293" y="13966"/>
                  </a:lnTo>
                  <a:lnTo>
                    <a:pt x="5397" y="14001"/>
                  </a:lnTo>
                  <a:lnTo>
                    <a:pt x="5502" y="14035"/>
                  </a:lnTo>
                  <a:lnTo>
                    <a:pt x="5608" y="14068"/>
                  </a:lnTo>
                  <a:lnTo>
                    <a:pt x="5715" y="14099"/>
                  </a:lnTo>
                  <a:lnTo>
                    <a:pt x="5822" y="14130"/>
                  </a:lnTo>
                  <a:lnTo>
                    <a:pt x="5932" y="14159"/>
                  </a:lnTo>
                  <a:lnTo>
                    <a:pt x="6041" y="14186"/>
                  </a:lnTo>
                  <a:lnTo>
                    <a:pt x="6151" y="14213"/>
                  </a:lnTo>
                  <a:lnTo>
                    <a:pt x="6262" y="14238"/>
                  </a:lnTo>
                  <a:lnTo>
                    <a:pt x="6375" y="14262"/>
                  </a:lnTo>
                  <a:lnTo>
                    <a:pt x="6488" y="14285"/>
                  </a:lnTo>
                  <a:lnTo>
                    <a:pt x="6601" y="14307"/>
                  </a:lnTo>
                  <a:lnTo>
                    <a:pt x="6717" y="14327"/>
                  </a:lnTo>
                  <a:lnTo>
                    <a:pt x="6832" y="14345"/>
                  </a:lnTo>
                  <a:lnTo>
                    <a:pt x="6949" y="14363"/>
                  </a:lnTo>
                  <a:lnTo>
                    <a:pt x="7067" y="14379"/>
                  </a:lnTo>
                  <a:lnTo>
                    <a:pt x="7185" y="14394"/>
                  </a:lnTo>
                  <a:lnTo>
                    <a:pt x="7304" y="14407"/>
                  </a:lnTo>
                  <a:lnTo>
                    <a:pt x="7424" y="14420"/>
                  </a:lnTo>
                  <a:lnTo>
                    <a:pt x="7546" y="14431"/>
                  </a:lnTo>
                  <a:lnTo>
                    <a:pt x="7668" y="14440"/>
                  </a:lnTo>
                  <a:lnTo>
                    <a:pt x="7791" y="14449"/>
                  </a:lnTo>
                  <a:lnTo>
                    <a:pt x="7915" y="14456"/>
                  </a:lnTo>
                  <a:lnTo>
                    <a:pt x="8039" y="14462"/>
                  </a:lnTo>
                  <a:lnTo>
                    <a:pt x="8165" y="14466"/>
                  </a:lnTo>
                  <a:lnTo>
                    <a:pt x="8292" y="14469"/>
                  </a:lnTo>
                  <a:lnTo>
                    <a:pt x="8419" y="14471"/>
                  </a:lnTo>
                  <a:lnTo>
                    <a:pt x="8547" y="14472"/>
                  </a:lnTo>
                  <a:lnTo>
                    <a:pt x="8672" y="14471"/>
                  </a:lnTo>
                  <a:lnTo>
                    <a:pt x="8794" y="14470"/>
                  </a:lnTo>
                  <a:lnTo>
                    <a:pt x="8915" y="14467"/>
                  </a:lnTo>
                  <a:lnTo>
                    <a:pt x="9036" y="14463"/>
                  </a:lnTo>
                  <a:lnTo>
                    <a:pt x="9156" y="14458"/>
                  </a:lnTo>
                  <a:lnTo>
                    <a:pt x="9274" y="14452"/>
                  </a:lnTo>
                  <a:lnTo>
                    <a:pt x="9391" y="14445"/>
                  </a:lnTo>
                  <a:lnTo>
                    <a:pt x="9507" y="14437"/>
                  </a:lnTo>
                  <a:lnTo>
                    <a:pt x="9622" y="14428"/>
                  </a:lnTo>
                  <a:lnTo>
                    <a:pt x="9736" y="14418"/>
                  </a:lnTo>
                  <a:lnTo>
                    <a:pt x="9849" y="14407"/>
                  </a:lnTo>
                  <a:lnTo>
                    <a:pt x="9961" y="14394"/>
                  </a:lnTo>
                  <a:lnTo>
                    <a:pt x="10071" y="14381"/>
                  </a:lnTo>
                  <a:lnTo>
                    <a:pt x="10182" y="14366"/>
                  </a:lnTo>
                  <a:lnTo>
                    <a:pt x="10290" y="14351"/>
                  </a:lnTo>
                  <a:lnTo>
                    <a:pt x="10397" y="14334"/>
                  </a:lnTo>
                  <a:lnTo>
                    <a:pt x="10503" y="14316"/>
                  </a:lnTo>
                  <a:lnTo>
                    <a:pt x="10609" y="14297"/>
                  </a:lnTo>
                  <a:lnTo>
                    <a:pt x="10713" y="14276"/>
                  </a:lnTo>
                  <a:lnTo>
                    <a:pt x="10816" y="14255"/>
                  </a:lnTo>
                  <a:lnTo>
                    <a:pt x="10919" y="14233"/>
                  </a:lnTo>
                  <a:lnTo>
                    <a:pt x="11019" y="14210"/>
                  </a:lnTo>
                  <a:lnTo>
                    <a:pt x="11119" y="14186"/>
                  </a:lnTo>
                  <a:lnTo>
                    <a:pt x="11217" y="14160"/>
                  </a:lnTo>
                  <a:lnTo>
                    <a:pt x="11316" y="14134"/>
                  </a:lnTo>
                  <a:lnTo>
                    <a:pt x="11412" y="14106"/>
                  </a:lnTo>
                  <a:lnTo>
                    <a:pt x="11507" y="14078"/>
                  </a:lnTo>
                  <a:lnTo>
                    <a:pt x="11601" y="14048"/>
                  </a:lnTo>
                  <a:lnTo>
                    <a:pt x="11695" y="14017"/>
                  </a:lnTo>
                  <a:lnTo>
                    <a:pt x="11787" y="13986"/>
                  </a:lnTo>
                  <a:lnTo>
                    <a:pt x="11878" y="13952"/>
                  </a:lnTo>
                  <a:lnTo>
                    <a:pt x="11968" y="13918"/>
                  </a:lnTo>
                  <a:lnTo>
                    <a:pt x="12057" y="13883"/>
                  </a:lnTo>
                  <a:lnTo>
                    <a:pt x="12145" y="13847"/>
                  </a:lnTo>
                  <a:lnTo>
                    <a:pt x="12231" y="13809"/>
                  </a:lnTo>
                  <a:lnTo>
                    <a:pt x="12316" y="13771"/>
                  </a:lnTo>
                  <a:lnTo>
                    <a:pt x="12400" y="13732"/>
                  </a:lnTo>
                  <a:lnTo>
                    <a:pt x="12484" y="13691"/>
                  </a:lnTo>
                  <a:lnTo>
                    <a:pt x="12566" y="13649"/>
                  </a:lnTo>
                  <a:lnTo>
                    <a:pt x="12647" y="13606"/>
                  </a:lnTo>
                  <a:lnTo>
                    <a:pt x="12727" y="13563"/>
                  </a:lnTo>
                  <a:lnTo>
                    <a:pt x="12807" y="13518"/>
                  </a:lnTo>
                  <a:lnTo>
                    <a:pt x="12885" y="13472"/>
                  </a:lnTo>
                  <a:lnTo>
                    <a:pt x="12961" y="13425"/>
                  </a:lnTo>
                  <a:lnTo>
                    <a:pt x="13037" y="13377"/>
                  </a:lnTo>
                  <a:lnTo>
                    <a:pt x="13111" y="13327"/>
                  </a:lnTo>
                  <a:lnTo>
                    <a:pt x="13186" y="13277"/>
                  </a:lnTo>
                  <a:lnTo>
                    <a:pt x="13258" y="13226"/>
                  </a:lnTo>
                  <a:lnTo>
                    <a:pt x="13329" y="13173"/>
                  </a:lnTo>
                  <a:lnTo>
                    <a:pt x="13400" y="13120"/>
                  </a:lnTo>
                  <a:lnTo>
                    <a:pt x="13469" y="13065"/>
                  </a:lnTo>
                  <a:lnTo>
                    <a:pt x="13537" y="13009"/>
                  </a:lnTo>
                  <a:lnTo>
                    <a:pt x="13605" y="12952"/>
                  </a:lnTo>
                  <a:lnTo>
                    <a:pt x="13671" y="12895"/>
                  </a:lnTo>
                  <a:lnTo>
                    <a:pt x="13735" y="12836"/>
                  </a:lnTo>
                  <a:lnTo>
                    <a:pt x="13799" y="12776"/>
                  </a:lnTo>
                  <a:lnTo>
                    <a:pt x="13862" y="12715"/>
                  </a:lnTo>
                  <a:lnTo>
                    <a:pt x="13923" y="12652"/>
                  </a:lnTo>
                  <a:lnTo>
                    <a:pt x="13984" y="12589"/>
                  </a:lnTo>
                  <a:lnTo>
                    <a:pt x="14044" y="12525"/>
                  </a:lnTo>
                  <a:lnTo>
                    <a:pt x="14102" y="12460"/>
                  </a:lnTo>
                  <a:lnTo>
                    <a:pt x="14159" y="12392"/>
                  </a:lnTo>
                  <a:lnTo>
                    <a:pt x="14215" y="12325"/>
                  </a:lnTo>
                  <a:lnTo>
                    <a:pt x="14270" y="12256"/>
                  </a:lnTo>
                  <a:close/>
                  <a:moveTo>
                    <a:pt x="5280" y="8836"/>
                  </a:moveTo>
                  <a:lnTo>
                    <a:pt x="5281" y="8902"/>
                  </a:lnTo>
                  <a:lnTo>
                    <a:pt x="5282" y="8967"/>
                  </a:lnTo>
                  <a:lnTo>
                    <a:pt x="5284" y="9030"/>
                  </a:lnTo>
                  <a:lnTo>
                    <a:pt x="5287" y="9092"/>
                  </a:lnTo>
                  <a:lnTo>
                    <a:pt x="5291" y="9153"/>
                  </a:lnTo>
                  <a:lnTo>
                    <a:pt x="5295" y="9213"/>
                  </a:lnTo>
                  <a:lnTo>
                    <a:pt x="5301" y="9273"/>
                  </a:lnTo>
                  <a:lnTo>
                    <a:pt x="5307" y="9331"/>
                  </a:lnTo>
                  <a:lnTo>
                    <a:pt x="5314" y="9387"/>
                  </a:lnTo>
                  <a:lnTo>
                    <a:pt x="5322" y="9443"/>
                  </a:lnTo>
                  <a:lnTo>
                    <a:pt x="5331" y="9497"/>
                  </a:lnTo>
                  <a:lnTo>
                    <a:pt x="5340" y="9551"/>
                  </a:lnTo>
                  <a:lnTo>
                    <a:pt x="5351" y="9604"/>
                  </a:lnTo>
                  <a:lnTo>
                    <a:pt x="5362" y="9655"/>
                  </a:lnTo>
                  <a:lnTo>
                    <a:pt x="5374" y="9705"/>
                  </a:lnTo>
                  <a:lnTo>
                    <a:pt x="5387" y="9754"/>
                  </a:lnTo>
                  <a:lnTo>
                    <a:pt x="5401" y="9802"/>
                  </a:lnTo>
                  <a:lnTo>
                    <a:pt x="5415" y="9849"/>
                  </a:lnTo>
                  <a:lnTo>
                    <a:pt x="5431" y="9896"/>
                  </a:lnTo>
                  <a:lnTo>
                    <a:pt x="5447" y="9941"/>
                  </a:lnTo>
                  <a:lnTo>
                    <a:pt x="5464" y="9984"/>
                  </a:lnTo>
                  <a:lnTo>
                    <a:pt x="5482" y="10027"/>
                  </a:lnTo>
                  <a:lnTo>
                    <a:pt x="5501" y="10068"/>
                  </a:lnTo>
                  <a:lnTo>
                    <a:pt x="5520" y="10109"/>
                  </a:lnTo>
                  <a:lnTo>
                    <a:pt x="5542" y="10148"/>
                  </a:lnTo>
                  <a:lnTo>
                    <a:pt x="5563" y="10186"/>
                  </a:lnTo>
                  <a:lnTo>
                    <a:pt x="5585" y="10224"/>
                  </a:lnTo>
                  <a:lnTo>
                    <a:pt x="5608" y="10260"/>
                  </a:lnTo>
                  <a:lnTo>
                    <a:pt x="5632" y="10295"/>
                  </a:lnTo>
                  <a:lnTo>
                    <a:pt x="5657" y="10329"/>
                  </a:lnTo>
                  <a:lnTo>
                    <a:pt x="5682" y="10361"/>
                  </a:lnTo>
                  <a:lnTo>
                    <a:pt x="5709" y="10393"/>
                  </a:lnTo>
                  <a:lnTo>
                    <a:pt x="5736" y="10424"/>
                  </a:lnTo>
                  <a:lnTo>
                    <a:pt x="5763" y="10453"/>
                  </a:lnTo>
                  <a:lnTo>
                    <a:pt x="5791" y="10482"/>
                  </a:lnTo>
                  <a:lnTo>
                    <a:pt x="5819" y="10510"/>
                  </a:lnTo>
                  <a:lnTo>
                    <a:pt x="5848" y="10537"/>
                  </a:lnTo>
                  <a:lnTo>
                    <a:pt x="5877" y="10563"/>
                  </a:lnTo>
                  <a:lnTo>
                    <a:pt x="5906" y="10588"/>
                  </a:lnTo>
                  <a:lnTo>
                    <a:pt x="5937" y="10612"/>
                  </a:lnTo>
                  <a:lnTo>
                    <a:pt x="5967" y="10634"/>
                  </a:lnTo>
                  <a:lnTo>
                    <a:pt x="5997" y="10656"/>
                  </a:lnTo>
                  <a:lnTo>
                    <a:pt x="6028" y="10677"/>
                  </a:lnTo>
                  <a:lnTo>
                    <a:pt x="6059" y="10697"/>
                  </a:lnTo>
                  <a:lnTo>
                    <a:pt x="6091" y="10716"/>
                  </a:lnTo>
                  <a:lnTo>
                    <a:pt x="6123" y="10734"/>
                  </a:lnTo>
                  <a:lnTo>
                    <a:pt x="6155" y="10751"/>
                  </a:lnTo>
                  <a:lnTo>
                    <a:pt x="6188" y="10767"/>
                  </a:lnTo>
                  <a:lnTo>
                    <a:pt x="6221" y="10783"/>
                  </a:lnTo>
                  <a:lnTo>
                    <a:pt x="6255" y="10797"/>
                  </a:lnTo>
                  <a:lnTo>
                    <a:pt x="6289" y="10810"/>
                  </a:lnTo>
                  <a:lnTo>
                    <a:pt x="6324" y="10822"/>
                  </a:lnTo>
                  <a:lnTo>
                    <a:pt x="6359" y="10834"/>
                  </a:lnTo>
                  <a:lnTo>
                    <a:pt x="6394" y="10844"/>
                  </a:lnTo>
                  <a:lnTo>
                    <a:pt x="6429" y="10854"/>
                  </a:lnTo>
                  <a:lnTo>
                    <a:pt x="6465" y="10862"/>
                  </a:lnTo>
                  <a:lnTo>
                    <a:pt x="6502" y="10869"/>
                  </a:lnTo>
                  <a:lnTo>
                    <a:pt x="6538" y="10876"/>
                  </a:lnTo>
                  <a:lnTo>
                    <a:pt x="6575" y="10881"/>
                  </a:lnTo>
                  <a:lnTo>
                    <a:pt x="6613" y="10886"/>
                  </a:lnTo>
                  <a:lnTo>
                    <a:pt x="6651" y="10889"/>
                  </a:lnTo>
                  <a:lnTo>
                    <a:pt x="6690" y="10891"/>
                  </a:lnTo>
                  <a:lnTo>
                    <a:pt x="6729" y="10893"/>
                  </a:lnTo>
                  <a:lnTo>
                    <a:pt x="6768" y="10893"/>
                  </a:lnTo>
                  <a:lnTo>
                    <a:pt x="6827" y="10892"/>
                  </a:lnTo>
                  <a:lnTo>
                    <a:pt x="6886" y="10890"/>
                  </a:lnTo>
                  <a:lnTo>
                    <a:pt x="6944" y="10885"/>
                  </a:lnTo>
                  <a:lnTo>
                    <a:pt x="7002" y="10879"/>
                  </a:lnTo>
                  <a:lnTo>
                    <a:pt x="7059" y="10871"/>
                  </a:lnTo>
                  <a:lnTo>
                    <a:pt x="7116" y="10861"/>
                  </a:lnTo>
                  <a:lnTo>
                    <a:pt x="7173" y="10849"/>
                  </a:lnTo>
                  <a:lnTo>
                    <a:pt x="7228" y="10836"/>
                  </a:lnTo>
                  <a:lnTo>
                    <a:pt x="7284" y="10819"/>
                  </a:lnTo>
                  <a:lnTo>
                    <a:pt x="7338" y="10802"/>
                  </a:lnTo>
                  <a:lnTo>
                    <a:pt x="7393" y="10783"/>
                  </a:lnTo>
                  <a:lnTo>
                    <a:pt x="7447" y="10762"/>
                  </a:lnTo>
                  <a:lnTo>
                    <a:pt x="7501" y="10739"/>
                  </a:lnTo>
                  <a:lnTo>
                    <a:pt x="7554" y="10715"/>
                  </a:lnTo>
                  <a:lnTo>
                    <a:pt x="7607" y="10688"/>
                  </a:lnTo>
                  <a:lnTo>
                    <a:pt x="7659" y="10660"/>
                  </a:lnTo>
                  <a:lnTo>
                    <a:pt x="7698" y="10639"/>
                  </a:lnTo>
                  <a:lnTo>
                    <a:pt x="7737" y="10616"/>
                  </a:lnTo>
                  <a:lnTo>
                    <a:pt x="7777" y="10591"/>
                  </a:lnTo>
                  <a:lnTo>
                    <a:pt x="7816" y="10565"/>
                  </a:lnTo>
                  <a:lnTo>
                    <a:pt x="7856" y="10538"/>
                  </a:lnTo>
                  <a:lnTo>
                    <a:pt x="7895" y="10508"/>
                  </a:lnTo>
                  <a:lnTo>
                    <a:pt x="7934" y="10477"/>
                  </a:lnTo>
                  <a:lnTo>
                    <a:pt x="7972" y="10445"/>
                  </a:lnTo>
                  <a:lnTo>
                    <a:pt x="8011" y="10412"/>
                  </a:lnTo>
                  <a:lnTo>
                    <a:pt x="8050" y="10377"/>
                  </a:lnTo>
                  <a:lnTo>
                    <a:pt x="8089" y="10340"/>
                  </a:lnTo>
                  <a:lnTo>
                    <a:pt x="8128" y="10302"/>
                  </a:lnTo>
                  <a:lnTo>
                    <a:pt x="8167" y="10263"/>
                  </a:lnTo>
                  <a:lnTo>
                    <a:pt x="8205" y="10222"/>
                  </a:lnTo>
                  <a:lnTo>
                    <a:pt x="8245" y="10178"/>
                  </a:lnTo>
                  <a:lnTo>
                    <a:pt x="8284" y="10134"/>
                  </a:lnTo>
                  <a:lnTo>
                    <a:pt x="8311" y="10102"/>
                  </a:lnTo>
                  <a:lnTo>
                    <a:pt x="8338" y="10069"/>
                  </a:lnTo>
                  <a:lnTo>
                    <a:pt x="8365" y="10036"/>
                  </a:lnTo>
                  <a:lnTo>
                    <a:pt x="8392" y="10001"/>
                  </a:lnTo>
                  <a:lnTo>
                    <a:pt x="8418" y="9965"/>
                  </a:lnTo>
                  <a:lnTo>
                    <a:pt x="8444" y="9928"/>
                  </a:lnTo>
                  <a:lnTo>
                    <a:pt x="8470" y="9891"/>
                  </a:lnTo>
                  <a:lnTo>
                    <a:pt x="8496" y="9852"/>
                  </a:lnTo>
                  <a:lnTo>
                    <a:pt x="8521" y="9812"/>
                  </a:lnTo>
                  <a:lnTo>
                    <a:pt x="8546" y="9772"/>
                  </a:lnTo>
                  <a:lnTo>
                    <a:pt x="8571" y="9731"/>
                  </a:lnTo>
                  <a:lnTo>
                    <a:pt x="8597" y="9689"/>
                  </a:lnTo>
                  <a:lnTo>
                    <a:pt x="8622" y="9646"/>
                  </a:lnTo>
                  <a:lnTo>
                    <a:pt x="8646" y="9602"/>
                  </a:lnTo>
                  <a:lnTo>
                    <a:pt x="8670" y="9556"/>
                  </a:lnTo>
                  <a:lnTo>
                    <a:pt x="8694" y="9511"/>
                  </a:lnTo>
                  <a:lnTo>
                    <a:pt x="8718" y="9464"/>
                  </a:lnTo>
                  <a:lnTo>
                    <a:pt x="8741" y="9416"/>
                  </a:lnTo>
                  <a:lnTo>
                    <a:pt x="8764" y="9368"/>
                  </a:lnTo>
                  <a:lnTo>
                    <a:pt x="8787" y="9319"/>
                  </a:lnTo>
                  <a:lnTo>
                    <a:pt x="8810" y="9269"/>
                  </a:lnTo>
                  <a:lnTo>
                    <a:pt x="8832" y="9217"/>
                  </a:lnTo>
                  <a:lnTo>
                    <a:pt x="8855" y="9165"/>
                  </a:lnTo>
                  <a:lnTo>
                    <a:pt x="8877" y="9112"/>
                  </a:lnTo>
                  <a:lnTo>
                    <a:pt x="8898" y="9058"/>
                  </a:lnTo>
                  <a:lnTo>
                    <a:pt x="8920" y="9003"/>
                  </a:lnTo>
                  <a:lnTo>
                    <a:pt x="8941" y="8948"/>
                  </a:lnTo>
                  <a:lnTo>
                    <a:pt x="8962" y="8890"/>
                  </a:lnTo>
                  <a:lnTo>
                    <a:pt x="8984" y="8833"/>
                  </a:lnTo>
                  <a:lnTo>
                    <a:pt x="9004" y="8774"/>
                  </a:lnTo>
                  <a:lnTo>
                    <a:pt x="9025" y="8715"/>
                  </a:lnTo>
                  <a:lnTo>
                    <a:pt x="9045" y="8655"/>
                  </a:lnTo>
                  <a:lnTo>
                    <a:pt x="9064" y="8594"/>
                  </a:lnTo>
                  <a:lnTo>
                    <a:pt x="9083" y="8533"/>
                  </a:lnTo>
                  <a:lnTo>
                    <a:pt x="9102" y="8473"/>
                  </a:lnTo>
                  <a:lnTo>
                    <a:pt x="9119" y="8413"/>
                  </a:lnTo>
                  <a:lnTo>
                    <a:pt x="9137" y="8354"/>
                  </a:lnTo>
                  <a:lnTo>
                    <a:pt x="9153" y="8293"/>
                  </a:lnTo>
                  <a:lnTo>
                    <a:pt x="9169" y="8234"/>
                  </a:lnTo>
                  <a:lnTo>
                    <a:pt x="9184" y="8175"/>
                  </a:lnTo>
                  <a:lnTo>
                    <a:pt x="9199" y="8117"/>
                  </a:lnTo>
                  <a:lnTo>
                    <a:pt x="9213" y="8059"/>
                  </a:lnTo>
                  <a:lnTo>
                    <a:pt x="9226" y="8000"/>
                  </a:lnTo>
                  <a:lnTo>
                    <a:pt x="9239" y="7942"/>
                  </a:lnTo>
                  <a:lnTo>
                    <a:pt x="9251" y="7884"/>
                  </a:lnTo>
                  <a:lnTo>
                    <a:pt x="9263" y="7827"/>
                  </a:lnTo>
                  <a:lnTo>
                    <a:pt x="9274" y="7770"/>
                  </a:lnTo>
                  <a:lnTo>
                    <a:pt x="9284" y="7714"/>
                  </a:lnTo>
                  <a:lnTo>
                    <a:pt x="9294" y="7656"/>
                  </a:lnTo>
                  <a:lnTo>
                    <a:pt x="9303" y="7600"/>
                  </a:lnTo>
                  <a:lnTo>
                    <a:pt x="9312" y="7544"/>
                  </a:lnTo>
                  <a:lnTo>
                    <a:pt x="9319" y="7489"/>
                  </a:lnTo>
                  <a:lnTo>
                    <a:pt x="9327" y="7433"/>
                  </a:lnTo>
                  <a:lnTo>
                    <a:pt x="9333" y="7378"/>
                  </a:lnTo>
                  <a:lnTo>
                    <a:pt x="9339" y="7322"/>
                  </a:lnTo>
                  <a:lnTo>
                    <a:pt x="9345" y="7268"/>
                  </a:lnTo>
                  <a:lnTo>
                    <a:pt x="9349" y="7214"/>
                  </a:lnTo>
                  <a:lnTo>
                    <a:pt x="9353" y="7159"/>
                  </a:lnTo>
                  <a:lnTo>
                    <a:pt x="9357" y="7106"/>
                  </a:lnTo>
                  <a:lnTo>
                    <a:pt x="9361" y="7051"/>
                  </a:lnTo>
                  <a:lnTo>
                    <a:pt x="9363" y="6998"/>
                  </a:lnTo>
                  <a:lnTo>
                    <a:pt x="9364" y="6945"/>
                  </a:lnTo>
                  <a:lnTo>
                    <a:pt x="9365" y="6892"/>
                  </a:lnTo>
                  <a:lnTo>
                    <a:pt x="9366" y="6840"/>
                  </a:lnTo>
                  <a:lnTo>
                    <a:pt x="9365" y="6782"/>
                  </a:lnTo>
                  <a:lnTo>
                    <a:pt x="9364" y="6723"/>
                  </a:lnTo>
                  <a:lnTo>
                    <a:pt x="9362" y="6667"/>
                  </a:lnTo>
                  <a:lnTo>
                    <a:pt x="9359" y="6611"/>
                  </a:lnTo>
                  <a:lnTo>
                    <a:pt x="9354" y="6556"/>
                  </a:lnTo>
                  <a:lnTo>
                    <a:pt x="9349" y="6502"/>
                  </a:lnTo>
                  <a:lnTo>
                    <a:pt x="9344" y="6449"/>
                  </a:lnTo>
                  <a:lnTo>
                    <a:pt x="9337" y="6396"/>
                  </a:lnTo>
                  <a:lnTo>
                    <a:pt x="9330" y="6345"/>
                  </a:lnTo>
                  <a:lnTo>
                    <a:pt x="9322" y="6294"/>
                  </a:lnTo>
                  <a:lnTo>
                    <a:pt x="9313" y="6245"/>
                  </a:lnTo>
                  <a:lnTo>
                    <a:pt x="9303" y="6196"/>
                  </a:lnTo>
                  <a:lnTo>
                    <a:pt x="9292" y="6148"/>
                  </a:lnTo>
                  <a:lnTo>
                    <a:pt x="9281" y="6100"/>
                  </a:lnTo>
                  <a:lnTo>
                    <a:pt x="9268" y="6054"/>
                  </a:lnTo>
                  <a:lnTo>
                    <a:pt x="9255" y="6008"/>
                  </a:lnTo>
                  <a:lnTo>
                    <a:pt x="9241" y="5964"/>
                  </a:lnTo>
                  <a:lnTo>
                    <a:pt x="9226" y="5920"/>
                  </a:lnTo>
                  <a:lnTo>
                    <a:pt x="9210" y="5878"/>
                  </a:lnTo>
                  <a:lnTo>
                    <a:pt x="9193" y="5836"/>
                  </a:lnTo>
                  <a:lnTo>
                    <a:pt x="9176" y="5793"/>
                  </a:lnTo>
                  <a:lnTo>
                    <a:pt x="9158" y="5753"/>
                  </a:lnTo>
                  <a:lnTo>
                    <a:pt x="9139" y="5714"/>
                  </a:lnTo>
                  <a:lnTo>
                    <a:pt x="9119" y="5675"/>
                  </a:lnTo>
                  <a:lnTo>
                    <a:pt x="9098" y="5638"/>
                  </a:lnTo>
                  <a:lnTo>
                    <a:pt x="9076" y="5601"/>
                  </a:lnTo>
                  <a:lnTo>
                    <a:pt x="9054" y="5565"/>
                  </a:lnTo>
                  <a:lnTo>
                    <a:pt x="9030" y="5530"/>
                  </a:lnTo>
                  <a:lnTo>
                    <a:pt x="9006" y="5495"/>
                  </a:lnTo>
                  <a:lnTo>
                    <a:pt x="8981" y="5461"/>
                  </a:lnTo>
                  <a:lnTo>
                    <a:pt x="8954" y="5428"/>
                  </a:lnTo>
                  <a:lnTo>
                    <a:pt x="8928" y="5397"/>
                  </a:lnTo>
                  <a:lnTo>
                    <a:pt x="8900" y="5366"/>
                  </a:lnTo>
                  <a:lnTo>
                    <a:pt x="8872" y="5336"/>
                  </a:lnTo>
                  <a:lnTo>
                    <a:pt x="8844" y="5307"/>
                  </a:lnTo>
                  <a:lnTo>
                    <a:pt x="8815" y="5279"/>
                  </a:lnTo>
                  <a:lnTo>
                    <a:pt x="8786" y="5252"/>
                  </a:lnTo>
                  <a:lnTo>
                    <a:pt x="8756" y="5226"/>
                  </a:lnTo>
                  <a:lnTo>
                    <a:pt x="8726" y="5201"/>
                  </a:lnTo>
                  <a:lnTo>
                    <a:pt x="8695" y="5176"/>
                  </a:lnTo>
                  <a:lnTo>
                    <a:pt x="8664" y="5153"/>
                  </a:lnTo>
                  <a:lnTo>
                    <a:pt x="8633" y="5131"/>
                  </a:lnTo>
                  <a:lnTo>
                    <a:pt x="8601" y="5110"/>
                  </a:lnTo>
                  <a:lnTo>
                    <a:pt x="8567" y="5090"/>
                  </a:lnTo>
                  <a:lnTo>
                    <a:pt x="8535" y="5071"/>
                  </a:lnTo>
                  <a:lnTo>
                    <a:pt x="8501" y="5053"/>
                  </a:lnTo>
                  <a:lnTo>
                    <a:pt x="8468" y="5036"/>
                  </a:lnTo>
                  <a:lnTo>
                    <a:pt x="8434" y="5020"/>
                  </a:lnTo>
                  <a:lnTo>
                    <a:pt x="8399" y="5005"/>
                  </a:lnTo>
                  <a:lnTo>
                    <a:pt x="8364" y="4990"/>
                  </a:lnTo>
                  <a:lnTo>
                    <a:pt x="8329" y="4977"/>
                  </a:lnTo>
                  <a:lnTo>
                    <a:pt x="8293" y="4965"/>
                  </a:lnTo>
                  <a:lnTo>
                    <a:pt x="8257" y="4954"/>
                  </a:lnTo>
                  <a:lnTo>
                    <a:pt x="8220" y="4943"/>
                  </a:lnTo>
                  <a:lnTo>
                    <a:pt x="8182" y="4934"/>
                  </a:lnTo>
                  <a:lnTo>
                    <a:pt x="8144" y="4926"/>
                  </a:lnTo>
                  <a:lnTo>
                    <a:pt x="8106" y="4918"/>
                  </a:lnTo>
                  <a:lnTo>
                    <a:pt x="8067" y="4912"/>
                  </a:lnTo>
                  <a:lnTo>
                    <a:pt x="8028" y="4907"/>
                  </a:lnTo>
                  <a:lnTo>
                    <a:pt x="7989" y="4902"/>
                  </a:lnTo>
                  <a:lnTo>
                    <a:pt x="7949" y="4899"/>
                  </a:lnTo>
                  <a:lnTo>
                    <a:pt x="7909" y="4896"/>
                  </a:lnTo>
                  <a:lnTo>
                    <a:pt x="7868" y="4895"/>
                  </a:lnTo>
                  <a:lnTo>
                    <a:pt x="7826" y="4894"/>
                  </a:lnTo>
                  <a:lnTo>
                    <a:pt x="7782" y="4895"/>
                  </a:lnTo>
                  <a:lnTo>
                    <a:pt x="7737" y="4897"/>
                  </a:lnTo>
                  <a:lnTo>
                    <a:pt x="7693" y="4899"/>
                  </a:lnTo>
                  <a:lnTo>
                    <a:pt x="7649" y="4903"/>
                  </a:lnTo>
                  <a:lnTo>
                    <a:pt x="7606" y="4908"/>
                  </a:lnTo>
                  <a:lnTo>
                    <a:pt x="7562" y="4914"/>
                  </a:lnTo>
                  <a:lnTo>
                    <a:pt x="7519" y="4921"/>
                  </a:lnTo>
                  <a:lnTo>
                    <a:pt x="7476" y="4929"/>
                  </a:lnTo>
                  <a:lnTo>
                    <a:pt x="7432" y="4938"/>
                  </a:lnTo>
                  <a:lnTo>
                    <a:pt x="7389" y="4948"/>
                  </a:lnTo>
                  <a:lnTo>
                    <a:pt x="7347" y="4960"/>
                  </a:lnTo>
                  <a:lnTo>
                    <a:pt x="7305" y="4972"/>
                  </a:lnTo>
                  <a:lnTo>
                    <a:pt x="7263" y="4985"/>
                  </a:lnTo>
                  <a:lnTo>
                    <a:pt x="7221" y="5000"/>
                  </a:lnTo>
                  <a:lnTo>
                    <a:pt x="7179" y="5016"/>
                  </a:lnTo>
                  <a:lnTo>
                    <a:pt x="7138" y="5032"/>
                  </a:lnTo>
                  <a:lnTo>
                    <a:pt x="7097" y="5050"/>
                  </a:lnTo>
                  <a:lnTo>
                    <a:pt x="7055" y="5069"/>
                  </a:lnTo>
                  <a:lnTo>
                    <a:pt x="7014" y="5089"/>
                  </a:lnTo>
                  <a:lnTo>
                    <a:pt x="6973" y="5109"/>
                  </a:lnTo>
                  <a:lnTo>
                    <a:pt x="6933" y="5131"/>
                  </a:lnTo>
                  <a:lnTo>
                    <a:pt x="6893" y="5155"/>
                  </a:lnTo>
                  <a:lnTo>
                    <a:pt x="6853" y="5180"/>
                  </a:lnTo>
                  <a:lnTo>
                    <a:pt x="6814" y="5205"/>
                  </a:lnTo>
                  <a:lnTo>
                    <a:pt x="6774" y="5231"/>
                  </a:lnTo>
                  <a:lnTo>
                    <a:pt x="6735" y="5258"/>
                  </a:lnTo>
                  <a:lnTo>
                    <a:pt x="6696" y="5287"/>
                  </a:lnTo>
                  <a:lnTo>
                    <a:pt x="6656" y="5316"/>
                  </a:lnTo>
                  <a:lnTo>
                    <a:pt x="6618" y="5347"/>
                  </a:lnTo>
                  <a:lnTo>
                    <a:pt x="6579" y="5378"/>
                  </a:lnTo>
                  <a:lnTo>
                    <a:pt x="6541" y="5411"/>
                  </a:lnTo>
                  <a:lnTo>
                    <a:pt x="6504" y="5445"/>
                  </a:lnTo>
                  <a:lnTo>
                    <a:pt x="6466" y="5480"/>
                  </a:lnTo>
                  <a:lnTo>
                    <a:pt x="6429" y="5517"/>
                  </a:lnTo>
                  <a:lnTo>
                    <a:pt x="6392" y="5553"/>
                  </a:lnTo>
                  <a:lnTo>
                    <a:pt x="6357" y="5591"/>
                  </a:lnTo>
                  <a:lnTo>
                    <a:pt x="6321" y="5630"/>
                  </a:lnTo>
                  <a:lnTo>
                    <a:pt x="6286" y="5669"/>
                  </a:lnTo>
                  <a:lnTo>
                    <a:pt x="6252" y="5710"/>
                  </a:lnTo>
                  <a:lnTo>
                    <a:pt x="6218" y="5751"/>
                  </a:lnTo>
                  <a:lnTo>
                    <a:pt x="6185" y="5793"/>
                  </a:lnTo>
                  <a:lnTo>
                    <a:pt x="6153" y="5838"/>
                  </a:lnTo>
                  <a:lnTo>
                    <a:pt x="6121" y="5882"/>
                  </a:lnTo>
                  <a:lnTo>
                    <a:pt x="6090" y="5927"/>
                  </a:lnTo>
                  <a:lnTo>
                    <a:pt x="6059" y="5973"/>
                  </a:lnTo>
                  <a:lnTo>
                    <a:pt x="6029" y="6020"/>
                  </a:lnTo>
                  <a:lnTo>
                    <a:pt x="6000" y="6067"/>
                  </a:lnTo>
                  <a:lnTo>
                    <a:pt x="5971" y="6116"/>
                  </a:lnTo>
                  <a:lnTo>
                    <a:pt x="5943" y="6167"/>
                  </a:lnTo>
                  <a:lnTo>
                    <a:pt x="5914" y="6217"/>
                  </a:lnTo>
                  <a:lnTo>
                    <a:pt x="5887" y="6269"/>
                  </a:lnTo>
                  <a:lnTo>
                    <a:pt x="5861" y="6321"/>
                  </a:lnTo>
                  <a:lnTo>
                    <a:pt x="5835" y="6374"/>
                  </a:lnTo>
                  <a:lnTo>
                    <a:pt x="5809" y="6429"/>
                  </a:lnTo>
                  <a:lnTo>
                    <a:pt x="5784" y="6485"/>
                  </a:lnTo>
                  <a:lnTo>
                    <a:pt x="5760" y="6541"/>
                  </a:lnTo>
                  <a:lnTo>
                    <a:pt x="5737" y="6598"/>
                  </a:lnTo>
                  <a:lnTo>
                    <a:pt x="5714" y="6656"/>
                  </a:lnTo>
                  <a:lnTo>
                    <a:pt x="5691" y="6715"/>
                  </a:lnTo>
                  <a:lnTo>
                    <a:pt x="5669" y="6776"/>
                  </a:lnTo>
                  <a:lnTo>
                    <a:pt x="5648" y="6836"/>
                  </a:lnTo>
                  <a:lnTo>
                    <a:pt x="5627" y="6898"/>
                  </a:lnTo>
                  <a:lnTo>
                    <a:pt x="5607" y="6961"/>
                  </a:lnTo>
                  <a:lnTo>
                    <a:pt x="5587" y="7024"/>
                  </a:lnTo>
                  <a:lnTo>
                    <a:pt x="5550" y="7152"/>
                  </a:lnTo>
                  <a:lnTo>
                    <a:pt x="5514" y="7276"/>
                  </a:lnTo>
                  <a:lnTo>
                    <a:pt x="5482" y="7400"/>
                  </a:lnTo>
                  <a:lnTo>
                    <a:pt x="5452" y="7521"/>
                  </a:lnTo>
                  <a:lnTo>
                    <a:pt x="5425" y="7641"/>
                  </a:lnTo>
                  <a:lnTo>
                    <a:pt x="5400" y="7759"/>
                  </a:lnTo>
                  <a:lnTo>
                    <a:pt x="5388" y="7817"/>
                  </a:lnTo>
                  <a:lnTo>
                    <a:pt x="5377" y="7875"/>
                  </a:lnTo>
                  <a:lnTo>
                    <a:pt x="5367" y="7932"/>
                  </a:lnTo>
                  <a:lnTo>
                    <a:pt x="5357" y="7989"/>
                  </a:lnTo>
                  <a:lnTo>
                    <a:pt x="5348" y="8046"/>
                  </a:lnTo>
                  <a:lnTo>
                    <a:pt x="5339" y="8102"/>
                  </a:lnTo>
                  <a:lnTo>
                    <a:pt x="5331" y="8157"/>
                  </a:lnTo>
                  <a:lnTo>
                    <a:pt x="5323" y="8212"/>
                  </a:lnTo>
                  <a:lnTo>
                    <a:pt x="5316" y="8266"/>
                  </a:lnTo>
                  <a:lnTo>
                    <a:pt x="5310" y="8321"/>
                  </a:lnTo>
                  <a:lnTo>
                    <a:pt x="5305" y="8375"/>
                  </a:lnTo>
                  <a:lnTo>
                    <a:pt x="5299" y="8428"/>
                  </a:lnTo>
                  <a:lnTo>
                    <a:pt x="5295" y="8480"/>
                  </a:lnTo>
                  <a:lnTo>
                    <a:pt x="5291" y="8532"/>
                  </a:lnTo>
                  <a:lnTo>
                    <a:pt x="5288" y="8584"/>
                  </a:lnTo>
                  <a:lnTo>
                    <a:pt x="5285" y="8636"/>
                  </a:lnTo>
                  <a:lnTo>
                    <a:pt x="5283" y="8687"/>
                  </a:lnTo>
                  <a:lnTo>
                    <a:pt x="5282" y="8737"/>
                  </a:lnTo>
                  <a:lnTo>
                    <a:pt x="5281" y="8787"/>
                  </a:lnTo>
                  <a:lnTo>
                    <a:pt x="5280" y="8836"/>
                  </a:lnTo>
                  <a:close/>
                </a:path>
              </a:pathLst>
            </a:custGeom>
            <a:solidFill>
              <a:schemeClr val="tx1">
                <a:lumMod val="75000"/>
                <a:lumOff val="25000"/>
              </a:schemeClr>
            </a:solidFill>
            <a:ln w="6350" cap="flat" cmpd="sng" algn="ctr">
              <a:noFill/>
              <a:prstDash val="solid"/>
            </a:ln>
            <a:effectLst/>
            <a:extLst/>
          </p:spPr>
          <p:txBody>
            <a:bodyPr anchor="ctr"/>
            <a:lstStyle/>
            <a:p>
              <a:pPr marL="342900" indent="-342900" algn="ctr">
                <a:buFont typeface="Calibri" charset="0"/>
                <a:buAutoNum type="arabicPeriod"/>
                <a:defRPr/>
              </a:pPr>
              <a:endParaRPr lang="en-US">
                <a:solidFill>
                  <a:srgbClr val="FFFFFF"/>
                </a:solidFill>
                <a:latin typeface="Calibri" charset="0"/>
                <a:ea typeface="ＭＳ Ｐゴシック" charset="-128"/>
                <a:cs typeface="+mn-cs"/>
              </a:endParaRPr>
            </a:p>
          </p:txBody>
        </p:sp>
        <p:sp>
          <p:nvSpPr>
            <p:cNvPr id="75" name="Freeform 19"/>
            <p:cNvSpPr>
              <a:spLocks noEditPoints="1"/>
            </p:cNvSpPr>
            <p:nvPr>
              <p:custDataLst>
                <p:tags r:id="rId11"/>
              </p:custDataLst>
            </p:nvPr>
          </p:nvSpPr>
          <p:spPr bwMode="auto">
            <a:xfrm rot="326539">
              <a:off x="-2934945" y="4530139"/>
              <a:ext cx="601618" cy="538003"/>
            </a:xfrm>
            <a:custGeom>
              <a:avLst/>
              <a:gdLst/>
              <a:ahLst/>
              <a:cxnLst>
                <a:cxn ang="0">
                  <a:pos x="141" y="1"/>
                </a:cxn>
                <a:cxn ang="0">
                  <a:pos x="82" y="22"/>
                </a:cxn>
                <a:cxn ang="0">
                  <a:pos x="36" y="67"/>
                </a:cxn>
                <a:cxn ang="0">
                  <a:pos x="8" y="130"/>
                </a:cxn>
                <a:cxn ang="0">
                  <a:pos x="0" y="647"/>
                </a:cxn>
                <a:cxn ang="0">
                  <a:pos x="8" y="702"/>
                </a:cxn>
                <a:cxn ang="0">
                  <a:pos x="36" y="764"/>
                </a:cxn>
                <a:cxn ang="0">
                  <a:pos x="82" y="809"/>
                </a:cxn>
                <a:cxn ang="0">
                  <a:pos x="141" y="831"/>
                </a:cxn>
                <a:cxn ang="0">
                  <a:pos x="342" y="836"/>
                </a:cxn>
                <a:cxn ang="0">
                  <a:pos x="328" y="858"/>
                </a:cxn>
                <a:cxn ang="0">
                  <a:pos x="324" y="879"/>
                </a:cxn>
                <a:cxn ang="0">
                  <a:pos x="338" y="918"/>
                </a:cxn>
                <a:cxn ang="0">
                  <a:pos x="370" y="935"/>
                </a:cxn>
                <a:cxn ang="0">
                  <a:pos x="689" y="931"/>
                </a:cxn>
                <a:cxn ang="0">
                  <a:pos x="714" y="901"/>
                </a:cxn>
                <a:cxn ang="0">
                  <a:pos x="716" y="873"/>
                </a:cxn>
                <a:cxn ang="0">
                  <a:pos x="707" y="845"/>
                </a:cxn>
                <a:cxn ang="0">
                  <a:pos x="884" y="833"/>
                </a:cxn>
                <a:cxn ang="0">
                  <a:pos x="931" y="823"/>
                </a:cxn>
                <a:cxn ang="0">
                  <a:pos x="983" y="790"/>
                </a:cxn>
                <a:cxn ang="0">
                  <a:pos x="1022" y="734"/>
                </a:cxn>
                <a:cxn ang="0">
                  <a:pos x="1040" y="665"/>
                </a:cxn>
                <a:cxn ang="0">
                  <a:pos x="1040" y="166"/>
                </a:cxn>
                <a:cxn ang="0">
                  <a:pos x="1022" y="97"/>
                </a:cxn>
                <a:cxn ang="0">
                  <a:pos x="983" y="42"/>
                </a:cxn>
                <a:cxn ang="0">
                  <a:pos x="931" y="8"/>
                </a:cxn>
                <a:cxn ang="0">
                  <a:pos x="884" y="0"/>
                </a:cxn>
                <a:cxn ang="0">
                  <a:pos x="898" y="782"/>
                </a:cxn>
                <a:cxn ang="0">
                  <a:pos x="882" y="764"/>
                </a:cxn>
                <a:cxn ang="0">
                  <a:pos x="880" y="742"/>
                </a:cxn>
                <a:cxn ang="0">
                  <a:pos x="893" y="720"/>
                </a:cxn>
                <a:cxn ang="0">
                  <a:pos x="910" y="714"/>
                </a:cxn>
                <a:cxn ang="0">
                  <a:pos x="931" y="724"/>
                </a:cxn>
                <a:cxn ang="0">
                  <a:pos x="940" y="750"/>
                </a:cxn>
                <a:cxn ang="0">
                  <a:pos x="934" y="769"/>
                </a:cxn>
                <a:cxn ang="0">
                  <a:pos x="916" y="785"/>
                </a:cxn>
                <a:cxn ang="0">
                  <a:pos x="946" y="560"/>
                </a:cxn>
                <a:cxn ang="0">
                  <a:pos x="936" y="613"/>
                </a:cxn>
                <a:cxn ang="0">
                  <a:pos x="909" y="657"/>
                </a:cxn>
                <a:cxn ang="0">
                  <a:pos x="869" y="685"/>
                </a:cxn>
                <a:cxn ang="0">
                  <a:pos x="818" y="697"/>
                </a:cxn>
                <a:cxn ang="0">
                  <a:pos x="197" y="693"/>
                </a:cxn>
                <a:cxn ang="0">
                  <a:pos x="151" y="674"/>
                </a:cxn>
                <a:cxn ang="0">
                  <a:pos x="117" y="636"/>
                </a:cxn>
                <a:cxn ang="0">
                  <a:pos x="98" y="587"/>
                </a:cxn>
                <a:cxn ang="0">
                  <a:pos x="95" y="221"/>
                </a:cxn>
                <a:cxn ang="0">
                  <a:pos x="104" y="168"/>
                </a:cxn>
                <a:cxn ang="0">
                  <a:pos x="133" y="124"/>
                </a:cxn>
                <a:cxn ang="0">
                  <a:pos x="173" y="94"/>
                </a:cxn>
                <a:cxn ang="0">
                  <a:pos x="223" y="84"/>
                </a:cxn>
                <a:cxn ang="0">
                  <a:pos x="844" y="86"/>
                </a:cxn>
                <a:cxn ang="0">
                  <a:pos x="889" y="107"/>
                </a:cxn>
                <a:cxn ang="0">
                  <a:pos x="924" y="144"/>
                </a:cxn>
                <a:cxn ang="0">
                  <a:pos x="943" y="193"/>
                </a:cxn>
              </a:cxnLst>
              <a:rect l="0" t="0" r="r" b="b"/>
              <a:pathLst>
                <a:path w="1040" h="935">
                  <a:moveTo>
                    <a:pt x="884" y="0"/>
                  </a:moveTo>
                  <a:lnTo>
                    <a:pt x="156" y="0"/>
                  </a:lnTo>
                  <a:lnTo>
                    <a:pt x="156" y="0"/>
                  </a:lnTo>
                  <a:lnTo>
                    <a:pt x="141" y="1"/>
                  </a:lnTo>
                  <a:lnTo>
                    <a:pt x="125" y="4"/>
                  </a:lnTo>
                  <a:lnTo>
                    <a:pt x="110" y="8"/>
                  </a:lnTo>
                  <a:lnTo>
                    <a:pt x="95" y="14"/>
                  </a:lnTo>
                  <a:lnTo>
                    <a:pt x="82" y="22"/>
                  </a:lnTo>
                  <a:lnTo>
                    <a:pt x="70" y="32"/>
                  </a:lnTo>
                  <a:lnTo>
                    <a:pt x="57" y="42"/>
                  </a:lnTo>
                  <a:lnTo>
                    <a:pt x="46" y="54"/>
                  </a:lnTo>
                  <a:lnTo>
                    <a:pt x="36" y="67"/>
                  </a:lnTo>
                  <a:lnTo>
                    <a:pt x="27" y="81"/>
                  </a:lnTo>
                  <a:lnTo>
                    <a:pt x="19" y="97"/>
                  </a:lnTo>
                  <a:lnTo>
                    <a:pt x="13" y="113"/>
                  </a:lnTo>
                  <a:lnTo>
                    <a:pt x="8" y="130"/>
                  </a:lnTo>
                  <a:lnTo>
                    <a:pt x="4" y="148"/>
                  </a:lnTo>
                  <a:lnTo>
                    <a:pt x="1" y="166"/>
                  </a:lnTo>
                  <a:lnTo>
                    <a:pt x="0" y="186"/>
                  </a:lnTo>
                  <a:lnTo>
                    <a:pt x="0" y="647"/>
                  </a:lnTo>
                  <a:lnTo>
                    <a:pt x="0" y="647"/>
                  </a:lnTo>
                  <a:lnTo>
                    <a:pt x="1" y="665"/>
                  </a:lnTo>
                  <a:lnTo>
                    <a:pt x="4" y="684"/>
                  </a:lnTo>
                  <a:lnTo>
                    <a:pt x="8" y="702"/>
                  </a:lnTo>
                  <a:lnTo>
                    <a:pt x="13" y="719"/>
                  </a:lnTo>
                  <a:lnTo>
                    <a:pt x="19" y="734"/>
                  </a:lnTo>
                  <a:lnTo>
                    <a:pt x="27" y="750"/>
                  </a:lnTo>
                  <a:lnTo>
                    <a:pt x="36" y="764"/>
                  </a:lnTo>
                  <a:lnTo>
                    <a:pt x="46" y="778"/>
                  </a:lnTo>
                  <a:lnTo>
                    <a:pt x="57" y="790"/>
                  </a:lnTo>
                  <a:lnTo>
                    <a:pt x="70" y="800"/>
                  </a:lnTo>
                  <a:lnTo>
                    <a:pt x="82" y="809"/>
                  </a:lnTo>
                  <a:lnTo>
                    <a:pt x="95" y="817"/>
                  </a:lnTo>
                  <a:lnTo>
                    <a:pt x="110" y="823"/>
                  </a:lnTo>
                  <a:lnTo>
                    <a:pt x="125" y="829"/>
                  </a:lnTo>
                  <a:lnTo>
                    <a:pt x="141" y="831"/>
                  </a:lnTo>
                  <a:lnTo>
                    <a:pt x="156" y="833"/>
                  </a:lnTo>
                  <a:lnTo>
                    <a:pt x="347" y="833"/>
                  </a:lnTo>
                  <a:lnTo>
                    <a:pt x="347" y="833"/>
                  </a:lnTo>
                  <a:lnTo>
                    <a:pt x="342" y="836"/>
                  </a:lnTo>
                  <a:lnTo>
                    <a:pt x="338" y="840"/>
                  </a:lnTo>
                  <a:lnTo>
                    <a:pt x="334" y="845"/>
                  </a:lnTo>
                  <a:lnTo>
                    <a:pt x="330" y="852"/>
                  </a:lnTo>
                  <a:lnTo>
                    <a:pt x="328" y="858"/>
                  </a:lnTo>
                  <a:lnTo>
                    <a:pt x="326" y="865"/>
                  </a:lnTo>
                  <a:lnTo>
                    <a:pt x="325" y="873"/>
                  </a:lnTo>
                  <a:lnTo>
                    <a:pt x="324" y="879"/>
                  </a:lnTo>
                  <a:lnTo>
                    <a:pt x="324" y="879"/>
                  </a:lnTo>
                  <a:lnTo>
                    <a:pt x="325" y="891"/>
                  </a:lnTo>
                  <a:lnTo>
                    <a:pt x="328" y="901"/>
                  </a:lnTo>
                  <a:lnTo>
                    <a:pt x="333" y="910"/>
                  </a:lnTo>
                  <a:lnTo>
                    <a:pt x="338" y="918"/>
                  </a:lnTo>
                  <a:lnTo>
                    <a:pt x="345" y="925"/>
                  </a:lnTo>
                  <a:lnTo>
                    <a:pt x="352" y="931"/>
                  </a:lnTo>
                  <a:lnTo>
                    <a:pt x="361" y="933"/>
                  </a:lnTo>
                  <a:lnTo>
                    <a:pt x="370" y="935"/>
                  </a:lnTo>
                  <a:lnTo>
                    <a:pt x="671" y="935"/>
                  </a:lnTo>
                  <a:lnTo>
                    <a:pt x="671" y="935"/>
                  </a:lnTo>
                  <a:lnTo>
                    <a:pt x="680" y="933"/>
                  </a:lnTo>
                  <a:lnTo>
                    <a:pt x="689" y="931"/>
                  </a:lnTo>
                  <a:lnTo>
                    <a:pt x="697" y="925"/>
                  </a:lnTo>
                  <a:lnTo>
                    <a:pt x="703" y="918"/>
                  </a:lnTo>
                  <a:lnTo>
                    <a:pt x="709" y="910"/>
                  </a:lnTo>
                  <a:lnTo>
                    <a:pt x="714" y="901"/>
                  </a:lnTo>
                  <a:lnTo>
                    <a:pt x="716" y="891"/>
                  </a:lnTo>
                  <a:lnTo>
                    <a:pt x="716" y="879"/>
                  </a:lnTo>
                  <a:lnTo>
                    <a:pt x="716" y="879"/>
                  </a:lnTo>
                  <a:lnTo>
                    <a:pt x="716" y="873"/>
                  </a:lnTo>
                  <a:lnTo>
                    <a:pt x="715" y="865"/>
                  </a:lnTo>
                  <a:lnTo>
                    <a:pt x="714" y="858"/>
                  </a:lnTo>
                  <a:lnTo>
                    <a:pt x="710" y="852"/>
                  </a:lnTo>
                  <a:lnTo>
                    <a:pt x="707" y="845"/>
                  </a:lnTo>
                  <a:lnTo>
                    <a:pt x="703" y="840"/>
                  </a:lnTo>
                  <a:lnTo>
                    <a:pt x="698" y="836"/>
                  </a:lnTo>
                  <a:lnTo>
                    <a:pt x="694" y="833"/>
                  </a:lnTo>
                  <a:lnTo>
                    <a:pt x="884" y="833"/>
                  </a:lnTo>
                  <a:lnTo>
                    <a:pt x="884" y="833"/>
                  </a:lnTo>
                  <a:lnTo>
                    <a:pt x="901" y="831"/>
                  </a:lnTo>
                  <a:lnTo>
                    <a:pt x="916" y="829"/>
                  </a:lnTo>
                  <a:lnTo>
                    <a:pt x="931" y="823"/>
                  </a:lnTo>
                  <a:lnTo>
                    <a:pt x="946" y="817"/>
                  </a:lnTo>
                  <a:lnTo>
                    <a:pt x="959" y="809"/>
                  </a:lnTo>
                  <a:lnTo>
                    <a:pt x="972" y="800"/>
                  </a:lnTo>
                  <a:lnTo>
                    <a:pt x="983" y="790"/>
                  </a:lnTo>
                  <a:lnTo>
                    <a:pt x="995" y="778"/>
                  </a:lnTo>
                  <a:lnTo>
                    <a:pt x="1005" y="764"/>
                  </a:lnTo>
                  <a:lnTo>
                    <a:pt x="1014" y="750"/>
                  </a:lnTo>
                  <a:lnTo>
                    <a:pt x="1022" y="734"/>
                  </a:lnTo>
                  <a:lnTo>
                    <a:pt x="1029" y="719"/>
                  </a:lnTo>
                  <a:lnTo>
                    <a:pt x="1034" y="702"/>
                  </a:lnTo>
                  <a:lnTo>
                    <a:pt x="1038" y="684"/>
                  </a:lnTo>
                  <a:lnTo>
                    <a:pt x="1040" y="665"/>
                  </a:lnTo>
                  <a:lnTo>
                    <a:pt x="1040" y="647"/>
                  </a:lnTo>
                  <a:lnTo>
                    <a:pt x="1040" y="186"/>
                  </a:lnTo>
                  <a:lnTo>
                    <a:pt x="1040" y="186"/>
                  </a:lnTo>
                  <a:lnTo>
                    <a:pt x="1040" y="166"/>
                  </a:lnTo>
                  <a:lnTo>
                    <a:pt x="1038" y="148"/>
                  </a:lnTo>
                  <a:lnTo>
                    <a:pt x="1034" y="130"/>
                  </a:lnTo>
                  <a:lnTo>
                    <a:pt x="1029" y="113"/>
                  </a:lnTo>
                  <a:lnTo>
                    <a:pt x="1022" y="97"/>
                  </a:lnTo>
                  <a:lnTo>
                    <a:pt x="1014" y="81"/>
                  </a:lnTo>
                  <a:lnTo>
                    <a:pt x="1005" y="67"/>
                  </a:lnTo>
                  <a:lnTo>
                    <a:pt x="995" y="54"/>
                  </a:lnTo>
                  <a:lnTo>
                    <a:pt x="983" y="42"/>
                  </a:lnTo>
                  <a:lnTo>
                    <a:pt x="972" y="32"/>
                  </a:lnTo>
                  <a:lnTo>
                    <a:pt x="959" y="22"/>
                  </a:lnTo>
                  <a:lnTo>
                    <a:pt x="946" y="14"/>
                  </a:lnTo>
                  <a:lnTo>
                    <a:pt x="931" y="8"/>
                  </a:lnTo>
                  <a:lnTo>
                    <a:pt x="916" y="4"/>
                  </a:lnTo>
                  <a:lnTo>
                    <a:pt x="901" y="1"/>
                  </a:lnTo>
                  <a:lnTo>
                    <a:pt x="884" y="0"/>
                  </a:lnTo>
                  <a:lnTo>
                    <a:pt x="884" y="0"/>
                  </a:lnTo>
                  <a:close/>
                  <a:moveTo>
                    <a:pt x="910" y="786"/>
                  </a:moveTo>
                  <a:lnTo>
                    <a:pt x="910" y="786"/>
                  </a:lnTo>
                  <a:lnTo>
                    <a:pt x="903" y="785"/>
                  </a:lnTo>
                  <a:lnTo>
                    <a:pt x="898" y="782"/>
                  </a:lnTo>
                  <a:lnTo>
                    <a:pt x="893" y="780"/>
                  </a:lnTo>
                  <a:lnTo>
                    <a:pt x="888" y="776"/>
                  </a:lnTo>
                  <a:lnTo>
                    <a:pt x="885" y="769"/>
                  </a:lnTo>
                  <a:lnTo>
                    <a:pt x="882" y="764"/>
                  </a:lnTo>
                  <a:lnTo>
                    <a:pt x="880" y="758"/>
                  </a:lnTo>
                  <a:lnTo>
                    <a:pt x="880" y="750"/>
                  </a:lnTo>
                  <a:lnTo>
                    <a:pt x="880" y="750"/>
                  </a:lnTo>
                  <a:lnTo>
                    <a:pt x="880" y="742"/>
                  </a:lnTo>
                  <a:lnTo>
                    <a:pt x="882" y="736"/>
                  </a:lnTo>
                  <a:lnTo>
                    <a:pt x="885" y="729"/>
                  </a:lnTo>
                  <a:lnTo>
                    <a:pt x="888" y="724"/>
                  </a:lnTo>
                  <a:lnTo>
                    <a:pt x="893" y="720"/>
                  </a:lnTo>
                  <a:lnTo>
                    <a:pt x="898" y="716"/>
                  </a:lnTo>
                  <a:lnTo>
                    <a:pt x="903" y="715"/>
                  </a:lnTo>
                  <a:lnTo>
                    <a:pt x="910" y="714"/>
                  </a:lnTo>
                  <a:lnTo>
                    <a:pt x="910" y="714"/>
                  </a:lnTo>
                  <a:lnTo>
                    <a:pt x="916" y="715"/>
                  </a:lnTo>
                  <a:lnTo>
                    <a:pt x="922" y="716"/>
                  </a:lnTo>
                  <a:lnTo>
                    <a:pt x="927" y="720"/>
                  </a:lnTo>
                  <a:lnTo>
                    <a:pt x="931" y="724"/>
                  </a:lnTo>
                  <a:lnTo>
                    <a:pt x="934" y="729"/>
                  </a:lnTo>
                  <a:lnTo>
                    <a:pt x="937" y="736"/>
                  </a:lnTo>
                  <a:lnTo>
                    <a:pt x="940" y="742"/>
                  </a:lnTo>
                  <a:lnTo>
                    <a:pt x="940" y="750"/>
                  </a:lnTo>
                  <a:lnTo>
                    <a:pt x="940" y="750"/>
                  </a:lnTo>
                  <a:lnTo>
                    <a:pt x="940" y="758"/>
                  </a:lnTo>
                  <a:lnTo>
                    <a:pt x="937" y="764"/>
                  </a:lnTo>
                  <a:lnTo>
                    <a:pt x="934" y="769"/>
                  </a:lnTo>
                  <a:lnTo>
                    <a:pt x="931" y="776"/>
                  </a:lnTo>
                  <a:lnTo>
                    <a:pt x="927" y="780"/>
                  </a:lnTo>
                  <a:lnTo>
                    <a:pt x="922" y="782"/>
                  </a:lnTo>
                  <a:lnTo>
                    <a:pt x="916" y="785"/>
                  </a:lnTo>
                  <a:lnTo>
                    <a:pt x="910" y="786"/>
                  </a:lnTo>
                  <a:lnTo>
                    <a:pt x="910" y="786"/>
                  </a:lnTo>
                  <a:close/>
                  <a:moveTo>
                    <a:pt x="946" y="560"/>
                  </a:moveTo>
                  <a:lnTo>
                    <a:pt x="946" y="560"/>
                  </a:lnTo>
                  <a:lnTo>
                    <a:pt x="946" y="573"/>
                  </a:lnTo>
                  <a:lnTo>
                    <a:pt x="943" y="587"/>
                  </a:lnTo>
                  <a:lnTo>
                    <a:pt x="941" y="600"/>
                  </a:lnTo>
                  <a:lnTo>
                    <a:pt x="936" y="613"/>
                  </a:lnTo>
                  <a:lnTo>
                    <a:pt x="931" y="625"/>
                  </a:lnTo>
                  <a:lnTo>
                    <a:pt x="924" y="636"/>
                  </a:lnTo>
                  <a:lnTo>
                    <a:pt x="918" y="647"/>
                  </a:lnTo>
                  <a:lnTo>
                    <a:pt x="909" y="657"/>
                  </a:lnTo>
                  <a:lnTo>
                    <a:pt x="900" y="665"/>
                  </a:lnTo>
                  <a:lnTo>
                    <a:pt x="889" y="674"/>
                  </a:lnTo>
                  <a:lnTo>
                    <a:pt x="879" y="680"/>
                  </a:lnTo>
                  <a:lnTo>
                    <a:pt x="869" y="685"/>
                  </a:lnTo>
                  <a:lnTo>
                    <a:pt x="857" y="691"/>
                  </a:lnTo>
                  <a:lnTo>
                    <a:pt x="844" y="693"/>
                  </a:lnTo>
                  <a:lnTo>
                    <a:pt x="831" y="696"/>
                  </a:lnTo>
                  <a:lnTo>
                    <a:pt x="818" y="697"/>
                  </a:lnTo>
                  <a:lnTo>
                    <a:pt x="223" y="697"/>
                  </a:lnTo>
                  <a:lnTo>
                    <a:pt x="223" y="697"/>
                  </a:lnTo>
                  <a:lnTo>
                    <a:pt x="210" y="696"/>
                  </a:lnTo>
                  <a:lnTo>
                    <a:pt x="197" y="693"/>
                  </a:lnTo>
                  <a:lnTo>
                    <a:pt x="184" y="691"/>
                  </a:lnTo>
                  <a:lnTo>
                    <a:pt x="173" y="685"/>
                  </a:lnTo>
                  <a:lnTo>
                    <a:pt x="162" y="680"/>
                  </a:lnTo>
                  <a:lnTo>
                    <a:pt x="151" y="674"/>
                  </a:lnTo>
                  <a:lnTo>
                    <a:pt x="142" y="665"/>
                  </a:lnTo>
                  <a:lnTo>
                    <a:pt x="133" y="657"/>
                  </a:lnTo>
                  <a:lnTo>
                    <a:pt x="124" y="647"/>
                  </a:lnTo>
                  <a:lnTo>
                    <a:pt x="117" y="636"/>
                  </a:lnTo>
                  <a:lnTo>
                    <a:pt x="111" y="625"/>
                  </a:lnTo>
                  <a:lnTo>
                    <a:pt x="104" y="613"/>
                  </a:lnTo>
                  <a:lnTo>
                    <a:pt x="101" y="600"/>
                  </a:lnTo>
                  <a:lnTo>
                    <a:pt x="98" y="587"/>
                  </a:lnTo>
                  <a:lnTo>
                    <a:pt x="95" y="573"/>
                  </a:lnTo>
                  <a:lnTo>
                    <a:pt x="95" y="560"/>
                  </a:lnTo>
                  <a:lnTo>
                    <a:pt x="95" y="221"/>
                  </a:lnTo>
                  <a:lnTo>
                    <a:pt x="95" y="221"/>
                  </a:lnTo>
                  <a:lnTo>
                    <a:pt x="95" y="206"/>
                  </a:lnTo>
                  <a:lnTo>
                    <a:pt x="98" y="193"/>
                  </a:lnTo>
                  <a:lnTo>
                    <a:pt x="101" y="181"/>
                  </a:lnTo>
                  <a:lnTo>
                    <a:pt x="104" y="168"/>
                  </a:lnTo>
                  <a:lnTo>
                    <a:pt x="111" y="156"/>
                  </a:lnTo>
                  <a:lnTo>
                    <a:pt x="117" y="144"/>
                  </a:lnTo>
                  <a:lnTo>
                    <a:pt x="124" y="134"/>
                  </a:lnTo>
                  <a:lnTo>
                    <a:pt x="133" y="124"/>
                  </a:lnTo>
                  <a:lnTo>
                    <a:pt x="142" y="115"/>
                  </a:lnTo>
                  <a:lnTo>
                    <a:pt x="151" y="107"/>
                  </a:lnTo>
                  <a:lnTo>
                    <a:pt x="162" y="101"/>
                  </a:lnTo>
                  <a:lnTo>
                    <a:pt x="173" y="94"/>
                  </a:lnTo>
                  <a:lnTo>
                    <a:pt x="184" y="90"/>
                  </a:lnTo>
                  <a:lnTo>
                    <a:pt x="197" y="86"/>
                  </a:lnTo>
                  <a:lnTo>
                    <a:pt x="210" y="85"/>
                  </a:lnTo>
                  <a:lnTo>
                    <a:pt x="223" y="84"/>
                  </a:lnTo>
                  <a:lnTo>
                    <a:pt x="818" y="84"/>
                  </a:lnTo>
                  <a:lnTo>
                    <a:pt x="818" y="84"/>
                  </a:lnTo>
                  <a:lnTo>
                    <a:pt x="831" y="85"/>
                  </a:lnTo>
                  <a:lnTo>
                    <a:pt x="844" y="86"/>
                  </a:lnTo>
                  <a:lnTo>
                    <a:pt x="857" y="90"/>
                  </a:lnTo>
                  <a:lnTo>
                    <a:pt x="869" y="94"/>
                  </a:lnTo>
                  <a:lnTo>
                    <a:pt x="879" y="101"/>
                  </a:lnTo>
                  <a:lnTo>
                    <a:pt x="889" y="107"/>
                  </a:lnTo>
                  <a:lnTo>
                    <a:pt x="900" y="115"/>
                  </a:lnTo>
                  <a:lnTo>
                    <a:pt x="909" y="124"/>
                  </a:lnTo>
                  <a:lnTo>
                    <a:pt x="918" y="134"/>
                  </a:lnTo>
                  <a:lnTo>
                    <a:pt x="924" y="144"/>
                  </a:lnTo>
                  <a:lnTo>
                    <a:pt x="931" y="156"/>
                  </a:lnTo>
                  <a:lnTo>
                    <a:pt x="936" y="168"/>
                  </a:lnTo>
                  <a:lnTo>
                    <a:pt x="941" y="181"/>
                  </a:lnTo>
                  <a:lnTo>
                    <a:pt x="943" y="193"/>
                  </a:lnTo>
                  <a:lnTo>
                    <a:pt x="946" y="206"/>
                  </a:lnTo>
                  <a:lnTo>
                    <a:pt x="946" y="221"/>
                  </a:lnTo>
                  <a:lnTo>
                    <a:pt x="946" y="560"/>
                  </a:lnTo>
                  <a:close/>
                </a:path>
              </a:pathLst>
            </a:custGeom>
            <a:solidFill>
              <a:schemeClr val="tx1">
                <a:lumMod val="75000"/>
                <a:lumOff val="25000"/>
              </a:schemeClr>
            </a:solidFill>
            <a:ln w="6350" cap="flat" cmpd="sng" algn="ctr">
              <a:noFill/>
              <a:prstDash val="solid"/>
            </a:ln>
            <a:effectLst/>
          </p:spPr>
          <p:txBody>
            <a:bodyPr anchor="ctr"/>
            <a:lstStyle/>
            <a:p>
              <a:pPr marL="342900" indent="-342900" algn="ctr">
                <a:buFont typeface="Calibri" charset="0"/>
                <a:buAutoNum type="arabicPeriod"/>
                <a:defRPr/>
              </a:pPr>
              <a:endParaRPr lang="en-US" dirty="0">
                <a:solidFill>
                  <a:srgbClr val="FFFFFF"/>
                </a:solidFill>
                <a:latin typeface="Calibri" charset="0"/>
                <a:ea typeface="ＭＳ Ｐゴシック" charset="-128"/>
                <a:cs typeface="+mn-cs"/>
              </a:endParaRPr>
            </a:p>
          </p:txBody>
        </p:sp>
        <p:sp>
          <p:nvSpPr>
            <p:cNvPr id="76" name="Snip Same Side Corner Rectangle 75"/>
            <p:cNvSpPr/>
            <p:nvPr>
              <p:custDataLst>
                <p:tags r:id="rId12"/>
              </p:custDataLst>
            </p:nvPr>
          </p:nvSpPr>
          <p:spPr>
            <a:xfrm>
              <a:off x="-3148115" y="4963799"/>
              <a:ext cx="1017185" cy="690581"/>
            </a:xfrm>
            <a:prstGeom prst="snip2SameRect">
              <a:avLst>
                <a:gd name="adj1" fmla="val 5690"/>
                <a:gd name="adj2" fmla="val 0"/>
              </a:avLst>
            </a:prstGeom>
            <a:gradFill flip="none" rotWithShape="1">
              <a:gsLst>
                <a:gs pos="100000">
                  <a:schemeClr val="tx2">
                    <a:lumMod val="75000"/>
                  </a:schemeClr>
                </a:gs>
                <a:gs pos="1000">
                  <a:schemeClr val="accent1">
                    <a:lumMod val="75000"/>
                  </a:schemeClr>
                </a:gs>
              </a:gsLst>
              <a:lin ang="5400000" scaled="1"/>
              <a:tileRect/>
            </a:gradFill>
            <a:ln w="25400">
              <a:noFill/>
            </a:ln>
            <a:effectLst>
              <a:glow rad="101600">
                <a:schemeClr val="tx1">
                  <a:alpha val="5000"/>
                </a:schemeClr>
              </a:glo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id-ID" smtClean="0">
                <a:solidFill>
                  <a:srgbClr val="FFFFFF"/>
                </a:solidFill>
                <a:latin typeface="Calibri" pitchFamily="34" charset="0"/>
              </a:endParaRPr>
            </a:p>
          </p:txBody>
        </p:sp>
      </p:grpSp>
      <p:graphicFrame>
        <p:nvGraphicFramePr>
          <p:cNvPr id="85" name="Chart 84"/>
          <p:cNvGraphicFramePr/>
          <p:nvPr>
            <p:extLst>
              <p:ext uri="{D42A27DB-BD31-4B8C-83A1-F6EECF244321}">
                <p14:modId xmlns:p14="http://schemas.microsoft.com/office/powerpoint/2010/main" val="668793380"/>
              </p:ext>
            </p:extLst>
          </p:nvPr>
        </p:nvGraphicFramePr>
        <p:xfrm>
          <a:off x="1219200" y="3124200"/>
          <a:ext cx="6096000" cy="2336800"/>
        </p:xfrm>
        <a:graphic>
          <a:graphicData uri="http://schemas.openxmlformats.org/drawingml/2006/chart">
            <c:chart xmlns:c="http://schemas.openxmlformats.org/drawingml/2006/chart" xmlns:r="http://schemas.openxmlformats.org/officeDocument/2006/relationships" r:id="rId20"/>
          </a:graphicData>
        </a:graphic>
      </p:graphicFrame>
      <p:sp>
        <p:nvSpPr>
          <p:cNvPr id="35" name="Title 1"/>
          <p:cNvSpPr>
            <a:spLocks noGrp="1"/>
          </p:cNvSpPr>
          <p:nvPr>
            <p:ph type="title"/>
          </p:nvPr>
        </p:nvSpPr>
        <p:spPr/>
        <p:txBody>
          <a:bodyPr/>
          <a:lstStyle/>
          <a:p>
            <a:pPr>
              <a:lnSpc>
                <a:spcPct val="80000"/>
              </a:lnSpc>
            </a:pPr>
            <a:r>
              <a:rPr lang="en-US"/>
              <a:t>SALES METHOD</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6959563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43785"/>
          </a:xfrm>
        </p:spPr>
        <p:txBody>
          <a:bodyPr/>
          <a:lstStyle/>
          <a:p>
            <a:pPr>
              <a:lnSpc>
                <a:spcPct val="80000"/>
              </a:lnSpc>
            </a:pPr>
            <a:r>
              <a:rPr lang="en-US"/>
              <a:t>Replace this text</a:t>
            </a:r>
            <a:endParaRPr lang="en-US" dirty="0"/>
          </a:p>
        </p:txBody>
      </p:sp>
      <p:sp>
        <p:nvSpPr>
          <p:cNvPr id="39" name="Slide Number Placeholder 38"/>
          <p:cNvSpPr>
            <a:spLocks noGrp="1"/>
          </p:cNvSpPr>
          <p:nvPr>
            <p:ph type="sldNum" sz="quarter" idx="12"/>
          </p:nvPr>
        </p:nvSpPr>
        <p:spPr/>
        <p:txBody>
          <a:bodyPr/>
          <a:lstStyle/>
          <a:p>
            <a:pPr>
              <a:defRPr/>
            </a:pPr>
            <a:fld id="{AD19CF00-AE30-45AC-A0F3-222CEA30FB4A}" type="slidenum">
              <a:rPr lang="da-DK" smtClean="0"/>
              <a:pPr>
                <a:defRPr/>
              </a:pPr>
              <a:t>46</a:t>
            </a:fld>
            <a:endParaRPr lang="da-DK"/>
          </a:p>
        </p:txBody>
      </p:sp>
      <p:sp>
        <p:nvSpPr>
          <p:cNvPr id="28" name="Rectangle 27"/>
          <p:cNvSpPr>
            <a:spLocks noChangeArrowheads="1"/>
          </p:cNvSpPr>
          <p:nvPr/>
        </p:nvSpPr>
        <p:spPr bwMode="auto">
          <a:xfrm>
            <a:off x="280988" y="2705100"/>
            <a:ext cx="8647112" cy="2241550"/>
          </a:xfrm>
          <a:prstGeom prst="rect">
            <a:avLst/>
          </a:prstGeom>
          <a:solidFill>
            <a:schemeClr val="bg1">
              <a:alpha val="3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solidFill>
                <a:srgbClr val="404040"/>
              </a:solidFill>
              <a:latin typeface="Calibri" charset="0"/>
            </a:endParaRPr>
          </a:p>
        </p:txBody>
      </p:sp>
      <p:sp>
        <p:nvSpPr>
          <p:cNvPr id="34" name="Rectangle 32"/>
          <p:cNvSpPr>
            <a:spLocks noChangeArrowheads="1"/>
          </p:cNvSpPr>
          <p:nvPr>
            <p:custDataLst>
              <p:tags r:id="rId1"/>
            </p:custDataLst>
          </p:nvPr>
        </p:nvSpPr>
        <p:spPr bwMode="auto">
          <a:xfrm>
            <a:off x="280988" y="2033588"/>
            <a:ext cx="8647112" cy="592137"/>
          </a:xfrm>
          <a:prstGeom prst="rect">
            <a:avLst/>
          </a:prstGeom>
          <a:solidFill>
            <a:schemeClr val="bg1">
              <a:alpha val="3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solidFill>
                <a:srgbClr val="404040"/>
              </a:solidFill>
              <a:latin typeface="Calibri" charset="0"/>
            </a:endParaRPr>
          </a:p>
        </p:txBody>
      </p:sp>
      <p:sp>
        <p:nvSpPr>
          <p:cNvPr id="41" name="Rektangel 23"/>
          <p:cNvSpPr>
            <a:spLocks noChangeArrowheads="1"/>
          </p:cNvSpPr>
          <p:nvPr>
            <p:custDataLst>
              <p:tags r:id="rId2"/>
            </p:custDataLst>
          </p:nvPr>
        </p:nvSpPr>
        <p:spPr bwMode="auto">
          <a:xfrm>
            <a:off x="4449763" y="1647825"/>
            <a:ext cx="3068637"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801688">
              <a:spcBef>
                <a:spcPct val="20000"/>
              </a:spcBef>
              <a:defRPr/>
            </a:pPr>
            <a:r>
              <a:rPr sz="1200" noProof="1">
                <a:solidFill>
                  <a:schemeClr val="tx1">
                    <a:lumMod val="75000"/>
                    <a:lumOff val="25000"/>
                  </a:schemeClr>
                </a:solidFill>
                <a:latin typeface="Calibri" charset="0"/>
                <a:cs typeface="Arial" charset="0"/>
              </a:rPr>
              <a:t>This is an example text.Go ahead an replace it with your own text. This is an example text.Go ahead an replace it with your own text. This is an example text.Go ahead an replace it with your own text.</a:t>
            </a:r>
          </a:p>
        </p:txBody>
      </p:sp>
      <p:sp>
        <p:nvSpPr>
          <p:cNvPr id="43" name="Snip Same Side Corner Rectangle 42"/>
          <p:cNvSpPr/>
          <p:nvPr>
            <p:custDataLst>
              <p:tags r:id="rId3"/>
            </p:custDataLst>
          </p:nvPr>
        </p:nvSpPr>
        <p:spPr>
          <a:xfrm rot="5400000">
            <a:off x="2456768" y="919976"/>
            <a:ext cx="1189762" cy="2609085"/>
          </a:xfrm>
          <a:prstGeom prst="snip2SameRect">
            <a:avLst>
              <a:gd name="adj1" fmla="val 17977"/>
              <a:gd name="adj2" fmla="val 0"/>
            </a:avLst>
          </a:prstGeom>
          <a:gradFill>
            <a:gsLst>
              <a:gs pos="100000">
                <a:schemeClr val="tx2">
                  <a:lumMod val="75000"/>
                </a:schemeClr>
              </a:gs>
              <a:gs pos="1000">
                <a:schemeClr val="accent1">
                  <a:lumMod val="75000"/>
                </a:schemeClr>
              </a:gs>
            </a:gsLst>
            <a:lin ang="5400000" scaled="1"/>
          </a:gradFill>
          <a:ln w="25400">
            <a:solidFill>
              <a:schemeClr val="bg1">
                <a:lumMod val="95000"/>
              </a:schemeClr>
            </a:solidFill>
            <a:prstDash val="sysDash"/>
          </a:ln>
          <a:effectLst>
            <a:glow rad="101600">
              <a:schemeClr val="tx1">
                <a:alpha val="5000"/>
              </a:schemeClr>
            </a:glo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id-ID" smtClean="0">
              <a:solidFill>
                <a:srgbClr val="FFFFFF"/>
              </a:solidFill>
              <a:latin typeface="Calibri" pitchFamily="34" charset="0"/>
            </a:endParaRPr>
          </a:p>
        </p:txBody>
      </p:sp>
      <p:sp>
        <p:nvSpPr>
          <p:cNvPr id="44" name="TextBox 43"/>
          <p:cNvSpPr txBox="1"/>
          <p:nvPr>
            <p:custDataLst>
              <p:tags r:id="rId4"/>
            </p:custDataLst>
          </p:nvPr>
        </p:nvSpPr>
        <p:spPr>
          <a:xfrm rot="39231">
            <a:off x="1728788" y="1825625"/>
            <a:ext cx="2573337" cy="584200"/>
          </a:xfrm>
          <a:prstGeom prst="rect">
            <a:avLst/>
          </a:prstGeom>
          <a:noFill/>
          <a:effectLst/>
        </p:spPr>
        <p:txBody>
          <a:bodyPr>
            <a:spAutoFit/>
          </a:bodyPr>
          <a:lstStyle/>
          <a:p>
            <a:pPr>
              <a:defRPr/>
            </a:pPr>
            <a:r>
              <a:rPr lang="en-US" sz="3200" b="1" dirty="0">
                <a:solidFill>
                  <a:schemeClr val="bg1"/>
                </a:solidFill>
                <a:latin typeface="+mj-lt"/>
                <a:ea typeface="MS PGothic" pitchFamily="34" charset="-128"/>
                <a:cs typeface="+mn-cs"/>
              </a:rPr>
              <a:t>CLOSED</a:t>
            </a:r>
            <a:r>
              <a:rPr lang="id-ID" sz="3200" b="1" dirty="0">
                <a:solidFill>
                  <a:schemeClr val="bg1"/>
                </a:solidFill>
                <a:latin typeface="+mj-lt"/>
                <a:ea typeface="MS PGothic" pitchFamily="34" charset="-128"/>
                <a:cs typeface="+mn-cs"/>
              </a:rPr>
              <a:t> </a:t>
            </a:r>
            <a:r>
              <a:rPr lang="en-US" sz="3200" b="1" dirty="0">
                <a:solidFill>
                  <a:schemeClr val="bg1"/>
                </a:solidFill>
                <a:latin typeface="+mj-lt"/>
                <a:ea typeface="MS PGothic" pitchFamily="34" charset="-128"/>
                <a:cs typeface="+mn-cs"/>
              </a:rPr>
              <a:t>SALE</a:t>
            </a:r>
          </a:p>
        </p:txBody>
      </p:sp>
      <p:sp>
        <p:nvSpPr>
          <p:cNvPr id="46" name="Oval 45"/>
          <p:cNvSpPr/>
          <p:nvPr>
            <p:custDataLst>
              <p:tags r:id="rId5"/>
            </p:custDataLst>
          </p:nvPr>
        </p:nvSpPr>
        <p:spPr>
          <a:xfrm rot="20581771">
            <a:off x="4088663" y="2033163"/>
            <a:ext cx="212691" cy="212691"/>
          </a:xfrm>
          <a:prstGeom prst="ellipse">
            <a:avLst/>
          </a:prstGeom>
          <a:solidFill>
            <a:schemeClr val="bg1">
              <a:lumMod val="85000"/>
            </a:schemeClr>
          </a:solidFill>
          <a:ln w="25400">
            <a:solidFill>
              <a:schemeClr val="bg1">
                <a:lumMod val="95000"/>
              </a:schemeClr>
            </a:solidFill>
            <a:prstDash val="sysDash"/>
          </a:ln>
          <a:effectLst>
            <a:glow rad="101600">
              <a:schemeClr val="tx1">
                <a:alpha val="5000"/>
              </a:schemeClr>
            </a:glo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id-ID" smtClean="0">
              <a:solidFill>
                <a:srgbClr val="FFFFFF"/>
              </a:solidFill>
              <a:latin typeface="Calibri" pitchFamily="34" charset="0"/>
            </a:endParaRPr>
          </a:p>
        </p:txBody>
      </p:sp>
      <p:sp>
        <p:nvSpPr>
          <p:cNvPr id="50" name="Rectangle 49"/>
          <p:cNvSpPr/>
          <p:nvPr>
            <p:custDataLst>
              <p:tags r:id="rId6"/>
            </p:custDataLst>
          </p:nvPr>
        </p:nvSpPr>
        <p:spPr>
          <a:xfrm>
            <a:off x="1520825" y="4013200"/>
            <a:ext cx="1962150" cy="1595438"/>
          </a:xfrm>
          <a:prstGeom prst="rect">
            <a:avLst/>
          </a:prstGeom>
          <a:solidFill>
            <a:schemeClr val="bg1">
              <a:lumMod val="95000"/>
              <a:alpha val="69000"/>
            </a:schemeClr>
          </a:solidFill>
          <a:ln>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984807"/>
              </a:solidFill>
              <a:ea typeface="MS PGothic" pitchFamily="34" charset="-128"/>
            </a:endParaRPr>
          </a:p>
        </p:txBody>
      </p:sp>
      <p:sp>
        <p:nvSpPr>
          <p:cNvPr id="51" name="Rektangel 23"/>
          <p:cNvSpPr>
            <a:spLocks noChangeArrowheads="1"/>
          </p:cNvSpPr>
          <p:nvPr>
            <p:custDataLst>
              <p:tags r:id="rId7"/>
            </p:custDataLst>
          </p:nvPr>
        </p:nvSpPr>
        <p:spPr bwMode="auto">
          <a:xfrm>
            <a:off x="1574800" y="4068763"/>
            <a:ext cx="1803400" cy="151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801688">
              <a:spcBef>
                <a:spcPct val="20000"/>
              </a:spcBef>
              <a:defRPr/>
            </a:pPr>
            <a:r>
              <a:rPr lang="en-US" b="1" noProof="1">
                <a:solidFill>
                  <a:schemeClr val="tx2">
                    <a:lumMod val="75000"/>
                  </a:schemeClr>
                </a:solidFill>
                <a:latin typeface="Calibri" pitchFamily="34" charset="0"/>
                <a:ea typeface="MS PGothic" pitchFamily="34" charset="-128"/>
                <a:cs typeface="Arial" charset="0"/>
              </a:rPr>
              <a:t>Sales Method</a:t>
            </a:r>
            <a:endParaRPr lang="id-ID" b="1" noProof="1">
              <a:solidFill>
                <a:schemeClr val="tx2">
                  <a:lumMod val="75000"/>
                </a:schemeClr>
              </a:solidFill>
              <a:latin typeface="Calibri" pitchFamily="34" charset="0"/>
              <a:ea typeface="MS PGothic" pitchFamily="34" charset="-128"/>
              <a:cs typeface="Arial" charset="0"/>
            </a:endParaRPr>
          </a:p>
          <a:p>
            <a:pPr defTabSz="801688">
              <a:spcBef>
                <a:spcPct val="20000"/>
              </a:spcBef>
              <a:defRPr/>
            </a:pPr>
            <a:r>
              <a:rPr lang="en-US" sz="1200" noProof="1">
                <a:solidFill>
                  <a:schemeClr val="tx1">
                    <a:lumMod val="75000"/>
                    <a:lumOff val="25000"/>
                  </a:schemeClr>
                </a:solidFill>
                <a:latin typeface="Calibri" pitchFamily="34" charset="0"/>
                <a:ea typeface="MS PGothic" pitchFamily="34" charset="-128"/>
                <a:cs typeface="Arial" charset="0"/>
              </a:rPr>
              <a:t>This is an example text.Go ahead an replace it with your own text. This is an example text.Go ahead an replace it with your own text</a:t>
            </a:r>
          </a:p>
        </p:txBody>
      </p:sp>
      <p:sp>
        <p:nvSpPr>
          <p:cNvPr id="53" name="Rectangle 52"/>
          <p:cNvSpPr/>
          <p:nvPr>
            <p:custDataLst>
              <p:tags r:id="rId8"/>
            </p:custDataLst>
          </p:nvPr>
        </p:nvSpPr>
        <p:spPr>
          <a:xfrm>
            <a:off x="3540125" y="4013200"/>
            <a:ext cx="1962150" cy="1595438"/>
          </a:xfrm>
          <a:prstGeom prst="rect">
            <a:avLst/>
          </a:prstGeom>
          <a:solidFill>
            <a:schemeClr val="bg1">
              <a:lumMod val="95000"/>
              <a:alpha val="69000"/>
            </a:schemeClr>
          </a:solidFill>
          <a:ln>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984807"/>
              </a:solidFill>
              <a:ea typeface="MS PGothic" pitchFamily="34" charset="-128"/>
            </a:endParaRPr>
          </a:p>
        </p:txBody>
      </p:sp>
      <p:sp>
        <p:nvSpPr>
          <p:cNvPr id="54" name="Rektangel 23"/>
          <p:cNvSpPr>
            <a:spLocks noChangeArrowheads="1"/>
          </p:cNvSpPr>
          <p:nvPr>
            <p:custDataLst>
              <p:tags r:id="rId9"/>
            </p:custDataLst>
          </p:nvPr>
        </p:nvSpPr>
        <p:spPr bwMode="auto">
          <a:xfrm>
            <a:off x="3630613" y="4049713"/>
            <a:ext cx="1871662"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801688">
              <a:spcBef>
                <a:spcPct val="20000"/>
              </a:spcBef>
              <a:defRPr/>
            </a:pPr>
            <a:r>
              <a:rPr lang="en-US" b="1" noProof="1">
                <a:solidFill>
                  <a:schemeClr val="tx2">
                    <a:lumMod val="75000"/>
                  </a:schemeClr>
                </a:solidFill>
                <a:latin typeface="Calibri" pitchFamily="34" charset="0"/>
                <a:ea typeface="MS PGothic" pitchFamily="34" charset="-128"/>
                <a:cs typeface="Arial" charset="0"/>
              </a:rPr>
              <a:t>Effective</a:t>
            </a:r>
            <a:r>
              <a:rPr lang="id-ID" b="1" noProof="1">
                <a:solidFill>
                  <a:schemeClr val="tx2">
                    <a:lumMod val="75000"/>
                  </a:schemeClr>
                </a:solidFill>
                <a:latin typeface="Calibri" pitchFamily="34" charset="0"/>
                <a:ea typeface="MS PGothic" pitchFamily="34" charset="-128"/>
                <a:cs typeface="Arial" charset="0"/>
              </a:rPr>
              <a:t> </a:t>
            </a:r>
            <a:r>
              <a:rPr lang="en-US" b="1" noProof="1">
                <a:solidFill>
                  <a:schemeClr val="tx2">
                    <a:lumMod val="75000"/>
                  </a:schemeClr>
                </a:solidFill>
                <a:latin typeface="Calibri" pitchFamily="34" charset="0"/>
                <a:ea typeface="MS PGothic" pitchFamily="34" charset="-128"/>
                <a:cs typeface="Arial" charset="0"/>
              </a:rPr>
              <a:t>Strategy</a:t>
            </a:r>
            <a:endParaRPr lang="id-ID" b="1" noProof="1">
              <a:solidFill>
                <a:schemeClr val="tx2">
                  <a:lumMod val="75000"/>
                </a:schemeClr>
              </a:solidFill>
              <a:latin typeface="Calibri" pitchFamily="34" charset="0"/>
              <a:ea typeface="MS PGothic" pitchFamily="34" charset="-128"/>
              <a:cs typeface="Arial" charset="0"/>
            </a:endParaRPr>
          </a:p>
          <a:p>
            <a:pPr defTabSz="801688">
              <a:spcBef>
                <a:spcPct val="20000"/>
              </a:spcBef>
              <a:defRPr/>
            </a:pPr>
            <a:r>
              <a:rPr lang="en-US" sz="1200" noProof="1">
                <a:solidFill>
                  <a:schemeClr val="tx1">
                    <a:lumMod val="75000"/>
                    <a:lumOff val="25000"/>
                  </a:schemeClr>
                </a:solidFill>
                <a:latin typeface="Calibri" pitchFamily="34" charset="0"/>
                <a:ea typeface="MS PGothic" pitchFamily="34" charset="-128"/>
                <a:cs typeface="Arial" charset="0"/>
              </a:rPr>
              <a:t>This is an example text.Go ahead an replace it with your own text. This is an example text.Go ahead an replace it with your own text</a:t>
            </a:r>
          </a:p>
        </p:txBody>
      </p:sp>
      <p:sp>
        <p:nvSpPr>
          <p:cNvPr id="55" name="Rectangle 54"/>
          <p:cNvSpPr/>
          <p:nvPr>
            <p:custDataLst>
              <p:tags r:id="rId10"/>
            </p:custDataLst>
          </p:nvPr>
        </p:nvSpPr>
        <p:spPr>
          <a:xfrm>
            <a:off x="5548313" y="4005263"/>
            <a:ext cx="1962150" cy="1601787"/>
          </a:xfrm>
          <a:prstGeom prst="rect">
            <a:avLst/>
          </a:prstGeom>
          <a:solidFill>
            <a:schemeClr val="bg1">
              <a:lumMod val="95000"/>
              <a:alpha val="69000"/>
            </a:schemeClr>
          </a:solidFill>
          <a:ln>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984807"/>
              </a:solidFill>
              <a:ea typeface="MS PGothic" pitchFamily="34" charset="-128"/>
            </a:endParaRPr>
          </a:p>
        </p:txBody>
      </p:sp>
      <p:sp>
        <p:nvSpPr>
          <p:cNvPr id="56" name="Rektangel 23"/>
          <p:cNvSpPr>
            <a:spLocks noChangeArrowheads="1"/>
          </p:cNvSpPr>
          <p:nvPr>
            <p:custDataLst>
              <p:tags r:id="rId11"/>
            </p:custDataLst>
          </p:nvPr>
        </p:nvSpPr>
        <p:spPr bwMode="auto">
          <a:xfrm>
            <a:off x="5645150" y="4032250"/>
            <a:ext cx="1801813" cy="151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801688">
              <a:spcBef>
                <a:spcPct val="20000"/>
              </a:spcBef>
              <a:defRPr/>
            </a:pPr>
            <a:r>
              <a:rPr lang="en-US" b="1" noProof="1">
                <a:solidFill>
                  <a:schemeClr val="tx2">
                    <a:lumMod val="75000"/>
                  </a:schemeClr>
                </a:solidFill>
                <a:latin typeface="Calibri" pitchFamily="34" charset="0"/>
                <a:ea typeface="MS PGothic" pitchFamily="34" charset="-128"/>
                <a:cs typeface="Arial" charset="0"/>
              </a:rPr>
              <a:t>Create Desire</a:t>
            </a:r>
            <a:endParaRPr lang="id-ID" b="1" noProof="1">
              <a:solidFill>
                <a:schemeClr val="tx2">
                  <a:lumMod val="75000"/>
                </a:schemeClr>
              </a:solidFill>
              <a:latin typeface="Calibri" pitchFamily="34" charset="0"/>
              <a:ea typeface="MS PGothic" pitchFamily="34" charset="-128"/>
              <a:cs typeface="Arial" charset="0"/>
            </a:endParaRPr>
          </a:p>
          <a:p>
            <a:pPr defTabSz="801688">
              <a:spcBef>
                <a:spcPct val="20000"/>
              </a:spcBef>
              <a:defRPr/>
            </a:pPr>
            <a:r>
              <a:rPr lang="en-US" sz="1200" noProof="1">
                <a:solidFill>
                  <a:schemeClr val="tx1">
                    <a:lumMod val="75000"/>
                    <a:lumOff val="25000"/>
                  </a:schemeClr>
                </a:solidFill>
                <a:latin typeface="Calibri" pitchFamily="34" charset="0"/>
                <a:ea typeface="MS PGothic" pitchFamily="34" charset="-128"/>
                <a:cs typeface="Arial" charset="0"/>
              </a:rPr>
              <a:t>This is an example text.Go ahead an replace it with your own text. This is an example text.Go ahead an replace it with your own text</a:t>
            </a:r>
          </a:p>
        </p:txBody>
      </p:sp>
      <p:grpSp>
        <p:nvGrpSpPr>
          <p:cNvPr id="57" name="Group 125"/>
          <p:cNvGrpSpPr>
            <a:grpSpLocks/>
          </p:cNvGrpSpPr>
          <p:nvPr/>
        </p:nvGrpSpPr>
        <p:grpSpPr bwMode="auto">
          <a:xfrm>
            <a:off x="2541588" y="2228850"/>
            <a:ext cx="4044950" cy="1724025"/>
            <a:chOff x="2094397" y="1921495"/>
            <a:chExt cx="4733555" cy="2013960"/>
          </a:xfrm>
        </p:grpSpPr>
        <p:cxnSp>
          <p:nvCxnSpPr>
            <p:cNvPr id="58" name="Straight Connector 57"/>
            <p:cNvCxnSpPr/>
            <p:nvPr/>
          </p:nvCxnSpPr>
          <p:spPr>
            <a:xfrm flipV="1">
              <a:off x="2105544" y="3347587"/>
              <a:ext cx="4722408" cy="22254"/>
            </a:xfrm>
            <a:prstGeom prst="line">
              <a:avLst/>
            </a:prstGeom>
            <a:ln>
              <a:solidFill>
                <a:schemeClr val="tx2">
                  <a:lumMod val="75000"/>
                  <a:alpha val="4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4059900" y="3369841"/>
              <a:ext cx="0" cy="554487"/>
            </a:xfrm>
            <a:prstGeom prst="line">
              <a:avLst/>
            </a:prstGeom>
            <a:ln>
              <a:solidFill>
                <a:schemeClr val="tx2">
                  <a:lumMod val="75000"/>
                  <a:alpha val="4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6827952" y="3342023"/>
              <a:ext cx="0" cy="552634"/>
            </a:xfrm>
            <a:prstGeom prst="line">
              <a:avLst/>
            </a:prstGeom>
            <a:ln>
              <a:solidFill>
                <a:schemeClr val="tx2">
                  <a:lumMod val="75000"/>
                  <a:alpha val="4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2094397" y="3382821"/>
              <a:ext cx="0" cy="552634"/>
            </a:xfrm>
            <a:prstGeom prst="line">
              <a:avLst/>
            </a:prstGeom>
            <a:ln>
              <a:solidFill>
                <a:schemeClr val="tx2">
                  <a:lumMod val="75000"/>
                  <a:alpha val="4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a:off x="4071046" y="1921495"/>
              <a:ext cx="0" cy="1448346"/>
            </a:xfrm>
            <a:prstGeom prst="line">
              <a:avLst/>
            </a:prstGeom>
            <a:ln>
              <a:solidFill>
                <a:schemeClr val="tx2">
                  <a:lumMod val="75000"/>
                  <a:alpha val="45000"/>
                </a:schemeClr>
              </a:solidFill>
              <a:prstDash val="sysDash"/>
            </a:ln>
            <a:effectLst/>
          </p:spPr>
          <p:style>
            <a:lnRef idx="2">
              <a:schemeClr val="accent1"/>
            </a:lnRef>
            <a:fillRef idx="0">
              <a:schemeClr val="accent1"/>
            </a:fillRef>
            <a:effectRef idx="1">
              <a:schemeClr val="accent1"/>
            </a:effectRef>
            <a:fontRef idx="minor">
              <a:schemeClr val="tx1"/>
            </a:fontRef>
          </p:style>
        </p:cxnSp>
      </p:grpSp>
      <p:sp>
        <p:nvSpPr>
          <p:cNvPr id="84" name="Isosceles Triangle 83"/>
          <p:cNvSpPr/>
          <p:nvPr/>
        </p:nvSpPr>
        <p:spPr>
          <a:xfrm>
            <a:off x="4033838" y="3216275"/>
            <a:ext cx="387350" cy="369888"/>
          </a:xfrm>
          <a:prstGeom prst="triangle">
            <a:avLst/>
          </a:prstGeom>
          <a:solidFill>
            <a:schemeClr val="bg1">
              <a:lumMod val="95000"/>
            </a:schemeClr>
          </a:solidFill>
          <a:ln>
            <a:solidFill>
              <a:schemeClr val="tx2">
                <a:lumMod val="75000"/>
                <a:alpha val="45000"/>
              </a:schemeClr>
            </a:solidFill>
            <a:prstDash val="sysDash"/>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id-ID">
              <a:ea typeface="MS PGothic" pitchFamily="34" charset="-128"/>
            </a:endParaRPr>
          </a:p>
        </p:txBody>
      </p:sp>
      <p:sp>
        <p:nvSpPr>
          <p:cNvPr id="26" name="Title 1"/>
          <p:cNvSpPr>
            <a:spLocks noGrp="1"/>
          </p:cNvSpPr>
          <p:nvPr>
            <p:ph type="title"/>
          </p:nvPr>
        </p:nvSpPr>
        <p:spPr/>
        <p:txBody>
          <a:bodyPr/>
          <a:lstStyle/>
          <a:p>
            <a:pPr>
              <a:lnSpc>
                <a:spcPct val="80000"/>
              </a:lnSpc>
            </a:pPr>
            <a:r>
              <a:rPr lang="en-US"/>
              <a:t>SALES METHOD</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6455242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628650" y="866381"/>
            <a:ext cx="7891272" cy="243785"/>
          </a:xfrm>
        </p:spPr>
        <p:txBody>
          <a:bodyPr/>
          <a:lstStyle/>
          <a:p>
            <a:pPr>
              <a:lnSpc>
                <a:spcPct val="80000"/>
              </a:lnSpc>
            </a:pPr>
            <a:r>
              <a:rPr lang="en-US"/>
              <a:t>Replace this text</a:t>
            </a:r>
            <a:endParaRPr lang="en-US" dirty="0"/>
          </a:p>
        </p:txBody>
      </p:sp>
      <p:sp>
        <p:nvSpPr>
          <p:cNvPr id="39" name="Slide Number Placeholder 38"/>
          <p:cNvSpPr>
            <a:spLocks noGrp="1"/>
          </p:cNvSpPr>
          <p:nvPr>
            <p:ph type="sldNum" sz="quarter" idx="12"/>
          </p:nvPr>
        </p:nvSpPr>
        <p:spPr/>
        <p:txBody>
          <a:bodyPr/>
          <a:lstStyle/>
          <a:p>
            <a:pPr>
              <a:defRPr/>
            </a:pPr>
            <a:fld id="{AD19CF00-AE30-45AC-A0F3-222CEA30FB4A}" type="slidenum">
              <a:rPr lang="da-DK" smtClean="0"/>
              <a:pPr>
                <a:defRPr/>
              </a:pPr>
              <a:t>47</a:t>
            </a:fld>
            <a:endParaRPr lang="da-DK"/>
          </a:p>
        </p:txBody>
      </p:sp>
      <p:sp>
        <p:nvSpPr>
          <p:cNvPr id="28" name="Rectangle 27"/>
          <p:cNvSpPr>
            <a:spLocks noChangeArrowheads="1"/>
          </p:cNvSpPr>
          <p:nvPr/>
        </p:nvSpPr>
        <p:spPr bwMode="auto">
          <a:xfrm>
            <a:off x="0" y="3352800"/>
            <a:ext cx="9144000" cy="2241550"/>
          </a:xfrm>
          <a:prstGeom prst="rect">
            <a:avLst/>
          </a:prstGeom>
          <a:solidFill>
            <a:schemeClr val="bg1">
              <a:lumMod val="85000"/>
              <a:alpha val="3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solidFill>
                <a:srgbClr val="404040"/>
              </a:solidFill>
              <a:latin typeface="Calibri" charset="0"/>
            </a:endParaRPr>
          </a:p>
        </p:txBody>
      </p:sp>
      <p:sp>
        <p:nvSpPr>
          <p:cNvPr id="29" name="Rektangel 76"/>
          <p:cNvSpPr>
            <a:spLocks noChangeArrowheads="1"/>
          </p:cNvSpPr>
          <p:nvPr/>
        </p:nvSpPr>
        <p:spPr bwMode="auto">
          <a:xfrm>
            <a:off x="533400" y="3756025"/>
            <a:ext cx="1447800" cy="138499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b="1" dirty="0">
                <a:solidFill>
                  <a:schemeClr val="tx2">
                    <a:lumMod val="75000"/>
                  </a:schemeClr>
                </a:solidFill>
                <a:latin typeface="Calibri" charset="0"/>
              </a:rPr>
              <a:t>Establish relationship</a:t>
            </a:r>
          </a:p>
          <a:p>
            <a:r>
              <a:rPr sz="1200" noProof="1">
                <a:solidFill>
                  <a:srgbClr val="595959"/>
                </a:solidFill>
                <a:latin typeface="Calibri" charset="0"/>
                <a:cs typeface="Arial" charset="0"/>
              </a:rPr>
              <a:t>Go ahead and replace it with your own text. This is an example text. </a:t>
            </a:r>
            <a:endParaRPr lang="da-DK" sz="1200" dirty="0">
              <a:solidFill>
                <a:srgbClr val="595959"/>
              </a:solidFill>
              <a:latin typeface="Calibri" charset="0"/>
            </a:endParaRPr>
          </a:p>
        </p:txBody>
      </p:sp>
      <p:sp>
        <p:nvSpPr>
          <p:cNvPr id="30" name="Rektangel 76"/>
          <p:cNvSpPr>
            <a:spLocks noChangeArrowheads="1"/>
          </p:cNvSpPr>
          <p:nvPr/>
        </p:nvSpPr>
        <p:spPr bwMode="auto">
          <a:xfrm>
            <a:off x="2190750" y="3752850"/>
            <a:ext cx="1466850" cy="138499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b="1" dirty="0">
                <a:solidFill>
                  <a:schemeClr val="tx2">
                    <a:lumMod val="75000"/>
                  </a:schemeClr>
                </a:solidFill>
                <a:latin typeface="Calibri" charset="0"/>
              </a:rPr>
              <a:t>Identify needs</a:t>
            </a:r>
          </a:p>
          <a:p>
            <a:r>
              <a:rPr sz="1200" noProof="1">
                <a:solidFill>
                  <a:srgbClr val="595959"/>
                </a:solidFill>
                <a:latin typeface="Calibri" charset="0"/>
                <a:cs typeface="Arial" charset="0"/>
              </a:rPr>
              <a:t>Go ahead and replace it with your own text. This is an example text. </a:t>
            </a:r>
            <a:endParaRPr lang="da-DK" sz="1200" dirty="0">
              <a:solidFill>
                <a:srgbClr val="595959"/>
              </a:solidFill>
              <a:latin typeface="Calibri" charset="0"/>
            </a:endParaRPr>
          </a:p>
        </p:txBody>
      </p:sp>
      <p:sp>
        <p:nvSpPr>
          <p:cNvPr id="31" name="Rektangel 76"/>
          <p:cNvSpPr>
            <a:spLocks noChangeArrowheads="1"/>
          </p:cNvSpPr>
          <p:nvPr/>
        </p:nvSpPr>
        <p:spPr bwMode="auto">
          <a:xfrm>
            <a:off x="4006850" y="3721100"/>
            <a:ext cx="1390650" cy="1384300"/>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b="1" dirty="0">
                <a:solidFill>
                  <a:schemeClr val="tx2">
                    <a:lumMod val="75000"/>
                  </a:schemeClr>
                </a:solidFill>
                <a:latin typeface="Calibri" charset="0"/>
              </a:rPr>
              <a:t>Propose solution</a:t>
            </a:r>
          </a:p>
          <a:p>
            <a:r>
              <a:rPr sz="1200" noProof="1">
                <a:solidFill>
                  <a:srgbClr val="595959"/>
                </a:solidFill>
                <a:latin typeface="Calibri" charset="0"/>
                <a:cs typeface="Arial" charset="0"/>
              </a:rPr>
              <a:t>Go ahead and replace it with your own text. This is an example text. </a:t>
            </a:r>
            <a:endParaRPr lang="da-DK" sz="1200" dirty="0">
              <a:solidFill>
                <a:srgbClr val="595959"/>
              </a:solidFill>
              <a:latin typeface="Calibri" charset="0"/>
            </a:endParaRPr>
          </a:p>
        </p:txBody>
      </p:sp>
      <p:sp>
        <p:nvSpPr>
          <p:cNvPr id="33" name="Rektangel 76"/>
          <p:cNvSpPr>
            <a:spLocks noChangeArrowheads="1"/>
          </p:cNvSpPr>
          <p:nvPr/>
        </p:nvSpPr>
        <p:spPr bwMode="auto">
          <a:xfrm>
            <a:off x="7248525" y="3730625"/>
            <a:ext cx="1525587" cy="1384300"/>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a:spAutoFit/>
          </a:bodyPr>
          <a:lstStyle/>
          <a:p>
            <a:r>
              <a:rPr lang="en-US" b="1" dirty="0">
                <a:solidFill>
                  <a:schemeClr val="tx2">
                    <a:lumMod val="75000"/>
                  </a:schemeClr>
                </a:solidFill>
                <a:latin typeface="Calibri" charset="0"/>
              </a:rPr>
              <a:t>Deliver and evaluate</a:t>
            </a:r>
          </a:p>
          <a:p>
            <a:r>
              <a:rPr sz="1200" noProof="1">
                <a:solidFill>
                  <a:srgbClr val="595959"/>
                </a:solidFill>
                <a:latin typeface="Calibri" charset="0"/>
                <a:cs typeface="Arial" charset="0"/>
              </a:rPr>
              <a:t>Go ahead and replace it with your own text. This is an example text. </a:t>
            </a:r>
            <a:endParaRPr lang="da-DK" sz="1200" dirty="0">
              <a:solidFill>
                <a:srgbClr val="595959"/>
              </a:solidFill>
              <a:latin typeface="Calibri" charset="0"/>
            </a:endParaRPr>
          </a:p>
        </p:txBody>
      </p:sp>
      <p:grpSp>
        <p:nvGrpSpPr>
          <p:cNvPr id="35" name="Group 58"/>
          <p:cNvGrpSpPr>
            <a:grpSpLocks/>
          </p:cNvGrpSpPr>
          <p:nvPr/>
        </p:nvGrpSpPr>
        <p:grpSpPr bwMode="auto">
          <a:xfrm>
            <a:off x="1139825" y="2052638"/>
            <a:ext cx="6700837" cy="1706562"/>
            <a:chOff x="36264" y="1886776"/>
            <a:chExt cx="9329105" cy="394239"/>
          </a:xfrm>
        </p:grpSpPr>
        <p:cxnSp>
          <p:nvCxnSpPr>
            <p:cNvPr id="36" name="Straight Connector 35"/>
            <p:cNvCxnSpPr/>
            <p:nvPr/>
          </p:nvCxnSpPr>
          <p:spPr>
            <a:xfrm flipH="1">
              <a:off x="36264" y="1886776"/>
              <a:ext cx="4561781" cy="387638"/>
            </a:xfrm>
            <a:prstGeom prst="line">
              <a:avLst/>
            </a:prstGeom>
            <a:ln w="19050">
              <a:solidFill>
                <a:schemeClr val="tx2">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flipH="1">
              <a:off x="2206646" y="1886776"/>
              <a:ext cx="2391399" cy="393139"/>
            </a:xfrm>
            <a:prstGeom prst="line">
              <a:avLst/>
            </a:prstGeom>
            <a:ln w="19050">
              <a:solidFill>
                <a:schemeClr val="tx2">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4598045" y="1886776"/>
              <a:ext cx="0" cy="385437"/>
            </a:xfrm>
            <a:prstGeom prst="line">
              <a:avLst/>
            </a:prstGeom>
            <a:ln w="19050">
              <a:solidFill>
                <a:schemeClr val="tx2">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4598045" y="1886776"/>
              <a:ext cx="2431181" cy="394239"/>
            </a:xfrm>
            <a:prstGeom prst="line">
              <a:avLst/>
            </a:prstGeom>
            <a:ln w="19050">
              <a:solidFill>
                <a:schemeClr val="tx2">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a:endCxn id="33" idx="0"/>
            </p:cNvCxnSpPr>
            <p:nvPr/>
          </p:nvCxnSpPr>
          <p:spPr>
            <a:xfrm>
              <a:off x="4361556" y="1886776"/>
              <a:ext cx="5003813" cy="387638"/>
            </a:xfrm>
            <a:prstGeom prst="line">
              <a:avLst/>
            </a:prstGeom>
            <a:ln w="19050">
              <a:solidFill>
                <a:schemeClr val="tx2">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45" name="Rounded Rectangle 44"/>
          <p:cNvSpPr/>
          <p:nvPr/>
        </p:nvSpPr>
        <p:spPr>
          <a:xfrm>
            <a:off x="2819400" y="1524000"/>
            <a:ext cx="3352800" cy="806467"/>
          </a:xfrm>
          <a:prstGeom prst="roundRect">
            <a:avLst>
              <a:gd name="adj" fmla="val 6071"/>
            </a:avLst>
          </a:prstGeom>
          <a:gradFill>
            <a:gsLst>
              <a:gs pos="0">
                <a:schemeClr val="bg1">
                  <a:lumMod val="85000"/>
                </a:schemeClr>
              </a:gs>
              <a:gs pos="100000">
                <a:schemeClr val="bg1">
                  <a:lumMod val="95000"/>
                </a:schemeClr>
              </a:gs>
            </a:gsLst>
          </a:gradFill>
          <a:ln/>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da-DK" sz="1200">
              <a:solidFill>
                <a:srgbClr val="FFFFFF"/>
              </a:solidFill>
              <a:ea typeface="ＭＳ Ｐゴシック" pitchFamily="-112" charset="-128"/>
            </a:endParaRPr>
          </a:p>
        </p:txBody>
      </p:sp>
      <p:sp>
        <p:nvSpPr>
          <p:cNvPr id="26" name="TextBox 3"/>
          <p:cNvSpPr txBox="1">
            <a:spLocks noChangeArrowheads="1"/>
          </p:cNvSpPr>
          <p:nvPr/>
        </p:nvSpPr>
        <p:spPr bwMode="auto">
          <a:xfrm>
            <a:off x="2424112" y="1635133"/>
            <a:ext cx="42529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defRPr/>
            </a:pPr>
            <a:r>
              <a:rPr lang="en-US" sz="3200" b="1" dirty="0" smtClean="0">
                <a:solidFill>
                  <a:schemeClr val="tx2">
                    <a:lumMod val="75000"/>
                  </a:schemeClr>
                </a:solidFill>
                <a:latin typeface="Calibri" charset="0"/>
              </a:rPr>
              <a:t>SALES METHODS</a:t>
            </a:r>
          </a:p>
        </p:txBody>
      </p:sp>
      <p:sp>
        <p:nvSpPr>
          <p:cNvPr id="2" name="Rectangle 1"/>
          <p:cNvSpPr/>
          <p:nvPr/>
        </p:nvSpPr>
        <p:spPr>
          <a:xfrm>
            <a:off x="533400" y="3713481"/>
            <a:ext cx="1447800" cy="4571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2197100" y="3713481"/>
            <a:ext cx="1447800" cy="4571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4013200" y="3713481"/>
            <a:ext cx="1384300" cy="45719"/>
          </a:xfrm>
          <a:prstGeom prst="rect">
            <a:avLst/>
          </a:prstGeom>
          <a:solidFill>
            <a:srgbClr val="1B8A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7244833" y="3713481"/>
            <a:ext cx="1529279" cy="45719"/>
          </a:xfrm>
          <a:prstGeom prst="rect">
            <a:avLst/>
          </a:prstGeom>
          <a:solidFill>
            <a:srgbClr val="F0B7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ktangel 76"/>
          <p:cNvSpPr>
            <a:spLocks noChangeArrowheads="1"/>
          </p:cNvSpPr>
          <p:nvPr/>
        </p:nvSpPr>
        <p:spPr bwMode="auto">
          <a:xfrm>
            <a:off x="5556250" y="3730625"/>
            <a:ext cx="1612900" cy="1108075"/>
          </a:xfrm>
          <a:prstGeom prst="rect">
            <a:avLst/>
          </a:prstGeom>
          <a:solidFill>
            <a:schemeClr val="bg1">
              <a:lumMod val="8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b="1" dirty="0">
                <a:solidFill>
                  <a:schemeClr val="tx2">
                    <a:lumMod val="75000"/>
                  </a:schemeClr>
                </a:solidFill>
                <a:latin typeface="Calibri" charset="0"/>
              </a:rPr>
              <a:t>Close the sale</a:t>
            </a:r>
          </a:p>
          <a:p>
            <a:r>
              <a:rPr sz="1200" noProof="1">
                <a:solidFill>
                  <a:srgbClr val="595959"/>
                </a:solidFill>
                <a:latin typeface="Calibri" charset="0"/>
                <a:cs typeface="Arial" charset="0"/>
              </a:rPr>
              <a:t>Go ahead and replace it with your own text. This is an example text. </a:t>
            </a:r>
            <a:endParaRPr lang="da-DK" sz="1200" dirty="0">
              <a:solidFill>
                <a:srgbClr val="595959"/>
              </a:solidFill>
              <a:latin typeface="Calibri" charset="0"/>
            </a:endParaRPr>
          </a:p>
        </p:txBody>
      </p:sp>
      <p:sp>
        <p:nvSpPr>
          <p:cNvPr id="23" name="Rectangle 22"/>
          <p:cNvSpPr/>
          <p:nvPr/>
        </p:nvSpPr>
        <p:spPr>
          <a:xfrm>
            <a:off x="5551958" y="3713481"/>
            <a:ext cx="1617191" cy="45719"/>
          </a:xfrm>
          <a:prstGeom prst="rect">
            <a:avLst/>
          </a:prstGeom>
          <a:solidFill>
            <a:srgbClr val="DB13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p:cNvSpPr>
            <a:spLocks noGrp="1"/>
          </p:cNvSpPr>
          <p:nvPr>
            <p:ph type="title"/>
          </p:nvPr>
        </p:nvSpPr>
        <p:spPr/>
        <p:txBody>
          <a:bodyPr/>
          <a:lstStyle/>
          <a:p>
            <a:pPr>
              <a:lnSpc>
                <a:spcPct val="80000"/>
              </a:lnSpc>
            </a:pPr>
            <a:r>
              <a:rPr lang="en-US"/>
              <a:t>SALES METHOD</a:t>
            </a:r>
            <a:endParaRPr lang="en-US" dirty="0"/>
          </a:p>
        </p:txBody>
      </p:sp>
      <p:sp>
        <p:nvSpPr>
          <p:cNvPr id="5" name="Date Placeholder 4"/>
          <p:cNvSpPr>
            <a:spLocks noGrp="1"/>
          </p:cNvSpPr>
          <p:nvPr>
            <p:ph type="dt" sz="half" idx="10"/>
          </p:nvPr>
        </p:nvSpPr>
        <p:spPr/>
        <p:txBody>
          <a:bodyPr/>
          <a:lstStyle/>
          <a:p>
            <a:r>
              <a:rPr lang="en-US" smtClean="0"/>
              <a:t>Your footnote</a:t>
            </a:r>
            <a:endParaRPr lang="en-US"/>
          </a:p>
        </p:txBody>
      </p:sp>
      <p:sp>
        <p:nvSpPr>
          <p:cNvPr id="6" name="Footer Placeholder 5"/>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3937310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90"/>
          <p:cNvSpPr>
            <a:spLocks noChangeArrowheads="1"/>
          </p:cNvSpPr>
          <p:nvPr/>
        </p:nvSpPr>
        <p:spPr bwMode="auto">
          <a:xfrm>
            <a:off x="0" y="2566988"/>
            <a:ext cx="9144000" cy="1333500"/>
          </a:xfrm>
          <a:prstGeom prst="rect">
            <a:avLst/>
          </a:prstGeom>
          <a:solidFill>
            <a:schemeClr val="bg1">
              <a:lumMod val="85000"/>
              <a:alpha val="3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solidFill>
                <a:srgbClr val="404040"/>
              </a:solidFill>
              <a:latin typeface="Calibri" charset="0"/>
            </a:endParaRPr>
          </a:p>
        </p:txBody>
      </p:sp>
      <p:sp>
        <p:nvSpPr>
          <p:cNvPr id="3" name="Subtitle 2"/>
          <p:cNvSpPr>
            <a:spLocks noGrp="1"/>
          </p:cNvSpPr>
          <p:nvPr>
            <p:ph type="subTitle" idx="1"/>
          </p:nvPr>
        </p:nvSpPr>
        <p:spPr>
          <a:xfrm>
            <a:off x="628650" y="866381"/>
            <a:ext cx="7891272" cy="243785"/>
          </a:xfrm>
        </p:spPr>
        <p:txBody>
          <a:bodyPr/>
          <a:lstStyle/>
          <a:p>
            <a:pPr>
              <a:lnSpc>
                <a:spcPct val="80000"/>
              </a:lnSpc>
            </a:pPr>
            <a:r>
              <a:rPr lang="en-US"/>
              <a:t>Replace this text</a:t>
            </a:r>
            <a:endParaRPr lang="en-US" dirty="0"/>
          </a:p>
        </p:txBody>
      </p:sp>
      <p:sp>
        <p:nvSpPr>
          <p:cNvPr id="39" name="Slide Number Placeholder 38"/>
          <p:cNvSpPr>
            <a:spLocks noGrp="1"/>
          </p:cNvSpPr>
          <p:nvPr>
            <p:ph type="sldNum" sz="quarter" idx="12"/>
          </p:nvPr>
        </p:nvSpPr>
        <p:spPr/>
        <p:txBody>
          <a:bodyPr/>
          <a:lstStyle/>
          <a:p>
            <a:pPr>
              <a:defRPr/>
            </a:pPr>
            <a:fld id="{AD19CF00-AE30-45AC-A0F3-222CEA30FB4A}" type="slidenum">
              <a:rPr lang="da-DK" smtClean="0"/>
              <a:pPr>
                <a:defRPr/>
              </a:pPr>
              <a:t>48</a:t>
            </a:fld>
            <a:endParaRPr lang="da-DK"/>
          </a:p>
        </p:txBody>
      </p:sp>
      <p:sp>
        <p:nvSpPr>
          <p:cNvPr id="20" name="Rectangle 39"/>
          <p:cNvSpPr>
            <a:spLocks noChangeArrowheads="1"/>
          </p:cNvSpPr>
          <p:nvPr/>
        </p:nvSpPr>
        <p:spPr bwMode="auto">
          <a:xfrm>
            <a:off x="280988" y="2566988"/>
            <a:ext cx="8647112" cy="1333500"/>
          </a:xfrm>
          <a:prstGeom prst="rect">
            <a:avLst/>
          </a:prstGeom>
          <a:solidFill>
            <a:schemeClr val="bg1">
              <a:alpha val="3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solidFill>
                <a:srgbClr val="404040"/>
              </a:solidFill>
              <a:latin typeface="Calibri" charset="0"/>
            </a:endParaRPr>
          </a:p>
        </p:txBody>
      </p:sp>
      <p:grpSp>
        <p:nvGrpSpPr>
          <p:cNvPr id="21" name="Group 50"/>
          <p:cNvGrpSpPr/>
          <p:nvPr/>
        </p:nvGrpSpPr>
        <p:grpSpPr>
          <a:xfrm>
            <a:off x="3277570" y="2050397"/>
            <a:ext cx="2630134" cy="1916372"/>
            <a:chOff x="1394277" y="2141511"/>
            <a:chExt cx="2646532" cy="1928320"/>
          </a:xfrm>
          <a:gradFill>
            <a:gsLst>
              <a:gs pos="0">
                <a:schemeClr val="accent1">
                  <a:lumMod val="75000"/>
                </a:schemeClr>
              </a:gs>
              <a:gs pos="100000">
                <a:schemeClr val="tx2">
                  <a:lumMod val="75000"/>
                </a:schemeClr>
              </a:gs>
            </a:gsLst>
            <a:path path="rect">
              <a:fillToRect l="50000" t="50000" r="50000" b="50000"/>
            </a:path>
          </a:gradFill>
        </p:grpSpPr>
        <p:grpSp>
          <p:nvGrpSpPr>
            <p:cNvPr id="22" name="Group 48"/>
            <p:cNvGrpSpPr/>
            <p:nvPr/>
          </p:nvGrpSpPr>
          <p:grpSpPr>
            <a:xfrm>
              <a:off x="1394277" y="2141511"/>
              <a:ext cx="2646532" cy="1928320"/>
              <a:chOff x="-4260825" y="5935663"/>
              <a:chExt cx="2246313" cy="1636712"/>
            </a:xfrm>
            <a:grpFill/>
          </p:grpSpPr>
          <p:sp>
            <p:nvSpPr>
              <p:cNvPr id="24" name="Rounded Rectangle 23"/>
              <p:cNvSpPr>
                <a:spLocks noChangeArrowheads="1"/>
              </p:cNvSpPr>
              <p:nvPr/>
            </p:nvSpPr>
            <p:spPr bwMode="auto">
              <a:xfrm rot="21154727">
                <a:off x="-4260825" y="5935663"/>
                <a:ext cx="2246313" cy="1636712"/>
              </a:xfrm>
              <a:prstGeom prst="roundRect">
                <a:avLst>
                  <a:gd name="adj" fmla="val 4292"/>
                </a:avLst>
              </a:prstGeom>
              <a:grpFill/>
              <a:ln>
                <a:noFill/>
              </a:ln>
              <a:effectLst/>
              <a:extLst>
                <a:ext uri="{91240B29-F687-4F45-9708-019B960494DF}">
                  <a14:hiddenLine xmlns:a14="http://schemas.microsoft.com/office/drawing/2010/main" w="12700">
                    <a:solidFill>
                      <a:srgbClr val="000000"/>
                    </a:solidFill>
                    <a:prstDash val="dash"/>
                    <a:round/>
                    <a:headEnd/>
                    <a:tailEnd/>
                  </a14:hiddenLine>
                </a:ext>
              </a:extLst>
            </p:spPr>
            <p:txBody>
              <a:bodyPr anchor="ctr"/>
              <a:lstStyle/>
              <a:p>
                <a:pPr algn="ctr">
                  <a:defRPr/>
                </a:pPr>
                <a:endParaRPr lang="en-US">
                  <a:solidFill>
                    <a:schemeClr val="lt1"/>
                  </a:solidFill>
                  <a:latin typeface="+mn-lt"/>
                  <a:ea typeface="+mn-ea"/>
                  <a:cs typeface="+mn-cs"/>
                </a:endParaRPr>
              </a:p>
            </p:txBody>
          </p:sp>
          <p:sp>
            <p:nvSpPr>
              <p:cNvPr id="25" name="Freeform 24"/>
              <p:cNvSpPr/>
              <p:nvPr/>
            </p:nvSpPr>
            <p:spPr bwMode="auto">
              <a:xfrm rot="21154727" flipV="1">
                <a:off x="-4173512" y="6519863"/>
                <a:ext cx="2154237" cy="987425"/>
              </a:xfrm>
              <a:custGeom>
                <a:avLst/>
                <a:gdLst>
                  <a:gd name="connsiteX0" fmla="*/ 0 w 3149836"/>
                  <a:gd name="connsiteY0" fmla="*/ 195137 h 1402498"/>
                  <a:gd name="connsiteX1" fmla="*/ 1458023 w 3149836"/>
                  <a:gd name="connsiteY1" fmla="*/ 1402490 h 1402498"/>
                  <a:gd name="connsiteX2" fmla="*/ 2947401 w 3149836"/>
                  <a:gd name="connsiteY2" fmla="*/ 179457 h 1402498"/>
                  <a:gd name="connsiteX3" fmla="*/ 3135533 w 3149836"/>
                  <a:gd name="connsiteY3" fmla="*/ 6978 h 1402498"/>
                  <a:gd name="connsiteX0" fmla="*/ 0 w 3138115"/>
                  <a:gd name="connsiteY0" fmla="*/ 188159 h 1396555"/>
                  <a:gd name="connsiteX1" fmla="*/ 1458023 w 3138115"/>
                  <a:gd name="connsiteY1" fmla="*/ 1395512 h 1396555"/>
                  <a:gd name="connsiteX2" fmla="*/ 2900368 w 3138115"/>
                  <a:gd name="connsiteY2" fmla="*/ 391998 h 1396555"/>
                  <a:gd name="connsiteX3" fmla="*/ 3135533 w 3138115"/>
                  <a:gd name="connsiteY3" fmla="*/ 0 h 1396555"/>
                  <a:gd name="connsiteX0" fmla="*/ 0 w 3135533"/>
                  <a:gd name="connsiteY0" fmla="*/ 188159 h 1396630"/>
                  <a:gd name="connsiteX1" fmla="*/ 1458023 w 3135533"/>
                  <a:gd name="connsiteY1" fmla="*/ 1395512 h 1396630"/>
                  <a:gd name="connsiteX2" fmla="*/ 3135533 w 3135533"/>
                  <a:gd name="connsiteY2" fmla="*/ 0 h 1396630"/>
                  <a:gd name="connsiteX0" fmla="*/ 0 w 3135533"/>
                  <a:gd name="connsiteY0" fmla="*/ 188159 h 1396630"/>
                  <a:gd name="connsiteX1" fmla="*/ 1458023 w 3135533"/>
                  <a:gd name="connsiteY1" fmla="*/ 1395512 h 1396630"/>
                  <a:gd name="connsiteX2" fmla="*/ 3135533 w 3135533"/>
                  <a:gd name="connsiteY2" fmla="*/ 0 h 1396630"/>
                  <a:gd name="connsiteX0" fmla="*/ 0 w 3135533"/>
                  <a:gd name="connsiteY0" fmla="*/ 188159 h 1412284"/>
                  <a:gd name="connsiteX1" fmla="*/ 1583445 w 3135533"/>
                  <a:gd name="connsiteY1" fmla="*/ 1411192 h 1412284"/>
                  <a:gd name="connsiteX2" fmla="*/ 3135533 w 3135533"/>
                  <a:gd name="connsiteY2" fmla="*/ 0 h 1412284"/>
                  <a:gd name="connsiteX0" fmla="*/ 0 w 3104178"/>
                  <a:gd name="connsiteY0" fmla="*/ 47039 h 1270144"/>
                  <a:gd name="connsiteX1" fmla="*/ 1583445 w 3104178"/>
                  <a:gd name="connsiteY1" fmla="*/ 1270072 h 1270144"/>
                  <a:gd name="connsiteX2" fmla="*/ 3104178 w 3104178"/>
                  <a:gd name="connsiteY2" fmla="*/ 0 h 1270144"/>
                  <a:gd name="connsiteX0" fmla="*/ 0 w 3104178"/>
                  <a:gd name="connsiteY0" fmla="*/ 94079 h 1317397"/>
                  <a:gd name="connsiteX1" fmla="*/ 1583445 w 3104178"/>
                  <a:gd name="connsiteY1" fmla="*/ 1317112 h 1317397"/>
                  <a:gd name="connsiteX2" fmla="*/ 3104178 w 3104178"/>
                  <a:gd name="connsiteY2" fmla="*/ 0 h 1317397"/>
                  <a:gd name="connsiteX0" fmla="*/ 0 w 3072822"/>
                  <a:gd name="connsiteY0" fmla="*/ 0 h 1223033"/>
                  <a:gd name="connsiteX1" fmla="*/ 1583445 w 3072822"/>
                  <a:gd name="connsiteY1" fmla="*/ 1223033 h 1223033"/>
                  <a:gd name="connsiteX2" fmla="*/ 3072822 w 3072822"/>
                  <a:gd name="connsiteY2" fmla="*/ 0 h 1223033"/>
                </a:gdLst>
                <a:ahLst/>
                <a:cxnLst>
                  <a:cxn ang="0">
                    <a:pos x="connsiteX0" y="connsiteY0"/>
                  </a:cxn>
                  <a:cxn ang="0">
                    <a:pos x="connsiteX1" y="connsiteY1"/>
                  </a:cxn>
                  <a:cxn ang="0">
                    <a:pos x="connsiteX2" y="connsiteY2"/>
                  </a:cxn>
                </a:cxnLst>
                <a:rect l="l" t="t" r="r" b="b"/>
                <a:pathLst>
                  <a:path w="3072822" h="1223033">
                    <a:moveTo>
                      <a:pt x="0" y="0"/>
                    </a:moveTo>
                    <a:cubicBezTo>
                      <a:pt x="483395" y="604983"/>
                      <a:pt x="1071308" y="1223033"/>
                      <a:pt x="1583445" y="1223033"/>
                    </a:cubicBezTo>
                    <a:cubicBezTo>
                      <a:pt x="2095582" y="1223033"/>
                      <a:pt x="2786051" y="478891"/>
                      <a:pt x="3072822" y="0"/>
                    </a:cubicBezTo>
                  </a:path>
                </a:pathLst>
              </a:custGeom>
              <a:grpFill/>
              <a:ln>
                <a:solidFill>
                  <a:schemeClr val="bg1">
                    <a:lumMod val="95000"/>
                    <a:alpha val="40000"/>
                  </a:schemeClr>
                </a:solid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4" name="Freeform 33"/>
              <p:cNvSpPr/>
              <p:nvPr/>
            </p:nvSpPr>
            <p:spPr bwMode="auto">
              <a:xfrm rot="21154727">
                <a:off x="-4243806" y="5980699"/>
                <a:ext cx="2157412" cy="1037444"/>
              </a:xfrm>
              <a:custGeom>
                <a:avLst/>
                <a:gdLst>
                  <a:gd name="connsiteX0" fmla="*/ 0 w 3149836"/>
                  <a:gd name="connsiteY0" fmla="*/ 195137 h 1402498"/>
                  <a:gd name="connsiteX1" fmla="*/ 1458023 w 3149836"/>
                  <a:gd name="connsiteY1" fmla="*/ 1402490 h 1402498"/>
                  <a:gd name="connsiteX2" fmla="*/ 2947401 w 3149836"/>
                  <a:gd name="connsiteY2" fmla="*/ 179457 h 1402498"/>
                  <a:gd name="connsiteX3" fmla="*/ 3135533 w 3149836"/>
                  <a:gd name="connsiteY3" fmla="*/ 6978 h 1402498"/>
                  <a:gd name="connsiteX0" fmla="*/ 0 w 3138115"/>
                  <a:gd name="connsiteY0" fmla="*/ 188159 h 1396555"/>
                  <a:gd name="connsiteX1" fmla="*/ 1458023 w 3138115"/>
                  <a:gd name="connsiteY1" fmla="*/ 1395512 h 1396555"/>
                  <a:gd name="connsiteX2" fmla="*/ 2900368 w 3138115"/>
                  <a:gd name="connsiteY2" fmla="*/ 391998 h 1396555"/>
                  <a:gd name="connsiteX3" fmla="*/ 3135533 w 3138115"/>
                  <a:gd name="connsiteY3" fmla="*/ 0 h 1396555"/>
                  <a:gd name="connsiteX0" fmla="*/ 0 w 3135533"/>
                  <a:gd name="connsiteY0" fmla="*/ 188159 h 1396630"/>
                  <a:gd name="connsiteX1" fmla="*/ 1458023 w 3135533"/>
                  <a:gd name="connsiteY1" fmla="*/ 1395512 h 1396630"/>
                  <a:gd name="connsiteX2" fmla="*/ 3135533 w 3135533"/>
                  <a:gd name="connsiteY2" fmla="*/ 0 h 1396630"/>
                  <a:gd name="connsiteX0" fmla="*/ 0 w 3135533"/>
                  <a:gd name="connsiteY0" fmla="*/ 188159 h 1396630"/>
                  <a:gd name="connsiteX1" fmla="*/ 1458023 w 3135533"/>
                  <a:gd name="connsiteY1" fmla="*/ 1395512 h 1396630"/>
                  <a:gd name="connsiteX2" fmla="*/ 3135533 w 3135533"/>
                  <a:gd name="connsiteY2" fmla="*/ 0 h 1396630"/>
                  <a:gd name="connsiteX0" fmla="*/ 0 w 3135533"/>
                  <a:gd name="connsiteY0" fmla="*/ 188159 h 1412284"/>
                  <a:gd name="connsiteX1" fmla="*/ 1583445 w 3135533"/>
                  <a:gd name="connsiteY1" fmla="*/ 1411192 h 1412284"/>
                  <a:gd name="connsiteX2" fmla="*/ 3135533 w 3135533"/>
                  <a:gd name="connsiteY2" fmla="*/ 0 h 1412284"/>
                  <a:gd name="connsiteX0" fmla="*/ 0 w 3104178"/>
                  <a:gd name="connsiteY0" fmla="*/ 47039 h 1270144"/>
                  <a:gd name="connsiteX1" fmla="*/ 1583445 w 3104178"/>
                  <a:gd name="connsiteY1" fmla="*/ 1270072 h 1270144"/>
                  <a:gd name="connsiteX2" fmla="*/ 3104178 w 3104178"/>
                  <a:gd name="connsiteY2" fmla="*/ 0 h 1270144"/>
                  <a:gd name="connsiteX0" fmla="*/ 0 w 3104178"/>
                  <a:gd name="connsiteY0" fmla="*/ 94079 h 1317397"/>
                  <a:gd name="connsiteX1" fmla="*/ 1583445 w 3104178"/>
                  <a:gd name="connsiteY1" fmla="*/ 1317112 h 1317397"/>
                  <a:gd name="connsiteX2" fmla="*/ 3104178 w 3104178"/>
                  <a:gd name="connsiteY2" fmla="*/ 0 h 1317397"/>
                  <a:gd name="connsiteX0" fmla="*/ 0 w 3072822"/>
                  <a:gd name="connsiteY0" fmla="*/ 0 h 1223033"/>
                  <a:gd name="connsiteX1" fmla="*/ 1583445 w 3072822"/>
                  <a:gd name="connsiteY1" fmla="*/ 1223033 h 1223033"/>
                  <a:gd name="connsiteX2" fmla="*/ 3072822 w 3072822"/>
                  <a:gd name="connsiteY2" fmla="*/ 0 h 1223033"/>
                </a:gdLst>
                <a:ahLst/>
                <a:cxnLst>
                  <a:cxn ang="0">
                    <a:pos x="connsiteX0" y="connsiteY0"/>
                  </a:cxn>
                  <a:cxn ang="0">
                    <a:pos x="connsiteX1" y="connsiteY1"/>
                  </a:cxn>
                  <a:cxn ang="0">
                    <a:pos x="connsiteX2" y="connsiteY2"/>
                  </a:cxn>
                </a:cxnLst>
                <a:rect l="l" t="t" r="r" b="b"/>
                <a:pathLst>
                  <a:path w="3072822" h="1223033">
                    <a:moveTo>
                      <a:pt x="0" y="0"/>
                    </a:moveTo>
                    <a:cubicBezTo>
                      <a:pt x="483395" y="604983"/>
                      <a:pt x="1071308" y="1223033"/>
                      <a:pt x="1583445" y="1223033"/>
                    </a:cubicBezTo>
                    <a:cubicBezTo>
                      <a:pt x="2095582" y="1223033"/>
                      <a:pt x="2786051" y="478891"/>
                      <a:pt x="3072822" y="0"/>
                    </a:cubicBezTo>
                  </a:path>
                </a:pathLst>
              </a:custGeom>
              <a:grpFill/>
              <a:ln>
                <a:solidFill>
                  <a:schemeClr val="bg1">
                    <a:lumMod val="95000"/>
                    <a:alpha val="40000"/>
                  </a:schemeClr>
                </a:solid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grpSp>
        <p:sp>
          <p:nvSpPr>
            <p:cNvPr id="23" name="TextBox 36"/>
            <p:cNvSpPr txBox="1">
              <a:spLocks noChangeArrowheads="1"/>
            </p:cNvSpPr>
            <p:nvPr/>
          </p:nvSpPr>
          <p:spPr bwMode="auto">
            <a:xfrm rot="21154727">
              <a:off x="2301842" y="2358715"/>
              <a:ext cx="598390" cy="102199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defRPr/>
              </a:pPr>
              <a:r>
                <a:rPr lang="en-US" sz="6000" b="1" dirty="0" smtClean="0">
                  <a:solidFill>
                    <a:schemeClr val="bg1">
                      <a:lumMod val="95000"/>
                    </a:schemeClr>
                  </a:solidFill>
                  <a:latin typeface="Calibri" pitchFamily="34" charset="0"/>
                  <a:cs typeface="+mn-cs"/>
                </a:rPr>
                <a:t>@</a:t>
              </a:r>
            </a:p>
          </p:txBody>
        </p:sp>
      </p:grpSp>
      <p:sp>
        <p:nvSpPr>
          <p:cNvPr id="35" name="Rektangel 23"/>
          <p:cNvSpPr>
            <a:spLocks noChangeArrowheads="1"/>
          </p:cNvSpPr>
          <p:nvPr/>
        </p:nvSpPr>
        <p:spPr bwMode="auto">
          <a:xfrm>
            <a:off x="1266825" y="4494213"/>
            <a:ext cx="6651625" cy="115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801688">
              <a:spcBef>
                <a:spcPct val="20000"/>
              </a:spcBef>
            </a:pPr>
            <a:r>
              <a:rPr sz="1600" b="1" noProof="1">
                <a:solidFill>
                  <a:schemeClr val="tx2">
                    <a:lumMod val="75000"/>
                  </a:schemeClr>
                </a:solidFill>
                <a:latin typeface="Calibri" charset="0"/>
                <a:cs typeface="Arial" charset="0"/>
              </a:rPr>
              <a:t>Sales material/e-mail</a:t>
            </a:r>
            <a:endParaRPr sz="1600" noProof="1">
              <a:solidFill>
                <a:schemeClr val="tx2">
                  <a:lumMod val="75000"/>
                </a:schemeClr>
              </a:solidFill>
              <a:latin typeface="Calibri" charset="0"/>
              <a:cs typeface="Arial" charset="0"/>
            </a:endParaRPr>
          </a:p>
          <a:p>
            <a:pPr algn="ctr" defTabSz="801688">
              <a:spcBef>
                <a:spcPct val="20000"/>
              </a:spcBef>
            </a:pPr>
            <a:r>
              <a:rPr sz="1200" noProof="1">
                <a:solidFill>
                  <a:srgbClr val="404040"/>
                </a:solidFill>
                <a:latin typeface="Calibri" charset="0"/>
                <a:cs typeface="Arial" charset="0"/>
              </a:rPr>
              <a:t>This is an example text. Go ahead an replace it with your own text. This is an example text. Go ahead an replace it with your own text. This is an example text. Go ahead an replace it with your own text. This is an example text. Go ahead an replace it with your own text</a:t>
            </a:r>
          </a:p>
          <a:p>
            <a:pPr algn="ctr" defTabSz="801688">
              <a:spcBef>
                <a:spcPct val="20000"/>
              </a:spcBef>
            </a:pPr>
            <a:endParaRPr sz="1200" noProof="1">
              <a:solidFill>
                <a:srgbClr val="404040"/>
              </a:solidFill>
              <a:latin typeface="Calibri" charset="0"/>
              <a:cs typeface="Arial" charset="0"/>
            </a:endParaRPr>
          </a:p>
        </p:txBody>
      </p:sp>
      <p:grpSp>
        <p:nvGrpSpPr>
          <p:cNvPr id="41" name="Group 65"/>
          <p:cNvGrpSpPr>
            <a:grpSpLocks/>
          </p:cNvGrpSpPr>
          <p:nvPr/>
        </p:nvGrpSpPr>
        <p:grpSpPr bwMode="auto">
          <a:xfrm>
            <a:off x="485775" y="2654300"/>
            <a:ext cx="2992438" cy="1217613"/>
            <a:chOff x="585541" y="4422205"/>
            <a:chExt cx="2846887" cy="1218354"/>
          </a:xfrm>
        </p:grpSpPr>
        <p:sp>
          <p:nvSpPr>
            <p:cNvPr id="43" name="Rektangel 23"/>
            <p:cNvSpPr>
              <a:spLocks noChangeArrowheads="1"/>
            </p:cNvSpPr>
            <p:nvPr/>
          </p:nvSpPr>
          <p:spPr bwMode="auto">
            <a:xfrm>
              <a:off x="585541" y="4809791"/>
              <a:ext cx="2186892" cy="8307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defRPr/>
              </a:pPr>
              <a:r>
                <a:rPr lang="en-US" sz="1200" noProof="1">
                  <a:solidFill>
                    <a:schemeClr val="tx1">
                      <a:lumMod val="75000"/>
                      <a:lumOff val="25000"/>
                    </a:schemeClr>
                  </a:solidFill>
                  <a:latin typeface="+mj-lt"/>
                  <a:ea typeface="MS PGothic" pitchFamily="34" charset="-128"/>
                  <a:cs typeface="Arial" charset="0"/>
                </a:rPr>
                <a:t>This is an example text.Go ahead an replace it with your own text. This is an example text.Go ahead an replace it with your own text</a:t>
              </a:r>
            </a:p>
          </p:txBody>
        </p:sp>
        <p:sp>
          <p:nvSpPr>
            <p:cNvPr id="44" name="TextBox 98"/>
            <p:cNvSpPr txBox="1">
              <a:spLocks noChangeArrowheads="1"/>
            </p:cNvSpPr>
            <p:nvPr/>
          </p:nvSpPr>
          <p:spPr bwMode="auto">
            <a:xfrm>
              <a:off x="1018993" y="4428559"/>
              <a:ext cx="2413435" cy="3685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r>
                <a:rPr lang="en-US" b="1" dirty="0" smtClean="0">
                  <a:solidFill>
                    <a:schemeClr val="tx2">
                      <a:lumMod val="75000"/>
                    </a:schemeClr>
                  </a:solidFill>
                  <a:latin typeface="+mj-lt"/>
                  <a:cs typeface="+mn-cs"/>
                </a:rPr>
                <a:t>Benefits</a:t>
              </a:r>
            </a:p>
          </p:txBody>
        </p:sp>
        <p:sp>
          <p:nvSpPr>
            <p:cNvPr id="46" name="Isosceles Triangle 45"/>
            <p:cNvSpPr/>
            <p:nvPr/>
          </p:nvSpPr>
          <p:spPr>
            <a:xfrm rot="5400000">
              <a:off x="653665" y="4449229"/>
              <a:ext cx="392352" cy="338304"/>
            </a:xfrm>
            <a:prstGeom prst="triangle">
              <a:avLst/>
            </a:prstGeom>
            <a:solidFill>
              <a:srgbClr val="1B8A0A"/>
            </a:solidFill>
            <a:ln>
              <a:noFill/>
            </a:ln>
            <a:effectLst/>
          </p:spPr>
          <p:style>
            <a:lnRef idx="1">
              <a:schemeClr val="accent1"/>
            </a:lnRef>
            <a:fillRef idx="3">
              <a:schemeClr val="accent1"/>
            </a:fillRef>
            <a:effectRef idx="2">
              <a:schemeClr val="accent1"/>
            </a:effectRef>
            <a:fontRef idx="minor">
              <a:schemeClr val="lt1"/>
            </a:fontRef>
          </p:style>
          <p:txBody>
            <a:bodyPr lIns="0" tIns="374400" rIns="0" bIns="0" anchor="b"/>
            <a:lstStyle/>
            <a:p>
              <a:pPr algn="ctr">
                <a:defRPr/>
              </a:pPr>
              <a:endParaRPr lang="id-ID" sz="3200" b="1">
                <a:solidFill>
                  <a:srgbClr val="D9D9D9"/>
                </a:solidFill>
                <a:ea typeface="MS PGothic" pitchFamily="34" charset="-128"/>
              </a:endParaRPr>
            </a:p>
          </p:txBody>
        </p:sp>
        <p:sp>
          <p:nvSpPr>
            <p:cNvPr id="47" name="Rectangle 58"/>
            <p:cNvSpPr>
              <a:spLocks noChangeArrowheads="1"/>
            </p:cNvSpPr>
            <p:nvPr/>
          </p:nvSpPr>
          <p:spPr bwMode="auto">
            <a:xfrm>
              <a:off x="630850" y="4434009"/>
              <a:ext cx="30384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b="1" dirty="0">
                  <a:solidFill>
                    <a:schemeClr val="bg1"/>
                  </a:solidFill>
                </a:rPr>
                <a:t>+</a:t>
              </a:r>
            </a:p>
          </p:txBody>
        </p:sp>
      </p:grpSp>
      <p:grpSp>
        <p:nvGrpSpPr>
          <p:cNvPr id="48" name="Group 66"/>
          <p:cNvGrpSpPr>
            <a:grpSpLocks/>
          </p:cNvGrpSpPr>
          <p:nvPr/>
        </p:nvGrpSpPr>
        <p:grpSpPr bwMode="auto">
          <a:xfrm>
            <a:off x="6272213" y="2654300"/>
            <a:ext cx="2833687" cy="1246188"/>
            <a:chOff x="4332651" y="4382013"/>
            <a:chExt cx="2833715" cy="1246241"/>
          </a:xfrm>
        </p:grpSpPr>
        <p:sp>
          <p:nvSpPr>
            <p:cNvPr id="49" name="Rektangel 23"/>
            <p:cNvSpPr>
              <a:spLocks noChangeArrowheads="1"/>
            </p:cNvSpPr>
            <p:nvPr/>
          </p:nvSpPr>
          <p:spPr bwMode="auto">
            <a:xfrm>
              <a:off x="4332651" y="4797956"/>
              <a:ext cx="2351110" cy="8302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801688">
                <a:spcBef>
                  <a:spcPct val="20000"/>
                </a:spcBef>
                <a:defRPr/>
              </a:pPr>
              <a:r>
                <a:rPr lang="en-US" sz="1200" noProof="1">
                  <a:solidFill>
                    <a:schemeClr val="tx1">
                      <a:lumMod val="75000"/>
                      <a:lumOff val="25000"/>
                    </a:schemeClr>
                  </a:solidFill>
                  <a:latin typeface="+mj-lt"/>
                  <a:ea typeface="MS PGothic" pitchFamily="34" charset="-128"/>
                  <a:cs typeface="Arial" charset="0"/>
                </a:rPr>
                <a:t>This is an example text.Go ahead an replace it with your ow</a:t>
              </a:r>
              <a:r>
                <a:rPr lang="id-ID" sz="1200" noProof="1">
                  <a:solidFill>
                    <a:schemeClr val="tx1">
                      <a:lumMod val="75000"/>
                      <a:lumOff val="25000"/>
                    </a:schemeClr>
                  </a:solidFill>
                  <a:latin typeface="+mj-lt"/>
                  <a:ea typeface="MS PGothic" pitchFamily="34" charset="-128"/>
                  <a:cs typeface="Arial" charset="0"/>
                </a:rPr>
                <a:t>\</a:t>
              </a:r>
              <a:r>
                <a:rPr lang="en-US" sz="1200" noProof="1">
                  <a:solidFill>
                    <a:schemeClr val="tx1">
                      <a:lumMod val="75000"/>
                      <a:lumOff val="25000"/>
                    </a:schemeClr>
                  </a:solidFill>
                  <a:latin typeface="+mj-lt"/>
                  <a:ea typeface="MS PGothic" pitchFamily="34" charset="-128"/>
                  <a:cs typeface="Arial" charset="0"/>
                </a:rPr>
                <a:t>n text. This is an example text.Go ahead an replace it with your own text</a:t>
              </a:r>
            </a:p>
          </p:txBody>
        </p:sp>
        <p:sp>
          <p:nvSpPr>
            <p:cNvPr id="50" name="TextBox 98"/>
            <p:cNvSpPr txBox="1">
              <a:spLocks noChangeArrowheads="1"/>
            </p:cNvSpPr>
            <p:nvPr/>
          </p:nvSpPr>
          <p:spPr bwMode="auto">
            <a:xfrm>
              <a:off x="4751755" y="4428053"/>
              <a:ext cx="2414611" cy="3683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r>
                <a:rPr lang="en-US" b="1" dirty="0" smtClean="0">
                  <a:solidFill>
                    <a:schemeClr val="tx2">
                      <a:lumMod val="75000"/>
                    </a:schemeClr>
                  </a:solidFill>
                  <a:latin typeface="+mj-lt"/>
                  <a:cs typeface="+mn-cs"/>
                </a:rPr>
                <a:t>Limitations</a:t>
              </a:r>
            </a:p>
          </p:txBody>
        </p:sp>
        <p:grpSp>
          <p:nvGrpSpPr>
            <p:cNvPr id="51" name="Group 64"/>
            <p:cNvGrpSpPr>
              <a:grpSpLocks/>
            </p:cNvGrpSpPr>
            <p:nvPr/>
          </p:nvGrpSpPr>
          <p:grpSpPr bwMode="auto">
            <a:xfrm>
              <a:off x="4385039" y="4382013"/>
              <a:ext cx="376243" cy="403242"/>
              <a:chOff x="-1286386" y="5457685"/>
              <a:chExt cx="376243" cy="403242"/>
            </a:xfrm>
          </p:grpSpPr>
          <p:sp>
            <p:nvSpPr>
              <p:cNvPr id="52" name="Isosceles Triangle 51"/>
              <p:cNvSpPr/>
              <p:nvPr/>
            </p:nvSpPr>
            <p:spPr>
              <a:xfrm rot="5400000">
                <a:off x="-1276073" y="5494998"/>
                <a:ext cx="393717" cy="338142"/>
              </a:xfrm>
              <a:prstGeom prst="triangle">
                <a:avLst/>
              </a:prstGeom>
              <a:solidFill>
                <a:srgbClr val="DB131E"/>
              </a:solidFill>
              <a:ln>
                <a:noFill/>
              </a:ln>
              <a:effectLst/>
            </p:spPr>
            <p:style>
              <a:lnRef idx="1">
                <a:schemeClr val="accent1"/>
              </a:lnRef>
              <a:fillRef idx="3">
                <a:schemeClr val="accent1"/>
              </a:fillRef>
              <a:effectRef idx="2">
                <a:schemeClr val="accent1"/>
              </a:effectRef>
              <a:fontRef idx="minor">
                <a:schemeClr val="lt1"/>
              </a:fontRef>
            </p:style>
            <p:txBody>
              <a:bodyPr lIns="0" tIns="374400" rIns="0" bIns="0" anchor="b"/>
              <a:lstStyle/>
              <a:p>
                <a:pPr algn="ctr">
                  <a:defRPr/>
                </a:pPr>
                <a:endParaRPr lang="id-ID" sz="3200" b="1">
                  <a:solidFill>
                    <a:srgbClr val="D9D9D9"/>
                  </a:solidFill>
                  <a:ea typeface="MS PGothic" pitchFamily="34" charset="-128"/>
                </a:endParaRPr>
              </a:p>
            </p:txBody>
          </p:sp>
          <p:sp>
            <p:nvSpPr>
              <p:cNvPr id="53" name="Rectangle 63"/>
              <p:cNvSpPr>
                <a:spLocks noChangeArrowheads="1"/>
              </p:cNvSpPr>
              <p:nvPr/>
            </p:nvSpPr>
            <p:spPr bwMode="auto">
              <a:xfrm>
                <a:off x="-1286386" y="5457685"/>
                <a:ext cx="2616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id-ID" b="1">
                    <a:solidFill>
                      <a:schemeClr val="bg1"/>
                    </a:solidFill>
                  </a:rPr>
                  <a:t>-</a:t>
                </a:r>
                <a:endParaRPr lang="en-US" b="1">
                  <a:solidFill>
                    <a:schemeClr val="bg1"/>
                  </a:solidFill>
                </a:endParaRPr>
              </a:p>
            </p:txBody>
          </p:sp>
        </p:grpSp>
      </p:grpSp>
      <p:sp>
        <p:nvSpPr>
          <p:cNvPr id="54" name="Oval 53"/>
          <p:cNvSpPr/>
          <p:nvPr/>
        </p:nvSpPr>
        <p:spPr>
          <a:xfrm>
            <a:off x="3533775" y="4294188"/>
            <a:ext cx="2117725" cy="150812"/>
          </a:xfrm>
          <a:prstGeom prst="ellipse">
            <a:avLst/>
          </a:prstGeom>
          <a:gradFill flip="none" rotWithShape="1">
            <a:gsLst>
              <a:gs pos="0">
                <a:schemeClr val="bg1">
                  <a:lumMod val="76000"/>
                </a:schemeClr>
              </a:gs>
              <a:gs pos="100000">
                <a:schemeClr val="bg1">
                  <a:alpha val="0"/>
                  <a:lumMod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sp>
        <p:nvSpPr>
          <p:cNvPr id="28" name="Title 1"/>
          <p:cNvSpPr>
            <a:spLocks noGrp="1"/>
          </p:cNvSpPr>
          <p:nvPr>
            <p:ph type="title"/>
          </p:nvPr>
        </p:nvSpPr>
        <p:spPr/>
        <p:txBody>
          <a:bodyPr/>
          <a:lstStyle/>
          <a:p>
            <a:pPr>
              <a:lnSpc>
                <a:spcPct val="80000"/>
              </a:lnSpc>
            </a:pPr>
            <a:r>
              <a:rPr lang="en-US"/>
              <a:t>SALES METHOD</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6750945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43785"/>
          </a:xfrm>
        </p:spPr>
        <p:txBody>
          <a:bodyPr/>
          <a:lstStyle/>
          <a:p>
            <a:pPr>
              <a:lnSpc>
                <a:spcPct val="80000"/>
              </a:lnSpc>
            </a:pPr>
            <a:r>
              <a:rPr lang="en-US"/>
              <a:t>Replace this text</a:t>
            </a:r>
            <a:endParaRPr lang="en-US" dirty="0"/>
          </a:p>
        </p:txBody>
      </p:sp>
      <p:sp>
        <p:nvSpPr>
          <p:cNvPr id="39" name="Slide Number Placeholder 38"/>
          <p:cNvSpPr>
            <a:spLocks noGrp="1"/>
          </p:cNvSpPr>
          <p:nvPr>
            <p:ph type="sldNum" sz="quarter" idx="12"/>
          </p:nvPr>
        </p:nvSpPr>
        <p:spPr/>
        <p:txBody>
          <a:bodyPr/>
          <a:lstStyle/>
          <a:p>
            <a:pPr>
              <a:defRPr/>
            </a:pPr>
            <a:fld id="{AD19CF00-AE30-45AC-A0F3-222CEA30FB4A}" type="slidenum">
              <a:rPr lang="da-DK" smtClean="0"/>
              <a:pPr>
                <a:defRPr/>
              </a:pPr>
              <a:t>49</a:t>
            </a:fld>
            <a:endParaRPr lang="da-DK"/>
          </a:p>
        </p:txBody>
      </p:sp>
      <p:sp>
        <p:nvSpPr>
          <p:cNvPr id="26" name="Rectangle 90"/>
          <p:cNvSpPr>
            <a:spLocks noChangeArrowheads="1"/>
          </p:cNvSpPr>
          <p:nvPr/>
        </p:nvSpPr>
        <p:spPr bwMode="auto">
          <a:xfrm>
            <a:off x="0" y="2566988"/>
            <a:ext cx="9144000" cy="1333500"/>
          </a:xfrm>
          <a:prstGeom prst="rect">
            <a:avLst/>
          </a:prstGeom>
          <a:solidFill>
            <a:schemeClr val="bg1">
              <a:lumMod val="85000"/>
              <a:alpha val="3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solidFill>
                <a:srgbClr val="404040"/>
              </a:solidFill>
              <a:latin typeface="Calibri" charset="0"/>
            </a:endParaRPr>
          </a:p>
        </p:txBody>
      </p:sp>
      <p:grpSp>
        <p:nvGrpSpPr>
          <p:cNvPr id="42" name="Group 1"/>
          <p:cNvGrpSpPr>
            <a:grpSpLocks/>
          </p:cNvGrpSpPr>
          <p:nvPr/>
        </p:nvGrpSpPr>
        <p:grpSpPr bwMode="auto">
          <a:xfrm>
            <a:off x="3817938" y="1752600"/>
            <a:ext cx="1549400" cy="2452688"/>
            <a:chOff x="3706813" y="1752600"/>
            <a:chExt cx="1547924" cy="2452688"/>
          </a:xfrm>
        </p:grpSpPr>
        <p:grpSp>
          <p:nvGrpSpPr>
            <p:cNvPr id="45" name="Group 16"/>
            <p:cNvGrpSpPr>
              <a:grpSpLocks/>
            </p:cNvGrpSpPr>
            <p:nvPr/>
          </p:nvGrpSpPr>
          <p:grpSpPr bwMode="auto">
            <a:xfrm>
              <a:off x="3719501" y="1752600"/>
              <a:ext cx="1535237" cy="2416174"/>
              <a:chOff x="1634289" y="844550"/>
              <a:chExt cx="1953461" cy="3073320"/>
            </a:xfrm>
          </p:grpSpPr>
          <p:sp>
            <p:nvSpPr>
              <p:cNvPr id="56" name="Freeform 55"/>
              <p:cNvSpPr/>
              <p:nvPr>
                <p:custDataLst>
                  <p:tags r:id="rId1"/>
                </p:custDataLst>
              </p:nvPr>
            </p:nvSpPr>
            <p:spPr bwMode="auto">
              <a:xfrm rot="21433119" flipH="1" flipV="1">
                <a:off x="1795732" y="3102087"/>
                <a:ext cx="1515546" cy="815783"/>
              </a:xfrm>
              <a:custGeom>
                <a:avLst/>
                <a:gdLst>
                  <a:gd name="connsiteX0" fmla="*/ 4013483 w 4013483"/>
                  <a:gd name="connsiteY0" fmla="*/ 301077 h 2621703"/>
                  <a:gd name="connsiteX1" fmla="*/ 3355021 w 4013483"/>
                  <a:gd name="connsiteY1" fmla="*/ 18839 h 2621703"/>
                  <a:gd name="connsiteX2" fmla="*/ 3151211 w 4013483"/>
                  <a:gd name="connsiteY2" fmla="*/ 771474 h 2621703"/>
                  <a:gd name="connsiteX3" fmla="*/ 3793996 w 4013483"/>
                  <a:gd name="connsiteY3" fmla="*/ 724434 h 2621703"/>
                  <a:gd name="connsiteX4" fmla="*/ 2884691 w 4013483"/>
                  <a:gd name="connsiteY4" fmla="*/ 332437 h 2621703"/>
                  <a:gd name="connsiteX5" fmla="*/ 2665204 w 4013483"/>
                  <a:gd name="connsiteY5" fmla="*/ 975313 h 2621703"/>
                  <a:gd name="connsiteX6" fmla="*/ 3041468 w 4013483"/>
                  <a:gd name="connsiteY6" fmla="*/ 1038033 h 2621703"/>
                  <a:gd name="connsiteX7" fmla="*/ 2477072 w 4013483"/>
                  <a:gd name="connsiteY7" fmla="*/ 551955 h 2621703"/>
                  <a:gd name="connsiteX8" fmla="*/ 2163518 w 4013483"/>
                  <a:gd name="connsiteY8" fmla="*/ 1147792 h 2621703"/>
                  <a:gd name="connsiteX9" fmla="*/ 2665204 w 4013483"/>
                  <a:gd name="connsiteY9" fmla="*/ 1351631 h 2621703"/>
                  <a:gd name="connsiteX10" fmla="*/ 2022419 w 4013483"/>
                  <a:gd name="connsiteY10" fmla="*/ 818514 h 2621703"/>
                  <a:gd name="connsiteX11" fmla="*/ 1661833 w 4013483"/>
                  <a:gd name="connsiteY11" fmla="*/ 1712269 h 2621703"/>
                  <a:gd name="connsiteX12" fmla="*/ 1316924 w 4013483"/>
                  <a:gd name="connsiteY12" fmla="*/ 2041547 h 2621703"/>
                  <a:gd name="connsiteX13" fmla="*/ 486008 w 4013483"/>
                  <a:gd name="connsiteY13" fmla="*/ 2010187 h 2621703"/>
                  <a:gd name="connsiteX14" fmla="*/ 0 w 4013483"/>
                  <a:gd name="connsiteY14" fmla="*/ 2621703 h 262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13483" h="2621703">
                    <a:moveTo>
                      <a:pt x="4013483" y="301077"/>
                    </a:moveTo>
                    <a:cubicBezTo>
                      <a:pt x="3756108" y="120758"/>
                      <a:pt x="3498733" y="-59561"/>
                      <a:pt x="3355021" y="18839"/>
                    </a:cubicBezTo>
                    <a:cubicBezTo>
                      <a:pt x="3211309" y="97238"/>
                      <a:pt x="3078048" y="653875"/>
                      <a:pt x="3151211" y="771474"/>
                    </a:cubicBezTo>
                    <a:cubicBezTo>
                      <a:pt x="3224374" y="889073"/>
                      <a:pt x="3838416" y="797607"/>
                      <a:pt x="3793996" y="724434"/>
                    </a:cubicBezTo>
                    <a:cubicBezTo>
                      <a:pt x="3749576" y="651261"/>
                      <a:pt x="3072823" y="290624"/>
                      <a:pt x="2884691" y="332437"/>
                    </a:cubicBezTo>
                    <a:cubicBezTo>
                      <a:pt x="2696559" y="374250"/>
                      <a:pt x="2639075" y="857714"/>
                      <a:pt x="2665204" y="975313"/>
                    </a:cubicBezTo>
                    <a:cubicBezTo>
                      <a:pt x="2691333" y="1092912"/>
                      <a:pt x="3072823" y="1108592"/>
                      <a:pt x="3041468" y="1038033"/>
                    </a:cubicBezTo>
                    <a:cubicBezTo>
                      <a:pt x="3010113" y="967474"/>
                      <a:pt x="2623397" y="533662"/>
                      <a:pt x="2477072" y="551955"/>
                    </a:cubicBezTo>
                    <a:cubicBezTo>
                      <a:pt x="2330747" y="570248"/>
                      <a:pt x="2132163" y="1014513"/>
                      <a:pt x="2163518" y="1147792"/>
                    </a:cubicBezTo>
                    <a:cubicBezTo>
                      <a:pt x="2194873" y="1281071"/>
                      <a:pt x="2688720" y="1406511"/>
                      <a:pt x="2665204" y="1351631"/>
                    </a:cubicBezTo>
                    <a:cubicBezTo>
                      <a:pt x="2641688" y="1296751"/>
                      <a:pt x="2189647" y="758408"/>
                      <a:pt x="2022419" y="818514"/>
                    </a:cubicBezTo>
                    <a:cubicBezTo>
                      <a:pt x="1855191" y="878620"/>
                      <a:pt x="1779415" y="1508430"/>
                      <a:pt x="1661833" y="1712269"/>
                    </a:cubicBezTo>
                    <a:cubicBezTo>
                      <a:pt x="1544251" y="1916108"/>
                      <a:pt x="1512895" y="1991894"/>
                      <a:pt x="1316924" y="2041547"/>
                    </a:cubicBezTo>
                    <a:cubicBezTo>
                      <a:pt x="1120953" y="2091200"/>
                      <a:pt x="705495" y="1913494"/>
                      <a:pt x="486008" y="2010187"/>
                    </a:cubicBezTo>
                    <a:cubicBezTo>
                      <a:pt x="266521" y="2106880"/>
                      <a:pt x="0" y="2621703"/>
                      <a:pt x="0" y="2621703"/>
                    </a:cubicBezTo>
                  </a:path>
                </a:pathLst>
              </a:custGeom>
              <a:ln w="57150" cmpd="sng">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57" name="Freeform 108"/>
              <p:cNvSpPr>
                <a:spLocks/>
              </p:cNvSpPr>
              <p:nvPr>
                <p:custDataLst>
                  <p:tags r:id="rId2"/>
                </p:custDataLst>
              </p:nvPr>
            </p:nvSpPr>
            <p:spPr bwMode="auto">
              <a:xfrm rot="266974">
                <a:off x="1634289" y="844550"/>
                <a:ext cx="1953461" cy="2247442"/>
              </a:xfrm>
              <a:custGeom>
                <a:avLst/>
                <a:gdLst>
                  <a:gd name="T0" fmla="*/ 225321 w 2885908"/>
                  <a:gd name="T1" fmla="*/ 58386 h 3315334"/>
                  <a:gd name="T2" fmla="*/ 11211 w 2885908"/>
                  <a:gd name="T3" fmla="*/ 500578 h 3315334"/>
                  <a:gd name="T4" fmla="*/ 96426 w 2885908"/>
                  <a:gd name="T5" fmla="*/ 1268979 h 3315334"/>
                  <a:gd name="T6" fmla="*/ 650310 w 2885908"/>
                  <a:gd name="T7" fmla="*/ 1984020 h 3315334"/>
                  <a:gd name="T8" fmla="*/ 1475015 w 2885908"/>
                  <a:gd name="T9" fmla="*/ 2253477 h 3315334"/>
                  <a:gd name="T10" fmla="*/ 1884328 w 2885908"/>
                  <a:gd name="T11" fmla="*/ 2156875 h 3315334"/>
                  <a:gd name="T12" fmla="*/ 1951713 w 2885908"/>
                  <a:gd name="T13" fmla="*/ 1842099 h 3315334"/>
                  <a:gd name="T14" fmla="*/ 1768070 w 2885908"/>
                  <a:gd name="T15" fmla="*/ 1526342 h 3315334"/>
                  <a:gd name="T16" fmla="*/ 1395520 w 2885908"/>
                  <a:gd name="T17" fmla="*/ 1640182 h 3315334"/>
                  <a:gd name="T18" fmla="*/ 1236150 w 2885908"/>
                  <a:gd name="T19" fmla="*/ 1898642 h 3315334"/>
                  <a:gd name="T20" fmla="*/ 905950 w 2885908"/>
                  <a:gd name="T21" fmla="*/ 1845281 h 3315334"/>
                  <a:gd name="T22" fmla="*/ 533142 w 2885908"/>
                  <a:gd name="T23" fmla="*/ 1493097 h 3315334"/>
                  <a:gd name="T24" fmla="*/ 256200 w 2885908"/>
                  <a:gd name="T25" fmla="*/ 831418 h 3315334"/>
                  <a:gd name="T26" fmla="*/ 579146 w 2885908"/>
                  <a:gd name="T27" fmla="*/ 752841 h 3315334"/>
                  <a:gd name="T28" fmla="*/ 725645 w 2885908"/>
                  <a:gd name="T29" fmla="*/ 633745 h 3315334"/>
                  <a:gd name="T30" fmla="*/ 703568 w 2885908"/>
                  <a:gd name="T31" fmla="*/ 351167 h 3315334"/>
                  <a:gd name="T32" fmla="*/ 500263 w 2885908"/>
                  <a:gd name="T33" fmla="*/ 51114 h 3315334"/>
                  <a:gd name="T34" fmla="*/ 225321 w 2885908"/>
                  <a:gd name="T35" fmla="*/ 58386 h 33153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85908" h="3315334">
                    <a:moveTo>
                      <a:pt x="331641" y="85783"/>
                    </a:moveTo>
                    <a:cubicBezTo>
                      <a:pt x="211672" y="195843"/>
                      <a:pt x="48122" y="439023"/>
                      <a:pt x="16502" y="735461"/>
                    </a:cubicBezTo>
                    <a:cubicBezTo>
                      <a:pt x="-15118" y="1031900"/>
                      <a:pt x="-14853" y="1501163"/>
                      <a:pt x="141924" y="1864414"/>
                    </a:cubicBezTo>
                    <a:cubicBezTo>
                      <a:pt x="298701" y="2227665"/>
                      <a:pt x="618981" y="2673894"/>
                      <a:pt x="957162" y="2914968"/>
                    </a:cubicBezTo>
                    <a:cubicBezTo>
                      <a:pt x="1295343" y="3156042"/>
                      <a:pt x="1848297" y="3288518"/>
                      <a:pt x="2171008" y="3310861"/>
                    </a:cubicBezTo>
                    <a:cubicBezTo>
                      <a:pt x="2493719" y="3333204"/>
                      <a:pt x="2656520" y="3269665"/>
                      <a:pt x="2773458" y="3168931"/>
                    </a:cubicBezTo>
                    <a:cubicBezTo>
                      <a:pt x="2890396" y="3068197"/>
                      <a:pt x="2901158" y="2860853"/>
                      <a:pt x="2872639" y="2706454"/>
                    </a:cubicBezTo>
                    <a:cubicBezTo>
                      <a:pt x="2844120" y="2552055"/>
                      <a:pt x="2763777" y="2384409"/>
                      <a:pt x="2602343" y="2242537"/>
                    </a:cubicBezTo>
                    <a:cubicBezTo>
                      <a:pt x="2440909" y="2100665"/>
                      <a:pt x="2128527" y="2088394"/>
                      <a:pt x="2054003" y="2409794"/>
                    </a:cubicBezTo>
                    <a:cubicBezTo>
                      <a:pt x="2020449" y="2600657"/>
                      <a:pt x="1939530" y="2739307"/>
                      <a:pt x="1819434" y="2789529"/>
                    </a:cubicBezTo>
                    <a:cubicBezTo>
                      <a:pt x="1699338" y="2839751"/>
                      <a:pt x="1505881" y="2810435"/>
                      <a:pt x="1333427" y="2711129"/>
                    </a:cubicBezTo>
                    <a:cubicBezTo>
                      <a:pt x="1160973" y="2611823"/>
                      <a:pt x="944098" y="2441957"/>
                      <a:pt x="784708" y="2193692"/>
                    </a:cubicBezTo>
                    <a:cubicBezTo>
                      <a:pt x="625318" y="1945427"/>
                      <a:pt x="365804" y="1402805"/>
                      <a:pt x="377089" y="1221538"/>
                    </a:cubicBezTo>
                    <a:cubicBezTo>
                      <a:pt x="388374" y="1040271"/>
                      <a:pt x="737260" y="1127017"/>
                      <a:pt x="852419" y="1106091"/>
                    </a:cubicBezTo>
                    <a:cubicBezTo>
                      <a:pt x="967578" y="1085165"/>
                      <a:pt x="1027524" y="1051954"/>
                      <a:pt x="1068044" y="931113"/>
                    </a:cubicBezTo>
                    <a:cubicBezTo>
                      <a:pt x="1108564" y="810272"/>
                      <a:pt x="1090423" y="654448"/>
                      <a:pt x="1035551" y="515942"/>
                    </a:cubicBezTo>
                    <a:cubicBezTo>
                      <a:pt x="980679" y="377436"/>
                      <a:pt x="888624" y="179267"/>
                      <a:pt x="736314" y="75098"/>
                    </a:cubicBezTo>
                    <a:cubicBezTo>
                      <a:pt x="584004" y="-29071"/>
                      <a:pt x="451610" y="-24277"/>
                      <a:pt x="331641" y="85783"/>
                    </a:cubicBezTo>
                    <a:close/>
                  </a:path>
                </a:pathLst>
              </a:custGeom>
              <a:gradFill>
                <a:gsLst>
                  <a:gs pos="0">
                    <a:schemeClr val="accent1">
                      <a:lumMod val="75000"/>
                    </a:schemeClr>
                  </a:gs>
                  <a:gs pos="100000">
                    <a:schemeClr val="tx2">
                      <a:lumMod val="75000"/>
                    </a:schemeClr>
                  </a:gs>
                </a:gsLst>
                <a:path path="rect">
                  <a:fillToRect l="50000" t="50000" r="50000" b="50000"/>
                </a:path>
              </a:gradFill>
              <a:ln>
                <a:noFill/>
              </a:ln>
              <a:extLst>
                <a:ext uri="{91240B29-F687-4F45-9708-019B960494DF}">
                  <a14:hiddenLine xmlns:a14="http://schemas.microsoft.com/office/drawing/2010/main" w="12700" cap="flat" cmpd="sng">
                    <a:solidFill>
                      <a:srgbClr val="000000"/>
                    </a:solidFill>
                    <a:prstDash val="dash"/>
                    <a:round/>
                    <a:headEnd/>
                    <a:tailEnd/>
                  </a14:hiddenLine>
                </a:ext>
              </a:extLst>
            </p:spPr>
            <p:txBody>
              <a:bodyPr anchor="ctr"/>
              <a:lstStyle/>
              <a:p>
                <a:pPr>
                  <a:defRPr/>
                </a:pPr>
                <a:endParaRPr lang="en-US"/>
              </a:p>
            </p:txBody>
          </p:sp>
          <p:sp>
            <p:nvSpPr>
              <p:cNvPr id="58" name="Oval 57"/>
              <p:cNvSpPr/>
              <p:nvPr>
                <p:custDataLst>
                  <p:tags r:id="rId3"/>
                </p:custDataLst>
              </p:nvPr>
            </p:nvSpPr>
            <p:spPr bwMode="auto">
              <a:xfrm rot="20401205">
                <a:off x="1987445" y="848589"/>
                <a:ext cx="359211" cy="662319"/>
              </a:xfrm>
              <a:prstGeom prst="ellipse">
                <a:avLst/>
              </a:prstGeom>
              <a:solidFill>
                <a:schemeClr val="tx1">
                  <a:lumMod val="50000"/>
                  <a:lumOff val="50000"/>
                </a:schemeClr>
              </a:solidFill>
              <a:ln w="28575">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59" name="Oval 58"/>
              <p:cNvSpPr/>
              <p:nvPr/>
            </p:nvSpPr>
            <p:spPr bwMode="auto">
              <a:xfrm rot="19942363">
                <a:off x="2029825" y="1030322"/>
                <a:ext cx="46414" cy="7067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0" name="Oval 59"/>
              <p:cNvSpPr/>
              <p:nvPr/>
            </p:nvSpPr>
            <p:spPr bwMode="auto">
              <a:xfrm rot="19942363">
                <a:off x="2116600" y="1028304"/>
                <a:ext cx="44397" cy="70674"/>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1" name="Oval 60"/>
              <p:cNvSpPr/>
              <p:nvPr/>
            </p:nvSpPr>
            <p:spPr bwMode="auto">
              <a:xfrm rot="19942363">
                <a:off x="2092383" y="1094939"/>
                <a:ext cx="40361" cy="72694"/>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2" name="Oval 61"/>
              <p:cNvSpPr/>
              <p:nvPr/>
            </p:nvSpPr>
            <p:spPr bwMode="auto">
              <a:xfrm rot="19942363">
                <a:off x="2088347" y="1224172"/>
                <a:ext cx="44397" cy="66636"/>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3" name="Oval 62"/>
              <p:cNvSpPr/>
              <p:nvPr/>
            </p:nvSpPr>
            <p:spPr bwMode="auto">
              <a:xfrm rot="19942363">
                <a:off x="2177141" y="1222153"/>
                <a:ext cx="42379" cy="6865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4" name="Oval 63"/>
              <p:cNvSpPr/>
              <p:nvPr/>
            </p:nvSpPr>
            <p:spPr bwMode="auto">
              <a:xfrm rot="19942363">
                <a:off x="2150907" y="1290808"/>
                <a:ext cx="48433" cy="6865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5" name="Oval 64"/>
              <p:cNvSpPr/>
              <p:nvPr/>
            </p:nvSpPr>
            <p:spPr bwMode="auto">
              <a:xfrm rot="19942363">
                <a:off x="2185213" y="1100997"/>
                <a:ext cx="44397" cy="70674"/>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6" name="Oval 65"/>
              <p:cNvSpPr/>
              <p:nvPr/>
            </p:nvSpPr>
            <p:spPr bwMode="auto">
              <a:xfrm rot="19942363">
                <a:off x="2269971" y="1098977"/>
                <a:ext cx="42379" cy="72694"/>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7" name="Oval 66"/>
              <p:cNvSpPr/>
              <p:nvPr/>
            </p:nvSpPr>
            <p:spPr bwMode="auto">
              <a:xfrm rot="19942363">
                <a:off x="2243737" y="1169652"/>
                <a:ext cx="42378" cy="6865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8" name="Oval 67"/>
              <p:cNvSpPr/>
              <p:nvPr/>
            </p:nvSpPr>
            <p:spPr bwMode="auto">
              <a:xfrm rot="20488551">
                <a:off x="3069114" y="2393326"/>
                <a:ext cx="385446" cy="658280"/>
              </a:xfrm>
              <a:prstGeom prst="ellipse">
                <a:avLst/>
              </a:prstGeom>
              <a:solidFill>
                <a:schemeClr val="tx1">
                  <a:lumMod val="50000"/>
                  <a:lumOff val="50000"/>
                </a:schemeClr>
              </a:solidFill>
              <a:ln w="25400">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69" name="Oval 68"/>
              <p:cNvSpPr/>
              <p:nvPr/>
            </p:nvSpPr>
            <p:spPr bwMode="auto">
              <a:xfrm rot="20329929">
                <a:off x="3129655" y="2538713"/>
                <a:ext cx="44397" cy="72694"/>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70" name="Oval 69"/>
              <p:cNvSpPr/>
              <p:nvPr/>
            </p:nvSpPr>
            <p:spPr bwMode="auto">
              <a:xfrm rot="20329929">
                <a:off x="3212395" y="2556886"/>
                <a:ext cx="48433" cy="7067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71" name="Oval 70"/>
              <p:cNvSpPr/>
              <p:nvPr/>
            </p:nvSpPr>
            <p:spPr bwMode="auto">
              <a:xfrm rot="20329929">
                <a:off x="3174052" y="2623522"/>
                <a:ext cx="46416" cy="6865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72" name="Oval 71"/>
              <p:cNvSpPr/>
              <p:nvPr/>
            </p:nvSpPr>
            <p:spPr bwMode="auto">
              <a:xfrm rot="20329929">
                <a:off x="3147818" y="2716408"/>
                <a:ext cx="46414" cy="72694"/>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73" name="Oval 72"/>
              <p:cNvSpPr/>
              <p:nvPr/>
            </p:nvSpPr>
            <p:spPr bwMode="auto">
              <a:xfrm rot="20329929">
                <a:off x="3232575" y="2734581"/>
                <a:ext cx="46414" cy="7067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74" name="Oval 73"/>
              <p:cNvSpPr/>
              <p:nvPr/>
            </p:nvSpPr>
            <p:spPr bwMode="auto">
              <a:xfrm rot="20329929">
                <a:off x="3194232" y="2797179"/>
                <a:ext cx="44397" cy="70674"/>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75" name="Oval 74"/>
              <p:cNvSpPr/>
              <p:nvPr/>
            </p:nvSpPr>
            <p:spPr bwMode="auto">
              <a:xfrm rot="20329929">
                <a:off x="3266881" y="2637656"/>
                <a:ext cx="46416" cy="7067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76" name="Oval 75"/>
              <p:cNvSpPr/>
              <p:nvPr/>
            </p:nvSpPr>
            <p:spPr bwMode="auto">
              <a:xfrm rot="20329929">
                <a:off x="3351639" y="2653811"/>
                <a:ext cx="46416" cy="72694"/>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sp>
            <p:nvSpPr>
              <p:cNvPr id="77" name="Oval 76"/>
              <p:cNvSpPr/>
              <p:nvPr/>
            </p:nvSpPr>
            <p:spPr bwMode="auto">
              <a:xfrm rot="20329929">
                <a:off x="3311278" y="2718427"/>
                <a:ext cx="46416" cy="70675"/>
              </a:xfrm>
              <a:prstGeom prst="ellipse">
                <a:avLst/>
              </a:prstGeom>
              <a:solidFill>
                <a:srgbClr val="462F1E"/>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MS PGothic" pitchFamily="34" charset="-128"/>
                </a:endParaRPr>
              </a:p>
            </p:txBody>
          </p:sp>
        </p:grpSp>
        <p:sp>
          <p:nvSpPr>
            <p:cNvPr id="48" name="Rectangle 47"/>
            <p:cNvSpPr/>
            <p:nvPr/>
          </p:nvSpPr>
          <p:spPr bwMode="auto">
            <a:xfrm rot="1019834">
              <a:off x="3716329" y="4040188"/>
              <a:ext cx="177631" cy="165100"/>
            </a:xfrm>
            <a:prstGeom prst="rect">
              <a:avLst/>
            </a:prstGeom>
            <a:solidFill>
              <a:schemeClr val="tx2">
                <a:lumMod val="75000"/>
              </a:schemeClr>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sp>
          <p:nvSpPr>
            <p:cNvPr id="51" name="Rectangle 50"/>
            <p:cNvSpPr/>
            <p:nvPr/>
          </p:nvSpPr>
          <p:spPr bwMode="auto">
            <a:xfrm rot="1019834">
              <a:off x="3725845" y="4048125"/>
              <a:ext cx="65025" cy="49213"/>
            </a:xfrm>
            <a:prstGeom prst="rect">
              <a:avLst/>
            </a:prstGeom>
            <a:solidFill>
              <a:schemeClr val="bg1">
                <a:lumMod val="85000"/>
              </a:schemeClr>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sp>
          <p:nvSpPr>
            <p:cNvPr id="55" name="Rectangle 54"/>
            <p:cNvSpPr/>
            <p:nvPr/>
          </p:nvSpPr>
          <p:spPr bwMode="auto">
            <a:xfrm rot="1019834">
              <a:off x="3706813" y="4111625"/>
              <a:ext cx="65025" cy="49213"/>
            </a:xfrm>
            <a:prstGeom prst="rect">
              <a:avLst/>
            </a:prstGeom>
            <a:solidFill>
              <a:schemeClr val="bg1">
                <a:lumMod val="85000"/>
              </a:schemeClr>
            </a:solid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grpSp>
      <p:sp>
        <p:nvSpPr>
          <p:cNvPr id="78" name="Rektangel 23"/>
          <p:cNvSpPr>
            <a:spLocks noChangeArrowheads="1"/>
          </p:cNvSpPr>
          <p:nvPr/>
        </p:nvSpPr>
        <p:spPr bwMode="auto">
          <a:xfrm>
            <a:off x="1266825" y="4494213"/>
            <a:ext cx="6651625" cy="115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801688">
              <a:spcBef>
                <a:spcPct val="20000"/>
              </a:spcBef>
            </a:pPr>
            <a:r>
              <a:rPr sz="1600" b="1" noProof="1">
                <a:solidFill>
                  <a:schemeClr val="tx2">
                    <a:lumMod val="75000"/>
                  </a:schemeClr>
                </a:solidFill>
                <a:latin typeface="Calibri" charset="0"/>
                <a:cs typeface="Arial" charset="0"/>
              </a:rPr>
              <a:t>Phone</a:t>
            </a:r>
          </a:p>
          <a:p>
            <a:pPr algn="ctr" defTabSz="801688">
              <a:spcBef>
                <a:spcPct val="20000"/>
              </a:spcBef>
            </a:pPr>
            <a:r>
              <a:rPr sz="1200" noProof="1">
                <a:solidFill>
                  <a:srgbClr val="404040"/>
                </a:solidFill>
                <a:latin typeface="Calibri" charset="0"/>
                <a:cs typeface="Arial" charset="0"/>
              </a:rPr>
              <a:t>This is an example text. Go ahead an replace it with your own text. This is an example text. Go ahead an replace it with your own text. This is an example text. Go ahead an replace it with your own text. This is an example text. Go ahead an replace it with your own text</a:t>
            </a:r>
          </a:p>
          <a:p>
            <a:pPr algn="ctr" defTabSz="801688">
              <a:spcBef>
                <a:spcPct val="20000"/>
              </a:spcBef>
            </a:pPr>
            <a:endParaRPr sz="1200" noProof="1">
              <a:solidFill>
                <a:srgbClr val="404040"/>
              </a:solidFill>
              <a:latin typeface="Calibri" charset="0"/>
              <a:cs typeface="Arial" charset="0"/>
            </a:endParaRPr>
          </a:p>
        </p:txBody>
      </p:sp>
      <p:sp>
        <p:nvSpPr>
          <p:cNvPr id="79" name="Oval 78"/>
          <p:cNvSpPr/>
          <p:nvPr/>
        </p:nvSpPr>
        <p:spPr>
          <a:xfrm>
            <a:off x="3533775" y="4294188"/>
            <a:ext cx="2117725" cy="150812"/>
          </a:xfrm>
          <a:prstGeom prst="ellipse">
            <a:avLst/>
          </a:prstGeom>
          <a:gradFill flip="none" rotWithShape="1">
            <a:gsLst>
              <a:gs pos="0">
                <a:schemeClr val="bg1">
                  <a:lumMod val="76000"/>
                </a:schemeClr>
              </a:gs>
              <a:gs pos="100000">
                <a:schemeClr val="bg1">
                  <a:alpha val="0"/>
                  <a:lumMod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grpSp>
        <p:nvGrpSpPr>
          <p:cNvPr id="80" name="Group 65"/>
          <p:cNvGrpSpPr>
            <a:grpSpLocks/>
          </p:cNvGrpSpPr>
          <p:nvPr/>
        </p:nvGrpSpPr>
        <p:grpSpPr bwMode="auto">
          <a:xfrm>
            <a:off x="485775" y="2654300"/>
            <a:ext cx="2992438" cy="1217613"/>
            <a:chOff x="585541" y="4422205"/>
            <a:chExt cx="2846887" cy="1218354"/>
          </a:xfrm>
        </p:grpSpPr>
        <p:sp>
          <p:nvSpPr>
            <p:cNvPr id="81" name="Rektangel 23"/>
            <p:cNvSpPr>
              <a:spLocks noChangeArrowheads="1"/>
            </p:cNvSpPr>
            <p:nvPr/>
          </p:nvSpPr>
          <p:spPr bwMode="auto">
            <a:xfrm>
              <a:off x="585541" y="4809791"/>
              <a:ext cx="2186892" cy="8307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defRPr/>
              </a:pPr>
              <a:r>
                <a:rPr lang="en-US" sz="1200" noProof="1">
                  <a:solidFill>
                    <a:schemeClr val="tx1">
                      <a:lumMod val="75000"/>
                      <a:lumOff val="25000"/>
                    </a:schemeClr>
                  </a:solidFill>
                  <a:latin typeface="+mj-lt"/>
                  <a:ea typeface="MS PGothic" pitchFamily="34" charset="-128"/>
                  <a:cs typeface="Arial" charset="0"/>
                </a:rPr>
                <a:t>This is an example text.Go ahead an replace it with your own text. This is an example text.Go ahead an replace it with your own text</a:t>
              </a:r>
            </a:p>
          </p:txBody>
        </p:sp>
        <p:sp>
          <p:nvSpPr>
            <p:cNvPr id="82" name="TextBox 98"/>
            <p:cNvSpPr txBox="1">
              <a:spLocks noChangeArrowheads="1"/>
            </p:cNvSpPr>
            <p:nvPr/>
          </p:nvSpPr>
          <p:spPr bwMode="auto">
            <a:xfrm>
              <a:off x="1018993" y="4428559"/>
              <a:ext cx="2413435" cy="3685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r>
                <a:rPr lang="en-US" b="1" dirty="0" smtClean="0">
                  <a:solidFill>
                    <a:schemeClr val="tx2">
                      <a:lumMod val="75000"/>
                    </a:schemeClr>
                  </a:solidFill>
                  <a:latin typeface="+mj-lt"/>
                  <a:cs typeface="+mn-cs"/>
                </a:rPr>
                <a:t>Benefits</a:t>
              </a:r>
            </a:p>
          </p:txBody>
        </p:sp>
        <p:sp>
          <p:nvSpPr>
            <p:cNvPr id="83" name="Isosceles Triangle 82"/>
            <p:cNvSpPr/>
            <p:nvPr/>
          </p:nvSpPr>
          <p:spPr>
            <a:xfrm rot="5400000">
              <a:off x="653665" y="4449229"/>
              <a:ext cx="392352" cy="338304"/>
            </a:xfrm>
            <a:prstGeom prst="triangle">
              <a:avLst/>
            </a:prstGeom>
            <a:solidFill>
              <a:srgbClr val="1B8A0A"/>
            </a:solidFill>
            <a:ln>
              <a:noFill/>
            </a:ln>
            <a:effectLst/>
          </p:spPr>
          <p:style>
            <a:lnRef idx="1">
              <a:schemeClr val="accent1"/>
            </a:lnRef>
            <a:fillRef idx="3">
              <a:schemeClr val="accent1"/>
            </a:fillRef>
            <a:effectRef idx="2">
              <a:schemeClr val="accent1"/>
            </a:effectRef>
            <a:fontRef idx="minor">
              <a:schemeClr val="lt1"/>
            </a:fontRef>
          </p:style>
          <p:txBody>
            <a:bodyPr lIns="0" tIns="374400" rIns="0" bIns="0" anchor="b"/>
            <a:lstStyle/>
            <a:p>
              <a:pPr algn="ctr">
                <a:defRPr/>
              </a:pPr>
              <a:endParaRPr lang="id-ID" sz="3200" b="1">
                <a:solidFill>
                  <a:srgbClr val="D9D9D9"/>
                </a:solidFill>
                <a:ea typeface="MS PGothic" pitchFamily="34" charset="-128"/>
              </a:endParaRPr>
            </a:p>
          </p:txBody>
        </p:sp>
        <p:sp>
          <p:nvSpPr>
            <p:cNvPr id="84" name="Rectangle 58"/>
            <p:cNvSpPr>
              <a:spLocks noChangeArrowheads="1"/>
            </p:cNvSpPr>
            <p:nvPr/>
          </p:nvSpPr>
          <p:spPr bwMode="auto">
            <a:xfrm>
              <a:off x="630850" y="4434009"/>
              <a:ext cx="30384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b="1" dirty="0">
                  <a:solidFill>
                    <a:schemeClr val="bg1"/>
                  </a:solidFill>
                </a:rPr>
                <a:t>+</a:t>
              </a:r>
            </a:p>
          </p:txBody>
        </p:sp>
      </p:grpSp>
      <p:grpSp>
        <p:nvGrpSpPr>
          <p:cNvPr id="85" name="Group 66"/>
          <p:cNvGrpSpPr>
            <a:grpSpLocks/>
          </p:cNvGrpSpPr>
          <p:nvPr/>
        </p:nvGrpSpPr>
        <p:grpSpPr bwMode="auto">
          <a:xfrm>
            <a:off x="6272213" y="2654300"/>
            <a:ext cx="2833687" cy="1246188"/>
            <a:chOff x="4332651" y="4382013"/>
            <a:chExt cx="2833715" cy="1246241"/>
          </a:xfrm>
        </p:grpSpPr>
        <p:sp>
          <p:nvSpPr>
            <p:cNvPr id="86" name="Rektangel 23"/>
            <p:cNvSpPr>
              <a:spLocks noChangeArrowheads="1"/>
            </p:cNvSpPr>
            <p:nvPr/>
          </p:nvSpPr>
          <p:spPr bwMode="auto">
            <a:xfrm>
              <a:off x="4332651" y="4797956"/>
              <a:ext cx="2351110" cy="8302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801688">
                <a:spcBef>
                  <a:spcPct val="20000"/>
                </a:spcBef>
                <a:defRPr/>
              </a:pPr>
              <a:r>
                <a:rPr lang="en-US" sz="1200" noProof="1">
                  <a:solidFill>
                    <a:schemeClr val="tx1">
                      <a:lumMod val="75000"/>
                      <a:lumOff val="25000"/>
                    </a:schemeClr>
                  </a:solidFill>
                  <a:latin typeface="+mj-lt"/>
                  <a:ea typeface="MS PGothic" pitchFamily="34" charset="-128"/>
                  <a:cs typeface="Arial" charset="0"/>
                </a:rPr>
                <a:t>This is an example text.Go ahead an replace it with your ow</a:t>
              </a:r>
              <a:r>
                <a:rPr lang="id-ID" sz="1200" noProof="1">
                  <a:solidFill>
                    <a:schemeClr val="tx1">
                      <a:lumMod val="75000"/>
                      <a:lumOff val="25000"/>
                    </a:schemeClr>
                  </a:solidFill>
                  <a:latin typeface="+mj-lt"/>
                  <a:ea typeface="MS PGothic" pitchFamily="34" charset="-128"/>
                  <a:cs typeface="Arial" charset="0"/>
                </a:rPr>
                <a:t>\</a:t>
              </a:r>
              <a:r>
                <a:rPr lang="en-US" sz="1200" noProof="1">
                  <a:solidFill>
                    <a:schemeClr val="tx1">
                      <a:lumMod val="75000"/>
                      <a:lumOff val="25000"/>
                    </a:schemeClr>
                  </a:solidFill>
                  <a:latin typeface="+mj-lt"/>
                  <a:ea typeface="MS PGothic" pitchFamily="34" charset="-128"/>
                  <a:cs typeface="Arial" charset="0"/>
                </a:rPr>
                <a:t>n text. This is an example text.Go ahead an replace it with your own text</a:t>
              </a:r>
            </a:p>
          </p:txBody>
        </p:sp>
        <p:sp>
          <p:nvSpPr>
            <p:cNvPr id="87" name="TextBox 98"/>
            <p:cNvSpPr txBox="1">
              <a:spLocks noChangeArrowheads="1"/>
            </p:cNvSpPr>
            <p:nvPr/>
          </p:nvSpPr>
          <p:spPr bwMode="auto">
            <a:xfrm>
              <a:off x="4751755" y="4428053"/>
              <a:ext cx="2414611" cy="3683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r>
                <a:rPr lang="en-US" b="1" dirty="0" smtClean="0">
                  <a:solidFill>
                    <a:schemeClr val="tx2">
                      <a:lumMod val="75000"/>
                    </a:schemeClr>
                  </a:solidFill>
                  <a:latin typeface="+mj-lt"/>
                  <a:cs typeface="+mn-cs"/>
                </a:rPr>
                <a:t>Limitations</a:t>
              </a:r>
            </a:p>
          </p:txBody>
        </p:sp>
        <p:grpSp>
          <p:nvGrpSpPr>
            <p:cNvPr id="88" name="Group 64"/>
            <p:cNvGrpSpPr>
              <a:grpSpLocks/>
            </p:cNvGrpSpPr>
            <p:nvPr/>
          </p:nvGrpSpPr>
          <p:grpSpPr bwMode="auto">
            <a:xfrm>
              <a:off x="4385039" y="4382013"/>
              <a:ext cx="376243" cy="403242"/>
              <a:chOff x="-1286386" y="5457685"/>
              <a:chExt cx="376243" cy="403242"/>
            </a:xfrm>
          </p:grpSpPr>
          <p:sp>
            <p:nvSpPr>
              <p:cNvPr id="89" name="Isosceles Triangle 88"/>
              <p:cNvSpPr/>
              <p:nvPr/>
            </p:nvSpPr>
            <p:spPr>
              <a:xfrm rot="5400000">
                <a:off x="-1276073" y="5494998"/>
                <a:ext cx="393717" cy="338142"/>
              </a:xfrm>
              <a:prstGeom prst="triangle">
                <a:avLst/>
              </a:prstGeom>
              <a:solidFill>
                <a:srgbClr val="DB131E"/>
              </a:solidFill>
              <a:ln>
                <a:noFill/>
              </a:ln>
              <a:effectLst/>
            </p:spPr>
            <p:style>
              <a:lnRef idx="1">
                <a:schemeClr val="accent1"/>
              </a:lnRef>
              <a:fillRef idx="3">
                <a:schemeClr val="accent1"/>
              </a:fillRef>
              <a:effectRef idx="2">
                <a:schemeClr val="accent1"/>
              </a:effectRef>
              <a:fontRef idx="minor">
                <a:schemeClr val="lt1"/>
              </a:fontRef>
            </p:style>
            <p:txBody>
              <a:bodyPr lIns="0" tIns="374400" rIns="0" bIns="0" anchor="b"/>
              <a:lstStyle/>
              <a:p>
                <a:pPr algn="ctr">
                  <a:defRPr/>
                </a:pPr>
                <a:endParaRPr lang="id-ID" sz="3200" b="1">
                  <a:solidFill>
                    <a:srgbClr val="D9D9D9"/>
                  </a:solidFill>
                  <a:ea typeface="MS PGothic" pitchFamily="34" charset="-128"/>
                </a:endParaRPr>
              </a:p>
            </p:txBody>
          </p:sp>
          <p:sp>
            <p:nvSpPr>
              <p:cNvPr id="90" name="Rectangle 63"/>
              <p:cNvSpPr>
                <a:spLocks noChangeArrowheads="1"/>
              </p:cNvSpPr>
              <p:nvPr/>
            </p:nvSpPr>
            <p:spPr bwMode="auto">
              <a:xfrm>
                <a:off x="-1286386" y="5457685"/>
                <a:ext cx="2616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id-ID" b="1">
                    <a:solidFill>
                      <a:schemeClr val="bg1"/>
                    </a:solidFill>
                  </a:rPr>
                  <a:t>-</a:t>
                </a:r>
                <a:endParaRPr lang="en-US" b="1">
                  <a:solidFill>
                    <a:schemeClr val="bg1"/>
                  </a:solidFill>
                </a:endParaRPr>
              </a:p>
            </p:txBody>
          </p:sp>
        </p:grpSp>
      </p:grpSp>
      <p:sp>
        <p:nvSpPr>
          <p:cNvPr id="49" name="Title 1"/>
          <p:cNvSpPr>
            <a:spLocks noGrp="1"/>
          </p:cNvSpPr>
          <p:nvPr>
            <p:ph type="title"/>
          </p:nvPr>
        </p:nvSpPr>
        <p:spPr/>
        <p:txBody>
          <a:bodyPr/>
          <a:lstStyle/>
          <a:p>
            <a:pPr>
              <a:lnSpc>
                <a:spcPct val="80000"/>
              </a:lnSpc>
            </a:pPr>
            <a:r>
              <a:rPr lang="en-US"/>
              <a:t>SALES METHOD</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414100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1" name="Straight Connector 220"/>
          <p:cNvCxnSpPr/>
          <p:nvPr/>
        </p:nvCxnSpPr>
        <p:spPr>
          <a:xfrm>
            <a:off x="3987800" y="2396692"/>
            <a:ext cx="1117600" cy="2726267"/>
          </a:xfrm>
          <a:prstGeom prst="line">
            <a:avLst/>
          </a:prstGeom>
          <a:ln w="12700">
            <a:solidFill>
              <a:srgbClr val="0D65AC"/>
            </a:solidFill>
            <a:prstDash val="sysDot"/>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flipH="1">
            <a:off x="3987800" y="2396692"/>
            <a:ext cx="1117600" cy="2726267"/>
          </a:xfrm>
          <a:prstGeom prst="line">
            <a:avLst/>
          </a:prstGeom>
          <a:ln w="12700">
            <a:solidFill>
              <a:srgbClr val="0D65AC"/>
            </a:solidFill>
            <a:prstDash val="sysDot"/>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3385585" y="3227298"/>
            <a:ext cx="2431327" cy="1134041"/>
          </a:xfrm>
          <a:prstGeom prst="line">
            <a:avLst/>
          </a:prstGeom>
          <a:ln w="12700">
            <a:solidFill>
              <a:srgbClr val="0D65AC"/>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flipH="1">
            <a:off x="3385585" y="3227298"/>
            <a:ext cx="2431327" cy="1134041"/>
          </a:xfrm>
          <a:prstGeom prst="line">
            <a:avLst/>
          </a:prstGeom>
          <a:ln w="12700">
            <a:solidFill>
              <a:srgbClr val="0D65AC"/>
            </a:solidFill>
            <a:prstDash val="sysDot"/>
          </a:ln>
        </p:spPr>
        <p:style>
          <a:lnRef idx="1">
            <a:schemeClr val="accent1"/>
          </a:lnRef>
          <a:fillRef idx="0">
            <a:schemeClr val="accent1"/>
          </a:fillRef>
          <a:effectRef idx="0">
            <a:schemeClr val="accent1"/>
          </a:effectRef>
          <a:fontRef idx="minor">
            <a:schemeClr val="tx1"/>
          </a:fontRef>
        </p:style>
      </p:cxnSp>
      <p:sp>
        <p:nvSpPr>
          <p:cNvPr id="4" name="Subtitle 3"/>
          <p:cNvSpPr>
            <a:spLocks noGrp="1"/>
          </p:cNvSpPr>
          <p:nvPr>
            <p:ph type="subTitle" idx="1"/>
          </p:nvPr>
        </p:nvSpPr>
        <p:spPr>
          <a:xfrm>
            <a:off x="628650" y="866381"/>
            <a:ext cx="7891272" cy="243785"/>
          </a:xfrm>
        </p:spPr>
        <p:txBody>
          <a:bodyPr/>
          <a:lstStyle/>
          <a:p>
            <a:pPr>
              <a:lnSpc>
                <a:spcPct val="80000"/>
              </a:lnSpc>
            </a:pPr>
            <a:r>
              <a:rPr lang="en-US" dirty="0" smtClean="0"/>
              <a:t>Pour </a:t>
            </a:r>
            <a:r>
              <a:rPr lang="en-US" dirty="0" err="1" smtClean="0"/>
              <a:t>vous</a:t>
            </a:r>
            <a:r>
              <a:rPr lang="en-US" dirty="0" smtClean="0"/>
              <a:t>, </a:t>
            </a:r>
            <a:r>
              <a:rPr lang="en-US" dirty="0" err="1" smtClean="0"/>
              <a:t>dont</a:t>
            </a:r>
            <a:r>
              <a:rPr lang="en-US" dirty="0" smtClean="0"/>
              <a:t> le capital de </a:t>
            </a:r>
            <a:r>
              <a:rPr lang="en-US" dirty="0" err="1" smtClean="0"/>
              <a:t>notoriété</a:t>
            </a:r>
            <a:r>
              <a:rPr lang="en-US" dirty="0" smtClean="0"/>
              <a:t> </a:t>
            </a:r>
            <a:r>
              <a:rPr lang="en-US" dirty="0" err="1" smtClean="0"/>
              <a:t>sociale</a:t>
            </a:r>
            <a:r>
              <a:rPr lang="en-US" dirty="0" smtClean="0"/>
              <a:t> </a:t>
            </a:r>
            <a:r>
              <a:rPr lang="en-US" dirty="0" err="1" smtClean="0"/>
              <a:t>est</a:t>
            </a:r>
            <a:r>
              <a:rPr lang="en-US" dirty="0" smtClean="0"/>
              <a:t> </a:t>
            </a:r>
            <a:r>
              <a:rPr lang="en-US" dirty="0" err="1" smtClean="0"/>
              <a:t>décisif</a:t>
            </a:r>
            <a:r>
              <a:rPr lang="en-US" dirty="0" smtClean="0"/>
              <a:t> pour </a:t>
            </a:r>
            <a:r>
              <a:rPr lang="en-US" dirty="0" err="1" smtClean="0"/>
              <a:t>votre</a:t>
            </a:r>
            <a:r>
              <a:rPr lang="en-US" dirty="0" smtClean="0"/>
              <a:t> </a:t>
            </a:r>
            <a:r>
              <a:rPr lang="en-US" dirty="0" err="1" smtClean="0"/>
              <a:t>entreprise</a:t>
            </a:r>
            <a:r>
              <a:rPr lang="en-US" dirty="0"/>
              <a:t>.</a:t>
            </a:r>
            <a:endParaRPr lang="en-US" dirty="0"/>
          </a:p>
        </p:txBody>
      </p:sp>
      <p:sp>
        <p:nvSpPr>
          <p:cNvPr id="10" name="Slide Number Placeholder 9"/>
          <p:cNvSpPr>
            <a:spLocks noGrp="1"/>
          </p:cNvSpPr>
          <p:nvPr>
            <p:ph type="sldNum" sz="quarter" idx="12"/>
          </p:nvPr>
        </p:nvSpPr>
        <p:spPr/>
        <p:txBody>
          <a:bodyPr/>
          <a:lstStyle/>
          <a:p>
            <a:fld id="{125C11E9-EA40-D54F-953A-82A4C72DAAAD}" type="slidenum">
              <a:rPr lang="en-US" smtClean="0"/>
              <a:pPr/>
              <a:t>5</a:t>
            </a:fld>
            <a:r>
              <a:rPr lang="en-US" dirty="0" smtClean="0"/>
              <a:t> I</a:t>
            </a:r>
            <a:endParaRPr lang="en-US" dirty="0"/>
          </a:p>
        </p:txBody>
      </p:sp>
      <p:sp>
        <p:nvSpPr>
          <p:cNvPr id="2" name="Title 1"/>
          <p:cNvSpPr>
            <a:spLocks noGrp="1"/>
          </p:cNvSpPr>
          <p:nvPr>
            <p:ph type="title"/>
          </p:nvPr>
        </p:nvSpPr>
        <p:spPr>
          <a:xfrm>
            <a:off x="628650" y="404717"/>
            <a:ext cx="7886700" cy="461665"/>
          </a:xfrm>
        </p:spPr>
        <p:txBody>
          <a:bodyPr/>
          <a:lstStyle/>
          <a:p>
            <a:r>
              <a:rPr lang="en-US" dirty="0" err="1" smtClean="0"/>
              <a:t>DataNest</a:t>
            </a:r>
            <a:r>
              <a:rPr lang="en-US" dirty="0" smtClean="0"/>
              <a:t>, </a:t>
            </a:r>
            <a:r>
              <a:rPr lang="en-US" dirty="0" err="1" smtClean="0"/>
              <a:t>c’est</a:t>
            </a:r>
            <a:r>
              <a:rPr lang="en-US" dirty="0" smtClean="0"/>
              <a:t> pour qui ?</a:t>
            </a:r>
            <a:endParaRPr lang="en-US" dirty="0">
              <a:latin typeface="+mn-lt"/>
            </a:endParaRPr>
          </a:p>
        </p:txBody>
      </p:sp>
      <p:sp>
        <p:nvSpPr>
          <p:cNvPr id="5" name="Date Placeholder 4"/>
          <p:cNvSpPr>
            <a:spLocks noGrp="1"/>
          </p:cNvSpPr>
          <p:nvPr>
            <p:ph type="dt" sz="half" idx="10"/>
          </p:nvPr>
        </p:nvSpPr>
        <p:spPr/>
        <p:txBody>
          <a:bodyPr/>
          <a:lstStyle/>
          <a:p>
            <a:r>
              <a:rPr lang="en-US" smtClean="0"/>
              <a:t>PRESENTER NAME</a:t>
            </a:r>
            <a:endParaRPr lang="en-US"/>
          </a:p>
        </p:txBody>
      </p:sp>
      <p:sp>
        <p:nvSpPr>
          <p:cNvPr id="6" name="Footer Placeholder 5"/>
          <p:cNvSpPr>
            <a:spLocks noGrp="1"/>
          </p:cNvSpPr>
          <p:nvPr>
            <p:ph type="ftr" sz="quarter" idx="11"/>
          </p:nvPr>
        </p:nvSpPr>
        <p:spPr/>
        <p:txBody>
          <a:bodyPr/>
          <a:lstStyle/>
          <a:p>
            <a:r>
              <a:rPr lang="en-US" smtClean="0"/>
              <a:t>COMPANY NAME</a:t>
            </a:r>
            <a:endParaRPr lang="en-US"/>
          </a:p>
        </p:txBody>
      </p:sp>
      <p:sp>
        <p:nvSpPr>
          <p:cNvPr id="201" name="Oval 200"/>
          <p:cNvSpPr/>
          <p:nvPr/>
        </p:nvSpPr>
        <p:spPr>
          <a:xfrm>
            <a:off x="2405304" y="2480308"/>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2" name="Oval 201"/>
          <p:cNvSpPr/>
          <p:nvPr/>
        </p:nvSpPr>
        <p:spPr>
          <a:xfrm>
            <a:off x="2405304" y="3876716"/>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3" name="Oval 202"/>
          <p:cNvSpPr/>
          <p:nvPr/>
        </p:nvSpPr>
        <p:spPr>
          <a:xfrm>
            <a:off x="5638800" y="2480308"/>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4" name="Oval 203"/>
          <p:cNvSpPr/>
          <p:nvPr/>
        </p:nvSpPr>
        <p:spPr>
          <a:xfrm>
            <a:off x="5638800" y="3876717"/>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5" name="Oval 204"/>
          <p:cNvSpPr/>
          <p:nvPr/>
        </p:nvSpPr>
        <p:spPr>
          <a:xfrm>
            <a:off x="3352800" y="1524000"/>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6" name="Oval 205"/>
          <p:cNvSpPr/>
          <p:nvPr/>
        </p:nvSpPr>
        <p:spPr>
          <a:xfrm>
            <a:off x="4648200" y="1524000"/>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7" name="Oval 206"/>
          <p:cNvSpPr/>
          <p:nvPr/>
        </p:nvSpPr>
        <p:spPr>
          <a:xfrm>
            <a:off x="3352800" y="4800600"/>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8" name="Oval 207"/>
          <p:cNvSpPr/>
          <p:nvPr/>
        </p:nvSpPr>
        <p:spPr>
          <a:xfrm>
            <a:off x="4648200" y="4800600"/>
            <a:ext cx="1135927" cy="1135927"/>
          </a:xfrm>
          <a:prstGeom prst="ellipse">
            <a:avLst/>
          </a:prstGeom>
          <a:solidFill>
            <a:srgbClr val="D5D5D5"/>
          </a:solidFill>
          <a:ln w="3175">
            <a:noFill/>
            <a:round/>
            <a:headEnd/>
            <a:tailEnd/>
          </a:ln>
          <a:effectLst>
            <a:innerShdw dist="38100" dir="5400000">
              <a:prstClr val="black">
                <a:alpha val="20000"/>
              </a:prstClr>
            </a:innerShdw>
          </a:effectLst>
        </p:spPr>
        <p:txBody>
          <a:bodyPr rtlCol="0" anchor="ctr"/>
          <a:lstStyle/>
          <a:p>
            <a:endParaRPr lang="en-US" sz="1600" b="1">
              <a:solidFill>
                <a:schemeClr val="bg1"/>
              </a:solidFill>
            </a:endParaRPr>
          </a:p>
        </p:txBody>
      </p:sp>
      <p:sp>
        <p:nvSpPr>
          <p:cNvPr id="209" name="Rectangle 208"/>
          <p:cNvSpPr/>
          <p:nvPr/>
        </p:nvSpPr>
        <p:spPr>
          <a:xfrm>
            <a:off x="3276600" y="1792069"/>
            <a:ext cx="1289217" cy="646331"/>
          </a:xfrm>
          <a:prstGeom prst="rect">
            <a:avLst/>
          </a:prstGeom>
        </p:spPr>
        <p:txBody>
          <a:bodyPr wrap="square">
            <a:spAutoFit/>
          </a:bodyPr>
          <a:lstStyle/>
          <a:p>
            <a:pPr algn="ctr"/>
            <a:r>
              <a:rPr lang="en-US" sz="1200" b="1" dirty="0" smtClean="0">
                <a:solidFill>
                  <a:srgbClr val="000000"/>
                </a:solidFill>
              </a:rPr>
              <a:t>Les </a:t>
            </a:r>
            <a:r>
              <a:rPr lang="en-US" sz="1200" b="1" dirty="0" err="1" smtClean="0">
                <a:solidFill>
                  <a:srgbClr val="000000"/>
                </a:solidFill>
              </a:rPr>
              <a:t>personalités</a:t>
            </a:r>
            <a:r>
              <a:rPr lang="en-US" sz="1200" b="1" dirty="0" smtClean="0">
                <a:solidFill>
                  <a:srgbClr val="000000"/>
                </a:solidFill>
              </a:rPr>
              <a:t> du </a:t>
            </a:r>
          </a:p>
          <a:p>
            <a:pPr algn="ctr"/>
            <a:r>
              <a:rPr lang="en-US" sz="1200" b="1" dirty="0" smtClean="0">
                <a:solidFill>
                  <a:srgbClr val="000000"/>
                </a:solidFill>
              </a:rPr>
              <a:t>show-business</a:t>
            </a:r>
            <a:endParaRPr lang="en-US" sz="1200" b="1" dirty="0">
              <a:solidFill>
                <a:srgbClr val="000000"/>
              </a:solidFill>
            </a:endParaRPr>
          </a:p>
        </p:txBody>
      </p:sp>
      <p:sp>
        <p:nvSpPr>
          <p:cNvPr id="210" name="Rectangle 209"/>
          <p:cNvSpPr/>
          <p:nvPr/>
        </p:nvSpPr>
        <p:spPr>
          <a:xfrm>
            <a:off x="4590642" y="1953464"/>
            <a:ext cx="1251048" cy="276999"/>
          </a:xfrm>
          <a:prstGeom prst="rect">
            <a:avLst/>
          </a:prstGeom>
        </p:spPr>
        <p:txBody>
          <a:bodyPr wrap="none">
            <a:spAutoFit/>
          </a:bodyPr>
          <a:lstStyle/>
          <a:p>
            <a:pPr algn="ctr"/>
            <a:r>
              <a:rPr lang="en-US" sz="1200" b="1" dirty="0" err="1" smtClean="0">
                <a:solidFill>
                  <a:srgbClr val="000000"/>
                </a:solidFill>
              </a:rPr>
              <a:t>Gouvernements</a:t>
            </a:r>
            <a:endParaRPr lang="en-US" sz="1200" b="1" dirty="0">
              <a:solidFill>
                <a:srgbClr val="000000"/>
              </a:solidFill>
            </a:endParaRPr>
          </a:p>
        </p:txBody>
      </p:sp>
      <p:sp>
        <p:nvSpPr>
          <p:cNvPr id="211" name="Rectangle 210"/>
          <p:cNvSpPr/>
          <p:nvPr/>
        </p:nvSpPr>
        <p:spPr>
          <a:xfrm>
            <a:off x="5719257" y="2817439"/>
            <a:ext cx="975012" cy="461665"/>
          </a:xfrm>
          <a:prstGeom prst="rect">
            <a:avLst/>
          </a:prstGeom>
        </p:spPr>
        <p:txBody>
          <a:bodyPr wrap="square">
            <a:spAutoFit/>
          </a:bodyPr>
          <a:lstStyle/>
          <a:p>
            <a:pPr algn="ctr"/>
            <a:r>
              <a:rPr lang="en-US" sz="1200" b="1" dirty="0" smtClean="0">
                <a:solidFill>
                  <a:srgbClr val="000000"/>
                </a:solidFill>
              </a:rPr>
              <a:t>Offices de </a:t>
            </a:r>
            <a:r>
              <a:rPr lang="en-US" sz="1200" b="1" dirty="0" err="1" smtClean="0">
                <a:solidFill>
                  <a:srgbClr val="000000"/>
                </a:solidFill>
              </a:rPr>
              <a:t>Tourisme</a:t>
            </a:r>
            <a:endParaRPr lang="en-US" sz="1200" b="1" dirty="0">
              <a:solidFill>
                <a:srgbClr val="000000"/>
              </a:solidFill>
            </a:endParaRPr>
          </a:p>
        </p:txBody>
      </p:sp>
      <p:sp>
        <p:nvSpPr>
          <p:cNvPr id="212" name="Rectangle 211"/>
          <p:cNvSpPr/>
          <p:nvPr/>
        </p:nvSpPr>
        <p:spPr>
          <a:xfrm>
            <a:off x="5638800" y="4154269"/>
            <a:ext cx="1138743" cy="646331"/>
          </a:xfrm>
          <a:prstGeom prst="rect">
            <a:avLst/>
          </a:prstGeom>
        </p:spPr>
        <p:txBody>
          <a:bodyPr wrap="square">
            <a:spAutoFit/>
          </a:bodyPr>
          <a:lstStyle/>
          <a:p>
            <a:pPr algn="ctr"/>
            <a:r>
              <a:rPr lang="en-US" sz="1200" b="1" dirty="0" err="1" smtClean="0">
                <a:solidFill>
                  <a:srgbClr val="000000"/>
                </a:solidFill>
              </a:rPr>
              <a:t>Sociétés</a:t>
            </a:r>
            <a:r>
              <a:rPr lang="en-US" sz="1200" b="1" dirty="0" smtClean="0">
                <a:solidFill>
                  <a:srgbClr val="000000"/>
                </a:solidFill>
              </a:rPr>
              <a:t> à fort aspect </a:t>
            </a:r>
            <a:r>
              <a:rPr lang="en-US" sz="1200" b="1" dirty="0" err="1" smtClean="0">
                <a:solidFill>
                  <a:srgbClr val="000000"/>
                </a:solidFill>
              </a:rPr>
              <a:t>technologique</a:t>
            </a:r>
            <a:endParaRPr lang="en-US" sz="1200" b="1" dirty="0">
              <a:solidFill>
                <a:srgbClr val="000000"/>
              </a:solidFill>
            </a:endParaRPr>
          </a:p>
        </p:txBody>
      </p:sp>
      <p:sp>
        <p:nvSpPr>
          <p:cNvPr id="213" name="Rectangle 212"/>
          <p:cNvSpPr/>
          <p:nvPr/>
        </p:nvSpPr>
        <p:spPr>
          <a:xfrm>
            <a:off x="4728657" y="4960203"/>
            <a:ext cx="975012" cy="830997"/>
          </a:xfrm>
          <a:prstGeom prst="rect">
            <a:avLst/>
          </a:prstGeom>
        </p:spPr>
        <p:txBody>
          <a:bodyPr wrap="square">
            <a:spAutoFit/>
          </a:bodyPr>
          <a:lstStyle/>
          <a:p>
            <a:pPr algn="ctr"/>
            <a:r>
              <a:rPr lang="en-US" sz="1200" b="1" dirty="0" err="1" smtClean="0">
                <a:solidFill>
                  <a:srgbClr val="000000"/>
                </a:solidFill>
              </a:rPr>
              <a:t>Société</a:t>
            </a:r>
            <a:r>
              <a:rPr lang="en-US" sz="1200" b="1" dirty="0" smtClean="0">
                <a:solidFill>
                  <a:srgbClr val="000000"/>
                </a:solidFill>
              </a:rPr>
              <a:t> au </a:t>
            </a:r>
            <a:r>
              <a:rPr lang="en-US" sz="1200" b="1" dirty="0" err="1" smtClean="0">
                <a:solidFill>
                  <a:srgbClr val="000000"/>
                </a:solidFill>
              </a:rPr>
              <a:t>spectre</a:t>
            </a:r>
            <a:r>
              <a:rPr lang="en-US" sz="1200" b="1" dirty="0" smtClean="0">
                <a:solidFill>
                  <a:srgbClr val="000000"/>
                </a:solidFill>
              </a:rPr>
              <a:t>-client large </a:t>
            </a:r>
            <a:r>
              <a:rPr lang="en-US" sz="1200" b="1" dirty="0" err="1" smtClean="0">
                <a:solidFill>
                  <a:srgbClr val="000000"/>
                </a:solidFill>
              </a:rPr>
              <a:t>bande</a:t>
            </a:r>
            <a:r>
              <a:rPr lang="en-US" sz="1200" b="1" dirty="0" smtClean="0">
                <a:solidFill>
                  <a:srgbClr val="000000"/>
                </a:solidFill>
              </a:rPr>
              <a:t>.</a:t>
            </a:r>
            <a:endParaRPr lang="en-US" sz="1200" b="1" dirty="0">
              <a:solidFill>
                <a:srgbClr val="000000"/>
              </a:solidFill>
            </a:endParaRPr>
          </a:p>
        </p:txBody>
      </p:sp>
      <p:sp>
        <p:nvSpPr>
          <p:cNvPr id="214" name="Rectangle 213"/>
          <p:cNvSpPr/>
          <p:nvPr/>
        </p:nvSpPr>
        <p:spPr>
          <a:xfrm>
            <a:off x="3402634" y="4960203"/>
            <a:ext cx="1059727" cy="830997"/>
          </a:xfrm>
          <a:prstGeom prst="rect">
            <a:avLst/>
          </a:prstGeom>
        </p:spPr>
        <p:txBody>
          <a:bodyPr wrap="square">
            <a:spAutoFit/>
          </a:bodyPr>
          <a:lstStyle/>
          <a:p>
            <a:pPr algn="ctr"/>
            <a:r>
              <a:rPr lang="fr-FR" sz="1200" b="1" dirty="0" smtClean="0">
                <a:solidFill>
                  <a:srgbClr val="000000"/>
                </a:solidFill>
              </a:rPr>
              <a:t>Corporations à besoin en recrutement spécifiques.</a:t>
            </a:r>
            <a:endParaRPr lang="en-US" sz="1200" b="1" dirty="0">
              <a:solidFill>
                <a:srgbClr val="000000"/>
              </a:solidFill>
            </a:endParaRPr>
          </a:p>
        </p:txBody>
      </p:sp>
      <p:sp>
        <p:nvSpPr>
          <p:cNvPr id="215" name="Rectangle 214"/>
          <p:cNvSpPr/>
          <p:nvPr/>
        </p:nvSpPr>
        <p:spPr>
          <a:xfrm>
            <a:off x="2485761" y="4213847"/>
            <a:ext cx="975012" cy="461665"/>
          </a:xfrm>
          <a:prstGeom prst="rect">
            <a:avLst/>
          </a:prstGeom>
        </p:spPr>
        <p:txBody>
          <a:bodyPr wrap="square">
            <a:spAutoFit/>
          </a:bodyPr>
          <a:lstStyle/>
          <a:p>
            <a:pPr algn="ctr"/>
            <a:r>
              <a:rPr lang="en-US" sz="1200" b="1" dirty="0" smtClean="0">
                <a:solidFill>
                  <a:srgbClr val="000000"/>
                </a:solidFill>
              </a:rPr>
              <a:t>Les </a:t>
            </a:r>
            <a:r>
              <a:rPr lang="en-US" sz="1200" b="1" dirty="0" err="1" smtClean="0">
                <a:solidFill>
                  <a:srgbClr val="000000"/>
                </a:solidFill>
              </a:rPr>
              <a:t>acteurs</a:t>
            </a:r>
            <a:r>
              <a:rPr lang="en-US" sz="1200" b="1" dirty="0" smtClean="0">
                <a:solidFill>
                  <a:srgbClr val="000000"/>
                </a:solidFill>
              </a:rPr>
              <a:t> </a:t>
            </a:r>
            <a:r>
              <a:rPr lang="en-US" sz="1200" b="1" dirty="0" err="1" smtClean="0">
                <a:solidFill>
                  <a:srgbClr val="000000"/>
                </a:solidFill>
              </a:rPr>
              <a:t>politiques</a:t>
            </a:r>
            <a:endParaRPr lang="en-US" sz="1200" b="1" dirty="0">
              <a:solidFill>
                <a:srgbClr val="000000"/>
              </a:solidFill>
            </a:endParaRPr>
          </a:p>
        </p:txBody>
      </p:sp>
      <p:sp>
        <p:nvSpPr>
          <p:cNvPr id="216" name="Rectangle 215"/>
          <p:cNvSpPr/>
          <p:nvPr/>
        </p:nvSpPr>
        <p:spPr>
          <a:xfrm>
            <a:off x="2362200" y="2750403"/>
            <a:ext cx="1248039" cy="830997"/>
          </a:xfrm>
          <a:prstGeom prst="rect">
            <a:avLst/>
          </a:prstGeom>
        </p:spPr>
        <p:txBody>
          <a:bodyPr wrap="square">
            <a:spAutoFit/>
          </a:bodyPr>
          <a:lstStyle/>
          <a:p>
            <a:pPr algn="ctr"/>
            <a:r>
              <a:rPr lang="en-US" sz="1200" b="1" dirty="0" smtClean="0">
                <a:solidFill>
                  <a:srgbClr val="000000"/>
                </a:solidFill>
              </a:rPr>
              <a:t>Les </a:t>
            </a:r>
            <a:r>
              <a:rPr lang="en-US" sz="1200" b="1" dirty="0" err="1" smtClean="0">
                <a:solidFill>
                  <a:srgbClr val="000000"/>
                </a:solidFill>
              </a:rPr>
              <a:t>investisseurs</a:t>
            </a:r>
            <a:r>
              <a:rPr lang="en-US" sz="1200" b="1" dirty="0" smtClean="0">
                <a:solidFill>
                  <a:srgbClr val="000000"/>
                </a:solidFill>
              </a:rPr>
              <a:t> se </a:t>
            </a:r>
            <a:r>
              <a:rPr lang="en-US" sz="1200" b="1" dirty="0" err="1" smtClean="0">
                <a:solidFill>
                  <a:srgbClr val="000000"/>
                </a:solidFill>
              </a:rPr>
              <a:t>tournant</a:t>
            </a:r>
            <a:r>
              <a:rPr lang="en-US" sz="1200" b="1" dirty="0" smtClean="0">
                <a:solidFill>
                  <a:srgbClr val="000000"/>
                </a:solidFill>
              </a:rPr>
              <a:t> </a:t>
            </a:r>
            <a:r>
              <a:rPr lang="en-US" sz="1200" b="1" dirty="0" err="1" smtClean="0">
                <a:solidFill>
                  <a:srgbClr val="000000"/>
                </a:solidFill>
              </a:rPr>
              <a:t>vers</a:t>
            </a:r>
            <a:r>
              <a:rPr lang="en-US" sz="1200" b="1" dirty="0" smtClean="0">
                <a:solidFill>
                  <a:srgbClr val="000000"/>
                </a:solidFill>
              </a:rPr>
              <a:t> un nouveau </a:t>
            </a:r>
            <a:r>
              <a:rPr lang="en-US" sz="1200" b="1" dirty="0" err="1" smtClean="0">
                <a:solidFill>
                  <a:srgbClr val="000000"/>
                </a:solidFill>
              </a:rPr>
              <a:t>marché</a:t>
            </a:r>
            <a:endParaRPr lang="en-US" sz="1200" b="1" dirty="0">
              <a:solidFill>
                <a:srgbClr val="000000"/>
              </a:solidFill>
            </a:endParaRPr>
          </a:p>
        </p:txBody>
      </p:sp>
      <p:grpSp>
        <p:nvGrpSpPr>
          <p:cNvPr id="224" name="Group 223"/>
          <p:cNvGrpSpPr/>
          <p:nvPr/>
        </p:nvGrpSpPr>
        <p:grpSpPr>
          <a:xfrm>
            <a:off x="3541231" y="2716866"/>
            <a:ext cx="2061539" cy="2061539"/>
            <a:chOff x="3541231" y="2716866"/>
            <a:chExt cx="2061539" cy="2061539"/>
          </a:xfrm>
        </p:grpSpPr>
        <p:sp>
          <p:nvSpPr>
            <p:cNvPr id="200" name="Oval 199"/>
            <p:cNvSpPr/>
            <p:nvPr/>
          </p:nvSpPr>
          <p:spPr>
            <a:xfrm>
              <a:off x="3541231" y="2716866"/>
              <a:ext cx="2061539" cy="2061539"/>
            </a:xfrm>
            <a:prstGeom prst="ellipse">
              <a:avLst/>
            </a:prstGeom>
            <a:solidFill>
              <a:srgbClr val="0D65AC"/>
            </a:solidFill>
            <a:ln w="3175">
              <a:noFill/>
              <a:round/>
              <a:headEnd/>
              <a:tailEnd/>
            </a:ln>
            <a:effectLst>
              <a:innerShdw dist="38100" dir="5400000">
                <a:prstClr val="black">
                  <a:alpha val="20000"/>
                </a:prstClr>
              </a:innerShdw>
            </a:effectLst>
          </p:spPr>
          <p:txBody>
            <a:bodyPr rtlCol="0" anchor="ctr"/>
            <a:lstStyle/>
            <a:p>
              <a:pPr algn="ctr"/>
              <a:r>
                <a:rPr lang="fr-FR" sz="2400" b="1" dirty="0" smtClean="0">
                  <a:solidFill>
                    <a:schemeClr val="bg1"/>
                  </a:solidFill>
                </a:rPr>
                <a:t>Les prospects de </a:t>
              </a:r>
              <a:r>
                <a:rPr lang="fr-FR" sz="2400" b="1" dirty="0" err="1" smtClean="0">
                  <a:solidFill>
                    <a:schemeClr val="bg1"/>
                  </a:solidFill>
                </a:rPr>
                <a:t>DataNest</a:t>
              </a:r>
              <a:endParaRPr lang="en-US" sz="2400" b="1" dirty="0">
                <a:solidFill>
                  <a:schemeClr val="bg1"/>
                </a:solidFill>
              </a:endParaRPr>
            </a:p>
          </p:txBody>
        </p:sp>
        <p:sp>
          <p:nvSpPr>
            <p:cNvPr id="223" name="Oval 222"/>
            <p:cNvSpPr/>
            <p:nvPr/>
          </p:nvSpPr>
          <p:spPr>
            <a:xfrm>
              <a:off x="3625702" y="2801337"/>
              <a:ext cx="1892597" cy="1892597"/>
            </a:xfrm>
            <a:prstGeom prst="ellipse">
              <a:avLst/>
            </a:prstGeom>
            <a:noFill/>
            <a:ln>
              <a:solidFill>
                <a:srgbClr val="D5D5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1782589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4"/>
                                        </p:tgtEl>
                                        <p:attrNameLst>
                                          <p:attrName>style.visibility</p:attrName>
                                        </p:attrNameLst>
                                      </p:cBhvr>
                                      <p:to>
                                        <p:strVal val="visible"/>
                                      </p:to>
                                    </p:set>
                                    <p:animEffect transition="in" filter="fade">
                                      <p:cBhvr>
                                        <p:cTn id="7" dur="500"/>
                                        <p:tgtEl>
                                          <p:spTgt spid="2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6"/>
                                        </p:tgtEl>
                                        <p:attrNameLst>
                                          <p:attrName>style.visibility</p:attrName>
                                        </p:attrNameLst>
                                      </p:cBhvr>
                                      <p:to>
                                        <p:strVal val="visible"/>
                                      </p:to>
                                    </p:set>
                                    <p:animEffect transition="in" filter="fade">
                                      <p:cBhvr>
                                        <p:cTn id="12" dur="500"/>
                                        <p:tgtEl>
                                          <p:spTgt spid="20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0"/>
                                        </p:tgtEl>
                                        <p:attrNameLst>
                                          <p:attrName>style.visibility</p:attrName>
                                        </p:attrNameLst>
                                      </p:cBhvr>
                                      <p:to>
                                        <p:strVal val="visible"/>
                                      </p:to>
                                    </p:set>
                                    <p:animEffect transition="in" filter="fade">
                                      <p:cBhvr>
                                        <p:cTn id="15" dur="500"/>
                                        <p:tgtEl>
                                          <p:spTgt spid="2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03"/>
                                        </p:tgtEl>
                                        <p:attrNameLst>
                                          <p:attrName>style.visibility</p:attrName>
                                        </p:attrNameLst>
                                      </p:cBhvr>
                                      <p:to>
                                        <p:strVal val="visible"/>
                                      </p:to>
                                    </p:set>
                                    <p:animEffect transition="in" filter="fade">
                                      <p:cBhvr>
                                        <p:cTn id="20" dur="500"/>
                                        <p:tgtEl>
                                          <p:spTgt spid="20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11"/>
                                        </p:tgtEl>
                                        <p:attrNameLst>
                                          <p:attrName>style.visibility</p:attrName>
                                        </p:attrNameLst>
                                      </p:cBhvr>
                                      <p:to>
                                        <p:strVal val="visible"/>
                                      </p:to>
                                    </p:set>
                                    <p:animEffect transition="in" filter="fade">
                                      <p:cBhvr>
                                        <p:cTn id="23" dur="500"/>
                                        <p:tgtEl>
                                          <p:spTgt spid="21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12"/>
                                        </p:tgtEl>
                                        <p:attrNameLst>
                                          <p:attrName>style.visibility</p:attrName>
                                        </p:attrNameLst>
                                      </p:cBhvr>
                                      <p:to>
                                        <p:strVal val="visible"/>
                                      </p:to>
                                    </p:set>
                                    <p:animEffect transition="in" filter="fade">
                                      <p:cBhvr>
                                        <p:cTn id="28" dur="500"/>
                                        <p:tgtEl>
                                          <p:spTgt spid="21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04"/>
                                        </p:tgtEl>
                                        <p:attrNameLst>
                                          <p:attrName>style.visibility</p:attrName>
                                        </p:attrNameLst>
                                      </p:cBhvr>
                                      <p:to>
                                        <p:strVal val="visible"/>
                                      </p:to>
                                    </p:set>
                                    <p:animEffect transition="in" filter="fade">
                                      <p:cBhvr>
                                        <p:cTn id="31" dur="500"/>
                                        <p:tgtEl>
                                          <p:spTgt spid="20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13"/>
                                        </p:tgtEl>
                                        <p:attrNameLst>
                                          <p:attrName>style.visibility</p:attrName>
                                        </p:attrNameLst>
                                      </p:cBhvr>
                                      <p:to>
                                        <p:strVal val="visible"/>
                                      </p:to>
                                    </p:set>
                                    <p:animEffect transition="in" filter="fade">
                                      <p:cBhvr>
                                        <p:cTn id="36" dur="500"/>
                                        <p:tgtEl>
                                          <p:spTgt spid="2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8"/>
                                        </p:tgtEl>
                                        <p:attrNameLst>
                                          <p:attrName>style.visibility</p:attrName>
                                        </p:attrNameLst>
                                      </p:cBhvr>
                                      <p:to>
                                        <p:strVal val="visible"/>
                                      </p:to>
                                    </p:set>
                                    <p:animEffect transition="in" filter="fade">
                                      <p:cBhvr>
                                        <p:cTn id="39" dur="500"/>
                                        <p:tgtEl>
                                          <p:spTgt spid="208"/>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14"/>
                                        </p:tgtEl>
                                        <p:attrNameLst>
                                          <p:attrName>style.visibility</p:attrName>
                                        </p:attrNameLst>
                                      </p:cBhvr>
                                      <p:to>
                                        <p:strVal val="visible"/>
                                      </p:to>
                                    </p:set>
                                    <p:animEffect transition="in" filter="fade">
                                      <p:cBhvr>
                                        <p:cTn id="44" dur="500"/>
                                        <p:tgtEl>
                                          <p:spTgt spid="21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7"/>
                                        </p:tgtEl>
                                        <p:attrNameLst>
                                          <p:attrName>style.visibility</p:attrName>
                                        </p:attrNameLst>
                                      </p:cBhvr>
                                      <p:to>
                                        <p:strVal val="visible"/>
                                      </p:to>
                                    </p:set>
                                    <p:animEffect transition="in" filter="fade">
                                      <p:cBhvr>
                                        <p:cTn id="47" dur="500"/>
                                        <p:tgtEl>
                                          <p:spTgt spid="20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2"/>
                                        </p:tgtEl>
                                        <p:attrNameLst>
                                          <p:attrName>style.visibility</p:attrName>
                                        </p:attrNameLst>
                                      </p:cBhvr>
                                      <p:to>
                                        <p:strVal val="visible"/>
                                      </p:to>
                                    </p:set>
                                    <p:animEffect transition="in" filter="fade">
                                      <p:cBhvr>
                                        <p:cTn id="52" dur="500"/>
                                        <p:tgtEl>
                                          <p:spTgt spid="20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15"/>
                                        </p:tgtEl>
                                        <p:attrNameLst>
                                          <p:attrName>style.visibility</p:attrName>
                                        </p:attrNameLst>
                                      </p:cBhvr>
                                      <p:to>
                                        <p:strVal val="visible"/>
                                      </p:to>
                                    </p:set>
                                    <p:animEffect transition="in" filter="fade">
                                      <p:cBhvr>
                                        <p:cTn id="55" dur="500"/>
                                        <p:tgtEl>
                                          <p:spTgt spid="215"/>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6"/>
                                        </p:tgtEl>
                                        <p:attrNameLst>
                                          <p:attrName>style.visibility</p:attrName>
                                        </p:attrNameLst>
                                      </p:cBhvr>
                                      <p:to>
                                        <p:strVal val="visible"/>
                                      </p:to>
                                    </p:set>
                                    <p:animEffect transition="in" filter="fade">
                                      <p:cBhvr>
                                        <p:cTn id="60" dur="500"/>
                                        <p:tgtEl>
                                          <p:spTgt spid="21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01"/>
                                        </p:tgtEl>
                                        <p:attrNameLst>
                                          <p:attrName>style.visibility</p:attrName>
                                        </p:attrNameLst>
                                      </p:cBhvr>
                                      <p:to>
                                        <p:strVal val="visible"/>
                                      </p:to>
                                    </p:set>
                                    <p:animEffect transition="in" filter="fade">
                                      <p:cBhvr>
                                        <p:cTn id="63" dur="500"/>
                                        <p:tgtEl>
                                          <p:spTgt spid="201"/>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09"/>
                                        </p:tgtEl>
                                        <p:attrNameLst>
                                          <p:attrName>style.visibility</p:attrName>
                                        </p:attrNameLst>
                                      </p:cBhvr>
                                      <p:to>
                                        <p:strVal val="visible"/>
                                      </p:to>
                                    </p:set>
                                    <p:animEffect transition="in" filter="fade">
                                      <p:cBhvr>
                                        <p:cTn id="68" dur="500"/>
                                        <p:tgtEl>
                                          <p:spTgt spid="20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05"/>
                                        </p:tgtEl>
                                        <p:attrNameLst>
                                          <p:attrName>style.visibility</p:attrName>
                                        </p:attrNameLst>
                                      </p:cBhvr>
                                      <p:to>
                                        <p:strVal val="visible"/>
                                      </p:to>
                                    </p:set>
                                    <p:animEffect transition="in" filter="fade">
                                      <p:cBhvr>
                                        <p:cTn id="71" dur="500"/>
                                        <p:tgtEl>
                                          <p:spTgt spid="205"/>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218"/>
                                        </p:tgtEl>
                                        <p:attrNameLst>
                                          <p:attrName>style.visibility</p:attrName>
                                        </p:attrNameLst>
                                      </p:cBhvr>
                                      <p:to>
                                        <p:strVal val="visible"/>
                                      </p:to>
                                    </p:set>
                                    <p:animEffect transition="in" filter="fade">
                                      <p:cBhvr>
                                        <p:cTn id="76" dur="500"/>
                                        <p:tgtEl>
                                          <p:spTgt spid="218"/>
                                        </p:tgtEl>
                                      </p:cBhvr>
                                    </p:animEffect>
                                  </p:childTnLst>
                                </p:cTn>
                              </p:par>
                              <p:par>
                                <p:cTn id="77" presetID="10" presetClass="entr" presetSubtype="0" fill="hold" nodeType="withEffect">
                                  <p:stCondLst>
                                    <p:cond delay="0"/>
                                  </p:stCondLst>
                                  <p:childTnLst>
                                    <p:set>
                                      <p:cBhvr>
                                        <p:cTn id="78" dur="1" fill="hold">
                                          <p:stCondLst>
                                            <p:cond delay="0"/>
                                          </p:stCondLst>
                                        </p:cTn>
                                        <p:tgtEl>
                                          <p:spTgt spid="219"/>
                                        </p:tgtEl>
                                        <p:attrNameLst>
                                          <p:attrName>style.visibility</p:attrName>
                                        </p:attrNameLst>
                                      </p:cBhvr>
                                      <p:to>
                                        <p:strVal val="visible"/>
                                      </p:to>
                                    </p:set>
                                    <p:animEffect transition="in" filter="fade">
                                      <p:cBhvr>
                                        <p:cTn id="79" dur="500"/>
                                        <p:tgtEl>
                                          <p:spTgt spid="219"/>
                                        </p:tgtEl>
                                      </p:cBhvr>
                                    </p:animEffect>
                                  </p:childTnLst>
                                </p:cTn>
                              </p:par>
                              <p:par>
                                <p:cTn id="80" presetID="10" presetClass="entr" presetSubtype="0" fill="hold" nodeType="withEffect">
                                  <p:stCondLst>
                                    <p:cond delay="0"/>
                                  </p:stCondLst>
                                  <p:childTnLst>
                                    <p:set>
                                      <p:cBhvr>
                                        <p:cTn id="81" dur="1" fill="hold">
                                          <p:stCondLst>
                                            <p:cond delay="0"/>
                                          </p:stCondLst>
                                        </p:cTn>
                                        <p:tgtEl>
                                          <p:spTgt spid="222"/>
                                        </p:tgtEl>
                                        <p:attrNameLst>
                                          <p:attrName>style.visibility</p:attrName>
                                        </p:attrNameLst>
                                      </p:cBhvr>
                                      <p:to>
                                        <p:strVal val="visible"/>
                                      </p:to>
                                    </p:set>
                                    <p:animEffect transition="in" filter="fade">
                                      <p:cBhvr>
                                        <p:cTn id="82" dur="500"/>
                                        <p:tgtEl>
                                          <p:spTgt spid="222"/>
                                        </p:tgtEl>
                                      </p:cBhvr>
                                    </p:animEffect>
                                  </p:childTnLst>
                                </p:cTn>
                              </p:par>
                              <p:par>
                                <p:cTn id="83" presetID="10" presetClass="entr" presetSubtype="0" fill="hold" nodeType="withEffect">
                                  <p:stCondLst>
                                    <p:cond delay="0"/>
                                  </p:stCondLst>
                                  <p:childTnLst>
                                    <p:set>
                                      <p:cBhvr>
                                        <p:cTn id="84" dur="1" fill="hold">
                                          <p:stCondLst>
                                            <p:cond delay="0"/>
                                          </p:stCondLst>
                                        </p:cTn>
                                        <p:tgtEl>
                                          <p:spTgt spid="221"/>
                                        </p:tgtEl>
                                        <p:attrNameLst>
                                          <p:attrName>style.visibility</p:attrName>
                                        </p:attrNameLst>
                                      </p:cBhvr>
                                      <p:to>
                                        <p:strVal val="visible"/>
                                      </p:to>
                                    </p:set>
                                    <p:animEffect transition="in" filter="fade">
                                      <p:cBhvr>
                                        <p:cTn id="85" dur="500"/>
                                        <p:tgtEl>
                                          <p:spTgt spid="2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02" grpId="0" animBg="1"/>
      <p:bldP spid="203" grpId="0" animBg="1"/>
      <p:bldP spid="204" grpId="0" animBg="1"/>
      <p:bldP spid="205" grpId="0" animBg="1"/>
      <p:bldP spid="206" grpId="0" animBg="1"/>
      <p:bldP spid="207" grpId="0" animBg="1"/>
      <p:bldP spid="208" grpId="0" animBg="1"/>
      <p:bldP spid="209" grpId="0"/>
      <p:bldP spid="210" grpId="0"/>
      <p:bldP spid="211" grpId="0"/>
      <p:bldP spid="212" grpId="0"/>
      <p:bldP spid="213" grpId="0"/>
      <p:bldP spid="214" grpId="0"/>
      <p:bldP spid="215" grpId="0"/>
      <p:bldP spid="21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90"/>
          <p:cNvSpPr>
            <a:spLocks noChangeArrowheads="1"/>
          </p:cNvSpPr>
          <p:nvPr/>
        </p:nvSpPr>
        <p:spPr bwMode="auto">
          <a:xfrm>
            <a:off x="0" y="2566988"/>
            <a:ext cx="9144000" cy="1333500"/>
          </a:xfrm>
          <a:prstGeom prst="rect">
            <a:avLst/>
          </a:prstGeom>
          <a:solidFill>
            <a:schemeClr val="bg1">
              <a:lumMod val="85000"/>
              <a:alpha val="3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en-US">
              <a:solidFill>
                <a:srgbClr val="404040"/>
              </a:solidFill>
              <a:latin typeface="Calibri" charset="0"/>
            </a:endParaRPr>
          </a:p>
        </p:txBody>
      </p:sp>
      <p:sp>
        <p:nvSpPr>
          <p:cNvPr id="3" name="Subtitle 2"/>
          <p:cNvSpPr>
            <a:spLocks noGrp="1"/>
          </p:cNvSpPr>
          <p:nvPr>
            <p:ph type="subTitle" idx="1"/>
          </p:nvPr>
        </p:nvSpPr>
        <p:spPr>
          <a:xfrm>
            <a:off x="628650" y="866381"/>
            <a:ext cx="7891272" cy="243785"/>
          </a:xfrm>
        </p:spPr>
        <p:txBody>
          <a:bodyPr/>
          <a:lstStyle/>
          <a:p>
            <a:pPr>
              <a:lnSpc>
                <a:spcPct val="80000"/>
              </a:lnSpc>
            </a:pPr>
            <a:r>
              <a:rPr lang="en-US"/>
              <a:t>Replace this text</a:t>
            </a:r>
            <a:endParaRPr lang="en-US" dirty="0"/>
          </a:p>
        </p:txBody>
      </p:sp>
      <p:sp>
        <p:nvSpPr>
          <p:cNvPr id="39" name="Slide Number Placeholder 38"/>
          <p:cNvSpPr>
            <a:spLocks noGrp="1"/>
          </p:cNvSpPr>
          <p:nvPr>
            <p:ph type="sldNum" sz="quarter" idx="12"/>
          </p:nvPr>
        </p:nvSpPr>
        <p:spPr/>
        <p:txBody>
          <a:bodyPr/>
          <a:lstStyle/>
          <a:p>
            <a:pPr>
              <a:defRPr/>
            </a:pPr>
            <a:fld id="{AD19CF00-AE30-45AC-A0F3-222CEA30FB4A}" type="slidenum">
              <a:rPr lang="da-DK" smtClean="0"/>
              <a:pPr>
                <a:defRPr/>
              </a:pPr>
              <a:t>50</a:t>
            </a:fld>
            <a:endParaRPr lang="da-DK"/>
          </a:p>
        </p:txBody>
      </p:sp>
      <p:grpSp>
        <p:nvGrpSpPr>
          <p:cNvPr id="94" name="Group 62"/>
          <p:cNvGrpSpPr>
            <a:grpSpLocks/>
          </p:cNvGrpSpPr>
          <p:nvPr/>
        </p:nvGrpSpPr>
        <p:grpSpPr bwMode="auto">
          <a:xfrm>
            <a:off x="3306763" y="1754188"/>
            <a:ext cx="2571750" cy="2519362"/>
            <a:chOff x="-4689792" y="3498062"/>
            <a:chExt cx="2730500" cy="2674937"/>
          </a:xfrm>
          <a:solidFill>
            <a:schemeClr val="accent1">
              <a:lumMod val="50000"/>
            </a:schemeClr>
          </a:solidFill>
        </p:grpSpPr>
        <p:sp>
          <p:nvSpPr>
            <p:cNvPr id="95" name="Donut 45"/>
            <p:cNvSpPr>
              <a:spLocks/>
            </p:cNvSpPr>
            <p:nvPr/>
          </p:nvSpPr>
          <p:spPr bwMode="auto">
            <a:xfrm rot="2119351">
              <a:off x="-4634171" y="4369481"/>
              <a:ext cx="2674879" cy="1080426"/>
            </a:xfrm>
            <a:custGeom>
              <a:avLst/>
              <a:gdLst>
                <a:gd name="T0" fmla="*/ 0 w 3560763"/>
                <a:gd name="T1" fmla="*/ 718344 h 1436688"/>
                <a:gd name="T2" fmla="*/ 1780382 w 3560763"/>
                <a:gd name="T3" fmla="*/ 0 h 1436688"/>
                <a:gd name="T4" fmla="*/ 3560764 w 3560763"/>
                <a:gd name="T5" fmla="*/ 718344 h 1436688"/>
                <a:gd name="T6" fmla="*/ 1780382 w 3560763"/>
                <a:gd name="T7" fmla="*/ 1436688 h 1436688"/>
                <a:gd name="T8" fmla="*/ 0 w 3560763"/>
                <a:gd name="T9" fmla="*/ 718344 h 1436688"/>
                <a:gd name="T10" fmla="*/ 52683 w 3560763"/>
                <a:gd name="T11" fmla="*/ 718344 h 1436688"/>
                <a:gd name="T12" fmla="*/ 1780381 w 3560763"/>
                <a:gd name="T13" fmla="*/ 1384005 h 1436688"/>
                <a:gd name="T14" fmla="*/ 3508079 w 3560763"/>
                <a:gd name="T15" fmla="*/ 718344 h 1436688"/>
                <a:gd name="T16" fmla="*/ 1780381 w 3560763"/>
                <a:gd name="T17" fmla="*/ 52683 h 1436688"/>
                <a:gd name="T18" fmla="*/ 52683 w 3560763"/>
                <a:gd name="T19" fmla="*/ 718344 h 14366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560763" h="1436688">
                  <a:moveTo>
                    <a:pt x="0" y="718344"/>
                  </a:moveTo>
                  <a:cubicBezTo>
                    <a:pt x="0" y="321614"/>
                    <a:pt x="797104" y="0"/>
                    <a:pt x="1780382" y="0"/>
                  </a:cubicBezTo>
                  <a:cubicBezTo>
                    <a:pt x="2763660" y="0"/>
                    <a:pt x="3560764" y="321614"/>
                    <a:pt x="3560764" y="718344"/>
                  </a:cubicBezTo>
                  <a:cubicBezTo>
                    <a:pt x="3560764" y="1115074"/>
                    <a:pt x="2763660" y="1436688"/>
                    <a:pt x="1780382" y="1436688"/>
                  </a:cubicBezTo>
                  <a:cubicBezTo>
                    <a:pt x="797104" y="1436688"/>
                    <a:pt x="0" y="1115074"/>
                    <a:pt x="0" y="718344"/>
                  </a:cubicBezTo>
                  <a:close/>
                  <a:moveTo>
                    <a:pt x="52683" y="718344"/>
                  </a:moveTo>
                  <a:cubicBezTo>
                    <a:pt x="52683" y="1085978"/>
                    <a:pt x="826200" y="1384005"/>
                    <a:pt x="1780381" y="1384005"/>
                  </a:cubicBezTo>
                  <a:cubicBezTo>
                    <a:pt x="2734562" y="1384005"/>
                    <a:pt x="3508079" y="1085978"/>
                    <a:pt x="3508079" y="718344"/>
                  </a:cubicBezTo>
                  <a:cubicBezTo>
                    <a:pt x="3508079" y="350710"/>
                    <a:pt x="2734562" y="52683"/>
                    <a:pt x="1780381" y="52683"/>
                  </a:cubicBezTo>
                  <a:cubicBezTo>
                    <a:pt x="826200" y="52683"/>
                    <a:pt x="52683" y="350710"/>
                    <a:pt x="52683" y="718344"/>
                  </a:cubicBezTo>
                  <a:close/>
                </a:path>
              </a:pathLst>
            </a:custGeom>
            <a:grpFill/>
            <a:ln>
              <a:noFill/>
            </a:ln>
          </p:spPr>
          <p:txBody>
            <a:bodyPr anchor="ctr"/>
            <a:lstStyle/>
            <a:p>
              <a:pPr>
                <a:defRPr/>
              </a:pPr>
              <a:endParaRPr lang="en-US"/>
            </a:p>
          </p:txBody>
        </p:sp>
        <p:sp>
          <p:nvSpPr>
            <p:cNvPr id="96" name="Donut 46"/>
            <p:cNvSpPr>
              <a:spLocks/>
            </p:cNvSpPr>
            <p:nvPr/>
          </p:nvSpPr>
          <p:spPr bwMode="auto">
            <a:xfrm rot="20121127">
              <a:off x="-4689792" y="4357683"/>
              <a:ext cx="2674878" cy="1078740"/>
            </a:xfrm>
            <a:custGeom>
              <a:avLst/>
              <a:gdLst>
                <a:gd name="T0" fmla="*/ 0 w 3560763"/>
                <a:gd name="T1" fmla="*/ 718344 h 1436688"/>
                <a:gd name="T2" fmla="*/ 1780382 w 3560763"/>
                <a:gd name="T3" fmla="*/ 0 h 1436688"/>
                <a:gd name="T4" fmla="*/ 3560764 w 3560763"/>
                <a:gd name="T5" fmla="*/ 718344 h 1436688"/>
                <a:gd name="T6" fmla="*/ 1780382 w 3560763"/>
                <a:gd name="T7" fmla="*/ 1436688 h 1436688"/>
                <a:gd name="T8" fmla="*/ 0 w 3560763"/>
                <a:gd name="T9" fmla="*/ 718344 h 1436688"/>
                <a:gd name="T10" fmla="*/ 54953 w 3560763"/>
                <a:gd name="T11" fmla="*/ 718344 h 1436688"/>
                <a:gd name="T12" fmla="*/ 1780381 w 3560763"/>
                <a:gd name="T13" fmla="*/ 1381735 h 1436688"/>
                <a:gd name="T14" fmla="*/ 3505809 w 3560763"/>
                <a:gd name="T15" fmla="*/ 718344 h 1436688"/>
                <a:gd name="T16" fmla="*/ 1780381 w 3560763"/>
                <a:gd name="T17" fmla="*/ 54953 h 1436688"/>
                <a:gd name="T18" fmla="*/ 54953 w 3560763"/>
                <a:gd name="T19" fmla="*/ 718344 h 14366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560763" h="1436688">
                  <a:moveTo>
                    <a:pt x="0" y="718344"/>
                  </a:moveTo>
                  <a:cubicBezTo>
                    <a:pt x="0" y="321614"/>
                    <a:pt x="797104" y="0"/>
                    <a:pt x="1780382" y="0"/>
                  </a:cubicBezTo>
                  <a:cubicBezTo>
                    <a:pt x="2763660" y="0"/>
                    <a:pt x="3560764" y="321614"/>
                    <a:pt x="3560764" y="718344"/>
                  </a:cubicBezTo>
                  <a:cubicBezTo>
                    <a:pt x="3560764" y="1115074"/>
                    <a:pt x="2763660" y="1436688"/>
                    <a:pt x="1780382" y="1436688"/>
                  </a:cubicBezTo>
                  <a:cubicBezTo>
                    <a:pt x="797104" y="1436688"/>
                    <a:pt x="0" y="1115074"/>
                    <a:pt x="0" y="718344"/>
                  </a:cubicBezTo>
                  <a:close/>
                  <a:moveTo>
                    <a:pt x="54953" y="718344"/>
                  </a:moveTo>
                  <a:cubicBezTo>
                    <a:pt x="54953" y="1084725"/>
                    <a:pt x="827453" y="1381735"/>
                    <a:pt x="1780381" y="1381735"/>
                  </a:cubicBezTo>
                  <a:cubicBezTo>
                    <a:pt x="2733309" y="1381735"/>
                    <a:pt x="3505809" y="1084725"/>
                    <a:pt x="3505809" y="718344"/>
                  </a:cubicBezTo>
                  <a:cubicBezTo>
                    <a:pt x="3505809" y="351963"/>
                    <a:pt x="2733309" y="54953"/>
                    <a:pt x="1780381" y="54953"/>
                  </a:cubicBezTo>
                  <a:cubicBezTo>
                    <a:pt x="827453" y="54953"/>
                    <a:pt x="54953" y="351963"/>
                    <a:pt x="54953" y="718344"/>
                  </a:cubicBezTo>
                  <a:close/>
                </a:path>
              </a:pathLst>
            </a:custGeom>
            <a:grpFill/>
            <a:ln>
              <a:noFill/>
            </a:ln>
          </p:spPr>
          <p:txBody>
            <a:bodyPr anchor="ctr"/>
            <a:lstStyle/>
            <a:p>
              <a:pPr>
                <a:defRPr/>
              </a:pPr>
              <a:endParaRPr lang="en-US"/>
            </a:p>
          </p:txBody>
        </p:sp>
        <p:sp>
          <p:nvSpPr>
            <p:cNvPr id="97" name="Donut 47"/>
            <p:cNvSpPr>
              <a:spLocks/>
            </p:cNvSpPr>
            <p:nvPr/>
          </p:nvSpPr>
          <p:spPr bwMode="auto">
            <a:xfrm rot="16154629">
              <a:off x="-4625773" y="4295329"/>
              <a:ext cx="2674937" cy="1080402"/>
            </a:xfrm>
            <a:custGeom>
              <a:avLst/>
              <a:gdLst>
                <a:gd name="T0" fmla="*/ 0 w 3559175"/>
                <a:gd name="T1" fmla="*/ 718344 h 1436687"/>
                <a:gd name="T2" fmla="*/ 1779588 w 3559175"/>
                <a:gd name="T3" fmla="*/ 0 h 1436687"/>
                <a:gd name="T4" fmla="*/ 3559176 w 3559175"/>
                <a:gd name="T5" fmla="*/ 718344 h 1436687"/>
                <a:gd name="T6" fmla="*/ 1779588 w 3559175"/>
                <a:gd name="T7" fmla="*/ 1436688 h 1436687"/>
                <a:gd name="T8" fmla="*/ 0 w 3559175"/>
                <a:gd name="T9" fmla="*/ 718344 h 1436687"/>
                <a:gd name="T10" fmla="*/ 59508 w 3559175"/>
                <a:gd name="T11" fmla="*/ 718344 h 1436687"/>
                <a:gd name="T12" fmla="*/ 1779588 w 3559175"/>
                <a:gd name="T13" fmla="*/ 1377180 h 1436687"/>
                <a:gd name="T14" fmla="*/ 3499668 w 3559175"/>
                <a:gd name="T15" fmla="*/ 718344 h 1436687"/>
                <a:gd name="T16" fmla="*/ 1779588 w 3559175"/>
                <a:gd name="T17" fmla="*/ 59508 h 1436687"/>
                <a:gd name="T18" fmla="*/ 59508 w 3559175"/>
                <a:gd name="T19" fmla="*/ 718344 h 14366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559175" h="1436687">
                  <a:moveTo>
                    <a:pt x="0" y="718344"/>
                  </a:moveTo>
                  <a:cubicBezTo>
                    <a:pt x="0" y="321614"/>
                    <a:pt x="796749" y="0"/>
                    <a:pt x="1779588" y="0"/>
                  </a:cubicBezTo>
                  <a:cubicBezTo>
                    <a:pt x="2762427" y="0"/>
                    <a:pt x="3559176" y="321614"/>
                    <a:pt x="3559176" y="718344"/>
                  </a:cubicBezTo>
                  <a:cubicBezTo>
                    <a:pt x="3559176" y="1115074"/>
                    <a:pt x="2762427" y="1436688"/>
                    <a:pt x="1779588" y="1436688"/>
                  </a:cubicBezTo>
                  <a:cubicBezTo>
                    <a:pt x="796749" y="1436688"/>
                    <a:pt x="0" y="1115074"/>
                    <a:pt x="0" y="718344"/>
                  </a:cubicBezTo>
                  <a:close/>
                  <a:moveTo>
                    <a:pt x="59508" y="718344"/>
                  </a:moveTo>
                  <a:cubicBezTo>
                    <a:pt x="59508" y="1082209"/>
                    <a:pt x="829614" y="1377180"/>
                    <a:pt x="1779588" y="1377180"/>
                  </a:cubicBezTo>
                  <a:cubicBezTo>
                    <a:pt x="2729562" y="1377180"/>
                    <a:pt x="3499668" y="1082209"/>
                    <a:pt x="3499668" y="718344"/>
                  </a:cubicBezTo>
                  <a:cubicBezTo>
                    <a:pt x="3499668" y="354479"/>
                    <a:pt x="2729562" y="59508"/>
                    <a:pt x="1779588" y="59508"/>
                  </a:cubicBezTo>
                  <a:cubicBezTo>
                    <a:pt x="829614" y="59508"/>
                    <a:pt x="59508" y="354479"/>
                    <a:pt x="59508" y="718344"/>
                  </a:cubicBezTo>
                  <a:close/>
                </a:path>
              </a:pathLst>
            </a:custGeom>
            <a:grpFill/>
            <a:ln>
              <a:noFill/>
            </a:ln>
          </p:spPr>
          <p:txBody>
            <a:bodyPr anchor="ctr"/>
            <a:lstStyle/>
            <a:p>
              <a:pPr>
                <a:defRPr/>
              </a:pPr>
              <a:endParaRPr lang="en-US"/>
            </a:p>
          </p:txBody>
        </p:sp>
        <p:grpSp>
          <p:nvGrpSpPr>
            <p:cNvPr id="98" name="Group 79"/>
            <p:cNvGrpSpPr>
              <a:grpSpLocks/>
            </p:cNvGrpSpPr>
            <p:nvPr/>
          </p:nvGrpSpPr>
          <p:grpSpPr bwMode="auto">
            <a:xfrm>
              <a:off x="-3703779" y="4470612"/>
              <a:ext cx="827579" cy="829281"/>
              <a:chOff x="2270931" y="2822212"/>
              <a:chExt cx="827464" cy="829010"/>
            </a:xfrm>
            <a:grpFill/>
          </p:grpSpPr>
          <p:sp>
            <p:nvSpPr>
              <p:cNvPr id="99" name="Freeform 6"/>
              <p:cNvSpPr>
                <a:spLocks/>
              </p:cNvSpPr>
              <p:nvPr/>
            </p:nvSpPr>
            <p:spPr bwMode="auto">
              <a:xfrm>
                <a:off x="2270931" y="2822212"/>
                <a:ext cx="827463" cy="829010"/>
              </a:xfrm>
              <a:custGeom>
                <a:avLst/>
                <a:gdLst>
                  <a:gd name="T0" fmla="*/ 160450729 w 3447"/>
                  <a:gd name="T1" fmla="*/ 762749 h 3447"/>
                  <a:gd name="T2" fmla="*/ 181996212 w 3447"/>
                  <a:gd name="T3" fmla="*/ 4577133 h 3447"/>
                  <a:gd name="T4" fmla="*/ 202274409 w 3447"/>
                  <a:gd name="T5" fmla="*/ 11527652 h 3447"/>
                  <a:gd name="T6" fmla="*/ 221116239 w 3447"/>
                  <a:gd name="T7" fmla="*/ 21105702 h 3447"/>
                  <a:gd name="T8" fmla="*/ 238183548 w 3447"/>
                  <a:gd name="T9" fmla="*/ 33396103 h 3447"/>
                  <a:gd name="T10" fmla="*/ 253392275 w 3447"/>
                  <a:gd name="T11" fmla="*/ 47890250 h 3447"/>
                  <a:gd name="T12" fmla="*/ 266319566 w 3447"/>
                  <a:gd name="T13" fmla="*/ 64503320 h 3447"/>
                  <a:gd name="T14" fmla="*/ 276881040 w 3447"/>
                  <a:gd name="T15" fmla="*/ 82727030 h 3447"/>
                  <a:gd name="T16" fmla="*/ 284654162 w 3447"/>
                  <a:gd name="T17" fmla="*/ 102645878 h 3447"/>
                  <a:gd name="T18" fmla="*/ 289554872 w 3447"/>
                  <a:gd name="T19" fmla="*/ 123921223 h 3447"/>
                  <a:gd name="T20" fmla="*/ 291244695 w 3447"/>
                  <a:gd name="T21" fmla="*/ 146043817 h 3447"/>
                  <a:gd name="T22" fmla="*/ 289554872 w 3447"/>
                  <a:gd name="T23" fmla="*/ 168336052 h 3447"/>
                  <a:gd name="T24" fmla="*/ 284654162 w 3447"/>
                  <a:gd name="T25" fmla="*/ 189526576 h 3447"/>
                  <a:gd name="T26" fmla="*/ 276881040 w 3447"/>
                  <a:gd name="T27" fmla="*/ 209360603 h 3447"/>
                  <a:gd name="T28" fmla="*/ 266319566 w 3447"/>
                  <a:gd name="T29" fmla="*/ 227753955 h 3447"/>
                  <a:gd name="T30" fmla="*/ 253392275 w 3447"/>
                  <a:gd name="T31" fmla="*/ 244282204 h 3447"/>
                  <a:gd name="T32" fmla="*/ 238183548 w 3447"/>
                  <a:gd name="T33" fmla="*/ 258776351 h 3447"/>
                  <a:gd name="T34" fmla="*/ 221116239 w 3447"/>
                  <a:gd name="T35" fmla="*/ 271066752 h 3447"/>
                  <a:gd name="T36" fmla="*/ 202274409 w 3447"/>
                  <a:gd name="T37" fmla="*/ 280729623 h 3447"/>
                  <a:gd name="T38" fmla="*/ 181996212 w 3447"/>
                  <a:gd name="T39" fmla="*/ 287595322 h 3447"/>
                  <a:gd name="T40" fmla="*/ 160450729 w 3447"/>
                  <a:gd name="T41" fmla="*/ 291409705 h 3447"/>
                  <a:gd name="T42" fmla="*/ 138060174 w 3447"/>
                  <a:gd name="T43" fmla="*/ 292002812 h 3447"/>
                  <a:gd name="T44" fmla="*/ 116261233 w 3447"/>
                  <a:gd name="T45" fmla="*/ 289121139 h 3447"/>
                  <a:gd name="T46" fmla="*/ 95560820 w 3447"/>
                  <a:gd name="T47" fmla="*/ 283272652 h 3447"/>
                  <a:gd name="T48" fmla="*/ 76212075 w 3447"/>
                  <a:gd name="T49" fmla="*/ 274457351 h 3447"/>
                  <a:gd name="T50" fmla="*/ 58468773 w 3447"/>
                  <a:gd name="T51" fmla="*/ 263099340 h 3447"/>
                  <a:gd name="T52" fmla="*/ 42668432 w 3447"/>
                  <a:gd name="T53" fmla="*/ 249367943 h 3447"/>
                  <a:gd name="T54" fmla="*/ 28896390 w 3447"/>
                  <a:gd name="T55" fmla="*/ 233432800 h 3447"/>
                  <a:gd name="T56" fmla="*/ 17574224 w 3447"/>
                  <a:gd name="T57" fmla="*/ 215717696 h 3447"/>
                  <a:gd name="T58" fmla="*/ 8787272 w 3447"/>
                  <a:gd name="T59" fmla="*/ 196307454 h 3447"/>
                  <a:gd name="T60" fmla="*/ 2957110 w 3447"/>
                  <a:gd name="T61" fmla="*/ 175540715 h 3447"/>
                  <a:gd name="T62" fmla="*/ 169078 w 3447"/>
                  <a:gd name="T63" fmla="*/ 153672264 h 3447"/>
                  <a:gd name="T64" fmla="*/ 760372 w 3447"/>
                  <a:gd name="T65" fmla="*/ 131125885 h 3447"/>
                  <a:gd name="T66" fmla="*/ 4562554 w 3447"/>
                  <a:gd name="T67" fmla="*/ 109596398 h 3447"/>
                  <a:gd name="T68" fmla="*/ 11490925 w 3447"/>
                  <a:gd name="T69" fmla="*/ 89253765 h 3447"/>
                  <a:gd name="T70" fmla="*/ 21038569 w 3447"/>
                  <a:gd name="T71" fmla="*/ 70351808 h 3447"/>
                  <a:gd name="T72" fmla="*/ 33289866 w 3447"/>
                  <a:gd name="T73" fmla="*/ 53230131 h 3447"/>
                  <a:gd name="T74" fmla="*/ 47653522 w 3447"/>
                  <a:gd name="T75" fmla="*/ 37973236 h 3447"/>
                  <a:gd name="T76" fmla="*/ 64214235 w 3447"/>
                  <a:gd name="T77" fmla="*/ 24919766 h 3447"/>
                  <a:gd name="T78" fmla="*/ 82464452 w 3447"/>
                  <a:gd name="T79" fmla="*/ 14494146 h 3447"/>
                  <a:gd name="T80" fmla="*/ 102320112 w 3447"/>
                  <a:gd name="T81" fmla="*/ 6526735 h 3447"/>
                  <a:gd name="T82" fmla="*/ 123443060 w 3447"/>
                  <a:gd name="T83" fmla="*/ 1695139 h 3447"/>
                  <a:gd name="T84" fmla="*/ 145580158 w 3447"/>
                  <a:gd name="T85" fmla="*/ 0 h 344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447" h="3447">
                    <a:moveTo>
                      <a:pt x="1723" y="0"/>
                    </a:moveTo>
                    <a:lnTo>
                      <a:pt x="1812" y="2"/>
                    </a:lnTo>
                    <a:lnTo>
                      <a:pt x="1899" y="9"/>
                    </a:lnTo>
                    <a:lnTo>
                      <a:pt x="1986" y="20"/>
                    </a:lnTo>
                    <a:lnTo>
                      <a:pt x="2071" y="36"/>
                    </a:lnTo>
                    <a:lnTo>
                      <a:pt x="2154" y="54"/>
                    </a:lnTo>
                    <a:lnTo>
                      <a:pt x="2235" y="77"/>
                    </a:lnTo>
                    <a:lnTo>
                      <a:pt x="2316" y="105"/>
                    </a:lnTo>
                    <a:lnTo>
                      <a:pt x="2394" y="136"/>
                    </a:lnTo>
                    <a:lnTo>
                      <a:pt x="2470" y="171"/>
                    </a:lnTo>
                    <a:lnTo>
                      <a:pt x="2545" y="208"/>
                    </a:lnTo>
                    <a:lnTo>
                      <a:pt x="2617" y="249"/>
                    </a:lnTo>
                    <a:lnTo>
                      <a:pt x="2687" y="294"/>
                    </a:lnTo>
                    <a:lnTo>
                      <a:pt x="2754" y="343"/>
                    </a:lnTo>
                    <a:lnTo>
                      <a:pt x="2819" y="394"/>
                    </a:lnTo>
                    <a:lnTo>
                      <a:pt x="2882" y="448"/>
                    </a:lnTo>
                    <a:lnTo>
                      <a:pt x="2942" y="505"/>
                    </a:lnTo>
                    <a:lnTo>
                      <a:pt x="2999" y="565"/>
                    </a:lnTo>
                    <a:lnTo>
                      <a:pt x="3053" y="628"/>
                    </a:lnTo>
                    <a:lnTo>
                      <a:pt x="3104" y="692"/>
                    </a:lnTo>
                    <a:lnTo>
                      <a:pt x="3152" y="761"/>
                    </a:lnTo>
                    <a:lnTo>
                      <a:pt x="3197" y="830"/>
                    </a:lnTo>
                    <a:lnTo>
                      <a:pt x="3238" y="902"/>
                    </a:lnTo>
                    <a:lnTo>
                      <a:pt x="3277" y="976"/>
                    </a:lnTo>
                    <a:lnTo>
                      <a:pt x="3312" y="1053"/>
                    </a:lnTo>
                    <a:lnTo>
                      <a:pt x="3342" y="1131"/>
                    </a:lnTo>
                    <a:lnTo>
                      <a:pt x="3369" y="1211"/>
                    </a:lnTo>
                    <a:lnTo>
                      <a:pt x="3392" y="1293"/>
                    </a:lnTo>
                    <a:lnTo>
                      <a:pt x="3411" y="1377"/>
                    </a:lnTo>
                    <a:lnTo>
                      <a:pt x="3427" y="1462"/>
                    </a:lnTo>
                    <a:lnTo>
                      <a:pt x="3437" y="1547"/>
                    </a:lnTo>
                    <a:lnTo>
                      <a:pt x="3445" y="1634"/>
                    </a:lnTo>
                    <a:lnTo>
                      <a:pt x="3447" y="1723"/>
                    </a:lnTo>
                    <a:lnTo>
                      <a:pt x="3445" y="1813"/>
                    </a:lnTo>
                    <a:lnTo>
                      <a:pt x="3437" y="1899"/>
                    </a:lnTo>
                    <a:lnTo>
                      <a:pt x="3427" y="1986"/>
                    </a:lnTo>
                    <a:lnTo>
                      <a:pt x="3411" y="2071"/>
                    </a:lnTo>
                    <a:lnTo>
                      <a:pt x="3392" y="2154"/>
                    </a:lnTo>
                    <a:lnTo>
                      <a:pt x="3369" y="2236"/>
                    </a:lnTo>
                    <a:lnTo>
                      <a:pt x="3342" y="2316"/>
                    </a:lnTo>
                    <a:lnTo>
                      <a:pt x="3312" y="2394"/>
                    </a:lnTo>
                    <a:lnTo>
                      <a:pt x="3277" y="2470"/>
                    </a:lnTo>
                    <a:lnTo>
                      <a:pt x="3238" y="2545"/>
                    </a:lnTo>
                    <a:lnTo>
                      <a:pt x="3197" y="2617"/>
                    </a:lnTo>
                    <a:lnTo>
                      <a:pt x="3152" y="2687"/>
                    </a:lnTo>
                    <a:lnTo>
                      <a:pt x="3104" y="2754"/>
                    </a:lnTo>
                    <a:lnTo>
                      <a:pt x="3053" y="2819"/>
                    </a:lnTo>
                    <a:lnTo>
                      <a:pt x="2999" y="2882"/>
                    </a:lnTo>
                    <a:lnTo>
                      <a:pt x="2942" y="2942"/>
                    </a:lnTo>
                    <a:lnTo>
                      <a:pt x="2882" y="3000"/>
                    </a:lnTo>
                    <a:lnTo>
                      <a:pt x="2819" y="3053"/>
                    </a:lnTo>
                    <a:lnTo>
                      <a:pt x="2754" y="3104"/>
                    </a:lnTo>
                    <a:lnTo>
                      <a:pt x="2687" y="3153"/>
                    </a:lnTo>
                    <a:lnTo>
                      <a:pt x="2617" y="3198"/>
                    </a:lnTo>
                    <a:lnTo>
                      <a:pt x="2545" y="3238"/>
                    </a:lnTo>
                    <a:lnTo>
                      <a:pt x="2470" y="3277"/>
                    </a:lnTo>
                    <a:lnTo>
                      <a:pt x="2394" y="3312"/>
                    </a:lnTo>
                    <a:lnTo>
                      <a:pt x="2316" y="3342"/>
                    </a:lnTo>
                    <a:lnTo>
                      <a:pt x="2235" y="3369"/>
                    </a:lnTo>
                    <a:lnTo>
                      <a:pt x="2154" y="3393"/>
                    </a:lnTo>
                    <a:lnTo>
                      <a:pt x="2071" y="3411"/>
                    </a:lnTo>
                    <a:lnTo>
                      <a:pt x="1986" y="3427"/>
                    </a:lnTo>
                    <a:lnTo>
                      <a:pt x="1899" y="3438"/>
                    </a:lnTo>
                    <a:lnTo>
                      <a:pt x="1812" y="3445"/>
                    </a:lnTo>
                    <a:lnTo>
                      <a:pt x="1723" y="3447"/>
                    </a:lnTo>
                    <a:lnTo>
                      <a:pt x="1634" y="3445"/>
                    </a:lnTo>
                    <a:lnTo>
                      <a:pt x="1547" y="3438"/>
                    </a:lnTo>
                    <a:lnTo>
                      <a:pt x="1461" y="3427"/>
                    </a:lnTo>
                    <a:lnTo>
                      <a:pt x="1376" y="3411"/>
                    </a:lnTo>
                    <a:lnTo>
                      <a:pt x="1292" y="3393"/>
                    </a:lnTo>
                    <a:lnTo>
                      <a:pt x="1211" y="3369"/>
                    </a:lnTo>
                    <a:lnTo>
                      <a:pt x="1131" y="3342"/>
                    </a:lnTo>
                    <a:lnTo>
                      <a:pt x="1053" y="3312"/>
                    </a:lnTo>
                    <a:lnTo>
                      <a:pt x="976" y="3277"/>
                    </a:lnTo>
                    <a:lnTo>
                      <a:pt x="902" y="3238"/>
                    </a:lnTo>
                    <a:lnTo>
                      <a:pt x="829" y="3198"/>
                    </a:lnTo>
                    <a:lnTo>
                      <a:pt x="760" y="3153"/>
                    </a:lnTo>
                    <a:lnTo>
                      <a:pt x="692" y="3104"/>
                    </a:lnTo>
                    <a:lnTo>
                      <a:pt x="627" y="3053"/>
                    </a:lnTo>
                    <a:lnTo>
                      <a:pt x="564" y="3000"/>
                    </a:lnTo>
                    <a:lnTo>
                      <a:pt x="505" y="2942"/>
                    </a:lnTo>
                    <a:lnTo>
                      <a:pt x="448" y="2882"/>
                    </a:lnTo>
                    <a:lnTo>
                      <a:pt x="394" y="2819"/>
                    </a:lnTo>
                    <a:lnTo>
                      <a:pt x="342" y="2754"/>
                    </a:lnTo>
                    <a:lnTo>
                      <a:pt x="294" y="2687"/>
                    </a:lnTo>
                    <a:lnTo>
                      <a:pt x="249" y="2617"/>
                    </a:lnTo>
                    <a:lnTo>
                      <a:pt x="208" y="2545"/>
                    </a:lnTo>
                    <a:lnTo>
                      <a:pt x="169" y="2470"/>
                    </a:lnTo>
                    <a:lnTo>
                      <a:pt x="136" y="2394"/>
                    </a:lnTo>
                    <a:lnTo>
                      <a:pt x="104" y="2316"/>
                    </a:lnTo>
                    <a:lnTo>
                      <a:pt x="77" y="2236"/>
                    </a:lnTo>
                    <a:lnTo>
                      <a:pt x="54" y="2154"/>
                    </a:lnTo>
                    <a:lnTo>
                      <a:pt x="35" y="2071"/>
                    </a:lnTo>
                    <a:lnTo>
                      <a:pt x="19" y="1986"/>
                    </a:lnTo>
                    <a:lnTo>
                      <a:pt x="9" y="1899"/>
                    </a:lnTo>
                    <a:lnTo>
                      <a:pt x="2" y="1813"/>
                    </a:lnTo>
                    <a:lnTo>
                      <a:pt x="0" y="1723"/>
                    </a:lnTo>
                    <a:lnTo>
                      <a:pt x="2" y="1634"/>
                    </a:lnTo>
                    <a:lnTo>
                      <a:pt x="9" y="1547"/>
                    </a:lnTo>
                    <a:lnTo>
                      <a:pt x="19" y="1462"/>
                    </a:lnTo>
                    <a:lnTo>
                      <a:pt x="35" y="1377"/>
                    </a:lnTo>
                    <a:lnTo>
                      <a:pt x="54" y="1293"/>
                    </a:lnTo>
                    <a:lnTo>
                      <a:pt x="77" y="1211"/>
                    </a:lnTo>
                    <a:lnTo>
                      <a:pt x="104" y="1131"/>
                    </a:lnTo>
                    <a:lnTo>
                      <a:pt x="136" y="1053"/>
                    </a:lnTo>
                    <a:lnTo>
                      <a:pt x="169" y="976"/>
                    </a:lnTo>
                    <a:lnTo>
                      <a:pt x="208" y="902"/>
                    </a:lnTo>
                    <a:lnTo>
                      <a:pt x="249" y="830"/>
                    </a:lnTo>
                    <a:lnTo>
                      <a:pt x="294" y="761"/>
                    </a:lnTo>
                    <a:lnTo>
                      <a:pt x="342" y="692"/>
                    </a:lnTo>
                    <a:lnTo>
                      <a:pt x="394" y="628"/>
                    </a:lnTo>
                    <a:lnTo>
                      <a:pt x="448" y="565"/>
                    </a:lnTo>
                    <a:lnTo>
                      <a:pt x="505" y="505"/>
                    </a:lnTo>
                    <a:lnTo>
                      <a:pt x="564" y="448"/>
                    </a:lnTo>
                    <a:lnTo>
                      <a:pt x="627" y="394"/>
                    </a:lnTo>
                    <a:lnTo>
                      <a:pt x="692" y="343"/>
                    </a:lnTo>
                    <a:lnTo>
                      <a:pt x="760" y="294"/>
                    </a:lnTo>
                    <a:lnTo>
                      <a:pt x="829" y="249"/>
                    </a:lnTo>
                    <a:lnTo>
                      <a:pt x="902" y="208"/>
                    </a:lnTo>
                    <a:lnTo>
                      <a:pt x="976" y="171"/>
                    </a:lnTo>
                    <a:lnTo>
                      <a:pt x="1053" y="136"/>
                    </a:lnTo>
                    <a:lnTo>
                      <a:pt x="1131" y="105"/>
                    </a:lnTo>
                    <a:lnTo>
                      <a:pt x="1211" y="77"/>
                    </a:lnTo>
                    <a:lnTo>
                      <a:pt x="1292" y="54"/>
                    </a:lnTo>
                    <a:lnTo>
                      <a:pt x="1376" y="36"/>
                    </a:lnTo>
                    <a:lnTo>
                      <a:pt x="1461" y="20"/>
                    </a:lnTo>
                    <a:lnTo>
                      <a:pt x="1547" y="9"/>
                    </a:lnTo>
                    <a:lnTo>
                      <a:pt x="1634" y="2"/>
                    </a:lnTo>
                    <a:lnTo>
                      <a:pt x="1723" y="0"/>
                    </a:lnTo>
                    <a:close/>
                  </a:path>
                </a:pathLst>
              </a:custGeom>
              <a:grpFill/>
              <a:ln>
                <a:noFill/>
              </a:ln>
              <a:extLst>
                <a:ext uri="{91240B29-F687-4F45-9708-019B960494DF}">
                  <a14:hiddenLine xmlns:a14="http://schemas.microsoft.com/office/drawing/2010/main" w="12700" cap="flat" cmpd="sng">
                    <a:solidFill>
                      <a:srgbClr val="000000"/>
                    </a:solidFill>
                    <a:prstDash val="dash"/>
                    <a:round/>
                    <a:headEnd/>
                    <a:tailEnd/>
                  </a14:hiddenLine>
                </a:ext>
              </a:extLst>
            </p:spPr>
            <p:txBody>
              <a:bodyPr anchor="ctr"/>
              <a:lstStyle/>
              <a:p>
                <a:pPr>
                  <a:defRPr/>
                </a:pPr>
                <a:endParaRPr lang="en-US"/>
              </a:p>
            </p:txBody>
          </p:sp>
          <p:sp>
            <p:nvSpPr>
              <p:cNvPr id="100" name="Freeform 7"/>
              <p:cNvSpPr>
                <a:spLocks noEditPoints="1"/>
              </p:cNvSpPr>
              <p:nvPr/>
            </p:nvSpPr>
            <p:spPr bwMode="auto">
              <a:xfrm>
                <a:off x="2289470" y="2827268"/>
                <a:ext cx="808925" cy="820585"/>
              </a:xfrm>
              <a:custGeom>
                <a:avLst/>
                <a:gdLst>
                  <a:gd name="T0" fmla="*/ 2086 w 3368"/>
                  <a:gd name="T1" fmla="*/ 3009 h 3413"/>
                  <a:gd name="T2" fmla="*/ 1977 w 3368"/>
                  <a:gd name="T3" fmla="*/ 2658 h 3413"/>
                  <a:gd name="T4" fmla="*/ 1520 w 3368"/>
                  <a:gd name="T5" fmla="*/ 2419 h 3413"/>
                  <a:gd name="T6" fmla="*/ 1075 w 3368"/>
                  <a:gd name="T7" fmla="*/ 2019 h 3413"/>
                  <a:gd name="T8" fmla="*/ 1605 w 3368"/>
                  <a:gd name="T9" fmla="*/ 1705 h 3413"/>
                  <a:gd name="T10" fmla="*/ 1763 w 3368"/>
                  <a:gd name="T11" fmla="*/ 1480 h 3413"/>
                  <a:gd name="T12" fmla="*/ 1844 w 3368"/>
                  <a:gd name="T13" fmla="*/ 1308 h 3413"/>
                  <a:gd name="T14" fmla="*/ 1409 w 3368"/>
                  <a:gd name="T15" fmla="*/ 1104 h 3413"/>
                  <a:gd name="T16" fmla="*/ 1085 w 3368"/>
                  <a:gd name="T17" fmla="*/ 1192 h 3413"/>
                  <a:gd name="T18" fmla="*/ 1303 w 3368"/>
                  <a:gd name="T19" fmla="*/ 650 h 3413"/>
                  <a:gd name="T20" fmla="*/ 1544 w 3368"/>
                  <a:gd name="T21" fmla="*/ 928 h 3413"/>
                  <a:gd name="T22" fmla="*/ 1640 w 3368"/>
                  <a:gd name="T23" fmla="*/ 645 h 3413"/>
                  <a:gd name="T24" fmla="*/ 1432 w 3368"/>
                  <a:gd name="T25" fmla="*/ 528 h 3413"/>
                  <a:gd name="T26" fmla="*/ 1209 w 3368"/>
                  <a:gd name="T27" fmla="*/ 612 h 3413"/>
                  <a:gd name="T28" fmla="*/ 1225 w 3368"/>
                  <a:gd name="T29" fmla="*/ 449 h 3413"/>
                  <a:gd name="T30" fmla="*/ 1009 w 3368"/>
                  <a:gd name="T31" fmla="*/ 706 h 3413"/>
                  <a:gd name="T32" fmla="*/ 569 w 3368"/>
                  <a:gd name="T33" fmla="*/ 746 h 3413"/>
                  <a:gd name="T34" fmla="*/ 228 w 3368"/>
                  <a:gd name="T35" fmla="*/ 815 h 3413"/>
                  <a:gd name="T36" fmla="*/ 119 w 3368"/>
                  <a:gd name="T37" fmla="*/ 1252 h 3413"/>
                  <a:gd name="T38" fmla="*/ 172 w 3368"/>
                  <a:gd name="T39" fmla="*/ 1221 h 3413"/>
                  <a:gd name="T40" fmla="*/ 474 w 3368"/>
                  <a:gd name="T41" fmla="*/ 1471 h 3413"/>
                  <a:gd name="T42" fmla="*/ 745 w 3368"/>
                  <a:gd name="T43" fmla="*/ 2035 h 3413"/>
                  <a:gd name="T44" fmla="*/ 1382 w 3368"/>
                  <a:gd name="T45" fmla="*/ 2640 h 3413"/>
                  <a:gd name="T46" fmla="*/ 1525 w 3368"/>
                  <a:gd name="T47" fmla="*/ 3323 h 3413"/>
                  <a:gd name="T48" fmla="*/ 2841 w 3368"/>
                  <a:gd name="T49" fmla="*/ 474 h 3413"/>
                  <a:gd name="T50" fmla="*/ 3285 w 3368"/>
                  <a:gd name="T51" fmla="*/ 1962 h 3413"/>
                  <a:gd name="T52" fmla="*/ 2933 w 3368"/>
                  <a:gd name="T53" fmla="*/ 2751 h 3413"/>
                  <a:gd name="T54" fmla="*/ 2773 w 3368"/>
                  <a:gd name="T55" fmla="*/ 1997 h 3413"/>
                  <a:gd name="T56" fmla="*/ 3296 w 3368"/>
                  <a:gd name="T57" fmla="*/ 1809 h 3413"/>
                  <a:gd name="T58" fmla="*/ 3130 w 3368"/>
                  <a:gd name="T59" fmla="*/ 1786 h 3413"/>
                  <a:gd name="T60" fmla="*/ 2922 w 3368"/>
                  <a:gd name="T61" fmla="*/ 1623 h 3413"/>
                  <a:gd name="T62" fmla="*/ 2971 w 3368"/>
                  <a:gd name="T63" fmla="*/ 1157 h 3413"/>
                  <a:gd name="T64" fmla="*/ 3175 w 3368"/>
                  <a:gd name="T65" fmla="*/ 943 h 3413"/>
                  <a:gd name="T66" fmla="*/ 1384 w 3368"/>
                  <a:gd name="T67" fmla="*/ 1012 h 3413"/>
                  <a:gd name="T68" fmla="*/ 1282 w 3368"/>
                  <a:gd name="T69" fmla="*/ 186 h 3413"/>
                  <a:gd name="T70" fmla="*/ 1093 w 3368"/>
                  <a:gd name="T71" fmla="*/ 389 h 3413"/>
                  <a:gd name="T72" fmla="*/ 1146 w 3368"/>
                  <a:gd name="T73" fmla="*/ 424 h 3413"/>
                  <a:gd name="T74" fmla="*/ 1272 w 3368"/>
                  <a:gd name="T75" fmla="*/ 360 h 3413"/>
                  <a:gd name="T76" fmla="*/ 1441 w 3368"/>
                  <a:gd name="T77" fmla="*/ 230 h 3413"/>
                  <a:gd name="T78" fmla="*/ 1683 w 3368"/>
                  <a:gd name="T79" fmla="*/ 52 h 3413"/>
                  <a:gd name="T80" fmla="*/ 1399 w 3368"/>
                  <a:gd name="T81" fmla="*/ 32 h 3413"/>
                  <a:gd name="T82" fmla="*/ 1396 w 3368"/>
                  <a:gd name="T83" fmla="*/ 93 h 3413"/>
                  <a:gd name="T84" fmla="*/ 1390 w 3368"/>
                  <a:gd name="T85" fmla="*/ 176 h 3413"/>
                  <a:gd name="T86" fmla="*/ 1129 w 3368"/>
                  <a:gd name="T87" fmla="*/ 302 h 3413"/>
                  <a:gd name="T88" fmla="*/ 1006 w 3368"/>
                  <a:gd name="T89" fmla="*/ 220 h 3413"/>
                  <a:gd name="T90" fmla="*/ 867 w 3368"/>
                  <a:gd name="T91" fmla="*/ 311 h 3413"/>
                  <a:gd name="T92" fmla="*/ 809 w 3368"/>
                  <a:gd name="T93" fmla="*/ 483 h 3413"/>
                  <a:gd name="T94" fmla="*/ 766 w 3368"/>
                  <a:gd name="T95" fmla="*/ 454 h 3413"/>
                  <a:gd name="T96" fmla="*/ 651 w 3368"/>
                  <a:gd name="T97" fmla="*/ 536 h 3413"/>
                  <a:gd name="T98" fmla="*/ 883 w 3368"/>
                  <a:gd name="T99" fmla="*/ 602 h 3413"/>
                  <a:gd name="T100" fmla="*/ 727 w 3368"/>
                  <a:gd name="T101" fmla="*/ 693 h 3413"/>
                  <a:gd name="T102" fmla="*/ 1494 w 3368"/>
                  <a:gd name="T103" fmla="*/ 2238 h 3413"/>
                  <a:gd name="T104" fmla="*/ 2161 w 3368"/>
                  <a:gd name="T105" fmla="*/ 976 h 3413"/>
                  <a:gd name="T106" fmla="*/ 2422 w 3368"/>
                  <a:gd name="T107" fmla="*/ 545 h 3413"/>
                  <a:gd name="T108" fmla="*/ 2417 w 3368"/>
                  <a:gd name="T109" fmla="*/ 232 h 3413"/>
                  <a:gd name="T110" fmla="*/ 2251 w 3368"/>
                  <a:gd name="T111" fmla="*/ 126 h 3413"/>
                  <a:gd name="T112" fmla="*/ 1990 w 3368"/>
                  <a:gd name="T113" fmla="*/ 26 h 3413"/>
                  <a:gd name="T114" fmla="*/ 1793 w 3368"/>
                  <a:gd name="T115" fmla="*/ 52 h 3413"/>
                  <a:gd name="T116" fmla="*/ 1659 w 3368"/>
                  <a:gd name="T117" fmla="*/ 245 h 3413"/>
                  <a:gd name="T118" fmla="*/ 1931 w 3368"/>
                  <a:gd name="T119" fmla="*/ 549 h 3413"/>
                  <a:gd name="T120" fmla="*/ 1995 w 3368"/>
                  <a:gd name="T121" fmla="*/ 945 h 3413"/>
                  <a:gd name="T122" fmla="*/ 2491 w 3368"/>
                  <a:gd name="T123" fmla="*/ 915 h 3413"/>
                  <a:gd name="T124" fmla="*/ 2880 w 3368"/>
                  <a:gd name="T125" fmla="*/ 1232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68" h="3413">
                    <a:moveTo>
                      <a:pt x="1713" y="3405"/>
                    </a:moveTo>
                    <a:lnTo>
                      <a:pt x="1708" y="3404"/>
                    </a:lnTo>
                    <a:lnTo>
                      <a:pt x="1693" y="3404"/>
                    </a:lnTo>
                    <a:lnTo>
                      <a:pt x="1676" y="3403"/>
                    </a:lnTo>
                    <a:lnTo>
                      <a:pt x="1664" y="3402"/>
                    </a:lnTo>
                    <a:lnTo>
                      <a:pt x="1651" y="3399"/>
                    </a:lnTo>
                    <a:lnTo>
                      <a:pt x="1642" y="3394"/>
                    </a:lnTo>
                    <a:lnTo>
                      <a:pt x="1644" y="3393"/>
                    </a:lnTo>
                    <a:lnTo>
                      <a:pt x="1646" y="3392"/>
                    </a:lnTo>
                    <a:lnTo>
                      <a:pt x="1646" y="3391"/>
                    </a:lnTo>
                    <a:lnTo>
                      <a:pt x="1645" y="3390"/>
                    </a:lnTo>
                    <a:lnTo>
                      <a:pt x="1644" y="3389"/>
                    </a:lnTo>
                    <a:lnTo>
                      <a:pt x="1643" y="3387"/>
                    </a:lnTo>
                    <a:lnTo>
                      <a:pt x="1644" y="3386"/>
                    </a:lnTo>
                    <a:lnTo>
                      <a:pt x="1644" y="3384"/>
                    </a:lnTo>
                    <a:lnTo>
                      <a:pt x="1633" y="3380"/>
                    </a:lnTo>
                    <a:lnTo>
                      <a:pt x="1627" y="3375"/>
                    </a:lnTo>
                    <a:lnTo>
                      <a:pt x="1633" y="3373"/>
                    </a:lnTo>
                    <a:lnTo>
                      <a:pt x="1643" y="3371"/>
                    </a:lnTo>
                    <a:lnTo>
                      <a:pt x="1647" y="3369"/>
                    </a:lnTo>
                    <a:lnTo>
                      <a:pt x="1651" y="3368"/>
                    </a:lnTo>
                    <a:lnTo>
                      <a:pt x="1655" y="3367"/>
                    </a:lnTo>
                    <a:lnTo>
                      <a:pt x="1656" y="3365"/>
                    </a:lnTo>
                    <a:lnTo>
                      <a:pt x="1655" y="3363"/>
                    </a:lnTo>
                    <a:lnTo>
                      <a:pt x="1654" y="3360"/>
                    </a:lnTo>
                    <a:lnTo>
                      <a:pt x="1654" y="3359"/>
                    </a:lnTo>
                    <a:lnTo>
                      <a:pt x="1654" y="3359"/>
                    </a:lnTo>
                    <a:lnTo>
                      <a:pt x="1656" y="3358"/>
                    </a:lnTo>
                    <a:lnTo>
                      <a:pt x="1659" y="3357"/>
                    </a:lnTo>
                    <a:lnTo>
                      <a:pt x="1673" y="3352"/>
                    </a:lnTo>
                    <a:lnTo>
                      <a:pt x="1682" y="3348"/>
                    </a:lnTo>
                    <a:lnTo>
                      <a:pt x="1682" y="3347"/>
                    </a:lnTo>
                    <a:lnTo>
                      <a:pt x="1681" y="3344"/>
                    </a:lnTo>
                    <a:lnTo>
                      <a:pt x="1679" y="3341"/>
                    </a:lnTo>
                    <a:lnTo>
                      <a:pt x="1674" y="3338"/>
                    </a:lnTo>
                    <a:lnTo>
                      <a:pt x="1670" y="3337"/>
                    </a:lnTo>
                    <a:lnTo>
                      <a:pt x="1663" y="3334"/>
                    </a:lnTo>
                    <a:lnTo>
                      <a:pt x="1660" y="3333"/>
                    </a:lnTo>
                    <a:lnTo>
                      <a:pt x="1657" y="3330"/>
                    </a:lnTo>
                    <a:lnTo>
                      <a:pt x="1656" y="3329"/>
                    </a:lnTo>
                    <a:lnTo>
                      <a:pt x="1656" y="3328"/>
                    </a:lnTo>
                    <a:lnTo>
                      <a:pt x="1656" y="3325"/>
                    </a:lnTo>
                    <a:lnTo>
                      <a:pt x="1657" y="3323"/>
                    </a:lnTo>
                    <a:lnTo>
                      <a:pt x="1660" y="3321"/>
                    </a:lnTo>
                    <a:lnTo>
                      <a:pt x="1665" y="3321"/>
                    </a:lnTo>
                    <a:lnTo>
                      <a:pt x="1680" y="3319"/>
                    </a:lnTo>
                    <a:lnTo>
                      <a:pt x="1690" y="3316"/>
                    </a:lnTo>
                    <a:lnTo>
                      <a:pt x="1691" y="3314"/>
                    </a:lnTo>
                    <a:lnTo>
                      <a:pt x="1690" y="3309"/>
                    </a:lnTo>
                    <a:lnTo>
                      <a:pt x="1690" y="3306"/>
                    </a:lnTo>
                    <a:lnTo>
                      <a:pt x="1690" y="3304"/>
                    </a:lnTo>
                    <a:lnTo>
                      <a:pt x="1692" y="3301"/>
                    </a:lnTo>
                    <a:lnTo>
                      <a:pt x="1696" y="3300"/>
                    </a:lnTo>
                    <a:lnTo>
                      <a:pt x="1705" y="3297"/>
                    </a:lnTo>
                    <a:lnTo>
                      <a:pt x="1714" y="3296"/>
                    </a:lnTo>
                    <a:lnTo>
                      <a:pt x="1717" y="3295"/>
                    </a:lnTo>
                    <a:lnTo>
                      <a:pt x="1721" y="3294"/>
                    </a:lnTo>
                    <a:lnTo>
                      <a:pt x="1723" y="3292"/>
                    </a:lnTo>
                    <a:lnTo>
                      <a:pt x="1723" y="3290"/>
                    </a:lnTo>
                    <a:lnTo>
                      <a:pt x="1722" y="3286"/>
                    </a:lnTo>
                    <a:lnTo>
                      <a:pt x="1717" y="3284"/>
                    </a:lnTo>
                    <a:lnTo>
                      <a:pt x="1712" y="3282"/>
                    </a:lnTo>
                    <a:lnTo>
                      <a:pt x="1706" y="3281"/>
                    </a:lnTo>
                    <a:lnTo>
                      <a:pt x="1701" y="3279"/>
                    </a:lnTo>
                    <a:lnTo>
                      <a:pt x="1696" y="3278"/>
                    </a:lnTo>
                    <a:lnTo>
                      <a:pt x="1695" y="3278"/>
                    </a:lnTo>
                    <a:lnTo>
                      <a:pt x="1694" y="3277"/>
                    </a:lnTo>
                    <a:lnTo>
                      <a:pt x="1694" y="3277"/>
                    </a:lnTo>
                    <a:lnTo>
                      <a:pt x="1695" y="3276"/>
                    </a:lnTo>
                    <a:lnTo>
                      <a:pt x="1706" y="3274"/>
                    </a:lnTo>
                    <a:lnTo>
                      <a:pt x="1721" y="3273"/>
                    </a:lnTo>
                    <a:lnTo>
                      <a:pt x="1728" y="3272"/>
                    </a:lnTo>
                    <a:lnTo>
                      <a:pt x="1734" y="3271"/>
                    </a:lnTo>
                    <a:lnTo>
                      <a:pt x="1739" y="3270"/>
                    </a:lnTo>
                    <a:lnTo>
                      <a:pt x="1743" y="3268"/>
                    </a:lnTo>
                    <a:lnTo>
                      <a:pt x="1747" y="3255"/>
                    </a:lnTo>
                    <a:lnTo>
                      <a:pt x="1753" y="3246"/>
                    </a:lnTo>
                    <a:lnTo>
                      <a:pt x="1768" y="3243"/>
                    </a:lnTo>
                    <a:lnTo>
                      <a:pt x="1793" y="3241"/>
                    </a:lnTo>
                    <a:lnTo>
                      <a:pt x="1804" y="3239"/>
                    </a:lnTo>
                    <a:lnTo>
                      <a:pt x="1816" y="3237"/>
                    </a:lnTo>
                    <a:lnTo>
                      <a:pt x="1824" y="3236"/>
                    </a:lnTo>
                    <a:lnTo>
                      <a:pt x="1827" y="3234"/>
                    </a:lnTo>
                    <a:lnTo>
                      <a:pt x="1841" y="3219"/>
                    </a:lnTo>
                    <a:lnTo>
                      <a:pt x="1851" y="3210"/>
                    </a:lnTo>
                    <a:lnTo>
                      <a:pt x="1847" y="3208"/>
                    </a:lnTo>
                    <a:lnTo>
                      <a:pt x="1841" y="3204"/>
                    </a:lnTo>
                    <a:lnTo>
                      <a:pt x="1838" y="3200"/>
                    </a:lnTo>
                    <a:lnTo>
                      <a:pt x="1836" y="3198"/>
                    </a:lnTo>
                    <a:lnTo>
                      <a:pt x="1836" y="3197"/>
                    </a:lnTo>
                    <a:lnTo>
                      <a:pt x="1835" y="3196"/>
                    </a:lnTo>
                    <a:lnTo>
                      <a:pt x="1836" y="3195"/>
                    </a:lnTo>
                    <a:lnTo>
                      <a:pt x="1837" y="3194"/>
                    </a:lnTo>
                    <a:lnTo>
                      <a:pt x="1845" y="3192"/>
                    </a:lnTo>
                    <a:lnTo>
                      <a:pt x="1858" y="3190"/>
                    </a:lnTo>
                    <a:lnTo>
                      <a:pt x="1870" y="3188"/>
                    </a:lnTo>
                    <a:lnTo>
                      <a:pt x="1877" y="3187"/>
                    </a:lnTo>
                    <a:lnTo>
                      <a:pt x="1881" y="3186"/>
                    </a:lnTo>
                    <a:lnTo>
                      <a:pt x="1889" y="3183"/>
                    </a:lnTo>
                    <a:lnTo>
                      <a:pt x="1900" y="3177"/>
                    </a:lnTo>
                    <a:lnTo>
                      <a:pt x="1909" y="3172"/>
                    </a:lnTo>
                    <a:lnTo>
                      <a:pt x="1923" y="3161"/>
                    </a:lnTo>
                    <a:lnTo>
                      <a:pt x="1934" y="3148"/>
                    </a:lnTo>
                    <a:lnTo>
                      <a:pt x="1947" y="3138"/>
                    </a:lnTo>
                    <a:lnTo>
                      <a:pt x="1958" y="3128"/>
                    </a:lnTo>
                    <a:lnTo>
                      <a:pt x="1964" y="3123"/>
                    </a:lnTo>
                    <a:lnTo>
                      <a:pt x="1969" y="3117"/>
                    </a:lnTo>
                    <a:lnTo>
                      <a:pt x="1973" y="3110"/>
                    </a:lnTo>
                    <a:lnTo>
                      <a:pt x="1975" y="3105"/>
                    </a:lnTo>
                    <a:lnTo>
                      <a:pt x="1988" y="3099"/>
                    </a:lnTo>
                    <a:lnTo>
                      <a:pt x="1997" y="3093"/>
                    </a:lnTo>
                    <a:lnTo>
                      <a:pt x="1999" y="3085"/>
                    </a:lnTo>
                    <a:lnTo>
                      <a:pt x="2001" y="3078"/>
                    </a:lnTo>
                    <a:lnTo>
                      <a:pt x="2001" y="3070"/>
                    </a:lnTo>
                    <a:lnTo>
                      <a:pt x="2002" y="3059"/>
                    </a:lnTo>
                    <a:lnTo>
                      <a:pt x="2003" y="3054"/>
                    </a:lnTo>
                    <a:lnTo>
                      <a:pt x="2006" y="3049"/>
                    </a:lnTo>
                    <a:lnTo>
                      <a:pt x="2009" y="3045"/>
                    </a:lnTo>
                    <a:lnTo>
                      <a:pt x="2012" y="3043"/>
                    </a:lnTo>
                    <a:lnTo>
                      <a:pt x="2020" y="3039"/>
                    </a:lnTo>
                    <a:lnTo>
                      <a:pt x="2029" y="3033"/>
                    </a:lnTo>
                    <a:lnTo>
                      <a:pt x="2038" y="3026"/>
                    </a:lnTo>
                    <a:lnTo>
                      <a:pt x="2045" y="3020"/>
                    </a:lnTo>
                    <a:lnTo>
                      <a:pt x="2060" y="3016"/>
                    </a:lnTo>
                    <a:lnTo>
                      <a:pt x="2077" y="3013"/>
                    </a:lnTo>
                    <a:lnTo>
                      <a:pt x="2086" y="3009"/>
                    </a:lnTo>
                    <a:lnTo>
                      <a:pt x="2097" y="3005"/>
                    </a:lnTo>
                    <a:lnTo>
                      <a:pt x="2107" y="3001"/>
                    </a:lnTo>
                    <a:lnTo>
                      <a:pt x="2116" y="3000"/>
                    </a:lnTo>
                    <a:lnTo>
                      <a:pt x="2121" y="3000"/>
                    </a:lnTo>
                    <a:lnTo>
                      <a:pt x="2125" y="3000"/>
                    </a:lnTo>
                    <a:lnTo>
                      <a:pt x="2129" y="3000"/>
                    </a:lnTo>
                    <a:lnTo>
                      <a:pt x="2133" y="2997"/>
                    </a:lnTo>
                    <a:lnTo>
                      <a:pt x="2140" y="2992"/>
                    </a:lnTo>
                    <a:lnTo>
                      <a:pt x="2147" y="2985"/>
                    </a:lnTo>
                    <a:lnTo>
                      <a:pt x="2149" y="2982"/>
                    </a:lnTo>
                    <a:lnTo>
                      <a:pt x="2150" y="2978"/>
                    </a:lnTo>
                    <a:lnTo>
                      <a:pt x="2151" y="2974"/>
                    </a:lnTo>
                    <a:lnTo>
                      <a:pt x="2152" y="2971"/>
                    </a:lnTo>
                    <a:lnTo>
                      <a:pt x="2152" y="2967"/>
                    </a:lnTo>
                    <a:lnTo>
                      <a:pt x="2154" y="2964"/>
                    </a:lnTo>
                    <a:lnTo>
                      <a:pt x="2156" y="2961"/>
                    </a:lnTo>
                    <a:lnTo>
                      <a:pt x="2160" y="2957"/>
                    </a:lnTo>
                    <a:lnTo>
                      <a:pt x="2167" y="2953"/>
                    </a:lnTo>
                    <a:lnTo>
                      <a:pt x="2174" y="2949"/>
                    </a:lnTo>
                    <a:lnTo>
                      <a:pt x="2178" y="2945"/>
                    </a:lnTo>
                    <a:lnTo>
                      <a:pt x="2180" y="2941"/>
                    </a:lnTo>
                    <a:lnTo>
                      <a:pt x="2182" y="2934"/>
                    </a:lnTo>
                    <a:lnTo>
                      <a:pt x="2184" y="2926"/>
                    </a:lnTo>
                    <a:lnTo>
                      <a:pt x="2186" y="2918"/>
                    </a:lnTo>
                    <a:lnTo>
                      <a:pt x="2189" y="2912"/>
                    </a:lnTo>
                    <a:lnTo>
                      <a:pt x="2192" y="2897"/>
                    </a:lnTo>
                    <a:lnTo>
                      <a:pt x="2196" y="2869"/>
                    </a:lnTo>
                    <a:lnTo>
                      <a:pt x="2198" y="2855"/>
                    </a:lnTo>
                    <a:lnTo>
                      <a:pt x="2200" y="2842"/>
                    </a:lnTo>
                    <a:lnTo>
                      <a:pt x="2203" y="2834"/>
                    </a:lnTo>
                    <a:lnTo>
                      <a:pt x="2205" y="2830"/>
                    </a:lnTo>
                    <a:lnTo>
                      <a:pt x="2209" y="2829"/>
                    </a:lnTo>
                    <a:lnTo>
                      <a:pt x="2214" y="2826"/>
                    </a:lnTo>
                    <a:lnTo>
                      <a:pt x="2219" y="2823"/>
                    </a:lnTo>
                    <a:lnTo>
                      <a:pt x="2224" y="2820"/>
                    </a:lnTo>
                    <a:lnTo>
                      <a:pt x="2228" y="2815"/>
                    </a:lnTo>
                    <a:lnTo>
                      <a:pt x="2232" y="2808"/>
                    </a:lnTo>
                    <a:lnTo>
                      <a:pt x="2235" y="2803"/>
                    </a:lnTo>
                    <a:lnTo>
                      <a:pt x="2237" y="2801"/>
                    </a:lnTo>
                    <a:lnTo>
                      <a:pt x="2240" y="2798"/>
                    </a:lnTo>
                    <a:lnTo>
                      <a:pt x="2242" y="2797"/>
                    </a:lnTo>
                    <a:lnTo>
                      <a:pt x="2248" y="2795"/>
                    </a:lnTo>
                    <a:lnTo>
                      <a:pt x="2253" y="2791"/>
                    </a:lnTo>
                    <a:lnTo>
                      <a:pt x="2257" y="2787"/>
                    </a:lnTo>
                    <a:lnTo>
                      <a:pt x="2260" y="2783"/>
                    </a:lnTo>
                    <a:lnTo>
                      <a:pt x="2269" y="2776"/>
                    </a:lnTo>
                    <a:lnTo>
                      <a:pt x="2279" y="2769"/>
                    </a:lnTo>
                    <a:lnTo>
                      <a:pt x="2281" y="2767"/>
                    </a:lnTo>
                    <a:lnTo>
                      <a:pt x="2283" y="2765"/>
                    </a:lnTo>
                    <a:lnTo>
                      <a:pt x="2285" y="2760"/>
                    </a:lnTo>
                    <a:lnTo>
                      <a:pt x="2286" y="2751"/>
                    </a:lnTo>
                    <a:lnTo>
                      <a:pt x="2287" y="2739"/>
                    </a:lnTo>
                    <a:lnTo>
                      <a:pt x="2288" y="2730"/>
                    </a:lnTo>
                    <a:lnTo>
                      <a:pt x="2288" y="2722"/>
                    </a:lnTo>
                    <a:lnTo>
                      <a:pt x="2286" y="2717"/>
                    </a:lnTo>
                    <a:lnTo>
                      <a:pt x="2285" y="2715"/>
                    </a:lnTo>
                    <a:lnTo>
                      <a:pt x="2282" y="2713"/>
                    </a:lnTo>
                    <a:lnTo>
                      <a:pt x="2279" y="2711"/>
                    </a:lnTo>
                    <a:lnTo>
                      <a:pt x="2275" y="2709"/>
                    </a:lnTo>
                    <a:lnTo>
                      <a:pt x="2265" y="2706"/>
                    </a:lnTo>
                    <a:lnTo>
                      <a:pt x="2256" y="2702"/>
                    </a:lnTo>
                    <a:lnTo>
                      <a:pt x="2250" y="2700"/>
                    </a:lnTo>
                    <a:lnTo>
                      <a:pt x="2244" y="2699"/>
                    </a:lnTo>
                    <a:lnTo>
                      <a:pt x="2240" y="2697"/>
                    </a:lnTo>
                    <a:lnTo>
                      <a:pt x="2233" y="2691"/>
                    </a:lnTo>
                    <a:lnTo>
                      <a:pt x="2226" y="2684"/>
                    </a:lnTo>
                    <a:lnTo>
                      <a:pt x="2219" y="2678"/>
                    </a:lnTo>
                    <a:lnTo>
                      <a:pt x="2215" y="2676"/>
                    </a:lnTo>
                    <a:lnTo>
                      <a:pt x="2212" y="2673"/>
                    </a:lnTo>
                    <a:lnTo>
                      <a:pt x="2207" y="2671"/>
                    </a:lnTo>
                    <a:lnTo>
                      <a:pt x="2202" y="2671"/>
                    </a:lnTo>
                    <a:lnTo>
                      <a:pt x="2187" y="2671"/>
                    </a:lnTo>
                    <a:lnTo>
                      <a:pt x="2167" y="2673"/>
                    </a:lnTo>
                    <a:lnTo>
                      <a:pt x="2158" y="2675"/>
                    </a:lnTo>
                    <a:lnTo>
                      <a:pt x="2148" y="2675"/>
                    </a:lnTo>
                    <a:lnTo>
                      <a:pt x="2142" y="2675"/>
                    </a:lnTo>
                    <a:lnTo>
                      <a:pt x="2137" y="2673"/>
                    </a:lnTo>
                    <a:lnTo>
                      <a:pt x="2130" y="2669"/>
                    </a:lnTo>
                    <a:lnTo>
                      <a:pt x="2124" y="2666"/>
                    </a:lnTo>
                    <a:lnTo>
                      <a:pt x="2121" y="2664"/>
                    </a:lnTo>
                    <a:lnTo>
                      <a:pt x="2118" y="2664"/>
                    </a:lnTo>
                    <a:lnTo>
                      <a:pt x="2116" y="2664"/>
                    </a:lnTo>
                    <a:lnTo>
                      <a:pt x="2114" y="2666"/>
                    </a:lnTo>
                    <a:lnTo>
                      <a:pt x="2110" y="2670"/>
                    </a:lnTo>
                    <a:lnTo>
                      <a:pt x="2107" y="2672"/>
                    </a:lnTo>
                    <a:lnTo>
                      <a:pt x="2106" y="2672"/>
                    </a:lnTo>
                    <a:lnTo>
                      <a:pt x="2105" y="2672"/>
                    </a:lnTo>
                    <a:lnTo>
                      <a:pt x="2104" y="2671"/>
                    </a:lnTo>
                    <a:lnTo>
                      <a:pt x="2104" y="2670"/>
                    </a:lnTo>
                    <a:lnTo>
                      <a:pt x="2104" y="2664"/>
                    </a:lnTo>
                    <a:lnTo>
                      <a:pt x="2103" y="2658"/>
                    </a:lnTo>
                    <a:lnTo>
                      <a:pt x="2102" y="2653"/>
                    </a:lnTo>
                    <a:lnTo>
                      <a:pt x="2100" y="2649"/>
                    </a:lnTo>
                    <a:lnTo>
                      <a:pt x="2094" y="2646"/>
                    </a:lnTo>
                    <a:lnTo>
                      <a:pt x="2084" y="2641"/>
                    </a:lnTo>
                    <a:lnTo>
                      <a:pt x="2078" y="2638"/>
                    </a:lnTo>
                    <a:lnTo>
                      <a:pt x="2073" y="2636"/>
                    </a:lnTo>
                    <a:lnTo>
                      <a:pt x="2067" y="2636"/>
                    </a:lnTo>
                    <a:lnTo>
                      <a:pt x="2064" y="2636"/>
                    </a:lnTo>
                    <a:lnTo>
                      <a:pt x="2054" y="2646"/>
                    </a:lnTo>
                    <a:lnTo>
                      <a:pt x="2039" y="2661"/>
                    </a:lnTo>
                    <a:lnTo>
                      <a:pt x="2032" y="2668"/>
                    </a:lnTo>
                    <a:lnTo>
                      <a:pt x="2025" y="2675"/>
                    </a:lnTo>
                    <a:lnTo>
                      <a:pt x="2022" y="2676"/>
                    </a:lnTo>
                    <a:lnTo>
                      <a:pt x="2019" y="2678"/>
                    </a:lnTo>
                    <a:lnTo>
                      <a:pt x="2018" y="2678"/>
                    </a:lnTo>
                    <a:lnTo>
                      <a:pt x="2016" y="2677"/>
                    </a:lnTo>
                    <a:lnTo>
                      <a:pt x="2016" y="2673"/>
                    </a:lnTo>
                    <a:lnTo>
                      <a:pt x="2018" y="2669"/>
                    </a:lnTo>
                    <a:lnTo>
                      <a:pt x="2020" y="2664"/>
                    </a:lnTo>
                    <a:lnTo>
                      <a:pt x="2023" y="2659"/>
                    </a:lnTo>
                    <a:lnTo>
                      <a:pt x="2028" y="2654"/>
                    </a:lnTo>
                    <a:lnTo>
                      <a:pt x="2030" y="2649"/>
                    </a:lnTo>
                    <a:lnTo>
                      <a:pt x="2030" y="2646"/>
                    </a:lnTo>
                    <a:lnTo>
                      <a:pt x="2031" y="2645"/>
                    </a:lnTo>
                    <a:lnTo>
                      <a:pt x="2030" y="2643"/>
                    </a:lnTo>
                    <a:lnTo>
                      <a:pt x="2029" y="2642"/>
                    </a:lnTo>
                    <a:lnTo>
                      <a:pt x="2027" y="2640"/>
                    </a:lnTo>
                    <a:lnTo>
                      <a:pt x="2022" y="2640"/>
                    </a:lnTo>
                    <a:lnTo>
                      <a:pt x="2018" y="2641"/>
                    </a:lnTo>
                    <a:lnTo>
                      <a:pt x="2013" y="2642"/>
                    </a:lnTo>
                    <a:lnTo>
                      <a:pt x="2005" y="2646"/>
                    </a:lnTo>
                    <a:lnTo>
                      <a:pt x="1998" y="2650"/>
                    </a:lnTo>
                    <a:lnTo>
                      <a:pt x="1991" y="2654"/>
                    </a:lnTo>
                    <a:lnTo>
                      <a:pt x="1983" y="2657"/>
                    </a:lnTo>
                    <a:lnTo>
                      <a:pt x="1977" y="2658"/>
                    </a:lnTo>
                    <a:lnTo>
                      <a:pt x="1973" y="2659"/>
                    </a:lnTo>
                    <a:lnTo>
                      <a:pt x="1970" y="2659"/>
                    </a:lnTo>
                    <a:lnTo>
                      <a:pt x="1969" y="2658"/>
                    </a:lnTo>
                    <a:lnTo>
                      <a:pt x="1968" y="2656"/>
                    </a:lnTo>
                    <a:lnTo>
                      <a:pt x="1969" y="2654"/>
                    </a:lnTo>
                    <a:lnTo>
                      <a:pt x="1970" y="2651"/>
                    </a:lnTo>
                    <a:lnTo>
                      <a:pt x="1972" y="2648"/>
                    </a:lnTo>
                    <a:lnTo>
                      <a:pt x="1976" y="2642"/>
                    </a:lnTo>
                    <a:lnTo>
                      <a:pt x="1981" y="2639"/>
                    </a:lnTo>
                    <a:lnTo>
                      <a:pt x="1988" y="2635"/>
                    </a:lnTo>
                    <a:lnTo>
                      <a:pt x="1995" y="2627"/>
                    </a:lnTo>
                    <a:lnTo>
                      <a:pt x="1999" y="2623"/>
                    </a:lnTo>
                    <a:lnTo>
                      <a:pt x="2002" y="2620"/>
                    </a:lnTo>
                    <a:lnTo>
                      <a:pt x="2005" y="2616"/>
                    </a:lnTo>
                    <a:lnTo>
                      <a:pt x="2006" y="2613"/>
                    </a:lnTo>
                    <a:lnTo>
                      <a:pt x="2006" y="2611"/>
                    </a:lnTo>
                    <a:lnTo>
                      <a:pt x="2003" y="2607"/>
                    </a:lnTo>
                    <a:lnTo>
                      <a:pt x="2000" y="2605"/>
                    </a:lnTo>
                    <a:lnTo>
                      <a:pt x="1998" y="2602"/>
                    </a:lnTo>
                    <a:lnTo>
                      <a:pt x="1992" y="2597"/>
                    </a:lnTo>
                    <a:lnTo>
                      <a:pt x="1988" y="2593"/>
                    </a:lnTo>
                    <a:lnTo>
                      <a:pt x="1985" y="2583"/>
                    </a:lnTo>
                    <a:lnTo>
                      <a:pt x="1979" y="2568"/>
                    </a:lnTo>
                    <a:lnTo>
                      <a:pt x="1976" y="2560"/>
                    </a:lnTo>
                    <a:lnTo>
                      <a:pt x="1972" y="2555"/>
                    </a:lnTo>
                    <a:lnTo>
                      <a:pt x="1971" y="2553"/>
                    </a:lnTo>
                    <a:lnTo>
                      <a:pt x="1969" y="2553"/>
                    </a:lnTo>
                    <a:lnTo>
                      <a:pt x="1967" y="2553"/>
                    </a:lnTo>
                    <a:lnTo>
                      <a:pt x="1965" y="2554"/>
                    </a:lnTo>
                    <a:lnTo>
                      <a:pt x="1961" y="2559"/>
                    </a:lnTo>
                    <a:lnTo>
                      <a:pt x="1955" y="2567"/>
                    </a:lnTo>
                    <a:lnTo>
                      <a:pt x="1951" y="2575"/>
                    </a:lnTo>
                    <a:lnTo>
                      <a:pt x="1947" y="2583"/>
                    </a:lnTo>
                    <a:lnTo>
                      <a:pt x="1943" y="2592"/>
                    </a:lnTo>
                    <a:lnTo>
                      <a:pt x="1939" y="2598"/>
                    </a:lnTo>
                    <a:lnTo>
                      <a:pt x="1936" y="2600"/>
                    </a:lnTo>
                    <a:lnTo>
                      <a:pt x="1934" y="2602"/>
                    </a:lnTo>
                    <a:lnTo>
                      <a:pt x="1932" y="2603"/>
                    </a:lnTo>
                    <a:lnTo>
                      <a:pt x="1931" y="2603"/>
                    </a:lnTo>
                    <a:lnTo>
                      <a:pt x="1922" y="2598"/>
                    </a:lnTo>
                    <a:lnTo>
                      <a:pt x="1912" y="2593"/>
                    </a:lnTo>
                    <a:lnTo>
                      <a:pt x="1907" y="2591"/>
                    </a:lnTo>
                    <a:lnTo>
                      <a:pt x="1903" y="2590"/>
                    </a:lnTo>
                    <a:lnTo>
                      <a:pt x="1899" y="2590"/>
                    </a:lnTo>
                    <a:lnTo>
                      <a:pt x="1896" y="2591"/>
                    </a:lnTo>
                    <a:lnTo>
                      <a:pt x="1890" y="2597"/>
                    </a:lnTo>
                    <a:lnTo>
                      <a:pt x="1886" y="2604"/>
                    </a:lnTo>
                    <a:lnTo>
                      <a:pt x="1884" y="2606"/>
                    </a:lnTo>
                    <a:lnTo>
                      <a:pt x="1882" y="2609"/>
                    </a:lnTo>
                    <a:lnTo>
                      <a:pt x="1879" y="2610"/>
                    </a:lnTo>
                    <a:lnTo>
                      <a:pt x="1876" y="2609"/>
                    </a:lnTo>
                    <a:lnTo>
                      <a:pt x="1873" y="2604"/>
                    </a:lnTo>
                    <a:lnTo>
                      <a:pt x="1868" y="2598"/>
                    </a:lnTo>
                    <a:lnTo>
                      <a:pt x="1865" y="2591"/>
                    </a:lnTo>
                    <a:lnTo>
                      <a:pt x="1862" y="2581"/>
                    </a:lnTo>
                    <a:lnTo>
                      <a:pt x="1859" y="2572"/>
                    </a:lnTo>
                    <a:lnTo>
                      <a:pt x="1857" y="2563"/>
                    </a:lnTo>
                    <a:lnTo>
                      <a:pt x="1855" y="2555"/>
                    </a:lnTo>
                    <a:lnTo>
                      <a:pt x="1855" y="2550"/>
                    </a:lnTo>
                    <a:lnTo>
                      <a:pt x="1857" y="2539"/>
                    </a:lnTo>
                    <a:lnTo>
                      <a:pt x="1858" y="2530"/>
                    </a:lnTo>
                    <a:lnTo>
                      <a:pt x="1858" y="2526"/>
                    </a:lnTo>
                    <a:lnTo>
                      <a:pt x="1857" y="2521"/>
                    </a:lnTo>
                    <a:lnTo>
                      <a:pt x="1855" y="2516"/>
                    </a:lnTo>
                    <a:lnTo>
                      <a:pt x="1852" y="2511"/>
                    </a:lnTo>
                    <a:lnTo>
                      <a:pt x="1835" y="2497"/>
                    </a:lnTo>
                    <a:lnTo>
                      <a:pt x="1811" y="2480"/>
                    </a:lnTo>
                    <a:lnTo>
                      <a:pt x="1799" y="2471"/>
                    </a:lnTo>
                    <a:lnTo>
                      <a:pt x="1790" y="2463"/>
                    </a:lnTo>
                    <a:lnTo>
                      <a:pt x="1788" y="2460"/>
                    </a:lnTo>
                    <a:lnTo>
                      <a:pt x="1786" y="2457"/>
                    </a:lnTo>
                    <a:lnTo>
                      <a:pt x="1786" y="2454"/>
                    </a:lnTo>
                    <a:lnTo>
                      <a:pt x="1788" y="2452"/>
                    </a:lnTo>
                    <a:lnTo>
                      <a:pt x="1792" y="2448"/>
                    </a:lnTo>
                    <a:lnTo>
                      <a:pt x="1796" y="2443"/>
                    </a:lnTo>
                    <a:lnTo>
                      <a:pt x="1799" y="2437"/>
                    </a:lnTo>
                    <a:lnTo>
                      <a:pt x="1801" y="2430"/>
                    </a:lnTo>
                    <a:lnTo>
                      <a:pt x="1802" y="2425"/>
                    </a:lnTo>
                    <a:lnTo>
                      <a:pt x="1802" y="2421"/>
                    </a:lnTo>
                    <a:lnTo>
                      <a:pt x="1801" y="2419"/>
                    </a:lnTo>
                    <a:lnTo>
                      <a:pt x="1800" y="2419"/>
                    </a:lnTo>
                    <a:lnTo>
                      <a:pt x="1798" y="2419"/>
                    </a:lnTo>
                    <a:lnTo>
                      <a:pt x="1796" y="2420"/>
                    </a:lnTo>
                    <a:lnTo>
                      <a:pt x="1786" y="2426"/>
                    </a:lnTo>
                    <a:lnTo>
                      <a:pt x="1772" y="2432"/>
                    </a:lnTo>
                    <a:lnTo>
                      <a:pt x="1765" y="2435"/>
                    </a:lnTo>
                    <a:lnTo>
                      <a:pt x="1758" y="2436"/>
                    </a:lnTo>
                    <a:lnTo>
                      <a:pt x="1752" y="2436"/>
                    </a:lnTo>
                    <a:lnTo>
                      <a:pt x="1746" y="2432"/>
                    </a:lnTo>
                    <a:lnTo>
                      <a:pt x="1736" y="2426"/>
                    </a:lnTo>
                    <a:lnTo>
                      <a:pt x="1726" y="2420"/>
                    </a:lnTo>
                    <a:lnTo>
                      <a:pt x="1722" y="2418"/>
                    </a:lnTo>
                    <a:lnTo>
                      <a:pt x="1716" y="2417"/>
                    </a:lnTo>
                    <a:lnTo>
                      <a:pt x="1712" y="2418"/>
                    </a:lnTo>
                    <a:lnTo>
                      <a:pt x="1708" y="2420"/>
                    </a:lnTo>
                    <a:lnTo>
                      <a:pt x="1704" y="2423"/>
                    </a:lnTo>
                    <a:lnTo>
                      <a:pt x="1699" y="2425"/>
                    </a:lnTo>
                    <a:lnTo>
                      <a:pt x="1693" y="2425"/>
                    </a:lnTo>
                    <a:lnTo>
                      <a:pt x="1687" y="2425"/>
                    </a:lnTo>
                    <a:lnTo>
                      <a:pt x="1679" y="2423"/>
                    </a:lnTo>
                    <a:lnTo>
                      <a:pt x="1677" y="2422"/>
                    </a:lnTo>
                    <a:lnTo>
                      <a:pt x="1679" y="2421"/>
                    </a:lnTo>
                    <a:lnTo>
                      <a:pt x="1679" y="2420"/>
                    </a:lnTo>
                    <a:lnTo>
                      <a:pt x="1678" y="2417"/>
                    </a:lnTo>
                    <a:lnTo>
                      <a:pt x="1677" y="2415"/>
                    </a:lnTo>
                    <a:lnTo>
                      <a:pt x="1672" y="2410"/>
                    </a:lnTo>
                    <a:lnTo>
                      <a:pt x="1668" y="2407"/>
                    </a:lnTo>
                    <a:lnTo>
                      <a:pt x="1655" y="2406"/>
                    </a:lnTo>
                    <a:lnTo>
                      <a:pt x="1628" y="2405"/>
                    </a:lnTo>
                    <a:lnTo>
                      <a:pt x="1602" y="2404"/>
                    </a:lnTo>
                    <a:lnTo>
                      <a:pt x="1591" y="2404"/>
                    </a:lnTo>
                    <a:lnTo>
                      <a:pt x="1591" y="2407"/>
                    </a:lnTo>
                    <a:lnTo>
                      <a:pt x="1589" y="2415"/>
                    </a:lnTo>
                    <a:lnTo>
                      <a:pt x="1588" y="2418"/>
                    </a:lnTo>
                    <a:lnTo>
                      <a:pt x="1586" y="2420"/>
                    </a:lnTo>
                    <a:lnTo>
                      <a:pt x="1584" y="2422"/>
                    </a:lnTo>
                    <a:lnTo>
                      <a:pt x="1583" y="2421"/>
                    </a:lnTo>
                    <a:lnTo>
                      <a:pt x="1575" y="2406"/>
                    </a:lnTo>
                    <a:lnTo>
                      <a:pt x="1569" y="2394"/>
                    </a:lnTo>
                    <a:lnTo>
                      <a:pt x="1563" y="2399"/>
                    </a:lnTo>
                    <a:lnTo>
                      <a:pt x="1552" y="2408"/>
                    </a:lnTo>
                    <a:lnTo>
                      <a:pt x="1545" y="2413"/>
                    </a:lnTo>
                    <a:lnTo>
                      <a:pt x="1537" y="2417"/>
                    </a:lnTo>
                    <a:lnTo>
                      <a:pt x="1531" y="2420"/>
                    </a:lnTo>
                    <a:lnTo>
                      <a:pt x="1526" y="2420"/>
                    </a:lnTo>
                    <a:lnTo>
                      <a:pt x="1520" y="2419"/>
                    </a:lnTo>
                    <a:lnTo>
                      <a:pt x="1515" y="2418"/>
                    </a:lnTo>
                    <a:lnTo>
                      <a:pt x="1509" y="2418"/>
                    </a:lnTo>
                    <a:lnTo>
                      <a:pt x="1503" y="2420"/>
                    </a:lnTo>
                    <a:lnTo>
                      <a:pt x="1496" y="2422"/>
                    </a:lnTo>
                    <a:lnTo>
                      <a:pt x="1490" y="2427"/>
                    </a:lnTo>
                    <a:lnTo>
                      <a:pt x="1485" y="2435"/>
                    </a:lnTo>
                    <a:lnTo>
                      <a:pt x="1480" y="2444"/>
                    </a:lnTo>
                    <a:lnTo>
                      <a:pt x="1475" y="2453"/>
                    </a:lnTo>
                    <a:lnTo>
                      <a:pt x="1470" y="2462"/>
                    </a:lnTo>
                    <a:lnTo>
                      <a:pt x="1464" y="2467"/>
                    </a:lnTo>
                    <a:lnTo>
                      <a:pt x="1458" y="2470"/>
                    </a:lnTo>
                    <a:lnTo>
                      <a:pt x="1451" y="2472"/>
                    </a:lnTo>
                    <a:lnTo>
                      <a:pt x="1447" y="2472"/>
                    </a:lnTo>
                    <a:lnTo>
                      <a:pt x="1443" y="2472"/>
                    </a:lnTo>
                    <a:lnTo>
                      <a:pt x="1440" y="2470"/>
                    </a:lnTo>
                    <a:lnTo>
                      <a:pt x="1434" y="2466"/>
                    </a:lnTo>
                    <a:lnTo>
                      <a:pt x="1423" y="2462"/>
                    </a:lnTo>
                    <a:lnTo>
                      <a:pt x="1410" y="2458"/>
                    </a:lnTo>
                    <a:lnTo>
                      <a:pt x="1399" y="2456"/>
                    </a:lnTo>
                    <a:lnTo>
                      <a:pt x="1396" y="2456"/>
                    </a:lnTo>
                    <a:lnTo>
                      <a:pt x="1393" y="2458"/>
                    </a:lnTo>
                    <a:lnTo>
                      <a:pt x="1392" y="2460"/>
                    </a:lnTo>
                    <a:lnTo>
                      <a:pt x="1391" y="2463"/>
                    </a:lnTo>
                    <a:lnTo>
                      <a:pt x="1388" y="2465"/>
                    </a:lnTo>
                    <a:lnTo>
                      <a:pt x="1384" y="2466"/>
                    </a:lnTo>
                    <a:lnTo>
                      <a:pt x="1379" y="2466"/>
                    </a:lnTo>
                    <a:lnTo>
                      <a:pt x="1371" y="2463"/>
                    </a:lnTo>
                    <a:lnTo>
                      <a:pt x="1351" y="2453"/>
                    </a:lnTo>
                    <a:lnTo>
                      <a:pt x="1333" y="2445"/>
                    </a:lnTo>
                    <a:lnTo>
                      <a:pt x="1326" y="2441"/>
                    </a:lnTo>
                    <a:lnTo>
                      <a:pt x="1320" y="2437"/>
                    </a:lnTo>
                    <a:lnTo>
                      <a:pt x="1317" y="2432"/>
                    </a:lnTo>
                    <a:lnTo>
                      <a:pt x="1316" y="2428"/>
                    </a:lnTo>
                    <a:lnTo>
                      <a:pt x="1317" y="2414"/>
                    </a:lnTo>
                    <a:lnTo>
                      <a:pt x="1320" y="2391"/>
                    </a:lnTo>
                    <a:lnTo>
                      <a:pt x="1322" y="2370"/>
                    </a:lnTo>
                    <a:lnTo>
                      <a:pt x="1323" y="2356"/>
                    </a:lnTo>
                    <a:lnTo>
                      <a:pt x="1320" y="2353"/>
                    </a:lnTo>
                    <a:lnTo>
                      <a:pt x="1312" y="2349"/>
                    </a:lnTo>
                    <a:lnTo>
                      <a:pt x="1300" y="2344"/>
                    </a:lnTo>
                    <a:lnTo>
                      <a:pt x="1287" y="2339"/>
                    </a:lnTo>
                    <a:lnTo>
                      <a:pt x="1272" y="2334"/>
                    </a:lnTo>
                    <a:lnTo>
                      <a:pt x="1259" y="2329"/>
                    </a:lnTo>
                    <a:lnTo>
                      <a:pt x="1247" y="2325"/>
                    </a:lnTo>
                    <a:lnTo>
                      <a:pt x="1239" y="2319"/>
                    </a:lnTo>
                    <a:lnTo>
                      <a:pt x="1232" y="2315"/>
                    </a:lnTo>
                    <a:lnTo>
                      <a:pt x="1227" y="2309"/>
                    </a:lnTo>
                    <a:lnTo>
                      <a:pt x="1222" y="2303"/>
                    </a:lnTo>
                    <a:lnTo>
                      <a:pt x="1218" y="2296"/>
                    </a:lnTo>
                    <a:lnTo>
                      <a:pt x="1215" y="2290"/>
                    </a:lnTo>
                    <a:lnTo>
                      <a:pt x="1212" y="2285"/>
                    </a:lnTo>
                    <a:lnTo>
                      <a:pt x="1212" y="2283"/>
                    </a:lnTo>
                    <a:lnTo>
                      <a:pt x="1212" y="2282"/>
                    </a:lnTo>
                    <a:lnTo>
                      <a:pt x="1212" y="2281"/>
                    </a:lnTo>
                    <a:lnTo>
                      <a:pt x="1213" y="2280"/>
                    </a:lnTo>
                    <a:lnTo>
                      <a:pt x="1217" y="2276"/>
                    </a:lnTo>
                    <a:lnTo>
                      <a:pt x="1222" y="2268"/>
                    </a:lnTo>
                    <a:lnTo>
                      <a:pt x="1228" y="2256"/>
                    </a:lnTo>
                    <a:lnTo>
                      <a:pt x="1233" y="2243"/>
                    </a:lnTo>
                    <a:lnTo>
                      <a:pt x="1239" y="2228"/>
                    </a:lnTo>
                    <a:lnTo>
                      <a:pt x="1242" y="2216"/>
                    </a:lnTo>
                    <a:lnTo>
                      <a:pt x="1243" y="2210"/>
                    </a:lnTo>
                    <a:lnTo>
                      <a:pt x="1243" y="2205"/>
                    </a:lnTo>
                    <a:lnTo>
                      <a:pt x="1242" y="2201"/>
                    </a:lnTo>
                    <a:lnTo>
                      <a:pt x="1240" y="2199"/>
                    </a:lnTo>
                    <a:lnTo>
                      <a:pt x="1238" y="2198"/>
                    </a:lnTo>
                    <a:lnTo>
                      <a:pt x="1233" y="2196"/>
                    </a:lnTo>
                    <a:lnTo>
                      <a:pt x="1228" y="2195"/>
                    </a:lnTo>
                    <a:lnTo>
                      <a:pt x="1223" y="2195"/>
                    </a:lnTo>
                    <a:lnTo>
                      <a:pt x="1209" y="2194"/>
                    </a:lnTo>
                    <a:lnTo>
                      <a:pt x="1196" y="2195"/>
                    </a:lnTo>
                    <a:lnTo>
                      <a:pt x="1182" y="2197"/>
                    </a:lnTo>
                    <a:lnTo>
                      <a:pt x="1171" y="2200"/>
                    </a:lnTo>
                    <a:lnTo>
                      <a:pt x="1166" y="2201"/>
                    </a:lnTo>
                    <a:lnTo>
                      <a:pt x="1162" y="2203"/>
                    </a:lnTo>
                    <a:lnTo>
                      <a:pt x="1160" y="2205"/>
                    </a:lnTo>
                    <a:lnTo>
                      <a:pt x="1159" y="2207"/>
                    </a:lnTo>
                    <a:lnTo>
                      <a:pt x="1156" y="2222"/>
                    </a:lnTo>
                    <a:lnTo>
                      <a:pt x="1150" y="2242"/>
                    </a:lnTo>
                    <a:lnTo>
                      <a:pt x="1146" y="2252"/>
                    </a:lnTo>
                    <a:lnTo>
                      <a:pt x="1141" y="2261"/>
                    </a:lnTo>
                    <a:lnTo>
                      <a:pt x="1139" y="2264"/>
                    </a:lnTo>
                    <a:lnTo>
                      <a:pt x="1136" y="2266"/>
                    </a:lnTo>
                    <a:lnTo>
                      <a:pt x="1134" y="2267"/>
                    </a:lnTo>
                    <a:lnTo>
                      <a:pt x="1131" y="2268"/>
                    </a:lnTo>
                    <a:lnTo>
                      <a:pt x="1122" y="2267"/>
                    </a:lnTo>
                    <a:lnTo>
                      <a:pt x="1109" y="2267"/>
                    </a:lnTo>
                    <a:lnTo>
                      <a:pt x="1093" y="2265"/>
                    </a:lnTo>
                    <a:lnTo>
                      <a:pt x="1076" y="2261"/>
                    </a:lnTo>
                    <a:lnTo>
                      <a:pt x="1067" y="2258"/>
                    </a:lnTo>
                    <a:lnTo>
                      <a:pt x="1058" y="2253"/>
                    </a:lnTo>
                    <a:lnTo>
                      <a:pt x="1051" y="2248"/>
                    </a:lnTo>
                    <a:lnTo>
                      <a:pt x="1044" y="2242"/>
                    </a:lnTo>
                    <a:lnTo>
                      <a:pt x="1037" y="2234"/>
                    </a:lnTo>
                    <a:lnTo>
                      <a:pt x="1032" y="2225"/>
                    </a:lnTo>
                    <a:lnTo>
                      <a:pt x="1028" y="2214"/>
                    </a:lnTo>
                    <a:lnTo>
                      <a:pt x="1025" y="2202"/>
                    </a:lnTo>
                    <a:lnTo>
                      <a:pt x="1021" y="2159"/>
                    </a:lnTo>
                    <a:lnTo>
                      <a:pt x="1020" y="2135"/>
                    </a:lnTo>
                    <a:lnTo>
                      <a:pt x="1021" y="2129"/>
                    </a:lnTo>
                    <a:lnTo>
                      <a:pt x="1022" y="2123"/>
                    </a:lnTo>
                    <a:lnTo>
                      <a:pt x="1023" y="2119"/>
                    </a:lnTo>
                    <a:lnTo>
                      <a:pt x="1025" y="2116"/>
                    </a:lnTo>
                    <a:lnTo>
                      <a:pt x="1029" y="2111"/>
                    </a:lnTo>
                    <a:lnTo>
                      <a:pt x="1033" y="2106"/>
                    </a:lnTo>
                    <a:lnTo>
                      <a:pt x="1035" y="2104"/>
                    </a:lnTo>
                    <a:lnTo>
                      <a:pt x="1035" y="2101"/>
                    </a:lnTo>
                    <a:lnTo>
                      <a:pt x="1035" y="2100"/>
                    </a:lnTo>
                    <a:lnTo>
                      <a:pt x="1034" y="2098"/>
                    </a:lnTo>
                    <a:lnTo>
                      <a:pt x="1032" y="2095"/>
                    </a:lnTo>
                    <a:lnTo>
                      <a:pt x="1030" y="2090"/>
                    </a:lnTo>
                    <a:lnTo>
                      <a:pt x="1028" y="2085"/>
                    </a:lnTo>
                    <a:lnTo>
                      <a:pt x="1026" y="2077"/>
                    </a:lnTo>
                    <a:lnTo>
                      <a:pt x="1025" y="2070"/>
                    </a:lnTo>
                    <a:lnTo>
                      <a:pt x="1025" y="2064"/>
                    </a:lnTo>
                    <a:lnTo>
                      <a:pt x="1025" y="2057"/>
                    </a:lnTo>
                    <a:lnTo>
                      <a:pt x="1027" y="2052"/>
                    </a:lnTo>
                    <a:lnTo>
                      <a:pt x="1031" y="2049"/>
                    </a:lnTo>
                    <a:lnTo>
                      <a:pt x="1035" y="2045"/>
                    </a:lnTo>
                    <a:lnTo>
                      <a:pt x="1042" y="2041"/>
                    </a:lnTo>
                    <a:lnTo>
                      <a:pt x="1048" y="2037"/>
                    </a:lnTo>
                    <a:lnTo>
                      <a:pt x="1059" y="2032"/>
                    </a:lnTo>
                    <a:lnTo>
                      <a:pt x="1066" y="2030"/>
                    </a:lnTo>
                    <a:lnTo>
                      <a:pt x="1068" y="2027"/>
                    </a:lnTo>
                    <a:lnTo>
                      <a:pt x="1072" y="2022"/>
                    </a:lnTo>
                    <a:lnTo>
                      <a:pt x="1075" y="2019"/>
                    </a:lnTo>
                    <a:lnTo>
                      <a:pt x="1078" y="2017"/>
                    </a:lnTo>
                    <a:lnTo>
                      <a:pt x="1083" y="2015"/>
                    </a:lnTo>
                    <a:lnTo>
                      <a:pt x="1087" y="2017"/>
                    </a:lnTo>
                    <a:lnTo>
                      <a:pt x="1091" y="2019"/>
                    </a:lnTo>
                    <a:lnTo>
                      <a:pt x="1095" y="2019"/>
                    </a:lnTo>
                    <a:lnTo>
                      <a:pt x="1100" y="2019"/>
                    </a:lnTo>
                    <a:lnTo>
                      <a:pt x="1105" y="2019"/>
                    </a:lnTo>
                    <a:lnTo>
                      <a:pt x="1114" y="2018"/>
                    </a:lnTo>
                    <a:lnTo>
                      <a:pt x="1124" y="2019"/>
                    </a:lnTo>
                    <a:lnTo>
                      <a:pt x="1135" y="2023"/>
                    </a:lnTo>
                    <a:lnTo>
                      <a:pt x="1146" y="2027"/>
                    </a:lnTo>
                    <a:lnTo>
                      <a:pt x="1152" y="2029"/>
                    </a:lnTo>
                    <a:lnTo>
                      <a:pt x="1158" y="2031"/>
                    </a:lnTo>
                    <a:lnTo>
                      <a:pt x="1163" y="2032"/>
                    </a:lnTo>
                    <a:lnTo>
                      <a:pt x="1168" y="2032"/>
                    </a:lnTo>
                    <a:lnTo>
                      <a:pt x="1178" y="2029"/>
                    </a:lnTo>
                    <a:lnTo>
                      <a:pt x="1184" y="2026"/>
                    </a:lnTo>
                    <a:lnTo>
                      <a:pt x="1188" y="2023"/>
                    </a:lnTo>
                    <a:lnTo>
                      <a:pt x="1191" y="2020"/>
                    </a:lnTo>
                    <a:lnTo>
                      <a:pt x="1194" y="2015"/>
                    </a:lnTo>
                    <a:lnTo>
                      <a:pt x="1198" y="2009"/>
                    </a:lnTo>
                    <a:lnTo>
                      <a:pt x="1200" y="2007"/>
                    </a:lnTo>
                    <a:lnTo>
                      <a:pt x="1204" y="2005"/>
                    </a:lnTo>
                    <a:lnTo>
                      <a:pt x="1208" y="2004"/>
                    </a:lnTo>
                    <a:lnTo>
                      <a:pt x="1213" y="2005"/>
                    </a:lnTo>
                    <a:lnTo>
                      <a:pt x="1222" y="2007"/>
                    </a:lnTo>
                    <a:lnTo>
                      <a:pt x="1229" y="2007"/>
                    </a:lnTo>
                    <a:lnTo>
                      <a:pt x="1231" y="2007"/>
                    </a:lnTo>
                    <a:lnTo>
                      <a:pt x="1234" y="2008"/>
                    </a:lnTo>
                    <a:lnTo>
                      <a:pt x="1238" y="2010"/>
                    </a:lnTo>
                    <a:lnTo>
                      <a:pt x="1241" y="2015"/>
                    </a:lnTo>
                    <a:lnTo>
                      <a:pt x="1245" y="2020"/>
                    </a:lnTo>
                    <a:lnTo>
                      <a:pt x="1251" y="2023"/>
                    </a:lnTo>
                    <a:lnTo>
                      <a:pt x="1257" y="2025"/>
                    </a:lnTo>
                    <a:lnTo>
                      <a:pt x="1265" y="2026"/>
                    </a:lnTo>
                    <a:lnTo>
                      <a:pt x="1278" y="2027"/>
                    </a:lnTo>
                    <a:lnTo>
                      <a:pt x="1288" y="2027"/>
                    </a:lnTo>
                    <a:lnTo>
                      <a:pt x="1294" y="2028"/>
                    </a:lnTo>
                    <a:lnTo>
                      <a:pt x="1299" y="2028"/>
                    </a:lnTo>
                    <a:lnTo>
                      <a:pt x="1301" y="2028"/>
                    </a:lnTo>
                    <a:lnTo>
                      <a:pt x="1304" y="2029"/>
                    </a:lnTo>
                    <a:lnTo>
                      <a:pt x="1307" y="2030"/>
                    </a:lnTo>
                    <a:lnTo>
                      <a:pt x="1309" y="2033"/>
                    </a:lnTo>
                    <a:lnTo>
                      <a:pt x="1315" y="2039"/>
                    </a:lnTo>
                    <a:lnTo>
                      <a:pt x="1321" y="2044"/>
                    </a:lnTo>
                    <a:lnTo>
                      <a:pt x="1325" y="2047"/>
                    </a:lnTo>
                    <a:lnTo>
                      <a:pt x="1327" y="2050"/>
                    </a:lnTo>
                    <a:lnTo>
                      <a:pt x="1329" y="2054"/>
                    </a:lnTo>
                    <a:lnTo>
                      <a:pt x="1330" y="2057"/>
                    </a:lnTo>
                    <a:lnTo>
                      <a:pt x="1330" y="2065"/>
                    </a:lnTo>
                    <a:lnTo>
                      <a:pt x="1330" y="2072"/>
                    </a:lnTo>
                    <a:lnTo>
                      <a:pt x="1331" y="2079"/>
                    </a:lnTo>
                    <a:lnTo>
                      <a:pt x="1335" y="2090"/>
                    </a:lnTo>
                    <a:lnTo>
                      <a:pt x="1342" y="2101"/>
                    </a:lnTo>
                    <a:lnTo>
                      <a:pt x="1350" y="2111"/>
                    </a:lnTo>
                    <a:lnTo>
                      <a:pt x="1356" y="2119"/>
                    </a:lnTo>
                    <a:lnTo>
                      <a:pt x="1359" y="2123"/>
                    </a:lnTo>
                    <a:lnTo>
                      <a:pt x="1363" y="2127"/>
                    </a:lnTo>
                    <a:lnTo>
                      <a:pt x="1369" y="2129"/>
                    </a:lnTo>
                    <a:lnTo>
                      <a:pt x="1374" y="2130"/>
                    </a:lnTo>
                    <a:lnTo>
                      <a:pt x="1378" y="2130"/>
                    </a:lnTo>
                    <a:lnTo>
                      <a:pt x="1381" y="2124"/>
                    </a:lnTo>
                    <a:lnTo>
                      <a:pt x="1383" y="2115"/>
                    </a:lnTo>
                    <a:lnTo>
                      <a:pt x="1385" y="2105"/>
                    </a:lnTo>
                    <a:lnTo>
                      <a:pt x="1385" y="2093"/>
                    </a:lnTo>
                    <a:lnTo>
                      <a:pt x="1385" y="2084"/>
                    </a:lnTo>
                    <a:lnTo>
                      <a:pt x="1383" y="2072"/>
                    </a:lnTo>
                    <a:lnTo>
                      <a:pt x="1380" y="2062"/>
                    </a:lnTo>
                    <a:lnTo>
                      <a:pt x="1378" y="2052"/>
                    </a:lnTo>
                    <a:lnTo>
                      <a:pt x="1377" y="2047"/>
                    </a:lnTo>
                    <a:lnTo>
                      <a:pt x="1374" y="2042"/>
                    </a:lnTo>
                    <a:lnTo>
                      <a:pt x="1371" y="2036"/>
                    </a:lnTo>
                    <a:lnTo>
                      <a:pt x="1368" y="2031"/>
                    </a:lnTo>
                    <a:lnTo>
                      <a:pt x="1363" y="2025"/>
                    </a:lnTo>
                    <a:lnTo>
                      <a:pt x="1360" y="2020"/>
                    </a:lnTo>
                    <a:lnTo>
                      <a:pt x="1358" y="2013"/>
                    </a:lnTo>
                    <a:lnTo>
                      <a:pt x="1358" y="2007"/>
                    </a:lnTo>
                    <a:lnTo>
                      <a:pt x="1358" y="1992"/>
                    </a:lnTo>
                    <a:lnTo>
                      <a:pt x="1360" y="1976"/>
                    </a:lnTo>
                    <a:lnTo>
                      <a:pt x="1362" y="1968"/>
                    </a:lnTo>
                    <a:lnTo>
                      <a:pt x="1364" y="1962"/>
                    </a:lnTo>
                    <a:lnTo>
                      <a:pt x="1366" y="1958"/>
                    </a:lnTo>
                    <a:lnTo>
                      <a:pt x="1370" y="1955"/>
                    </a:lnTo>
                    <a:lnTo>
                      <a:pt x="1381" y="1945"/>
                    </a:lnTo>
                    <a:lnTo>
                      <a:pt x="1400" y="1929"/>
                    </a:lnTo>
                    <a:lnTo>
                      <a:pt x="1410" y="1919"/>
                    </a:lnTo>
                    <a:lnTo>
                      <a:pt x="1420" y="1911"/>
                    </a:lnTo>
                    <a:lnTo>
                      <a:pt x="1428" y="1904"/>
                    </a:lnTo>
                    <a:lnTo>
                      <a:pt x="1436" y="1900"/>
                    </a:lnTo>
                    <a:lnTo>
                      <a:pt x="1449" y="1894"/>
                    </a:lnTo>
                    <a:lnTo>
                      <a:pt x="1464" y="1886"/>
                    </a:lnTo>
                    <a:lnTo>
                      <a:pt x="1470" y="1880"/>
                    </a:lnTo>
                    <a:lnTo>
                      <a:pt x="1476" y="1876"/>
                    </a:lnTo>
                    <a:lnTo>
                      <a:pt x="1480" y="1873"/>
                    </a:lnTo>
                    <a:lnTo>
                      <a:pt x="1482" y="1870"/>
                    </a:lnTo>
                    <a:lnTo>
                      <a:pt x="1478" y="1855"/>
                    </a:lnTo>
                    <a:lnTo>
                      <a:pt x="1472" y="1841"/>
                    </a:lnTo>
                    <a:lnTo>
                      <a:pt x="1479" y="1826"/>
                    </a:lnTo>
                    <a:lnTo>
                      <a:pt x="1485" y="1810"/>
                    </a:lnTo>
                    <a:lnTo>
                      <a:pt x="1488" y="1803"/>
                    </a:lnTo>
                    <a:lnTo>
                      <a:pt x="1491" y="1795"/>
                    </a:lnTo>
                    <a:lnTo>
                      <a:pt x="1495" y="1789"/>
                    </a:lnTo>
                    <a:lnTo>
                      <a:pt x="1501" y="1782"/>
                    </a:lnTo>
                    <a:lnTo>
                      <a:pt x="1505" y="1773"/>
                    </a:lnTo>
                    <a:lnTo>
                      <a:pt x="1510" y="1761"/>
                    </a:lnTo>
                    <a:lnTo>
                      <a:pt x="1513" y="1756"/>
                    </a:lnTo>
                    <a:lnTo>
                      <a:pt x="1515" y="1750"/>
                    </a:lnTo>
                    <a:lnTo>
                      <a:pt x="1518" y="1746"/>
                    </a:lnTo>
                    <a:lnTo>
                      <a:pt x="1522" y="1743"/>
                    </a:lnTo>
                    <a:lnTo>
                      <a:pt x="1532" y="1739"/>
                    </a:lnTo>
                    <a:lnTo>
                      <a:pt x="1549" y="1733"/>
                    </a:lnTo>
                    <a:lnTo>
                      <a:pt x="1557" y="1729"/>
                    </a:lnTo>
                    <a:lnTo>
                      <a:pt x="1564" y="1725"/>
                    </a:lnTo>
                    <a:lnTo>
                      <a:pt x="1570" y="1722"/>
                    </a:lnTo>
                    <a:lnTo>
                      <a:pt x="1574" y="1719"/>
                    </a:lnTo>
                    <a:lnTo>
                      <a:pt x="1577" y="1717"/>
                    </a:lnTo>
                    <a:lnTo>
                      <a:pt x="1581" y="1716"/>
                    </a:lnTo>
                    <a:lnTo>
                      <a:pt x="1586" y="1715"/>
                    </a:lnTo>
                    <a:lnTo>
                      <a:pt x="1592" y="1714"/>
                    </a:lnTo>
                    <a:lnTo>
                      <a:pt x="1597" y="1714"/>
                    </a:lnTo>
                    <a:lnTo>
                      <a:pt x="1602" y="1713"/>
                    </a:lnTo>
                    <a:lnTo>
                      <a:pt x="1603" y="1712"/>
                    </a:lnTo>
                    <a:lnTo>
                      <a:pt x="1605" y="1711"/>
                    </a:lnTo>
                    <a:lnTo>
                      <a:pt x="1605" y="1708"/>
                    </a:lnTo>
                    <a:lnTo>
                      <a:pt x="1606" y="1707"/>
                    </a:lnTo>
                    <a:lnTo>
                      <a:pt x="1605" y="1705"/>
                    </a:lnTo>
                    <a:lnTo>
                      <a:pt x="1604" y="1703"/>
                    </a:lnTo>
                    <a:lnTo>
                      <a:pt x="1603" y="1702"/>
                    </a:lnTo>
                    <a:lnTo>
                      <a:pt x="1601" y="1701"/>
                    </a:lnTo>
                    <a:lnTo>
                      <a:pt x="1596" y="1699"/>
                    </a:lnTo>
                    <a:lnTo>
                      <a:pt x="1591" y="1698"/>
                    </a:lnTo>
                    <a:lnTo>
                      <a:pt x="1585" y="1697"/>
                    </a:lnTo>
                    <a:lnTo>
                      <a:pt x="1581" y="1695"/>
                    </a:lnTo>
                    <a:lnTo>
                      <a:pt x="1580" y="1694"/>
                    </a:lnTo>
                    <a:lnTo>
                      <a:pt x="1580" y="1692"/>
                    </a:lnTo>
                    <a:lnTo>
                      <a:pt x="1580" y="1690"/>
                    </a:lnTo>
                    <a:lnTo>
                      <a:pt x="1581" y="1688"/>
                    </a:lnTo>
                    <a:lnTo>
                      <a:pt x="1588" y="1677"/>
                    </a:lnTo>
                    <a:lnTo>
                      <a:pt x="1597" y="1666"/>
                    </a:lnTo>
                    <a:lnTo>
                      <a:pt x="1606" y="1654"/>
                    </a:lnTo>
                    <a:lnTo>
                      <a:pt x="1616" y="1644"/>
                    </a:lnTo>
                    <a:lnTo>
                      <a:pt x="1623" y="1637"/>
                    </a:lnTo>
                    <a:lnTo>
                      <a:pt x="1635" y="1630"/>
                    </a:lnTo>
                    <a:lnTo>
                      <a:pt x="1648" y="1620"/>
                    </a:lnTo>
                    <a:lnTo>
                      <a:pt x="1664" y="1612"/>
                    </a:lnTo>
                    <a:lnTo>
                      <a:pt x="1679" y="1605"/>
                    </a:lnTo>
                    <a:lnTo>
                      <a:pt x="1690" y="1598"/>
                    </a:lnTo>
                    <a:lnTo>
                      <a:pt x="1694" y="1596"/>
                    </a:lnTo>
                    <a:lnTo>
                      <a:pt x="1698" y="1595"/>
                    </a:lnTo>
                    <a:lnTo>
                      <a:pt x="1700" y="1595"/>
                    </a:lnTo>
                    <a:lnTo>
                      <a:pt x="1700" y="1596"/>
                    </a:lnTo>
                    <a:lnTo>
                      <a:pt x="1693" y="1603"/>
                    </a:lnTo>
                    <a:lnTo>
                      <a:pt x="1686" y="1611"/>
                    </a:lnTo>
                    <a:lnTo>
                      <a:pt x="1682" y="1615"/>
                    </a:lnTo>
                    <a:lnTo>
                      <a:pt x="1680" y="1619"/>
                    </a:lnTo>
                    <a:lnTo>
                      <a:pt x="1678" y="1625"/>
                    </a:lnTo>
                    <a:lnTo>
                      <a:pt x="1678" y="1631"/>
                    </a:lnTo>
                    <a:lnTo>
                      <a:pt x="1679" y="1641"/>
                    </a:lnTo>
                    <a:lnTo>
                      <a:pt x="1680" y="1649"/>
                    </a:lnTo>
                    <a:lnTo>
                      <a:pt x="1682" y="1652"/>
                    </a:lnTo>
                    <a:lnTo>
                      <a:pt x="1684" y="1654"/>
                    </a:lnTo>
                    <a:lnTo>
                      <a:pt x="1687" y="1654"/>
                    </a:lnTo>
                    <a:lnTo>
                      <a:pt x="1691" y="1654"/>
                    </a:lnTo>
                    <a:lnTo>
                      <a:pt x="1696" y="1652"/>
                    </a:lnTo>
                    <a:lnTo>
                      <a:pt x="1701" y="1650"/>
                    </a:lnTo>
                    <a:lnTo>
                      <a:pt x="1704" y="1647"/>
                    </a:lnTo>
                    <a:lnTo>
                      <a:pt x="1708" y="1642"/>
                    </a:lnTo>
                    <a:lnTo>
                      <a:pt x="1712" y="1638"/>
                    </a:lnTo>
                    <a:lnTo>
                      <a:pt x="1717" y="1634"/>
                    </a:lnTo>
                    <a:lnTo>
                      <a:pt x="1725" y="1629"/>
                    </a:lnTo>
                    <a:lnTo>
                      <a:pt x="1735" y="1624"/>
                    </a:lnTo>
                    <a:lnTo>
                      <a:pt x="1754" y="1613"/>
                    </a:lnTo>
                    <a:lnTo>
                      <a:pt x="1770" y="1606"/>
                    </a:lnTo>
                    <a:lnTo>
                      <a:pt x="1781" y="1600"/>
                    </a:lnTo>
                    <a:lnTo>
                      <a:pt x="1791" y="1594"/>
                    </a:lnTo>
                    <a:lnTo>
                      <a:pt x="1801" y="1590"/>
                    </a:lnTo>
                    <a:lnTo>
                      <a:pt x="1814" y="1586"/>
                    </a:lnTo>
                    <a:lnTo>
                      <a:pt x="1818" y="1584"/>
                    </a:lnTo>
                    <a:lnTo>
                      <a:pt x="1822" y="1581"/>
                    </a:lnTo>
                    <a:lnTo>
                      <a:pt x="1823" y="1579"/>
                    </a:lnTo>
                    <a:lnTo>
                      <a:pt x="1823" y="1576"/>
                    </a:lnTo>
                    <a:lnTo>
                      <a:pt x="1823" y="1574"/>
                    </a:lnTo>
                    <a:lnTo>
                      <a:pt x="1822" y="1572"/>
                    </a:lnTo>
                    <a:lnTo>
                      <a:pt x="1817" y="1560"/>
                    </a:lnTo>
                    <a:lnTo>
                      <a:pt x="1811" y="1545"/>
                    </a:lnTo>
                    <a:lnTo>
                      <a:pt x="1808" y="1539"/>
                    </a:lnTo>
                    <a:lnTo>
                      <a:pt x="1804" y="1535"/>
                    </a:lnTo>
                    <a:lnTo>
                      <a:pt x="1803" y="1534"/>
                    </a:lnTo>
                    <a:lnTo>
                      <a:pt x="1801" y="1532"/>
                    </a:lnTo>
                    <a:lnTo>
                      <a:pt x="1799" y="1534"/>
                    </a:lnTo>
                    <a:lnTo>
                      <a:pt x="1798" y="1535"/>
                    </a:lnTo>
                    <a:lnTo>
                      <a:pt x="1790" y="1543"/>
                    </a:lnTo>
                    <a:lnTo>
                      <a:pt x="1779" y="1554"/>
                    </a:lnTo>
                    <a:lnTo>
                      <a:pt x="1771" y="1563"/>
                    </a:lnTo>
                    <a:lnTo>
                      <a:pt x="1768" y="1567"/>
                    </a:lnTo>
                    <a:lnTo>
                      <a:pt x="1754" y="1561"/>
                    </a:lnTo>
                    <a:lnTo>
                      <a:pt x="1744" y="1556"/>
                    </a:lnTo>
                    <a:lnTo>
                      <a:pt x="1734" y="1551"/>
                    </a:lnTo>
                    <a:lnTo>
                      <a:pt x="1720" y="1544"/>
                    </a:lnTo>
                    <a:lnTo>
                      <a:pt x="1717" y="1546"/>
                    </a:lnTo>
                    <a:lnTo>
                      <a:pt x="1712" y="1550"/>
                    </a:lnTo>
                    <a:lnTo>
                      <a:pt x="1710" y="1551"/>
                    </a:lnTo>
                    <a:lnTo>
                      <a:pt x="1708" y="1551"/>
                    </a:lnTo>
                    <a:lnTo>
                      <a:pt x="1706" y="1548"/>
                    </a:lnTo>
                    <a:lnTo>
                      <a:pt x="1706" y="1543"/>
                    </a:lnTo>
                    <a:lnTo>
                      <a:pt x="1706" y="1537"/>
                    </a:lnTo>
                    <a:lnTo>
                      <a:pt x="1707" y="1531"/>
                    </a:lnTo>
                    <a:lnTo>
                      <a:pt x="1709" y="1526"/>
                    </a:lnTo>
                    <a:lnTo>
                      <a:pt x="1711" y="1522"/>
                    </a:lnTo>
                    <a:lnTo>
                      <a:pt x="1714" y="1517"/>
                    </a:lnTo>
                    <a:lnTo>
                      <a:pt x="1715" y="1515"/>
                    </a:lnTo>
                    <a:lnTo>
                      <a:pt x="1717" y="1517"/>
                    </a:lnTo>
                    <a:lnTo>
                      <a:pt x="1723" y="1520"/>
                    </a:lnTo>
                    <a:lnTo>
                      <a:pt x="1725" y="1521"/>
                    </a:lnTo>
                    <a:lnTo>
                      <a:pt x="1727" y="1520"/>
                    </a:lnTo>
                    <a:lnTo>
                      <a:pt x="1729" y="1518"/>
                    </a:lnTo>
                    <a:lnTo>
                      <a:pt x="1730" y="1514"/>
                    </a:lnTo>
                    <a:lnTo>
                      <a:pt x="1730" y="1501"/>
                    </a:lnTo>
                    <a:lnTo>
                      <a:pt x="1730" y="1492"/>
                    </a:lnTo>
                    <a:lnTo>
                      <a:pt x="1731" y="1483"/>
                    </a:lnTo>
                    <a:lnTo>
                      <a:pt x="1732" y="1477"/>
                    </a:lnTo>
                    <a:lnTo>
                      <a:pt x="1731" y="1476"/>
                    </a:lnTo>
                    <a:lnTo>
                      <a:pt x="1729" y="1475"/>
                    </a:lnTo>
                    <a:lnTo>
                      <a:pt x="1726" y="1475"/>
                    </a:lnTo>
                    <a:lnTo>
                      <a:pt x="1722" y="1474"/>
                    </a:lnTo>
                    <a:lnTo>
                      <a:pt x="1710" y="1474"/>
                    </a:lnTo>
                    <a:lnTo>
                      <a:pt x="1696" y="1473"/>
                    </a:lnTo>
                    <a:lnTo>
                      <a:pt x="1684" y="1472"/>
                    </a:lnTo>
                    <a:lnTo>
                      <a:pt x="1672" y="1471"/>
                    </a:lnTo>
                    <a:lnTo>
                      <a:pt x="1668" y="1470"/>
                    </a:lnTo>
                    <a:lnTo>
                      <a:pt x="1665" y="1468"/>
                    </a:lnTo>
                    <a:lnTo>
                      <a:pt x="1663" y="1466"/>
                    </a:lnTo>
                    <a:lnTo>
                      <a:pt x="1663" y="1464"/>
                    </a:lnTo>
                    <a:lnTo>
                      <a:pt x="1664" y="1462"/>
                    </a:lnTo>
                    <a:lnTo>
                      <a:pt x="1666" y="1460"/>
                    </a:lnTo>
                    <a:lnTo>
                      <a:pt x="1670" y="1458"/>
                    </a:lnTo>
                    <a:lnTo>
                      <a:pt x="1674" y="1456"/>
                    </a:lnTo>
                    <a:lnTo>
                      <a:pt x="1685" y="1453"/>
                    </a:lnTo>
                    <a:lnTo>
                      <a:pt x="1696" y="1451"/>
                    </a:lnTo>
                    <a:lnTo>
                      <a:pt x="1708" y="1449"/>
                    </a:lnTo>
                    <a:lnTo>
                      <a:pt x="1719" y="1448"/>
                    </a:lnTo>
                    <a:lnTo>
                      <a:pt x="1723" y="1448"/>
                    </a:lnTo>
                    <a:lnTo>
                      <a:pt x="1726" y="1448"/>
                    </a:lnTo>
                    <a:lnTo>
                      <a:pt x="1729" y="1449"/>
                    </a:lnTo>
                    <a:lnTo>
                      <a:pt x="1730" y="1450"/>
                    </a:lnTo>
                    <a:lnTo>
                      <a:pt x="1732" y="1455"/>
                    </a:lnTo>
                    <a:lnTo>
                      <a:pt x="1736" y="1459"/>
                    </a:lnTo>
                    <a:lnTo>
                      <a:pt x="1742" y="1465"/>
                    </a:lnTo>
                    <a:lnTo>
                      <a:pt x="1748" y="1471"/>
                    </a:lnTo>
                    <a:lnTo>
                      <a:pt x="1752" y="1474"/>
                    </a:lnTo>
                    <a:lnTo>
                      <a:pt x="1757" y="1477"/>
                    </a:lnTo>
                    <a:lnTo>
                      <a:pt x="1763" y="1480"/>
                    </a:lnTo>
                    <a:lnTo>
                      <a:pt x="1768" y="1482"/>
                    </a:lnTo>
                    <a:lnTo>
                      <a:pt x="1773" y="1482"/>
                    </a:lnTo>
                    <a:lnTo>
                      <a:pt x="1776" y="1482"/>
                    </a:lnTo>
                    <a:lnTo>
                      <a:pt x="1777" y="1481"/>
                    </a:lnTo>
                    <a:lnTo>
                      <a:pt x="1778" y="1480"/>
                    </a:lnTo>
                    <a:lnTo>
                      <a:pt x="1778" y="1479"/>
                    </a:lnTo>
                    <a:lnTo>
                      <a:pt x="1778" y="1477"/>
                    </a:lnTo>
                    <a:lnTo>
                      <a:pt x="1774" y="1472"/>
                    </a:lnTo>
                    <a:lnTo>
                      <a:pt x="1769" y="1465"/>
                    </a:lnTo>
                    <a:lnTo>
                      <a:pt x="1763" y="1459"/>
                    </a:lnTo>
                    <a:lnTo>
                      <a:pt x="1756" y="1453"/>
                    </a:lnTo>
                    <a:lnTo>
                      <a:pt x="1751" y="1448"/>
                    </a:lnTo>
                    <a:lnTo>
                      <a:pt x="1747" y="1443"/>
                    </a:lnTo>
                    <a:lnTo>
                      <a:pt x="1747" y="1442"/>
                    </a:lnTo>
                    <a:lnTo>
                      <a:pt x="1747" y="1441"/>
                    </a:lnTo>
                    <a:lnTo>
                      <a:pt x="1748" y="1441"/>
                    </a:lnTo>
                    <a:lnTo>
                      <a:pt x="1750" y="1441"/>
                    </a:lnTo>
                    <a:lnTo>
                      <a:pt x="1764" y="1446"/>
                    </a:lnTo>
                    <a:lnTo>
                      <a:pt x="1778" y="1450"/>
                    </a:lnTo>
                    <a:lnTo>
                      <a:pt x="1786" y="1451"/>
                    </a:lnTo>
                    <a:lnTo>
                      <a:pt x="1792" y="1452"/>
                    </a:lnTo>
                    <a:lnTo>
                      <a:pt x="1797" y="1451"/>
                    </a:lnTo>
                    <a:lnTo>
                      <a:pt x="1802" y="1449"/>
                    </a:lnTo>
                    <a:lnTo>
                      <a:pt x="1816" y="1436"/>
                    </a:lnTo>
                    <a:lnTo>
                      <a:pt x="1835" y="1417"/>
                    </a:lnTo>
                    <a:lnTo>
                      <a:pt x="1845" y="1410"/>
                    </a:lnTo>
                    <a:lnTo>
                      <a:pt x="1854" y="1404"/>
                    </a:lnTo>
                    <a:lnTo>
                      <a:pt x="1857" y="1403"/>
                    </a:lnTo>
                    <a:lnTo>
                      <a:pt x="1860" y="1402"/>
                    </a:lnTo>
                    <a:lnTo>
                      <a:pt x="1862" y="1403"/>
                    </a:lnTo>
                    <a:lnTo>
                      <a:pt x="1863" y="1405"/>
                    </a:lnTo>
                    <a:lnTo>
                      <a:pt x="1863" y="1408"/>
                    </a:lnTo>
                    <a:lnTo>
                      <a:pt x="1863" y="1413"/>
                    </a:lnTo>
                    <a:lnTo>
                      <a:pt x="1861" y="1419"/>
                    </a:lnTo>
                    <a:lnTo>
                      <a:pt x="1859" y="1427"/>
                    </a:lnTo>
                    <a:lnTo>
                      <a:pt x="1853" y="1443"/>
                    </a:lnTo>
                    <a:lnTo>
                      <a:pt x="1845" y="1461"/>
                    </a:lnTo>
                    <a:lnTo>
                      <a:pt x="1838" y="1479"/>
                    </a:lnTo>
                    <a:lnTo>
                      <a:pt x="1832" y="1495"/>
                    </a:lnTo>
                    <a:lnTo>
                      <a:pt x="1830" y="1501"/>
                    </a:lnTo>
                    <a:lnTo>
                      <a:pt x="1829" y="1506"/>
                    </a:lnTo>
                    <a:lnTo>
                      <a:pt x="1829" y="1510"/>
                    </a:lnTo>
                    <a:lnTo>
                      <a:pt x="1830" y="1514"/>
                    </a:lnTo>
                    <a:lnTo>
                      <a:pt x="1835" y="1516"/>
                    </a:lnTo>
                    <a:lnTo>
                      <a:pt x="1844" y="1519"/>
                    </a:lnTo>
                    <a:lnTo>
                      <a:pt x="1856" y="1521"/>
                    </a:lnTo>
                    <a:lnTo>
                      <a:pt x="1869" y="1524"/>
                    </a:lnTo>
                    <a:lnTo>
                      <a:pt x="1882" y="1526"/>
                    </a:lnTo>
                    <a:lnTo>
                      <a:pt x="1892" y="1528"/>
                    </a:lnTo>
                    <a:lnTo>
                      <a:pt x="1897" y="1529"/>
                    </a:lnTo>
                    <a:lnTo>
                      <a:pt x="1900" y="1530"/>
                    </a:lnTo>
                    <a:lnTo>
                      <a:pt x="1901" y="1531"/>
                    </a:lnTo>
                    <a:lnTo>
                      <a:pt x="1902" y="1532"/>
                    </a:lnTo>
                    <a:lnTo>
                      <a:pt x="1893" y="1536"/>
                    </a:lnTo>
                    <a:lnTo>
                      <a:pt x="1882" y="1539"/>
                    </a:lnTo>
                    <a:lnTo>
                      <a:pt x="1878" y="1541"/>
                    </a:lnTo>
                    <a:lnTo>
                      <a:pt x="1875" y="1543"/>
                    </a:lnTo>
                    <a:lnTo>
                      <a:pt x="1875" y="1545"/>
                    </a:lnTo>
                    <a:lnTo>
                      <a:pt x="1875" y="1547"/>
                    </a:lnTo>
                    <a:lnTo>
                      <a:pt x="1877" y="1549"/>
                    </a:lnTo>
                    <a:lnTo>
                      <a:pt x="1880" y="1552"/>
                    </a:lnTo>
                    <a:lnTo>
                      <a:pt x="1892" y="1562"/>
                    </a:lnTo>
                    <a:lnTo>
                      <a:pt x="1902" y="1567"/>
                    </a:lnTo>
                    <a:lnTo>
                      <a:pt x="1906" y="1568"/>
                    </a:lnTo>
                    <a:lnTo>
                      <a:pt x="1910" y="1567"/>
                    </a:lnTo>
                    <a:lnTo>
                      <a:pt x="1913" y="1565"/>
                    </a:lnTo>
                    <a:lnTo>
                      <a:pt x="1917" y="1561"/>
                    </a:lnTo>
                    <a:lnTo>
                      <a:pt x="1922" y="1551"/>
                    </a:lnTo>
                    <a:lnTo>
                      <a:pt x="1927" y="1543"/>
                    </a:lnTo>
                    <a:lnTo>
                      <a:pt x="1929" y="1541"/>
                    </a:lnTo>
                    <a:lnTo>
                      <a:pt x="1931" y="1539"/>
                    </a:lnTo>
                    <a:lnTo>
                      <a:pt x="1933" y="1539"/>
                    </a:lnTo>
                    <a:lnTo>
                      <a:pt x="1934" y="1541"/>
                    </a:lnTo>
                    <a:lnTo>
                      <a:pt x="1945" y="1549"/>
                    </a:lnTo>
                    <a:lnTo>
                      <a:pt x="1952" y="1553"/>
                    </a:lnTo>
                    <a:lnTo>
                      <a:pt x="1954" y="1553"/>
                    </a:lnTo>
                    <a:lnTo>
                      <a:pt x="1958" y="1552"/>
                    </a:lnTo>
                    <a:lnTo>
                      <a:pt x="1962" y="1550"/>
                    </a:lnTo>
                    <a:lnTo>
                      <a:pt x="1965" y="1549"/>
                    </a:lnTo>
                    <a:lnTo>
                      <a:pt x="1967" y="1546"/>
                    </a:lnTo>
                    <a:lnTo>
                      <a:pt x="1970" y="1543"/>
                    </a:lnTo>
                    <a:lnTo>
                      <a:pt x="1973" y="1536"/>
                    </a:lnTo>
                    <a:lnTo>
                      <a:pt x="1976" y="1527"/>
                    </a:lnTo>
                    <a:lnTo>
                      <a:pt x="1976" y="1522"/>
                    </a:lnTo>
                    <a:lnTo>
                      <a:pt x="1976" y="1517"/>
                    </a:lnTo>
                    <a:lnTo>
                      <a:pt x="1975" y="1512"/>
                    </a:lnTo>
                    <a:lnTo>
                      <a:pt x="1974" y="1504"/>
                    </a:lnTo>
                    <a:lnTo>
                      <a:pt x="1972" y="1501"/>
                    </a:lnTo>
                    <a:lnTo>
                      <a:pt x="1970" y="1497"/>
                    </a:lnTo>
                    <a:lnTo>
                      <a:pt x="1967" y="1494"/>
                    </a:lnTo>
                    <a:lnTo>
                      <a:pt x="1964" y="1490"/>
                    </a:lnTo>
                    <a:lnTo>
                      <a:pt x="1955" y="1482"/>
                    </a:lnTo>
                    <a:lnTo>
                      <a:pt x="1945" y="1475"/>
                    </a:lnTo>
                    <a:lnTo>
                      <a:pt x="1925" y="1462"/>
                    </a:lnTo>
                    <a:lnTo>
                      <a:pt x="1909" y="1455"/>
                    </a:lnTo>
                    <a:lnTo>
                      <a:pt x="1904" y="1452"/>
                    </a:lnTo>
                    <a:lnTo>
                      <a:pt x="1900" y="1449"/>
                    </a:lnTo>
                    <a:lnTo>
                      <a:pt x="1896" y="1446"/>
                    </a:lnTo>
                    <a:lnTo>
                      <a:pt x="1892" y="1442"/>
                    </a:lnTo>
                    <a:lnTo>
                      <a:pt x="1891" y="1439"/>
                    </a:lnTo>
                    <a:lnTo>
                      <a:pt x="1890" y="1436"/>
                    </a:lnTo>
                    <a:lnTo>
                      <a:pt x="1890" y="1433"/>
                    </a:lnTo>
                    <a:lnTo>
                      <a:pt x="1891" y="1430"/>
                    </a:lnTo>
                    <a:lnTo>
                      <a:pt x="1897" y="1424"/>
                    </a:lnTo>
                    <a:lnTo>
                      <a:pt x="1903" y="1415"/>
                    </a:lnTo>
                    <a:lnTo>
                      <a:pt x="1908" y="1407"/>
                    </a:lnTo>
                    <a:lnTo>
                      <a:pt x="1911" y="1400"/>
                    </a:lnTo>
                    <a:lnTo>
                      <a:pt x="1910" y="1393"/>
                    </a:lnTo>
                    <a:lnTo>
                      <a:pt x="1905" y="1382"/>
                    </a:lnTo>
                    <a:lnTo>
                      <a:pt x="1901" y="1370"/>
                    </a:lnTo>
                    <a:lnTo>
                      <a:pt x="1898" y="1364"/>
                    </a:lnTo>
                    <a:lnTo>
                      <a:pt x="1901" y="1359"/>
                    </a:lnTo>
                    <a:lnTo>
                      <a:pt x="1906" y="1348"/>
                    </a:lnTo>
                    <a:lnTo>
                      <a:pt x="1908" y="1342"/>
                    </a:lnTo>
                    <a:lnTo>
                      <a:pt x="1908" y="1335"/>
                    </a:lnTo>
                    <a:lnTo>
                      <a:pt x="1908" y="1332"/>
                    </a:lnTo>
                    <a:lnTo>
                      <a:pt x="1907" y="1329"/>
                    </a:lnTo>
                    <a:lnTo>
                      <a:pt x="1905" y="1326"/>
                    </a:lnTo>
                    <a:lnTo>
                      <a:pt x="1903" y="1324"/>
                    </a:lnTo>
                    <a:lnTo>
                      <a:pt x="1891" y="1315"/>
                    </a:lnTo>
                    <a:lnTo>
                      <a:pt x="1880" y="1305"/>
                    </a:lnTo>
                    <a:lnTo>
                      <a:pt x="1874" y="1302"/>
                    </a:lnTo>
                    <a:lnTo>
                      <a:pt x="1868" y="1299"/>
                    </a:lnTo>
                    <a:lnTo>
                      <a:pt x="1863" y="1299"/>
                    </a:lnTo>
                    <a:lnTo>
                      <a:pt x="1858" y="1300"/>
                    </a:lnTo>
                    <a:lnTo>
                      <a:pt x="1844" y="1308"/>
                    </a:lnTo>
                    <a:lnTo>
                      <a:pt x="1824" y="1320"/>
                    </a:lnTo>
                    <a:lnTo>
                      <a:pt x="1816" y="1324"/>
                    </a:lnTo>
                    <a:lnTo>
                      <a:pt x="1810" y="1327"/>
                    </a:lnTo>
                    <a:lnTo>
                      <a:pt x="1808" y="1328"/>
                    </a:lnTo>
                    <a:lnTo>
                      <a:pt x="1807" y="1327"/>
                    </a:lnTo>
                    <a:lnTo>
                      <a:pt x="1808" y="1327"/>
                    </a:lnTo>
                    <a:lnTo>
                      <a:pt x="1809" y="1325"/>
                    </a:lnTo>
                    <a:lnTo>
                      <a:pt x="1823" y="1316"/>
                    </a:lnTo>
                    <a:lnTo>
                      <a:pt x="1841" y="1305"/>
                    </a:lnTo>
                    <a:lnTo>
                      <a:pt x="1849" y="1300"/>
                    </a:lnTo>
                    <a:lnTo>
                      <a:pt x="1854" y="1295"/>
                    </a:lnTo>
                    <a:lnTo>
                      <a:pt x="1856" y="1291"/>
                    </a:lnTo>
                    <a:lnTo>
                      <a:pt x="1856" y="1288"/>
                    </a:lnTo>
                    <a:lnTo>
                      <a:pt x="1855" y="1285"/>
                    </a:lnTo>
                    <a:lnTo>
                      <a:pt x="1853" y="1282"/>
                    </a:lnTo>
                    <a:lnTo>
                      <a:pt x="1846" y="1276"/>
                    </a:lnTo>
                    <a:lnTo>
                      <a:pt x="1839" y="1272"/>
                    </a:lnTo>
                    <a:lnTo>
                      <a:pt x="1833" y="1268"/>
                    </a:lnTo>
                    <a:lnTo>
                      <a:pt x="1826" y="1265"/>
                    </a:lnTo>
                    <a:lnTo>
                      <a:pt x="1820" y="1263"/>
                    </a:lnTo>
                    <a:lnTo>
                      <a:pt x="1814" y="1260"/>
                    </a:lnTo>
                    <a:lnTo>
                      <a:pt x="1810" y="1257"/>
                    </a:lnTo>
                    <a:lnTo>
                      <a:pt x="1807" y="1253"/>
                    </a:lnTo>
                    <a:lnTo>
                      <a:pt x="1798" y="1239"/>
                    </a:lnTo>
                    <a:lnTo>
                      <a:pt x="1787" y="1222"/>
                    </a:lnTo>
                    <a:lnTo>
                      <a:pt x="1776" y="1208"/>
                    </a:lnTo>
                    <a:lnTo>
                      <a:pt x="1771" y="1201"/>
                    </a:lnTo>
                    <a:lnTo>
                      <a:pt x="1773" y="1199"/>
                    </a:lnTo>
                    <a:lnTo>
                      <a:pt x="1776" y="1193"/>
                    </a:lnTo>
                    <a:lnTo>
                      <a:pt x="1777" y="1190"/>
                    </a:lnTo>
                    <a:lnTo>
                      <a:pt x="1778" y="1186"/>
                    </a:lnTo>
                    <a:lnTo>
                      <a:pt x="1778" y="1181"/>
                    </a:lnTo>
                    <a:lnTo>
                      <a:pt x="1776" y="1178"/>
                    </a:lnTo>
                    <a:lnTo>
                      <a:pt x="1768" y="1163"/>
                    </a:lnTo>
                    <a:lnTo>
                      <a:pt x="1756" y="1137"/>
                    </a:lnTo>
                    <a:lnTo>
                      <a:pt x="1746" y="1113"/>
                    </a:lnTo>
                    <a:lnTo>
                      <a:pt x="1741" y="1103"/>
                    </a:lnTo>
                    <a:lnTo>
                      <a:pt x="1736" y="1095"/>
                    </a:lnTo>
                    <a:lnTo>
                      <a:pt x="1727" y="1077"/>
                    </a:lnTo>
                    <a:lnTo>
                      <a:pt x="1721" y="1068"/>
                    </a:lnTo>
                    <a:lnTo>
                      <a:pt x="1715" y="1062"/>
                    </a:lnTo>
                    <a:lnTo>
                      <a:pt x="1713" y="1061"/>
                    </a:lnTo>
                    <a:lnTo>
                      <a:pt x="1711" y="1061"/>
                    </a:lnTo>
                    <a:lnTo>
                      <a:pt x="1709" y="1061"/>
                    </a:lnTo>
                    <a:lnTo>
                      <a:pt x="1708" y="1064"/>
                    </a:lnTo>
                    <a:lnTo>
                      <a:pt x="1705" y="1073"/>
                    </a:lnTo>
                    <a:lnTo>
                      <a:pt x="1699" y="1085"/>
                    </a:lnTo>
                    <a:lnTo>
                      <a:pt x="1690" y="1100"/>
                    </a:lnTo>
                    <a:lnTo>
                      <a:pt x="1682" y="1115"/>
                    </a:lnTo>
                    <a:lnTo>
                      <a:pt x="1671" y="1129"/>
                    </a:lnTo>
                    <a:lnTo>
                      <a:pt x="1662" y="1140"/>
                    </a:lnTo>
                    <a:lnTo>
                      <a:pt x="1658" y="1143"/>
                    </a:lnTo>
                    <a:lnTo>
                      <a:pt x="1654" y="1146"/>
                    </a:lnTo>
                    <a:lnTo>
                      <a:pt x="1649" y="1146"/>
                    </a:lnTo>
                    <a:lnTo>
                      <a:pt x="1646" y="1145"/>
                    </a:lnTo>
                    <a:lnTo>
                      <a:pt x="1639" y="1141"/>
                    </a:lnTo>
                    <a:lnTo>
                      <a:pt x="1633" y="1135"/>
                    </a:lnTo>
                    <a:lnTo>
                      <a:pt x="1627" y="1130"/>
                    </a:lnTo>
                    <a:lnTo>
                      <a:pt x="1622" y="1125"/>
                    </a:lnTo>
                    <a:lnTo>
                      <a:pt x="1617" y="1120"/>
                    </a:lnTo>
                    <a:lnTo>
                      <a:pt x="1614" y="1114"/>
                    </a:lnTo>
                    <a:lnTo>
                      <a:pt x="1613" y="1110"/>
                    </a:lnTo>
                    <a:lnTo>
                      <a:pt x="1612" y="1106"/>
                    </a:lnTo>
                    <a:lnTo>
                      <a:pt x="1614" y="1093"/>
                    </a:lnTo>
                    <a:lnTo>
                      <a:pt x="1614" y="1075"/>
                    </a:lnTo>
                    <a:lnTo>
                      <a:pt x="1614" y="1065"/>
                    </a:lnTo>
                    <a:lnTo>
                      <a:pt x="1613" y="1057"/>
                    </a:lnTo>
                    <a:lnTo>
                      <a:pt x="1611" y="1051"/>
                    </a:lnTo>
                    <a:lnTo>
                      <a:pt x="1607" y="1046"/>
                    </a:lnTo>
                    <a:lnTo>
                      <a:pt x="1595" y="1040"/>
                    </a:lnTo>
                    <a:lnTo>
                      <a:pt x="1577" y="1034"/>
                    </a:lnTo>
                    <a:lnTo>
                      <a:pt x="1569" y="1031"/>
                    </a:lnTo>
                    <a:lnTo>
                      <a:pt x="1561" y="1026"/>
                    </a:lnTo>
                    <a:lnTo>
                      <a:pt x="1558" y="1024"/>
                    </a:lnTo>
                    <a:lnTo>
                      <a:pt x="1556" y="1022"/>
                    </a:lnTo>
                    <a:lnTo>
                      <a:pt x="1554" y="1020"/>
                    </a:lnTo>
                    <a:lnTo>
                      <a:pt x="1554" y="1018"/>
                    </a:lnTo>
                    <a:lnTo>
                      <a:pt x="1553" y="1013"/>
                    </a:lnTo>
                    <a:lnTo>
                      <a:pt x="1550" y="1008"/>
                    </a:lnTo>
                    <a:lnTo>
                      <a:pt x="1546" y="1000"/>
                    </a:lnTo>
                    <a:lnTo>
                      <a:pt x="1541" y="994"/>
                    </a:lnTo>
                    <a:lnTo>
                      <a:pt x="1533" y="983"/>
                    </a:lnTo>
                    <a:lnTo>
                      <a:pt x="1526" y="977"/>
                    </a:lnTo>
                    <a:lnTo>
                      <a:pt x="1519" y="974"/>
                    </a:lnTo>
                    <a:lnTo>
                      <a:pt x="1509" y="972"/>
                    </a:lnTo>
                    <a:lnTo>
                      <a:pt x="1504" y="971"/>
                    </a:lnTo>
                    <a:lnTo>
                      <a:pt x="1500" y="971"/>
                    </a:lnTo>
                    <a:lnTo>
                      <a:pt x="1497" y="972"/>
                    </a:lnTo>
                    <a:lnTo>
                      <a:pt x="1496" y="973"/>
                    </a:lnTo>
                    <a:lnTo>
                      <a:pt x="1496" y="978"/>
                    </a:lnTo>
                    <a:lnTo>
                      <a:pt x="1496" y="982"/>
                    </a:lnTo>
                    <a:lnTo>
                      <a:pt x="1495" y="985"/>
                    </a:lnTo>
                    <a:lnTo>
                      <a:pt x="1494" y="986"/>
                    </a:lnTo>
                    <a:lnTo>
                      <a:pt x="1493" y="986"/>
                    </a:lnTo>
                    <a:lnTo>
                      <a:pt x="1490" y="985"/>
                    </a:lnTo>
                    <a:lnTo>
                      <a:pt x="1483" y="981"/>
                    </a:lnTo>
                    <a:lnTo>
                      <a:pt x="1475" y="978"/>
                    </a:lnTo>
                    <a:lnTo>
                      <a:pt x="1469" y="976"/>
                    </a:lnTo>
                    <a:lnTo>
                      <a:pt x="1464" y="976"/>
                    </a:lnTo>
                    <a:lnTo>
                      <a:pt x="1457" y="976"/>
                    </a:lnTo>
                    <a:lnTo>
                      <a:pt x="1447" y="976"/>
                    </a:lnTo>
                    <a:lnTo>
                      <a:pt x="1442" y="977"/>
                    </a:lnTo>
                    <a:lnTo>
                      <a:pt x="1437" y="978"/>
                    </a:lnTo>
                    <a:lnTo>
                      <a:pt x="1432" y="981"/>
                    </a:lnTo>
                    <a:lnTo>
                      <a:pt x="1430" y="986"/>
                    </a:lnTo>
                    <a:lnTo>
                      <a:pt x="1429" y="992"/>
                    </a:lnTo>
                    <a:lnTo>
                      <a:pt x="1429" y="998"/>
                    </a:lnTo>
                    <a:lnTo>
                      <a:pt x="1429" y="1007"/>
                    </a:lnTo>
                    <a:lnTo>
                      <a:pt x="1430" y="1015"/>
                    </a:lnTo>
                    <a:lnTo>
                      <a:pt x="1430" y="1023"/>
                    </a:lnTo>
                    <a:lnTo>
                      <a:pt x="1430" y="1032"/>
                    </a:lnTo>
                    <a:lnTo>
                      <a:pt x="1429" y="1038"/>
                    </a:lnTo>
                    <a:lnTo>
                      <a:pt x="1427" y="1042"/>
                    </a:lnTo>
                    <a:lnTo>
                      <a:pt x="1423" y="1048"/>
                    </a:lnTo>
                    <a:lnTo>
                      <a:pt x="1421" y="1054"/>
                    </a:lnTo>
                    <a:lnTo>
                      <a:pt x="1422" y="1058"/>
                    </a:lnTo>
                    <a:lnTo>
                      <a:pt x="1426" y="1064"/>
                    </a:lnTo>
                    <a:lnTo>
                      <a:pt x="1429" y="1071"/>
                    </a:lnTo>
                    <a:lnTo>
                      <a:pt x="1431" y="1078"/>
                    </a:lnTo>
                    <a:lnTo>
                      <a:pt x="1432" y="1081"/>
                    </a:lnTo>
                    <a:lnTo>
                      <a:pt x="1432" y="1084"/>
                    </a:lnTo>
                    <a:lnTo>
                      <a:pt x="1431" y="1087"/>
                    </a:lnTo>
                    <a:lnTo>
                      <a:pt x="1430" y="1091"/>
                    </a:lnTo>
                    <a:lnTo>
                      <a:pt x="1422" y="1097"/>
                    </a:lnTo>
                    <a:lnTo>
                      <a:pt x="1412" y="1102"/>
                    </a:lnTo>
                    <a:lnTo>
                      <a:pt x="1409" y="1104"/>
                    </a:lnTo>
                    <a:lnTo>
                      <a:pt x="1408" y="1107"/>
                    </a:lnTo>
                    <a:lnTo>
                      <a:pt x="1407" y="1109"/>
                    </a:lnTo>
                    <a:lnTo>
                      <a:pt x="1408" y="1113"/>
                    </a:lnTo>
                    <a:lnTo>
                      <a:pt x="1409" y="1117"/>
                    </a:lnTo>
                    <a:lnTo>
                      <a:pt x="1413" y="1122"/>
                    </a:lnTo>
                    <a:lnTo>
                      <a:pt x="1417" y="1127"/>
                    </a:lnTo>
                    <a:lnTo>
                      <a:pt x="1423" y="1133"/>
                    </a:lnTo>
                    <a:lnTo>
                      <a:pt x="1435" y="1147"/>
                    </a:lnTo>
                    <a:lnTo>
                      <a:pt x="1444" y="1158"/>
                    </a:lnTo>
                    <a:lnTo>
                      <a:pt x="1450" y="1168"/>
                    </a:lnTo>
                    <a:lnTo>
                      <a:pt x="1453" y="1177"/>
                    </a:lnTo>
                    <a:lnTo>
                      <a:pt x="1456" y="1187"/>
                    </a:lnTo>
                    <a:lnTo>
                      <a:pt x="1456" y="1195"/>
                    </a:lnTo>
                    <a:lnTo>
                      <a:pt x="1453" y="1203"/>
                    </a:lnTo>
                    <a:lnTo>
                      <a:pt x="1451" y="1212"/>
                    </a:lnTo>
                    <a:lnTo>
                      <a:pt x="1448" y="1221"/>
                    </a:lnTo>
                    <a:lnTo>
                      <a:pt x="1443" y="1231"/>
                    </a:lnTo>
                    <a:lnTo>
                      <a:pt x="1437" y="1240"/>
                    </a:lnTo>
                    <a:lnTo>
                      <a:pt x="1430" y="1250"/>
                    </a:lnTo>
                    <a:lnTo>
                      <a:pt x="1418" y="1264"/>
                    </a:lnTo>
                    <a:lnTo>
                      <a:pt x="1408" y="1273"/>
                    </a:lnTo>
                    <a:lnTo>
                      <a:pt x="1402" y="1277"/>
                    </a:lnTo>
                    <a:lnTo>
                      <a:pt x="1396" y="1281"/>
                    </a:lnTo>
                    <a:lnTo>
                      <a:pt x="1394" y="1283"/>
                    </a:lnTo>
                    <a:lnTo>
                      <a:pt x="1393" y="1286"/>
                    </a:lnTo>
                    <a:lnTo>
                      <a:pt x="1392" y="1288"/>
                    </a:lnTo>
                    <a:lnTo>
                      <a:pt x="1393" y="1291"/>
                    </a:lnTo>
                    <a:lnTo>
                      <a:pt x="1394" y="1300"/>
                    </a:lnTo>
                    <a:lnTo>
                      <a:pt x="1394" y="1311"/>
                    </a:lnTo>
                    <a:lnTo>
                      <a:pt x="1394" y="1323"/>
                    </a:lnTo>
                    <a:lnTo>
                      <a:pt x="1394" y="1330"/>
                    </a:lnTo>
                    <a:lnTo>
                      <a:pt x="1398" y="1344"/>
                    </a:lnTo>
                    <a:lnTo>
                      <a:pt x="1401" y="1361"/>
                    </a:lnTo>
                    <a:lnTo>
                      <a:pt x="1401" y="1371"/>
                    </a:lnTo>
                    <a:lnTo>
                      <a:pt x="1400" y="1386"/>
                    </a:lnTo>
                    <a:lnTo>
                      <a:pt x="1398" y="1392"/>
                    </a:lnTo>
                    <a:lnTo>
                      <a:pt x="1395" y="1397"/>
                    </a:lnTo>
                    <a:lnTo>
                      <a:pt x="1393" y="1399"/>
                    </a:lnTo>
                    <a:lnTo>
                      <a:pt x="1391" y="1400"/>
                    </a:lnTo>
                    <a:lnTo>
                      <a:pt x="1388" y="1400"/>
                    </a:lnTo>
                    <a:lnTo>
                      <a:pt x="1385" y="1400"/>
                    </a:lnTo>
                    <a:lnTo>
                      <a:pt x="1379" y="1398"/>
                    </a:lnTo>
                    <a:lnTo>
                      <a:pt x="1374" y="1396"/>
                    </a:lnTo>
                    <a:lnTo>
                      <a:pt x="1370" y="1392"/>
                    </a:lnTo>
                    <a:lnTo>
                      <a:pt x="1366" y="1388"/>
                    </a:lnTo>
                    <a:lnTo>
                      <a:pt x="1359" y="1378"/>
                    </a:lnTo>
                    <a:lnTo>
                      <a:pt x="1353" y="1369"/>
                    </a:lnTo>
                    <a:lnTo>
                      <a:pt x="1346" y="1362"/>
                    </a:lnTo>
                    <a:lnTo>
                      <a:pt x="1338" y="1356"/>
                    </a:lnTo>
                    <a:lnTo>
                      <a:pt x="1336" y="1353"/>
                    </a:lnTo>
                    <a:lnTo>
                      <a:pt x="1334" y="1351"/>
                    </a:lnTo>
                    <a:lnTo>
                      <a:pt x="1333" y="1349"/>
                    </a:lnTo>
                    <a:lnTo>
                      <a:pt x="1333" y="1346"/>
                    </a:lnTo>
                    <a:lnTo>
                      <a:pt x="1336" y="1342"/>
                    </a:lnTo>
                    <a:lnTo>
                      <a:pt x="1340" y="1339"/>
                    </a:lnTo>
                    <a:lnTo>
                      <a:pt x="1342" y="1338"/>
                    </a:lnTo>
                    <a:lnTo>
                      <a:pt x="1343" y="1335"/>
                    </a:lnTo>
                    <a:lnTo>
                      <a:pt x="1343" y="1334"/>
                    </a:lnTo>
                    <a:lnTo>
                      <a:pt x="1341" y="1332"/>
                    </a:lnTo>
                    <a:lnTo>
                      <a:pt x="1337" y="1327"/>
                    </a:lnTo>
                    <a:lnTo>
                      <a:pt x="1334" y="1324"/>
                    </a:lnTo>
                    <a:lnTo>
                      <a:pt x="1333" y="1322"/>
                    </a:lnTo>
                    <a:lnTo>
                      <a:pt x="1332" y="1319"/>
                    </a:lnTo>
                    <a:lnTo>
                      <a:pt x="1332" y="1316"/>
                    </a:lnTo>
                    <a:lnTo>
                      <a:pt x="1333" y="1312"/>
                    </a:lnTo>
                    <a:lnTo>
                      <a:pt x="1334" y="1308"/>
                    </a:lnTo>
                    <a:lnTo>
                      <a:pt x="1337" y="1306"/>
                    </a:lnTo>
                    <a:lnTo>
                      <a:pt x="1339" y="1304"/>
                    </a:lnTo>
                    <a:lnTo>
                      <a:pt x="1341" y="1303"/>
                    </a:lnTo>
                    <a:lnTo>
                      <a:pt x="1343" y="1301"/>
                    </a:lnTo>
                    <a:lnTo>
                      <a:pt x="1344" y="1299"/>
                    </a:lnTo>
                    <a:lnTo>
                      <a:pt x="1343" y="1295"/>
                    </a:lnTo>
                    <a:lnTo>
                      <a:pt x="1341" y="1289"/>
                    </a:lnTo>
                    <a:lnTo>
                      <a:pt x="1335" y="1278"/>
                    </a:lnTo>
                    <a:lnTo>
                      <a:pt x="1329" y="1268"/>
                    </a:lnTo>
                    <a:lnTo>
                      <a:pt x="1326" y="1264"/>
                    </a:lnTo>
                    <a:lnTo>
                      <a:pt x="1321" y="1261"/>
                    </a:lnTo>
                    <a:lnTo>
                      <a:pt x="1317" y="1259"/>
                    </a:lnTo>
                    <a:lnTo>
                      <a:pt x="1312" y="1259"/>
                    </a:lnTo>
                    <a:lnTo>
                      <a:pt x="1308" y="1258"/>
                    </a:lnTo>
                    <a:lnTo>
                      <a:pt x="1304" y="1255"/>
                    </a:lnTo>
                    <a:lnTo>
                      <a:pt x="1298" y="1250"/>
                    </a:lnTo>
                    <a:lnTo>
                      <a:pt x="1293" y="1242"/>
                    </a:lnTo>
                    <a:lnTo>
                      <a:pt x="1282" y="1223"/>
                    </a:lnTo>
                    <a:lnTo>
                      <a:pt x="1269" y="1202"/>
                    </a:lnTo>
                    <a:lnTo>
                      <a:pt x="1256" y="1181"/>
                    </a:lnTo>
                    <a:lnTo>
                      <a:pt x="1245" y="1162"/>
                    </a:lnTo>
                    <a:lnTo>
                      <a:pt x="1237" y="1147"/>
                    </a:lnTo>
                    <a:lnTo>
                      <a:pt x="1230" y="1139"/>
                    </a:lnTo>
                    <a:lnTo>
                      <a:pt x="1224" y="1135"/>
                    </a:lnTo>
                    <a:lnTo>
                      <a:pt x="1217" y="1131"/>
                    </a:lnTo>
                    <a:lnTo>
                      <a:pt x="1206" y="1128"/>
                    </a:lnTo>
                    <a:lnTo>
                      <a:pt x="1196" y="1126"/>
                    </a:lnTo>
                    <a:lnTo>
                      <a:pt x="1185" y="1125"/>
                    </a:lnTo>
                    <a:lnTo>
                      <a:pt x="1175" y="1125"/>
                    </a:lnTo>
                    <a:lnTo>
                      <a:pt x="1169" y="1125"/>
                    </a:lnTo>
                    <a:lnTo>
                      <a:pt x="1165" y="1126"/>
                    </a:lnTo>
                    <a:lnTo>
                      <a:pt x="1162" y="1127"/>
                    </a:lnTo>
                    <a:lnTo>
                      <a:pt x="1159" y="1129"/>
                    </a:lnTo>
                    <a:lnTo>
                      <a:pt x="1154" y="1134"/>
                    </a:lnTo>
                    <a:lnTo>
                      <a:pt x="1150" y="1143"/>
                    </a:lnTo>
                    <a:lnTo>
                      <a:pt x="1146" y="1151"/>
                    </a:lnTo>
                    <a:lnTo>
                      <a:pt x="1143" y="1158"/>
                    </a:lnTo>
                    <a:lnTo>
                      <a:pt x="1141" y="1167"/>
                    </a:lnTo>
                    <a:lnTo>
                      <a:pt x="1139" y="1172"/>
                    </a:lnTo>
                    <a:lnTo>
                      <a:pt x="1138" y="1173"/>
                    </a:lnTo>
                    <a:lnTo>
                      <a:pt x="1137" y="1174"/>
                    </a:lnTo>
                    <a:lnTo>
                      <a:pt x="1135" y="1174"/>
                    </a:lnTo>
                    <a:lnTo>
                      <a:pt x="1134" y="1173"/>
                    </a:lnTo>
                    <a:lnTo>
                      <a:pt x="1132" y="1172"/>
                    </a:lnTo>
                    <a:lnTo>
                      <a:pt x="1131" y="1173"/>
                    </a:lnTo>
                    <a:lnTo>
                      <a:pt x="1129" y="1174"/>
                    </a:lnTo>
                    <a:lnTo>
                      <a:pt x="1127" y="1177"/>
                    </a:lnTo>
                    <a:lnTo>
                      <a:pt x="1123" y="1186"/>
                    </a:lnTo>
                    <a:lnTo>
                      <a:pt x="1119" y="1196"/>
                    </a:lnTo>
                    <a:lnTo>
                      <a:pt x="1115" y="1206"/>
                    </a:lnTo>
                    <a:lnTo>
                      <a:pt x="1111" y="1215"/>
                    </a:lnTo>
                    <a:lnTo>
                      <a:pt x="1108" y="1218"/>
                    </a:lnTo>
                    <a:lnTo>
                      <a:pt x="1106" y="1220"/>
                    </a:lnTo>
                    <a:lnTo>
                      <a:pt x="1103" y="1221"/>
                    </a:lnTo>
                    <a:lnTo>
                      <a:pt x="1100" y="1220"/>
                    </a:lnTo>
                    <a:lnTo>
                      <a:pt x="1098" y="1219"/>
                    </a:lnTo>
                    <a:lnTo>
                      <a:pt x="1095" y="1215"/>
                    </a:lnTo>
                    <a:lnTo>
                      <a:pt x="1093" y="1211"/>
                    </a:lnTo>
                    <a:lnTo>
                      <a:pt x="1090" y="1206"/>
                    </a:lnTo>
                    <a:lnTo>
                      <a:pt x="1085" y="1192"/>
                    </a:lnTo>
                    <a:lnTo>
                      <a:pt x="1079" y="1176"/>
                    </a:lnTo>
                    <a:lnTo>
                      <a:pt x="1075" y="1161"/>
                    </a:lnTo>
                    <a:lnTo>
                      <a:pt x="1073" y="1145"/>
                    </a:lnTo>
                    <a:lnTo>
                      <a:pt x="1071" y="1131"/>
                    </a:lnTo>
                    <a:lnTo>
                      <a:pt x="1072" y="1120"/>
                    </a:lnTo>
                    <a:lnTo>
                      <a:pt x="1075" y="1101"/>
                    </a:lnTo>
                    <a:lnTo>
                      <a:pt x="1080" y="1079"/>
                    </a:lnTo>
                    <a:lnTo>
                      <a:pt x="1084" y="1068"/>
                    </a:lnTo>
                    <a:lnTo>
                      <a:pt x="1087" y="1058"/>
                    </a:lnTo>
                    <a:lnTo>
                      <a:pt x="1092" y="1048"/>
                    </a:lnTo>
                    <a:lnTo>
                      <a:pt x="1099" y="1040"/>
                    </a:lnTo>
                    <a:lnTo>
                      <a:pt x="1119" y="1019"/>
                    </a:lnTo>
                    <a:lnTo>
                      <a:pt x="1143" y="993"/>
                    </a:lnTo>
                    <a:lnTo>
                      <a:pt x="1165" y="970"/>
                    </a:lnTo>
                    <a:lnTo>
                      <a:pt x="1174" y="960"/>
                    </a:lnTo>
                    <a:lnTo>
                      <a:pt x="1173" y="959"/>
                    </a:lnTo>
                    <a:lnTo>
                      <a:pt x="1173" y="955"/>
                    </a:lnTo>
                    <a:lnTo>
                      <a:pt x="1173" y="952"/>
                    </a:lnTo>
                    <a:lnTo>
                      <a:pt x="1174" y="950"/>
                    </a:lnTo>
                    <a:lnTo>
                      <a:pt x="1175" y="947"/>
                    </a:lnTo>
                    <a:lnTo>
                      <a:pt x="1179" y="944"/>
                    </a:lnTo>
                    <a:lnTo>
                      <a:pt x="1189" y="933"/>
                    </a:lnTo>
                    <a:lnTo>
                      <a:pt x="1197" y="928"/>
                    </a:lnTo>
                    <a:lnTo>
                      <a:pt x="1204" y="925"/>
                    </a:lnTo>
                    <a:lnTo>
                      <a:pt x="1215" y="921"/>
                    </a:lnTo>
                    <a:lnTo>
                      <a:pt x="1220" y="918"/>
                    </a:lnTo>
                    <a:lnTo>
                      <a:pt x="1224" y="915"/>
                    </a:lnTo>
                    <a:lnTo>
                      <a:pt x="1227" y="913"/>
                    </a:lnTo>
                    <a:lnTo>
                      <a:pt x="1229" y="911"/>
                    </a:lnTo>
                    <a:lnTo>
                      <a:pt x="1234" y="903"/>
                    </a:lnTo>
                    <a:lnTo>
                      <a:pt x="1242" y="891"/>
                    </a:lnTo>
                    <a:lnTo>
                      <a:pt x="1245" y="887"/>
                    </a:lnTo>
                    <a:lnTo>
                      <a:pt x="1249" y="884"/>
                    </a:lnTo>
                    <a:lnTo>
                      <a:pt x="1250" y="883"/>
                    </a:lnTo>
                    <a:lnTo>
                      <a:pt x="1252" y="883"/>
                    </a:lnTo>
                    <a:lnTo>
                      <a:pt x="1253" y="884"/>
                    </a:lnTo>
                    <a:lnTo>
                      <a:pt x="1253" y="885"/>
                    </a:lnTo>
                    <a:lnTo>
                      <a:pt x="1254" y="890"/>
                    </a:lnTo>
                    <a:lnTo>
                      <a:pt x="1252" y="896"/>
                    </a:lnTo>
                    <a:lnTo>
                      <a:pt x="1249" y="905"/>
                    </a:lnTo>
                    <a:lnTo>
                      <a:pt x="1245" y="913"/>
                    </a:lnTo>
                    <a:lnTo>
                      <a:pt x="1242" y="922"/>
                    </a:lnTo>
                    <a:lnTo>
                      <a:pt x="1239" y="929"/>
                    </a:lnTo>
                    <a:lnTo>
                      <a:pt x="1238" y="934"/>
                    </a:lnTo>
                    <a:lnTo>
                      <a:pt x="1238" y="937"/>
                    </a:lnTo>
                    <a:lnTo>
                      <a:pt x="1245" y="938"/>
                    </a:lnTo>
                    <a:lnTo>
                      <a:pt x="1255" y="939"/>
                    </a:lnTo>
                    <a:lnTo>
                      <a:pt x="1261" y="940"/>
                    </a:lnTo>
                    <a:lnTo>
                      <a:pt x="1266" y="943"/>
                    </a:lnTo>
                    <a:lnTo>
                      <a:pt x="1270" y="945"/>
                    </a:lnTo>
                    <a:lnTo>
                      <a:pt x="1273" y="949"/>
                    </a:lnTo>
                    <a:lnTo>
                      <a:pt x="1276" y="956"/>
                    </a:lnTo>
                    <a:lnTo>
                      <a:pt x="1278" y="961"/>
                    </a:lnTo>
                    <a:lnTo>
                      <a:pt x="1281" y="961"/>
                    </a:lnTo>
                    <a:lnTo>
                      <a:pt x="1283" y="960"/>
                    </a:lnTo>
                    <a:lnTo>
                      <a:pt x="1286" y="957"/>
                    </a:lnTo>
                    <a:lnTo>
                      <a:pt x="1291" y="953"/>
                    </a:lnTo>
                    <a:lnTo>
                      <a:pt x="1295" y="946"/>
                    </a:lnTo>
                    <a:lnTo>
                      <a:pt x="1299" y="938"/>
                    </a:lnTo>
                    <a:lnTo>
                      <a:pt x="1304" y="930"/>
                    </a:lnTo>
                    <a:lnTo>
                      <a:pt x="1307" y="922"/>
                    </a:lnTo>
                    <a:lnTo>
                      <a:pt x="1309" y="915"/>
                    </a:lnTo>
                    <a:lnTo>
                      <a:pt x="1312" y="911"/>
                    </a:lnTo>
                    <a:lnTo>
                      <a:pt x="1314" y="910"/>
                    </a:lnTo>
                    <a:lnTo>
                      <a:pt x="1316" y="910"/>
                    </a:lnTo>
                    <a:lnTo>
                      <a:pt x="1318" y="911"/>
                    </a:lnTo>
                    <a:lnTo>
                      <a:pt x="1320" y="913"/>
                    </a:lnTo>
                    <a:lnTo>
                      <a:pt x="1327" y="918"/>
                    </a:lnTo>
                    <a:lnTo>
                      <a:pt x="1335" y="923"/>
                    </a:lnTo>
                    <a:lnTo>
                      <a:pt x="1344" y="928"/>
                    </a:lnTo>
                    <a:lnTo>
                      <a:pt x="1355" y="931"/>
                    </a:lnTo>
                    <a:lnTo>
                      <a:pt x="1364" y="933"/>
                    </a:lnTo>
                    <a:lnTo>
                      <a:pt x="1373" y="934"/>
                    </a:lnTo>
                    <a:lnTo>
                      <a:pt x="1376" y="934"/>
                    </a:lnTo>
                    <a:lnTo>
                      <a:pt x="1378" y="934"/>
                    </a:lnTo>
                    <a:lnTo>
                      <a:pt x="1379" y="933"/>
                    </a:lnTo>
                    <a:lnTo>
                      <a:pt x="1380" y="932"/>
                    </a:lnTo>
                    <a:lnTo>
                      <a:pt x="1380" y="930"/>
                    </a:lnTo>
                    <a:lnTo>
                      <a:pt x="1379" y="926"/>
                    </a:lnTo>
                    <a:lnTo>
                      <a:pt x="1378" y="923"/>
                    </a:lnTo>
                    <a:lnTo>
                      <a:pt x="1375" y="917"/>
                    </a:lnTo>
                    <a:lnTo>
                      <a:pt x="1368" y="907"/>
                    </a:lnTo>
                    <a:lnTo>
                      <a:pt x="1355" y="893"/>
                    </a:lnTo>
                    <a:lnTo>
                      <a:pt x="1347" y="886"/>
                    </a:lnTo>
                    <a:lnTo>
                      <a:pt x="1337" y="880"/>
                    </a:lnTo>
                    <a:lnTo>
                      <a:pt x="1327" y="873"/>
                    </a:lnTo>
                    <a:lnTo>
                      <a:pt x="1317" y="869"/>
                    </a:lnTo>
                    <a:lnTo>
                      <a:pt x="1309" y="864"/>
                    </a:lnTo>
                    <a:lnTo>
                      <a:pt x="1303" y="860"/>
                    </a:lnTo>
                    <a:lnTo>
                      <a:pt x="1300" y="858"/>
                    </a:lnTo>
                    <a:lnTo>
                      <a:pt x="1299" y="857"/>
                    </a:lnTo>
                    <a:lnTo>
                      <a:pt x="1299" y="855"/>
                    </a:lnTo>
                    <a:lnTo>
                      <a:pt x="1300" y="852"/>
                    </a:lnTo>
                    <a:lnTo>
                      <a:pt x="1308" y="847"/>
                    </a:lnTo>
                    <a:lnTo>
                      <a:pt x="1317" y="843"/>
                    </a:lnTo>
                    <a:lnTo>
                      <a:pt x="1321" y="841"/>
                    </a:lnTo>
                    <a:lnTo>
                      <a:pt x="1325" y="838"/>
                    </a:lnTo>
                    <a:lnTo>
                      <a:pt x="1328" y="834"/>
                    </a:lnTo>
                    <a:lnTo>
                      <a:pt x="1329" y="828"/>
                    </a:lnTo>
                    <a:lnTo>
                      <a:pt x="1331" y="816"/>
                    </a:lnTo>
                    <a:lnTo>
                      <a:pt x="1334" y="804"/>
                    </a:lnTo>
                    <a:lnTo>
                      <a:pt x="1336" y="799"/>
                    </a:lnTo>
                    <a:lnTo>
                      <a:pt x="1339" y="796"/>
                    </a:lnTo>
                    <a:lnTo>
                      <a:pt x="1342" y="793"/>
                    </a:lnTo>
                    <a:lnTo>
                      <a:pt x="1347" y="791"/>
                    </a:lnTo>
                    <a:lnTo>
                      <a:pt x="1348" y="790"/>
                    </a:lnTo>
                    <a:lnTo>
                      <a:pt x="1350" y="788"/>
                    </a:lnTo>
                    <a:lnTo>
                      <a:pt x="1351" y="784"/>
                    </a:lnTo>
                    <a:lnTo>
                      <a:pt x="1352" y="780"/>
                    </a:lnTo>
                    <a:lnTo>
                      <a:pt x="1352" y="770"/>
                    </a:lnTo>
                    <a:lnTo>
                      <a:pt x="1352" y="759"/>
                    </a:lnTo>
                    <a:lnTo>
                      <a:pt x="1350" y="738"/>
                    </a:lnTo>
                    <a:lnTo>
                      <a:pt x="1349" y="729"/>
                    </a:lnTo>
                    <a:lnTo>
                      <a:pt x="1352" y="723"/>
                    </a:lnTo>
                    <a:lnTo>
                      <a:pt x="1358" y="707"/>
                    </a:lnTo>
                    <a:lnTo>
                      <a:pt x="1360" y="698"/>
                    </a:lnTo>
                    <a:lnTo>
                      <a:pt x="1361" y="690"/>
                    </a:lnTo>
                    <a:lnTo>
                      <a:pt x="1361" y="687"/>
                    </a:lnTo>
                    <a:lnTo>
                      <a:pt x="1360" y="684"/>
                    </a:lnTo>
                    <a:lnTo>
                      <a:pt x="1359" y="682"/>
                    </a:lnTo>
                    <a:lnTo>
                      <a:pt x="1357" y="680"/>
                    </a:lnTo>
                    <a:lnTo>
                      <a:pt x="1342" y="671"/>
                    </a:lnTo>
                    <a:lnTo>
                      <a:pt x="1322" y="662"/>
                    </a:lnTo>
                    <a:lnTo>
                      <a:pt x="1314" y="657"/>
                    </a:lnTo>
                    <a:lnTo>
                      <a:pt x="1307" y="653"/>
                    </a:lnTo>
                    <a:lnTo>
                      <a:pt x="1303" y="650"/>
                    </a:lnTo>
                    <a:lnTo>
                      <a:pt x="1303" y="648"/>
                    </a:lnTo>
                    <a:lnTo>
                      <a:pt x="1316" y="643"/>
                    </a:lnTo>
                    <a:lnTo>
                      <a:pt x="1342" y="634"/>
                    </a:lnTo>
                    <a:lnTo>
                      <a:pt x="1356" y="630"/>
                    </a:lnTo>
                    <a:lnTo>
                      <a:pt x="1369" y="628"/>
                    </a:lnTo>
                    <a:lnTo>
                      <a:pt x="1373" y="628"/>
                    </a:lnTo>
                    <a:lnTo>
                      <a:pt x="1377" y="629"/>
                    </a:lnTo>
                    <a:lnTo>
                      <a:pt x="1379" y="630"/>
                    </a:lnTo>
                    <a:lnTo>
                      <a:pt x="1380" y="634"/>
                    </a:lnTo>
                    <a:lnTo>
                      <a:pt x="1380" y="637"/>
                    </a:lnTo>
                    <a:lnTo>
                      <a:pt x="1381" y="640"/>
                    </a:lnTo>
                    <a:lnTo>
                      <a:pt x="1382" y="642"/>
                    </a:lnTo>
                    <a:lnTo>
                      <a:pt x="1384" y="645"/>
                    </a:lnTo>
                    <a:lnTo>
                      <a:pt x="1388" y="648"/>
                    </a:lnTo>
                    <a:lnTo>
                      <a:pt x="1393" y="651"/>
                    </a:lnTo>
                    <a:lnTo>
                      <a:pt x="1398" y="652"/>
                    </a:lnTo>
                    <a:lnTo>
                      <a:pt x="1402" y="652"/>
                    </a:lnTo>
                    <a:lnTo>
                      <a:pt x="1404" y="651"/>
                    </a:lnTo>
                    <a:lnTo>
                      <a:pt x="1405" y="650"/>
                    </a:lnTo>
                    <a:lnTo>
                      <a:pt x="1406" y="649"/>
                    </a:lnTo>
                    <a:lnTo>
                      <a:pt x="1406" y="646"/>
                    </a:lnTo>
                    <a:lnTo>
                      <a:pt x="1407" y="641"/>
                    </a:lnTo>
                    <a:lnTo>
                      <a:pt x="1409" y="636"/>
                    </a:lnTo>
                    <a:lnTo>
                      <a:pt x="1413" y="629"/>
                    </a:lnTo>
                    <a:lnTo>
                      <a:pt x="1417" y="625"/>
                    </a:lnTo>
                    <a:lnTo>
                      <a:pt x="1420" y="623"/>
                    </a:lnTo>
                    <a:lnTo>
                      <a:pt x="1422" y="622"/>
                    </a:lnTo>
                    <a:lnTo>
                      <a:pt x="1425" y="621"/>
                    </a:lnTo>
                    <a:lnTo>
                      <a:pt x="1427" y="621"/>
                    </a:lnTo>
                    <a:lnTo>
                      <a:pt x="1430" y="621"/>
                    </a:lnTo>
                    <a:lnTo>
                      <a:pt x="1434" y="623"/>
                    </a:lnTo>
                    <a:lnTo>
                      <a:pt x="1437" y="625"/>
                    </a:lnTo>
                    <a:lnTo>
                      <a:pt x="1440" y="628"/>
                    </a:lnTo>
                    <a:lnTo>
                      <a:pt x="1462" y="657"/>
                    </a:lnTo>
                    <a:lnTo>
                      <a:pt x="1493" y="698"/>
                    </a:lnTo>
                    <a:lnTo>
                      <a:pt x="1509" y="720"/>
                    </a:lnTo>
                    <a:lnTo>
                      <a:pt x="1522" y="740"/>
                    </a:lnTo>
                    <a:lnTo>
                      <a:pt x="1527" y="749"/>
                    </a:lnTo>
                    <a:lnTo>
                      <a:pt x="1530" y="756"/>
                    </a:lnTo>
                    <a:lnTo>
                      <a:pt x="1532" y="761"/>
                    </a:lnTo>
                    <a:lnTo>
                      <a:pt x="1532" y="766"/>
                    </a:lnTo>
                    <a:lnTo>
                      <a:pt x="1532" y="771"/>
                    </a:lnTo>
                    <a:lnTo>
                      <a:pt x="1532" y="775"/>
                    </a:lnTo>
                    <a:lnTo>
                      <a:pt x="1533" y="779"/>
                    </a:lnTo>
                    <a:lnTo>
                      <a:pt x="1535" y="782"/>
                    </a:lnTo>
                    <a:lnTo>
                      <a:pt x="1539" y="785"/>
                    </a:lnTo>
                    <a:lnTo>
                      <a:pt x="1541" y="788"/>
                    </a:lnTo>
                    <a:lnTo>
                      <a:pt x="1553" y="788"/>
                    </a:lnTo>
                    <a:lnTo>
                      <a:pt x="1578" y="791"/>
                    </a:lnTo>
                    <a:lnTo>
                      <a:pt x="1591" y="793"/>
                    </a:lnTo>
                    <a:lnTo>
                      <a:pt x="1600" y="795"/>
                    </a:lnTo>
                    <a:lnTo>
                      <a:pt x="1604" y="797"/>
                    </a:lnTo>
                    <a:lnTo>
                      <a:pt x="1606" y="799"/>
                    </a:lnTo>
                    <a:lnTo>
                      <a:pt x="1607" y="800"/>
                    </a:lnTo>
                    <a:lnTo>
                      <a:pt x="1606" y="803"/>
                    </a:lnTo>
                    <a:lnTo>
                      <a:pt x="1599" y="813"/>
                    </a:lnTo>
                    <a:lnTo>
                      <a:pt x="1592" y="821"/>
                    </a:lnTo>
                    <a:lnTo>
                      <a:pt x="1589" y="823"/>
                    </a:lnTo>
                    <a:lnTo>
                      <a:pt x="1585" y="825"/>
                    </a:lnTo>
                    <a:lnTo>
                      <a:pt x="1581" y="824"/>
                    </a:lnTo>
                    <a:lnTo>
                      <a:pt x="1578" y="822"/>
                    </a:lnTo>
                    <a:lnTo>
                      <a:pt x="1571" y="814"/>
                    </a:lnTo>
                    <a:lnTo>
                      <a:pt x="1561" y="804"/>
                    </a:lnTo>
                    <a:lnTo>
                      <a:pt x="1556" y="800"/>
                    </a:lnTo>
                    <a:lnTo>
                      <a:pt x="1550" y="797"/>
                    </a:lnTo>
                    <a:lnTo>
                      <a:pt x="1544" y="794"/>
                    </a:lnTo>
                    <a:lnTo>
                      <a:pt x="1537" y="793"/>
                    </a:lnTo>
                    <a:lnTo>
                      <a:pt x="1532" y="793"/>
                    </a:lnTo>
                    <a:lnTo>
                      <a:pt x="1527" y="793"/>
                    </a:lnTo>
                    <a:lnTo>
                      <a:pt x="1522" y="794"/>
                    </a:lnTo>
                    <a:lnTo>
                      <a:pt x="1518" y="796"/>
                    </a:lnTo>
                    <a:lnTo>
                      <a:pt x="1515" y="798"/>
                    </a:lnTo>
                    <a:lnTo>
                      <a:pt x="1513" y="802"/>
                    </a:lnTo>
                    <a:lnTo>
                      <a:pt x="1511" y="808"/>
                    </a:lnTo>
                    <a:lnTo>
                      <a:pt x="1510" y="816"/>
                    </a:lnTo>
                    <a:lnTo>
                      <a:pt x="1510" y="823"/>
                    </a:lnTo>
                    <a:lnTo>
                      <a:pt x="1512" y="829"/>
                    </a:lnTo>
                    <a:lnTo>
                      <a:pt x="1515" y="835"/>
                    </a:lnTo>
                    <a:lnTo>
                      <a:pt x="1517" y="839"/>
                    </a:lnTo>
                    <a:lnTo>
                      <a:pt x="1519" y="842"/>
                    </a:lnTo>
                    <a:lnTo>
                      <a:pt x="1518" y="843"/>
                    </a:lnTo>
                    <a:lnTo>
                      <a:pt x="1514" y="845"/>
                    </a:lnTo>
                    <a:lnTo>
                      <a:pt x="1507" y="845"/>
                    </a:lnTo>
                    <a:lnTo>
                      <a:pt x="1485" y="843"/>
                    </a:lnTo>
                    <a:lnTo>
                      <a:pt x="1465" y="842"/>
                    </a:lnTo>
                    <a:lnTo>
                      <a:pt x="1461" y="842"/>
                    </a:lnTo>
                    <a:lnTo>
                      <a:pt x="1457" y="842"/>
                    </a:lnTo>
                    <a:lnTo>
                      <a:pt x="1453" y="843"/>
                    </a:lnTo>
                    <a:lnTo>
                      <a:pt x="1449" y="845"/>
                    </a:lnTo>
                    <a:lnTo>
                      <a:pt x="1447" y="847"/>
                    </a:lnTo>
                    <a:lnTo>
                      <a:pt x="1445" y="850"/>
                    </a:lnTo>
                    <a:lnTo>
                      <a:pt x="1443" y="855"/>
                    </a:lnTo>
                    <a:lnTo>
                      <a:pt x="1442" y="860"/>
                    </a:lnTo>
                    <a:lnTo>
                      <a:pt x="1440" y="870"/>
                    </a:lnTo>
                    <a:lnTo>
                      <a:pt x="1436" y="879"/>
                    </a:lnTo>
                    <a:lnTo>
                      <a:pt x="1431" y="887"/>
                    </a:lnTo>
                    <a:lnTo>
                      <a:pt x="1427" y="894"/>
                    </a:lnTo>
                    <a:lnTo>
                      <a:pt x="1423" y="901"/>
                    </a:lnTo>
                    <a:lnTo>
                      <a:pt x="1421" y="906"/>
                    </a:lnTo>
                    <a:lnTo>
                      <a:pt x="1421" y="908"/>
                    </a:lnTo>
                    <a:lnTo>
                      <a:pt x="1421" y="910"/>
                    </a:lnTo>
                    <a:lnTo>
                      <a:pt x="1422" y="911"/>
                    </a:lnTo>
                    <a:lnTo>
                      <a:pt x="1423" y="913"/>
                    </a:lnTo>
                    <a:lnTo>
                      <a:pt x="1426" y="913"/>
                    </a:lnTo>
                    <a:lnTo>
                      <a:pt x="1429" y="913"/>
                    </a:lnTo>
                    <a:lnTo>
                      <a:pt x="1434" y="911"/>
                    </a:lnTo>
                    <a:lnTo>
                      <a:pt x="1439" y="909"/>
                    </a:lnTo>
                    <a:lnTo>
                      <a:pt x="1450" y="903"/>
                    </a:lnTo>
                    <a:lnTo>
                      <a:pt x="1464" y="895"/>
                    </a:lnTo>
                    <a:lnTo>
                      <a:pt x="1476" y="889"/>
                    </a:lnTo>
                    <a:lnTo>
                      <a:pt x="1489" y="884"/>
                    </a:lnTo>
                    <a:lnTo>
                      <a:pt x="1494" y="883"/>
                    </a:lnTo>
                    <a:lnTo>
                      <a:pt x="1498" y="883"/>
                    </a:lnTo>
                    <a:lnTo>
                      <a:pt x="1502" y="884"/>
                    </a:lnTo>
                    <a:lnTo>
                      <a:pt x="1505" y="886"/>
                    </a:lnTo>
                    <a:lnTo>
                      <a:pt x="1513" y="896"/>
                    </a:lnTo>
                    <a:lnTo>
                      <a:pt x="1522" y="904"/>
                    </a:lnTo>
                    <a:lnTo>
                      <a:pt x="1525" y="907"/>
                    </a:lnTo>
                    <a:lnTo>
                      <a:pt x="1527" y="909"/>
                    </a:lnTo>
                    <a:lnTo>
                      <a:pt x="1529" y="912"/>
                    </a:lnTo>
                    <a:lnTo>
                      <a:pt x="1529" y="916"/>
                    </a:lnTo>
                    <a:lnTo>
                      <a:pt x="1530" y="921"/>
                    </a:lnTo>
                    <a:lnTo>
                      <a:pt x="1532" y="923"/>
                    </a:lnTo>
                    <a:lnTo>
                      <a:pt x="1535" y="925"/>
                    </a:lnTo>
                    <a:lnTo>
                      <a:pt x="1539" y="927"/>
                    </a:lnTo>
                    <a:lnTo>
                      <a:pt x="1544" y="928"/>
                    </a:lnTo>
                    <a:lnTo>
                      <a:pt x="1547" y="929"/>
                    </a:lnTo>
                    <a:lnTo>
                      <a:pt x="1550" y="931"/>
                    </a:lnTo>
                    <a:lnTo>
                      <a:pt x="1552" y="933"/>
                    </a:lnTo>
                    <a:lnTo>
                      <a:pt x="1557" y="942"/>
                    </a:lnTo>
                    <a:lnTo>
                      <a:pt x="1563" y="954"/>
                    </a:lnTo>
                    <a:lnTo>
                      <a:pt x="1568" y="960"/>
                    </a:lnTo>
                    <a:lnTo>
                      <a:pt x="1572" y="966"/>
                    </a:lnTo>
                    <a:lnTo>
                      <a:pt x="1576" y="971"/>
                    </a:lnTo>
                    <a:lnTo>
                      <a:pt x="1580" y="973"/>
                    </a:lnTo>
                    <a:lnTo>
                      <a:pt x="1589" y="974"/>
                    </a:lnTo>
                    <a:lnTo>
                      <a:pt x="1598" y="974"/>
                    </a:lnTo>
                    <a:lnTo>
                      <a:pt x="1602" y="974"/>
                    </a:lnTo>
                    <a:lnTo>
                      <a:pt x="1606" y="974"/>
                    </a:lnTo>
                    <a:lnTo>
                      <a:pt x="1610" y="976"/>
                    </a:lnTo>
                    <a:lnTo>
                      <a:pt x="1614" y="978"/>
                    </a:lnTo>
                    <a:lnTo>
                      <a:pt x="1619" y="981"/>
                    </a:lnTo>
                    <a:lnTo>
                      <a:pt x="1628" y="985"/>
                    </a:lnTo>
                    <a:lnTo>
                      <a:pt x="1641" y="987"/>
                    </a:lnTo>
                    <a:lnTo>
                      <a:pt x="1654" y="989"/>
                    </a:lnTo>
                    <a:lnTo>
                      <a:pt x="1676" y="992"/>
                    </a:lnTo>
                    <a:lnTo>
                      <a:pt x="1684" y="991"/>
                    </a:lnTo>
                    <a:lnTo>
                      <a:pt x="1670" y="978"/>
                    </a:lnTo>
                    <a:lnTo>
                      <a:pt x="1645" y="954"/>
                    </a:lnTo>
                    <a:lnTo>
                      <a:pt x="1634" y="942"/>
                    </a:lnTo>
                    <a:lnTo>
                      <a:pt x="1624" y="930"/>
                    </a:lnTo>
                    <a:lnTo>
                      <a:pt x="1621" y="926"/>
                    </a:lnTo>
                    <a:lnTo>
                      <a:pt x="1620" y="923"/>
                    </a:lnTo>
                    <a:lnTo>
                      <a:pt x="1620" y="922"/>
                    </a:lnTo>
                    <a:lnTo>
                      <a:pt x="1620" y="921"/>
                    </a:lnTo>
                    <a:lnTo>
                      <a:pt x="1620" y="921"/>
                    </a:lnTo>
                    <a:lnTo>
                      <a:pt x="1621" y="921"/>
                    </a:lnTo>
                    <a:lnTo>
                      <a:pt x="1629" y="924"/>
                    </a:lnTo>
                    <a:lnTo>
                      <a:pt x="1641" y="933"/>
                    </a:lnTo>
                    <a:lnTo>
                      <a:pt x="1657" y="945"/>
                    </a:lnTo>
                    <a:lnTo>
                      <a:pt x="1672" y="958"/>
                    </a:lnTo>
                    <a:lnTo>
                      <a:pt x="1688" y="971"/>
                    </a:lnTo>
                    <a:lnTo>
                      <a:pt x="1702" y="980"/>
                    </a:lnTo>
                    <a:lnTo>
                      <a:pt x="1707" y="985"/>
                    </a:lnTo>
                    <a:lnTo>
                      <a:pt x="1711" y="986"/>
                    </a:lnTo>
                    <a:lnTo>
                      <a:pt x="1713" y="987"/>
                    </a:lnTo>
                    <a:lnTo>
                      <a:pt x="1714" y="987"/>
                    </a:lnTo>
                    <a:lnTo>
                      <a:pt x="1715" y="986"/>
                    </a:lnTo>
                    <a:lnTo>
                      <a:pt x="1715" y="985"/>
                    </a:lnTo>
                    <a:lnTo>
                      <a:pt x="1716" y="979"/>
                    </a:lnTo>
                    <a:lnTo>
                      <a:pt x="1714" y="973"/>
                    </a:lnTo>
                    <a:lnTo>
                      <a:pt x="1712" y="968"/>
                    </a:lnTo>
                    <a:lnTo>
                      <a:pt x="1709" y="961"/>
                    </a:lnTo>
                    <a:lnTo>
                      <a:pt x="1706" y="956"/>
                    </a:lnTo>
                    <a:lnTo>
                      <a:pt x="1704" y="952"/>
                    </a:lnTo>
                    <a:lnTo>
                      <a:pt x="1703" y="949"/>
                    </a:lnTo>
                    <a:lnTo>
                      <a:pt x="1704" y="948"/>
                    </a:lnTo>
                    <a:lnTo>
                      <a:pt x="1711" y="945"/>
                    </a:lnTo>
                    <a:lnTo>
                      <a:pt x="1722" y="940"/>
                    </a:lnTo>
                    <a:lnTo>
                      <a:pt x="1727" y="937"/>
                    </a:lnTo>
                    <a:lnTo>
                      <a:pt x="1730" y="934"/>
                    </a:lnTo>
                    <a:lnTo>
                      <a:pt x="1731" y="932"/>
                    </a:lnTo>
                    <a:lnTo>
                      <a:pt x="1732" y="931"/>
                    </a:lnTo>
                    <a:lnTo>
                      <a:pt x="1732" y="929"/>
                    </a:lnTo>
                    <a:lnTo>
                      <a:pt x="1731" y="927"/>
                    </a:lnTo>
                    <a:lnTo>
                      <a:pt x="1721" y="915"/>
                    </a:lnTo>
                    <a:lnTo>
                      <a:pt x="1703" y="901"/>
                    </a:lnTo>
                    <a:lnTo>
                      <a:pt x="1684" y="884"/>
                    </a:lnTo>
                    <a:lnTo>
                      <a:pt x="1671" y="872"/>
                    </a:lnTo>
                    <a:lnTo>
                      <a:pt x="1667" y="865"/>
                    </a:lnTo>
                    <a:lnTo>
                      <a:pt x="1662" y="855"/>
                    </a:lnTo>
                    <a:lnTo>
                      <a:pt x="1657" y="841"/>
                    </a:lnTo>
                    <a:lnTo>
                      <a:pt x="1652" y="827"/>
                    </a:lnTo>
                    <a:lnTo>
                      <a:pt x="1649" y="815"/>
                    </a:lnTo>
                    <a:lnTo>
                      <a:pt x="1647" y="804"/>
                    </a:lnTo>
                    <a:lnTo>
                      <a:pt x="1648" y="800"/>
                    </a:lnTo>
                    <a:lnTo>
                      <a:pt x="1648" y="798"/>
                    </a:lnTo>
                    <a:lnTo>
                      <a:pt x="1650" y="797"/>
                    </a:lnTo>
                    <a:lnTo>
                      <a:pt x="1654" y="798"/>
                    </a:lnTo>
                    <a:lnTo>
                      <a:pt x="1667" y="806"/>
                    </a:lnTo>
                    <a:lnTo>
                      <a:pt x="1683" y="814"/>
                    </a:lnTo>
                    <a:lnTo>
                      <a:pt x="1690" y="818"/>
                    </a:lnTo>
                    <a:lnTo>
                      <a:pt x="1696" y="822"/>
                    </a:lnTo>
                    <a:lnTo>
                      <a:pt x="1699" y="825"/>
                    </a:lnTo>
                    <a:lnTo>
                      <a:pt x="1701" y="827"/>
                    </a:lnTo>
                    <a:lnTo>
                      <a:pt x="1702" y="830"/>
                    </a:lnTo>
                    <a:lnTo>
                      <a:pt x="1703" y="834"/>
                    </a:lnTo>
                    <a:lnTo>
                      <a:pt x="1703" y="843"/>
                    </a:lnTo>
                    <a:lnTo>
                      <a:pt x="1704" y="848"/>
                    </a:lnTo>
                    <a:lnTo>
                      <a:pt x="1707" y="852"/>
                    </a:lnTo>
                    <a:lnTo>
                      <a:pt x="1711" y="857"/>
                    </a:lnTo>
                    <a:lnTo>
                      <a:pt x="1719" y="864"/>
                    </a:lnTo>
                    <a:lnTo>
                      <a:pt x="1728" y="873"/>
                    </a:lnTo>
                    <a:lnTo>
                      <a:pt x="1732" y="878"/>
                    </a:lnTo>
                    <a:lnTo>
                      <a:pt x="1736" y="880"/>
                    </a:lnTo>
                    <a:lnTo>
                      <a:pt x="1737" y="880"/>
                    </a:lnTo>
                    <a:lnTo>
                      <a:pt x="1739" y="879"/>
                    </a:lnTo>
                    <a:lnTo>
                      <a:pt x="1741" y="878"/>
                    </a:lnTo>
                    <a:lnTo>
                      <a:pt x="1742" y="876"/>
                    </a:lnTo>
                    <a:lnTo>
                      <a:pt x="1745" y="862"/>
                    </a:lnTo>
                    <a:lnTo>
                      <a:pt x="1747" y="844"/>
                    </a:lnTo>
                    <a:lnTo>
                      <a:pt x="1748" y="835"/>
                    </a:lnTo>
                    <a:lnTo>
                      <a:pt x="1749" y="827"/>
                    </a:lnTo>
                    <a:lnTo>
                      <a:pt x="1751" y="821"/>
                    </a:lnTo>
                    <a:lnTo>
                      <a:pt x="1754" y="817"/>
                    </a:lnTo>
                    <a:lnTo>
                      <a:pt x="1761" y="811"/>
                    </a:lnTo>
                    <a:lnTo>
                      <a:pt x="1769" y="803"/>
                    </a:lnTo>
                    <a:lnTo>
                      <a:pt x="1772" y="800"/>
                    </a:lnTo>
                    <a:lnTo>
                      <a:pt x="1773" y="797"/>
                    </a:lnTo>
                    <a:lnTo>
                      <a:pt x="1773" y="793"/>
                    </a:lnTo>
                    <a:lnTo>
                      <a:pt x="1771" y="789"/>
                    </a:lnTo>
                    <a:lnTo>
                      <a:pt x="1766" y="783"/>
                    </a:lnTo>
                    <a:lnTo>
                      <a:pt x="1759" y="779"/>
                    </a:lnTo>
                    <a:lnTo>
                      <a:pt x="1752" y="774"/>
                    </a:lnTo>
                    <a:lnTo>
                      <a:pt x="1743" y="769"/>
                    </a:lnTo>
                    <a:lnTo>
                      <a:pt x="1727" y="760"/>
                    </a:lnTo>
                    <a:lnTo>
                      <a:pt x="1715" y="753"/>
                    </a:lnTo>
                    <a:lnTo>
                      <a:pt x="1701" y="741"/>
                    </a:lnTo>
                    <a:lnTo>
                      <a:pt x="1674" y="722"/>
                    </a:lnTo>
                    <a:lnTo>
                      <a:pt x="1647" y="702"/>
                    </a:lnTo>
                    <a:lnTo>
                      <a:pt x="1633" y="690"/>
                    </a:lnTo>
                    <a:lnTo>
                      <a:pt x="1629" y="687"/>
                    </a:lnTo>
                    <a:lnTo>
                      <a:pt x="1627" y="683"/>
                    </a:lnTo>
                    <a:lnTo>
                      <a:pt x="1625" y="679"/>
                    </a:lnTo>
                    <a:lnTo>
                      <a:pt x="1623" y="674"/>
                    </a:lnTo>
                    <a:lnTo>
                      <a:pt x="1622" y="670"/>
                    </a:lnTo>
                    <a:lnTo>
                      <a:pt x="1622" y="665"/>
                    </a:lnTo>
                    <a:lnTo>
                      <a:pt x="1622" y="660"/>
                    </a:lnTo>
                    <a:lnTo>
                      <a:pt x="1624" y="656"/>
                    </a:lnTo>
                    <a:lnTo>
                      <a:pt x="1628" y="651"/>
                    </a:lnTo>
                    <a:lnTo>
                      <a:pt x="1634" y="647"/>
                    </a:lnTo>
                    <a:lnTo>
                      <a:pt x="1640" y="645"/>
                    </a:lnTo>
                    <a:lnTo>
                      <a:pt x="1646" y="642"/>
                    </a:lnTo>
                    <a:lnTo>
                      <a:pt x="1651" y="640"/>
                    </a:lnTo>
                    <a:lnTo>
                      <a:pt x="1654" y="638"/>
                    </a:lnTo>
                    <a:lnTo>
                      <a:pt x="1655" y="636"/>
                    </a:lnTo>
                    <a:lnTo>
                      <a:pt x="1654" y="635"/>
                    </a:lnTo>
                    <a:lnTo>
                      <a:pt x="1652" y="632"/>
                    </a:lnTo>
                    <a:lnTo>
                      <a:pt x="1649" y="630"/>
                    </a:lnTo>
                    <a:lnTo>
                      <a:pt x="1643" y="627"/>
                    </a:lnTo>
                    <a:lnTo>
                      <a:pt x="1637" y="627"/>
                    </a:lnTo>
                    <a:lnTo>
                      <a:pt x="1630" y="627"/>
                    </a:lnTo>
                    <a:lnTo>
                      <a:pt x="1624" y="629"/>
                    </a:lnTo>
                    <a:lnTo>
                      <a:pt x="1616" y="634"/>
                    </a:lnTo>
                    <a:lnTo>
                      <a:pt x="1613" y="636"/>
                    </a:lnTo>
                    <a:lnTo>
                      <a:pt x="1608" y="637"/>
                    </a:lnTo>
                    <a:lnTo>
                      <a:pt x="1600" y="639"/>
                    </a:lnTo>
                    <a:lnTo>
                      <a:pt x="1597" y="639"/>
                    </a:lnTo>
                    <a:lnTo>
                      <a:pt x="1594" y="638"/>
                    </a:lnTo>
                    <a:lnTo>
                      <a:pt x="1594" y="637"/>
                    </a:lnTo>
                    <a:lnTo>
                      <a:pt x="1594" y="635"/>
                    </a:lnTo>
                    <a:lnTo>
                      <a:pt x="1594" y="634"/>
                    </a:lnTo>
                    <a:lnTo>
                      <a:pt x="1596" y="630"/>
                    </a:lnTo>
                    <a:lnTo>
                      <a:pt x="1599" y="626"/>
                    </a:lnTo>
                    <a:lnTo>
                      <a:pt x="1604" y="624"/>
                    </a:lnTo>
                    <a:lnTo>
                      <a:pt x="1610" y="622"/>
                    </a:lnTo>
                    <a:lnTo>
                      <a:pt x="1614" y="621"/>
                    </a:lnTo>
                    <a:lnTo>
                      <a:pt x="1617" y="620"/>
                    </a:lnTo>
                    <a:lnTo>
                      <a:pt x="1618" y="618"/>
                    </a:lnTo>
                    <a:lnTo>
                      <a:pt x="1618" y="616"/>
                    </a:lnTo>
                    <a:lnTo>
                      <a:pt x="1615" y="613"/>
                    </a:lnTo>
                    <a:lnTo>
                      <a:pt x="1608" y="609"/>
                    </a:lnTo>
                    <a:lnTo>
                      <a:pt x="1602" y="606"/>
                    </a:lnTo>
                    <a:lnTo>
                      <a:pt x="1596" y="604"/>
                    </a:lnTo>
                    <a:lnTo>
                      <a:pt x="1590" y="603"/>
                    </a:lnTo>
                    <a:lnTo>
                      <a:pt x="1583" y="602"/>
                    </a:lnTo>
                    <a:lnTo>
                      <a:pt x="1578" y="602"/>
                    </a:lnTo>
                    <a:lnTo>
                      <a:pt x="1574" y="603"/>
                    </a:lnTo>
                    <a:lnTo>
                      <a:pt x="1571" y="604"/>
                    </a:lnTo>
                    <a:lnTo>
                      <a:pt x="1568" y="604"/>
                    </a:lnTo>
                    <a:lnTo>
                      <a:pt x="1562" y="604"/>
                    </a:lnTo>
                    <a:lnTo>
                      <a:pt x="1556" y="602"/>
                    </a:lnTo>
                    <a:lnTo>
                      <a:pt x="1551" y="600"/>
                    </a:lnTo>
                    <a:lnTo>
                      <a:pt x="1546" y="597"/>
                    </a:lnTo>
                    <a:lnTo>
                      <a:pt x="1542" y="594"/>
                    </a:lnTo>
                    <a:lnTo>
                      <a:pt x="1542" y="593"/>
                    </a:lnTo>
                    <a:lnTo>
                      <a:pt x="1542" y="591"/>
                    </a:lnTo>
                    <a:lnTo>
                      <a:pt x="1544" y="588"/>
                    </a:lnTo>
                    <a:lnTo>
                      <a:pt x="1547" y="587"/>
                    </a:lnTo>
                    <a:lnTo>
                      <a:pt x="1557" y="582"/>
                    </a:lnTo>
                    <a:lnTo>
                      <a:pt x="1566" y="580"/>
                    </a:lnTo>
                    <a:lnTo>
                      <a:pt x="1568" y="579"/>
                    </a:lnTo>
                    <a:lnTo>
                      <a:pt x="1569" y="578"/>
                    </a:lnTo>
                    <a:lnTo>
                      <a:pt x="1569" y="576"/>
                    </a:lnTo>
                    <a:lnTo>
                      <a:pt x="1568" y="573"/>
                    </a:lnTo>
                    <a:lnTo>
                      <a:pt x="1562" y="562"/>
                    </a:lnTo>
                    <a:lnTo>
                      <a:pt x="1554" y="550"/>
                    </a:lnTo>
                    <a:lnTo>
                      <a:pt x="1552" y="548"/>
                    </a:lnTo>
                    <a:lnTo>
                      <a:pt x="1549" y="547"/>
                    </a:lnTo>
                    <a:lnTo>
                      <a:pt x="1547" y="545"/>
                    </a:lnTo>
                    <a:lnTo>
                      <a:pt x="1545" y="545"/>
                    </a:lnTo>
                    <a:lnTo>
                      <a:pt x="1542" y="547"/>
                    </a:lnTo>
                    <a:lnTo>
                      <a:pt x="1540" y="548"/>
                    </a:lnTo>
                    <a:lnTo>
                      <a:pt x="1539" y="551"/>
                    </a:lnTo>
                    <a:lnTo>
                      <a:pt x="1537" y="556"/>
                    </a:lnTo>
                    <a:lnTo>
                      <a:pt x="1535" y="564"/>
                    </a:lnTo>
                    <a:lnTo>
                      <a:pt x="1532" y="571"/>
                    </a:lnTo>
                    <a:lnTo>
                      <a:pt x="1529" y="574"/>
                    </a:lnTo>
                    <a:lnTo>
                      <a:pt x="1525" y="576"/>
                    </a:lnTo>
                    <a:lnTo>
                      <a:pt x="1522" y="575"/>
                    </a:lnTo>
                    <a:lnTo>
                      <a:pt x="1518" y="574"/>
                    </a:lnTo>
                    <a:lnTo>
                      <a:pt x="1515" y="573"/>
                    </a:lnTo>
                    <a:lnTo>
                      <a:pt x="1512" y="571"/>
                    </a:lnTo>
                    <a:lnTo>
                      <a:pt x="1508" y="566"/>
                    </a:lnTo>
                    <a:lnTo>
                      <a:pt x="1502" y="563"/>
                    </a:lnTo>
                    <a:lnTo>
                      <a:pt x="1498" y="561"/>
                    </a:lnTo>
                    <a:lnTo>
                      <a:pt x="1496" y="558"/>
                    </a:lnTo>
                    <a:lnTo>
                      <a:pt x="1494" y="555"/>
                    </a:lnTo>
                    <a:lnTo>
                      <a:pt x="1493" y="551"/>
                    </a:lnTo>
                    <a:lnTo>
                      <a:pt x="1492" y="543"/>
                    </a:lnTo>
                    <a:lnTo>
                      <a:pt x="1494" y="535"/>
                    </a:lnTo>
                    <a:lnTo>
                      <a:pt x="1494" y="532"/>
                    </a:lnTo>
                    <a:lnTo>
                      <a:pt x="1494" y="529"/>
                    </a:lnTo>
                    <a:lnTo>
                      <a:pt x="1493" y="526"/>
                    </a:lnTo>
                    <a:lnTo>
                      <a:pt x="1490" y="523"/>
                    </a:lnTo>
                    <a:lnTo>
                      <a:pt x="1476" y="511"/>
                    </a:lnTo>
                    <a:lnTo>
                      <a:pt x="1466" y="504"/>
                    </a:lnTo>
                    <a:lnTo>
                      <a:pt x="1464" y="503"/>
                    </a:lnTo>
                    <a:lnTo>
                      <a:pt x="1463" y="500"/>
                    </a:lnTo>
                    <a:lnTo>
                      <a:pt x="1463" y="499"/>
                    </a:lnTo>
                    <a:lnTo>
                      <a:pt x="1463" y="497"/>
                    </a:lnTo>
                    <a:lnTo>
                      <a:pt x="1465" y="493"/>
                    </a:lnTo>
                    <a:lnTo>
                      <a:pt x="1468" y="489"/>
                    </a:lnTo>
                    <a:lnTo>
                      <a:pt x="1470" y="487"/>
                    </a:lnTo>
                    <a:lnTo>
                      <a:pt x="1469" y="483"/>
                    </a:lnTo>
                    <a:lnTo>
                      <a:pt x="1468" y="478"/>
                    </a:lnTo>
                    <a:lnTo>
                      <a:pt x="1466" y="473"/>
                    </a:lnTo>
                    <a:lnTo>
                      <a:pt x="1462" y="469"/>
                    </a:lnTo>
                    <a:lnTo>
                      <a:pt x="1458" y="465"/>
                    </a:lnTo>
                    <a:lnTo>
                      <a:pt x="1453" y="462"/>
                    </a:lnTo>
                    <a:lnTo>
                      <a:pt x="1448" y="461"/>
                    </a:lnTo>
                    <a:lnTo>
                      <a:pt x="1432" y="461"/>
                    </a:lnTo>
                    <a:lnTo>
                      <a:pt x="1413" y="462"/>
                    </a:lnTo>
                    <a:lnTo>
                      <a:pt x="1404" y="463"/>
                    </a:lnTo>
                    <a:lnTo>
                      <a:pt x="1397" y="464"/>
                    </a:lnTo>
                    <a:lnTo>
                      <a:pt x="1395" y="465"/>
                    </a:lnTo>
                    <a:lnTo>
                      <a:pt x="1393" y="465"/>
                    </a:lnTo>
                    <a:lnTo>
                      <a:pt x="1393" y="466"/>
                    </a:lnTo>
                    <a:lnTo>
                      <a:pt x="1393" y="467"/>
                    </a:lnTo>
                    <a:lnTo>
                      <a:pt x="1401" y="473"/>
                    </a:lnTo>
                    <a:lnTo>
                      <a:pt x="1416" y="482"/>
                    </a:lnTo>
                    <a:lnTo>
                      <a:pt x="1430" y="489"/>
                    </a:lnTo>
                    <a:lnTo>
                      <a:pt x="1437" y="492"/>
                    </a:lnTo>
                    <a:lnTo>
                      <a:pt x="1441" y="492"/>
                    </a:lnTo>
                    <a:lnTo>
                      <a:pt x="1449" y="492"/>
                    </a:lnTo>
                    <a:lnTo>
                      <a:pt x="1453" y="493"/>
                    </a:lnTo>
                    <a:lnTo>
                      <a:pt x="1457" y="493"/>
                    </a:lnTo>
                    <a:lnTo>
                      <a:pt x="1458" y="494"/>
                    </a:lnTo>
                    <a:lnTo>
                      <a:pt x="1458" y="495"/>
                    </a:lnTo>
                    <a:lnTo>
                      <a:pt x="1458" y="496"/>
                    </a:lnTo>
                    <a:lnTo>
                      <a:pt x="1458" y="497"/>
                    </a:lnTo>
                    <a:lnTo>
                      <a:pt x="1452" y="501"/>
                    </a:lnTo>
                    <a:lnTo>
                      <a:pt x="1445" y="506"/>
                    </a:lnTo>
                    <a:lnTo>
                      <a:pt x="1442" y="509"/>
                    </a:lnTo>
                    <a:lnTo>
                      <a:pt x="1439" y="511"/>
                    </a:lnTo>
                    <a:lnTo>
                      <a:pt x="1437" y="514"/>
                    </a:lnTo>
                    <a:lnTo>
                      <a:pt x="1435" y="518"/>
                    </a:lnTo>
                    <a:lnTo>
                      <a:pt x="1432" y="528"/>
                    </a:lnTo>
                    <a:lnTo>
                      <a:pt x="1429" y="537"/>
                    </a:lnTo>
                    <a:lnTo>
                      <a:pt x="1426" y="540"/>
                    </a:lnTo>
                    <a:lnTo>
                      <a:pt x="1423" y="542"/>
                    </a:lnTo>
                    <a:lnTo>
                      <a:pt x="1422" y="542"/>
                    </a:lnTo>
                    <a:lnTo>
                      <a:pt x="1420" y="542"/>
                    </a:lnTo>
                    <a:lnTo>
                      <a:pt x="1418" y="541"/>
                    </a:lnTo>
                    <a:lnTo>
                      <a:pt x="1416" y="539"/>
                    </a:lnTo>
                    <a:lnTo>
                      <a:pt x="1408" y="531"/>
                    </a:lnTo>
                    <a:lnTo>
                      <a:pt x="1403" y="525"/>
                    </a:lnTo>
                    <a:lnTo>
                      <a:pt x="1402" y="523"/>
                    </a:lnTo>
                    <a:lnTo>
                      <a:pt x="1400" y="522"/>
                    </a:lnTo>
                    <a:lnTo>
                      <a:pt x="1399" y="523"/>
                    </a:lnTo>
                    <a:lnTo>
                      <a:pt x="1397" y="527"/>
                    </a:lnTo>
                    <a:lnTo>
                      <a:pt x="1393" y="535"/>
                    </a:lnTo>
                    <a:lnTo>
                      <a:pt x="1386" y="543"/>
                    </a:lnTo>
                    <a:lnTo>
                      <a:pt x="1383" y="547"/>
                    </a:lnTo>
                    <a:lnTo>
                      <a:pt x="1381" y="548"/>
                    </a:lnTo>
                    <a:lnTo>
                      <a:pt x="1380" y="549"/>
                    </a:lnTo>
                    <a:lnTo>
                      <a:pt x="1379" y="548"/>
                    </a:lnTo>
                    <a:lnTo>
                      <a:pt x="1378" y="548"/>
                    </a:lnTo>
                    <a:lnTo>
                      <a:pt x="1378" y="547"/>
                    </a:lnTo>
                    <a:lnTo>
                      <a:pt x="1380" y="538"/>
                    </a:lnTo>
                    <a:lnTo>
                      <a:pt x="1383" y="527"/>
                    </a:lnTo>
                    <a:lnTo>
                      <a:pt x="1385" y="520"/>
                    </a:lnTo>
                    <a:lnTo>
                      <a:pt x="1387" y="514"/>
                    </a:lnTo>
                    <a:lnTo>
                      <a:pt x="1387" y="509"/>
                    </a:lnTo>
                    <a:lnTo>
                      <a:pt x="1386" y="506"/>
                    </a:lnTo>
                    <a:lnTo>
                      <a:pt x="1382" y="494"/>
                    </a:lnTo>
                    <a:lnTo>
                      <a:pt x="1378" y="477"/>
                    </a:lnTo>
                    <a:lnTo>
                      <a:pt x="1375" y="469"/>
                    </a:lnTo>
                    <a:lnTo>
                      <a:pt x="1373" y="462"/>
                    </a:lnTo>
                    <a:lnTo>
                      <a:pt x="1371" y="457"/>
                    </a:lnTo>
                    <a:lnTo>
                      <a:pt x="1369" y="455"/>
                    </a:lnTo>
                    <a:lnTo>
                      <a:pt x="1364" y="456"/>
                    </a:lnTo>
                    <a:lnTo>
                      <a:pt x="1355" y="462"/>
                    </a:lnTo>
                    <a:lnTo>
                      <a:pt x="1342" y="470"/>
                    </a:lnTo>
                    <a:lnTo>
                      <a:pt x="1330" y="479"/>
                    </a:lnTo>
                    <a:lnTo>
                      <a:pt x="1316" y="489"/>
                    </a:lnTo>
                    <a:lnTo>
                      <a:pt x="1306" y="498"/>
                    </a:lnTo>
                    <a:lnTo>
                      <a:pt x="1303" y="501"/>
                    </a:lnTo>
                    <a:lnTo>
                      <a:pt x="1299" y="506"/>
                    </a:lnTo>
                    <a:lnTo>
                      <a:pt x="1298" y="508"/>
                    </a:lnTo>
                    <a:lnTo>
                      <a:pt x="1298" y="510"/>
                    </a:lnTo>
                    <a:lnTo>
                      <a:pt x="1305" y="517"/>
                    </a:lnTo>
                    <a:lnTo>
                      <a:pt x="1311" y="526"/>
                    </a:lnTo>
                    <a:lnTo>
                      <a:pt x="1314" y="529"/>
                    </a:lnTo>
                    <a:lnTo>
                      <a:pt x="1315" y="533"/>
                    </a:lnTo>
                    <a:lnTo>
                      <a:pt x="1316" y="535"/>
                    </a:lnTo>
                    <a:lnTo>
                      <a:pt x="1315" y="538"/>
                    </a:lnTo>
                    <a:lnTo>
                      <a:pt x="1312" y="541"/>
                    </a:lnTo>
                    <a:lnTo>
                      <a:pt x="1308" y="544"/>
                    </a:lnTo>
                    <a:lnTo>
                      <a:pt x="1306" y="548"/>
                    </a:lnTo>
                    <a:lnTo>
                      <a:pt x="1305" y="551"/>
                    </a:lnTo>
                    <a:lnTo>
                      <a:pt x="1307" y="554"/>
                    </a:lnTo>
                    <a:lnTo>
                      <a:pt x="1309" y="559"/>
                    </a:lnTo>
                    <a:lnTo>
                      <a:pt x="1311" y="564"/>
                    </a:lnTo>
                    <a:lnTo>
                      <a:pt x="1311" y="571"/>
                    </a:lnTo>
                    <a:lnTo>
                      <a:pt x="1310" y="578"/>
                    </a:lnTo>
                    <a:lnTo>
                      <a:pt x="1309" y="587"/>
                    </a:lnTo>
                    <a:lnTo>
                      <a:pt x="1307" y="595"/>
                    </a:lnTo>
                    <a:lnTo>
                      <a:pt x="1305" y="599"/>
                    </a:lnTo>
                    <a:lnTo>
                      <a:pt x="1299" y="597"/>
                    </a:lnTo>
                    <a:lnTo>
                      <a:pt x="1292" y="594"/>
                    </a:lnTo>
                    <a:lnTo>
                      <a:pt x="1288" y="591"/>
                    </a:lnTo>
                    <a:lnTo>
                      <a:pt x="1285" y="587"/>
                    </a:lnTo>
                    <a:lnTo>
                      <a:pt x="1283" y="584"/>
                    </a:lnTo>
                    <a:lnTo>
                      <a:pt x="1282" y="580"/>
                    </a:lnTo>
                    <a:lnTo>
                      <a:pt x="1279" y="571"/>
                    </a:lnTo>
                    <a:lnTo>
                      <a:pt x="1274" y="557"/>
                    </a:lnTo>
                    <a:lnTo>
                      <a:pt x="1269" y="544"/>
                    </a:lnTo>
                    <a:lnTo>
                      <a:pt x="1266" y="536"/>
                    </a:lnTo>
                    <a:lnTo>
                      <a:pt x="1266" y="534"/>
                    </a:lnTo>
                    <a:lnTo>
                      <a:pt x="1267" y="532"/>
                    </a:lnTo>
                    <a:lnTo>
                      <a:pt x="1268" y="530"/>
                    </a:lnTo>
                    <a:lnTo>
                      <a:pt x="1270" y="529"/>
                    </a:lnTo>
                    <a:lnTo>
                      <a:pt x="1273" y="526"/>
                    </a:lnTo>
                    <a:lnTo>
                      <a:pt x="1275" y="523"/>
                    </a:lnTo>
                    <a:lnTo>
                      <a:pt x="1273" y="520"/>
                    </a:lnTo>
                    <a:lnTo>
                      <a:pt x="1269" y="516"/>
                    </a:lnTo>
                    <a:lnTo>
                      <a:pt x="1267" y="513"/>
                    </a:lnTo>
                    <a:lnTo>
                      <a:pt x="1266" y="511"/>
                    </a:lnTo>
                    <a:lnTo>
                      <a:pt x="1266" y="509"/>
                    </a:lnTo>
                    <a:lnTo>
                      <a:pt x="1268" y="506"/>
                    </a:lnTo>
                    <a:lnTo>
                      <a:pt x="1279" y="495"/>
                    </a:lnTo>
                    <a:lnTo>
                      <a:pt x="1296" y="478"/>
                    </a:lnTo>
                    <a:lnTo>
                      <a:pt x="1305" y="469"/>
                    </a:lnTo>
                    <a:lnTo>
                      <a:pt x="1311" y="462"/>
                    </a:lnTo>
                    <a:lnTo>
                      <a:pt x="1313" y="459"/>
                    </a:lnTo>
                    <a:lnTo>
                      <a:pt x="1314" y="455"/>
                    </a:lnTo>
                    <a:lnTo>
                      <a:pt x="1315" y="454"/>
                    </a:lnTo>
                    <a:lnTo>
                      <a:pt x="1314" y="453"/>
                    </a:lnTo>
                    <a:lnTo>
                      <a:pt x="1310" y="453"/>
                    </a:lnTo>
                    <a:lnTo>
                      <a:pt x="1301" y="453"/>
                    </a:lnTo>
                    <a:lnTo>
                      <a:pt x="1290" y="455"/>
                    </a:lnTo>
                    <a:lnTo>
                      <a:pt x="1277" y="459"/>
                    </a:lnTo>
                    <a:lnTo>
                      <a:pt x="1265" y="462"/>
                    </a:lnTo>
                    <a:lnTo>
                      <a:pt x="1253" y="465"/>
                    </a:lnTo>
                    <a:lnTo>
                      <a:pt x="1245" y="469"/>
                    </a:lnTo>
                    <a:lnTo>
                      <a:pt x="1241" y="473"/>
                    </a:lnTo>
                    <a:lnTo>
                      <a:pt x="1232" y="485"/>
                    </a:lnTo>
                    <a:lnTo>
                      <a:pt x="1221" y="501"/>
                    </a:lnTo>
                    <a:lnTo>
                      <a:pt x="1215" y="510"/>
                    </a:lnTo>
                    <a:lnTo>
                      <a:pt x="1209" y="519"/>
                    </a:lnTo>
                    <a:lnTo>
                      <a:pt x="1205" y="529"/>
                    </a:lnTo>
                    <a:lnTo>
                      <a:pt x="1203" y="537"/>
                    </a:lnTo>
                    <a:lnTo>
                      <a:pt x="1202" y="553"/>
                    </a:lnTo>
                    <a:lnTo>
                      <a:pt x="1203" y="567"/>
                    </a:lnTo>
                    <a:lnTo>
                      <a:pt x="1203" y="574"/>
                    </a:lnTo>
                    <a:lnTo>
                      <a:pt x="1205" y="579"/>
                    </a:lnTo>
                    <a:lnTo>
                      <a:pt x="1207" y="583"/>
                    </a:lnTo>
                    <a:lnTo>
                      <a:pt x="1210" y="586"/>
                    </a:lnTo>
                    <a:lnTo>
                      <a:pt x="1223" y="590"/>
                    </a:lnTo>
                    <a:lnTo>
                      <a:pt x="1241" y="592"/>
                    </a:lnTo>
                    <a:lnTo>
                      <a:pt x="1248" y="593"/>
                    </a:lnTo>
                    <a:lnTo>
                      <a:pt x="1253" y="595"/>
                    </a:lnTo>
                    <a:lnTo>
                      <a:pt x="1255" y="595"/>
                    </a:lnTo>
                    <a:lnTo>
                      <a:pt x="1255" y="596"/>
                    </a:lnTo>
                    <a:lnTo>
                      <a:pt x="1255" y="597"/>
                    </a:lnTo>
                    <a:lnTo>
                      <a:pt x="1253" y="598"/>
                    </a:lnTo>
                    <a:lnTo>
                      <a:pt x="1241" y="602"/>
                    </a:lnTo>
                    <a:lnTo>
                      <a:pt x="1224" y="606"/>
                    </a:lnTo>
                    <a:lnTo>
                      <a:pt x="1217" y="607"/>
                    </a:lnTo>
                    <a:lnTo>
                      <a:pt x="1211" y="609"/>
                    </a:lnTo>
                    <a:lnTo>
                      <a:pt x="1210" y="610"/>
                    </a:lnTo>
                    <a:lnTo>
                      <a:pt x="1209" y="612"/>
                    </a:lnTo>
                    <a:lnTo>
                      <a:pt x="1209" y="612"/>
                    </a:lnTo>
                    <a:lnTo>
                      <a:pt x="1210" y="613"/>
                    </a:lnTo>
                    <a:lnTo>
                      <a:pt x="1227" y="620"/>
                    </a:lnTo>
                    <a:lnTo>
                      <a:pt x="1254" y="635"/>
                    </a:lnTo>
                    <a:lnTo>
                      <a:pt x="1279" y="648"/>
                    </a:lnTo>
                    <a:lnTo>
                      <a:pt x="1291" y="653"/>
                    </a:lnTo>
                    <a:lnTo>
                      <a:pt x="1290" y="659"/>
                    </a:lnTo>
                    <a:lnTo>
                      <a:pt x="1288" y="670"/>
                    </a:lnTo>
                    <a:lnTo>
                      <a:pt x="1287" y="676"/>
                    </a:lnTo>
                    <a:lnTo>
                      <a:pt x="1287" y="683"/>
                    </a:lnTo>
                    <a:lnTo>
                      <a:pt x="1287" y="687"/>
                    </a:lnTo>
                    <a:lnTo>
                      <a:pt x="1289" y="690"/>
                    </a:lnTo>
                    <a:lnTo>
                      <a:pt x="1292" y="692"/>
                    </a:lnTo>
                    <a:lnTo>
                      <a:pt x="1297" y="693"/>
                    </a:lnTo>
                    <a:lnTo>
                      <a:pt x="1298" y="694"/>
                    </a:lnTo>
                    <a:lnTo>
                      <a:pt x="1299" y="696"/>
                    </a:lnTo>
                    <a:lnTo>
                      <a:pt x="1300" y="697"/>
                    </a:lnTo>
                    <a:lnTo>
                      <a:pt x="1299" y="700"/>
                    </a:lnTo>
                    <a:lnTo>
                      <a:pt x="1287" y="707"/>
                    </a:lnTo>
                    <a:lnTo>
                      <a:pt x="1272" y="717"/>
                    </a:lnTo>
                    <a:lnTo>
                      <a:pt x="1271" y="725"/>
                    </a:lnTo>
                    <a:lnTo>
                      <a:pt x="1270" y="733"/>
                    </a:lnTo>
                    <a:lnTo>
                      <a:pt x="1270" y="737"/>
                    </a:lnTo>
                    <a:lnTo>
                      <a:pt x="1268" y="741"/>
                    </a:lnTo>
                    <a:lnTo>
                      <a:pt x="1267" y="746"/>
                    </a:lnTo>
                    <a:lnTo>
                      <a:pt x="1264" y="750"/>
                    </a:lnTo>
                    <a:lnTo>
                      <a:pt x="1254" y="763"/>
                    </a:lnTo>
                    <a:lnTo>
                      <a:pt x="1248" y="774"/>
                    </a:lnTo>
                    <a:lnTo>
                      <a:pt x="1245" y="774"/>
                    </a:lnTo>
                    <a:lnTo>
                      <a:pt x="1240" y="771"/>
                    </a:lnTo>
                    <a:lnTo>
                      <a:pt x="1235" y="767"/>
                    </a:lnTo>
                    <a:lnTo>
                      <a:pt x="1230" y="760"/>
                    </a:lnTo>
                    <a:lnTo>
                      <a:pt x="1227" y="754"/>
                    </a:lnTo>
                    <a:lnTo>
                      <a:pt x="1225" y="748"/>
                    </a:lnTo>
                    <a:lnTo>
                      <a:pt x="1224" y="744"/>
                    </a:lnTo>
                    <a:lnTo>
                      <a:pt x="1224" y="740"/>
                    </a:lnTo>
                    <a:lnTo>
                      <a:pt x="1225" y="738"/>
                    </a:lnTo>
                    <a:lnTo>
                      <a:pt x="1226" y="735"/>
                    </a:lnTo>
                    <a:lnTo>
                      <a:pt x="1232" y="726"/>
                    </a:lnTo>
                    <a:lnTo>
                      <a:pt x="1237" y="717"/>
                    </a:lnTo>
                    <a:lnTo>
                      <a:pt x="1238" y="709"/>
                    </a:lnTo>
                    <a:lnTo>
                      <a:pt x="1239" y="702"/>
                    </a:lnTo>
                    <a:lnTo>
                      <a:pt x="1237" y="697"/>
                    </a:lnTo>
                    <a:lnTo>
                      <a:pt x="1233" y="694"/>
                    </a:lnTo>
                    <a:lnTo>
                      <a:pt x="1228" y="691"/>
                    </a:lnTo>
                    <a:lnTo>
                      <a:pt x="1222" y="689"/>
                    </a:lnTo>
                    <a:lnTo>
                      <a:pt x="1210" y="686"/>
                    </a:lnTo>
                    <a:lnTo>
                      <a:pt x="1205" y="686"/>
                    </a:lnTo>
                    <a:lnTo>
                      <a:pt x="1203" y="694"/>
                    </a:lnTo>
                    <a:lnTo>
                      <a:pt x="1200" y="712"/>
                    </a:lnTo>
                    <a:lnTo>
                      <a:pt x="1199" y="720"/>
                    </a:lnTo>
                    <a:lnTo>
                      <a:pt x="1197" y="728"/>
                    </a:lnTo>
                    <a:lnTo>
                      <a:pt x="1196" y="730"/>
                    </a:lnTo>
                    <a:lnTo>
                      <a:pt x="1194" y="732"/>
                    </a:lnTo>
                    <a:lnTo>
                      <a:pt x="1193" y="733"/>
                    </a:lnTo>
                    <a:lnTo>
                      <a:pt x="1190" y="732"/>
                    </a:lnTo>
                    <a:lnTo>
                      <a:pt x="1185" y="731"/>
                    </a:lnTo>
                    <a:lnTo>
                      <a:pt x="1181" y="729"/>
                    </a:lnTo>
                    <a:lnTo>
                      <a:pt x="1179" y="728"/>
                    </a:lnTo>
                    <a:lnTo>
                      <a:pt x="1179" y="726"/>
                    </a:lnTo>
                    <a:lnTo>
                      <a:pt x="1179" y="723"/>
                    </a:lnTo>
                    <a:lnTo>
                      <a:pt x="1179" y="718"/>
                    </a:lnTo>
                    <a:lnTo>
                      <a:pt x="1182" y="707"/>
                    </a:lnTo>
                    <a:lnTo>
                      <a:pt x="1184" y="696"/>
                    </a:lnTo>
                    <a:lnTo>
                      <a:pt x="1185" y="691"/>
                    </a:lnTo>
                    <a:lnTo>
                      <a:pt x="1184" y="686"/>
                    </a:lnTo>
                    <a:lnTo>
                      <a:pt x="1183" y="682"/>
                    </a:lnTo>
                    <a:lnTo>
                      <a:pt x="1181" y="679"/>
                    </a:lnTo>
                    <a:lnTo>
                      <a:pt x="1177" y="676"/>
                    </a:lnTo>
                    <a:lnTo>
                      <a:pt x="1171" y="674"/>
                    </a:lnTo>
                    <a:lnTo>
                      <a:pt x="1163" y="673"/>
                    </a:lnTo>
                    <a:lnTo>
                      <a:pt x="1156" y="671"/>
                    </a:lnTo>
                    <a:lnTo>
                      <a:pt x="1150" y="669"/>
                    </a:lnTo>
                    <a:lnTo>
                      <a:pt x="1145" y="667"/>
                    </a:lnTo>
                    <a:lnTo>
                      <a:pt x="1144" y="665"/>
                    </a:lnTo>
                    <a:lnTo>
                      <a:pt x="1143" y="664"/>
                    </a:lnTo>
                    <a:lnTo>
                      <a:pt x="1143" y="661"/>
                    </a:lnTo>
                    <a:lnTo>
                      <a:pt x="1144" y="659"/>
                    </a:lnTo>
                    <a:lnTo>
                      <a:pt x="1151" y="648"/>
                    </a:lnTo>
                    <a:lnTo>
                      <a:pt x="1154" y="640"/>
                    </a:lnTo>
                    <a:lnTo>
                      <a:pt x="1156" y="635"/>
                    </a:lnTo>
                    <a:lnTo>
                      <a:pt x="1155" y="629"/>
                    </a:lnTo>
                    <a:lnTo>
                      <a:pt x="1145" y="621"/>
                    </a:lnTo>
                    <a:lnTo>
                      <a:pt x="1131" y="603"/>
                    </a:lnTo>
                    <a:lnTo>
                      <a:pt x="1128" y="599"/>
                    </a:lnTo>
                    <a:lnTo>
                      <a:pt x="1124" y="594"/>
                    </a:lnTo>
                    <a:lnTo>
                      <a:pt x="1122" y="588"/>
                    </a:lnTo>
                    <a:lnTo>
                      <a:pt x="1121" y="583"/>
                    </a:lnTo>
                    <a:lnTo>
                      <a:pt x="1120" y="578"/>
                    </a:lnTo>
                    <a:lnTo>
                      <a:pt x="1120" y="574"/>
                    </a:lnTo>
                    <a:lnTo>
                      <a:pt x="1122" y="569"/>
                    </a:lnTo>
                    <a:lnTo>
                      <a:pt x="1125" y="564"/>
                    </a:lnTo>
                    <a:lnTo>
                      <a:pt x="1138" y="552"/>
                    </a:lnTo>
                    <a:lnTo>
                      <a:pt x="1145" y="545"/>
                    </a:lnTo>
                    <a:lnTo>
                      <a:pt x="1147" y="542"/>
                    </a:lnTo>
                    <a:lnTo>
                      <a:pt x="1149" y="540"/>
                    </a:lnTo>
                    <a:lnTo>
                      <a:pt x="1147" y="538"/>
                    </a:lnTo>
                    <a:lnTo>
                      <a:pt x="1145" y="535"/>
                    </a:lnTo>
                    <a:lnTo>
                      <a:pt x="1136" y="530"/>
                    </a:lnTo>
                    <a:lnTo>
                      <a:pt x="1124" y="526"/>
                    </a:lnTo>
                    <a:lnTo>
                      <a:pt x="1122" y="525"/>
                    </a:lnTo>
                    <a:lnTo>
                      <a:pt x="1121" y="523"/>
                    </a:lnTo>
                    <a:lnTo>
                      <a:pt x="1121" y="522"/>
                    </a:lnTo>
                    <a:lnTo>
                      <a:pt x="1121" y="521"/>
                    </a:lnTo>
                    <a:lnTo>
                      <a:pt x="1125" y="519"/>
                    </a:lnTo>
                    <a:lnTo>
                      <a:pt x="1135" y="516"/>
                    </a:lnTo>
                    <a:lnTo>
                      <a:pt x="1145" y="514"/>
                    </a:lnTo>
                    <a:lnTo>
                      <a:pt x="1152" y="513"/>
                    </a:lnTo>
                    <a:lnTo>
                      <a:pt x="1156" y="513"/>
                    </a:lnTo>
                    <a:lnTo>
                      <a:pt x="1158" y="514"/>
                    </a:lnTo>
                    <a:lnTo>
                      <a:pt x="1161" y="518"/>
                    </a:lnTo>
                    <a:lnTo>
                      <a:pt x="1166" y="522"/>
                    </a:lnTo>
                    <a:lnTo>
                      <a:pt x="1171" y="523"/>
                    </a:lnTo>
                    <a:lnTo>
                      <a:pt x="1174" y="523"/>
                    </a:lnTo>
                    <a:lnTo>
                      <a:pt x="1176" y="521"/>
                    </a:lnTo>
                    <a:lnTo>
                      <a:pt x="1178" y="518"/>
                    </a:lnTo>
                    <a:lnTo>
                      <a:pt x="1181" y="511"/>
                    </a:lnTo>
                    <a:lnTo>
                      <a:pt x="1183" y="505"/>
                    </a:lnTo>
                    <a:lnTo>
                      <a:pt x="1185" y="498"/>
                    </a:lnTo>
                    <a:lnTo>
                      <a:pt x="1190" y="487"/>
                    </a:lnTo>
                    <a:lnTo>
                      <a:pt x="1197" y="475"/>
                    </a:lnTo>
                    <a:lnTo>
                      <a:pt x="1202" y="469"/>
                    </a:lnTo>
                    <a:lnTo>
                      <a:pt x="1208" y="465"/>
                    </a:lnTo>
                    <a:lnTo>
                      <a:pt x="1218" y="459"/>
                    </a:lnTo>
                    <a:lnTo>
                      <a:pt x="1222" y="454"/>
                    </a:lnTo>
                    <a:lnTo>
                      <a:pt x="1224" y="451"/>
                    </a:lnTo>
                    <a:lnTo>
                      <a:pt x="1225" y="449"/>
                    </a:lnTo>
                    <a:lnTo>
                      <a:pt x="1225" y="448"/>
                    </a:lnTo>
                    <a:lnTo>
                      <a:pt x="1224" y="446"/>
                    </a:lnTo>
                    <a:lnTo>
                      <a:pt x="1223" y="445"/>
                    </a:lnTo>
                    <a:lnTo>
                      <a:pt x="1219" y="443"/>
                    </a:lnTo>
                    <a:lnTo>
                      <a:pt x="1213" y="443"/>
                    </a:lnTo>
                    <a:lnTo>
                      <a:pt x="1207" y="444"/>
                    </a:lnTo>
                    <a:lnTo>
                      <a:pt x="1201" y="445"/>
                    </a:lnTo>
                    <a:lnTo>
                      <a:pt x="1188" y="448"/>
                    </a:lnTo>
                    <a:lnTo>
                      <a:pt x="1179" y="448"/>
                    </a:lnTo>
                    <a:lnTo>
                      <a:pt x="1172" y="448"/>
                    </a:lnTo>
                    <a:lnTo>
                      <a:pt x="1165" y="448"/>
                    </a:lnTo>
                    <a:lnTo>
                      <a:pt x="1160" y="449"/>
                    </a:lnTo>
                    <a:lnTo>
                      <a:pt x="1155" y="451"/>
                    </a:lnTo>
                    <a:lnTo>
                      <a:pt x="1147" y="454"/>
                    </a:lnTo>
                    <a:lnTo>
                      <a:pt x="1135" y="460"/>
                    </a:lnTo>
                    <a:lnTo>
                      <a:pt x="1130" y="463"/>
                    </a:lnTo>
                    <a:lnTo>
                      <a:pt x="1123" y="466"/>
                    </a:lnTo>
                    <a:lnTo>
                      <a:pt x="1119" y="470"/>
                    </a:lnTo>
                    <a:lnTo>
                      <a:pt x="1117" y="473"/>
                    </a:lnTo>
                    <a:lnTo>
                      <a:pt x="1120" y="482"/>
                    </a:lnTo>
                    <a:lnTo>
                      <a:pt x="1121" y="492"/>
                    </a:lnTo>
                    <a:lnTo>
                      <a:pt x="1118" y="501"/>
                    </a:lnTo>
                    <a:lnTo>
                      <a:pt x="1115" y="511"/>
                    </a:lnTo>
                    <a:lnTo>
                      <a:pt x="1114" y="519"/>
                    </a:lnTo>
                    <a:lnTo>
                      <a:pt x="1113" y="525"/>
                    </a:lnTo>
                    <a:lnTo>
                      <a:pt x="1114" y="530"/>
                    </a:lnTo>
                    <a:lnTo>
                      <a:pt x="1117" y="537"/>
                    </a:lnTo>
                    <a:lnTo>
                      <a:pt x="1118" y="541"/>
                    </a:lnTo>
                    <a:lnTo>
                      <a:pt x="1118" y="545"/>
                    </a:lnTo>
                    <a:lnTo>
                      <a:pt x="1118" y="550"/>
                    </a:lnTo>
                    <a:lnTo>
                      <a:pt x="1116" y="555"/>
                    </a:lnTo>
                    <a:lnTo>
                      <a:pt x="1106" y="572"/>
                    </a:lnTo>
                    <a:lnTo>
                      <a:pt x="1098" y="583"/>
                    </a:lnTo>
                    <a:lnTo>
                      <a:pt x="1094" y="586"/>
                    </a:lnTo>
                    <a:lnTo>
                      <a:pt x="1089" y="590"/>
                    </a:lnTo>
                    <a:lnTo>
                      <a:pt x="1087" y="592"/>
                    </a:lnTo>
                    <a:lnTo>
                      <a:pt x="1084" y="594"/>
                    </a:lnTo>
                    <a:lnTo>
                      <a:pt x="1083" y="598"/>
                    </a:lnTo>
                    <a:lnTo>
                      <a:pt x="1083" y="603"/>
                    </a:lnTo>
                    <a:lnTo>
                      <a:pt x="1084" y="607"/>
                    </a:lnTo>
                    <a:lnTo>
                      <a:pt x="1085" y="610"/>
                    </a:lnTo>
                    <a:lnTo>
                      <a:pt x="1087" y="614"/>
                    </a:lnTo>
                    <a:lnTo>
                      <a:pt x="1088" y="616"/>
                    </a:lnTo>
                    <a:lnTo>
                      <a:pt x="1090" y="618"/>
                    </a:lnTo>
                    <a:lnTo>
                      <a:pt x="1090" y="620"/>
                    </a:lnTo>
                    <a:lnTo>
                      <a:pt x="1090" y="623"/>
                    </a:lnTo>
                    <a:lnTo>
                      <a:pt x="1088" y="627"/>
                    </a:lnTo>
                    <a:lnTo>
                      <a:pt x="1083" y="638"/>
                    </a:lnTo>
                    <a:lnTo>
                      <a:pt x="1080" y="645"/>
                    </a:lnTo>
                    <a:lnTo>
                      <a:pt x="1081" y="648"/>
                    </a:lnTo>
                    <a:lnTo>
                      <a:pt x="1087" y="652"/>
                    </a:lnTo>
                    <a:lnTo>
                      <a:pt x="1094" y="658"/>
                    </a:lnTo>
                    <a:lnTo>
                      <a:pt x="1102" y="663"/>
                    </a:lnTo>
                    <a:lnTo>
                      <a:pt x="1111" y="668"/>
                    </a:lnTo>
                    <a:lnTo>
                      <a:pt x="1118" y="673"/>
                    </a:lnTo>
                    <a:lnTo>
                      <a:pt x="1121" y="675"/>
                    </a:lnTo>
                    <a:lnTo>
                      <a:pt x="1122" y="678"/>
                    </a:lnTo>
                    <a:lnTo>
                      <a:pt x="1123" y="680"/>
                    </a:lnTo>
                    <a:lnTo>
                      <a:pt x="1123" y="681"/>
                    </a:lnTo>
                    <a:lnTo>
                      <a:pt x="1121" y="692"/>
                    </a:lnTo>
                    <a:lnTo>
                      <a:pt x="1119" y="709"/>
                    </a:lnTo>
                    <a:lnTo>
                      <a:pt x="1118" y="718"/>
                    </a:lnTo>
                    <a:lnTo>
                      <a:pt x="1116" y="727"/>
                    </a:lnTo>
                    <a:lnTo>
                      <a:pt x="1113" y="734"/>
                    </a:lnTo>
                    <a:lnTo>
                      <a:pt x="1110" y="739"/>
                    </a:lnTo>
                    <a:lnTo>
                      <a:pt x="1100" y="747"/>
                    </a:lnTo>
                    <a:lnTo>
                      <a:pt x="1090" y="753"/>
                    </a:lnTo>
                    <a:lnTo>
                      <a:pt x="1086" y="756"/>
                    </a:lnTo>
                    <a:lnTo>
                      <a:pt x="1083" y="759"/>
                    </a:lnTo>
                    <a:lnTo>
                      <a:pt x="1080" y="762"/>
                    </a:lnTo>
                    <a:lnTo>
                      <a:pt x="1080" y="764"/>
                    </a:lnTo>
                    <a:lnTo>
                      <a:pt x="1083" y="771"/>
                    </a:lnTo>
                    <a:lnTo>
                      <a:pt x="1087" y="778"/>
                    </a:lnTo>
                    <a:lnTo>
                      <a:pt x="1088" y="781"/>
                    </a:lnTo>
                    <a:lnTo>
                      <a:pt x="1088" y="783"/>
                    </a:lnTo>
                    <a:lnTo>
                      <a:pt x="1087" y="785"/>
                    </a:lnTo>
                    <a:lnTo>
                      <a:pt x="1085" y="786"/>
                    </a:lnTo>
                    <a:lnTo>
                      <a:pt x="1080" y="786"/>
                    </a:lnTo>
                    <a:lnTo>
                      <a:pt x="1076" y="785"/>
                    </a:lnTo>
                    <a:lnTo>
                      <a:pt x="1072" y="783"/>
                    </a:lnTo>
                    <a:lnTo>
                      <a:pt x="1069" y="781"/>
                    </a:lnTo>
                    <a:lnTo>
                      <a:pt x="1066" y="779"/>
                    </a:lnTo>
                    <a:lnTo>
                      <a:pt x="1064" y="776"/>
                    </a:lnTo>
                    <a:lnTo>
                      <a:pt x="1062" y="774"/>
                    </a:lnTo>
                    <a:lnTo>
                      <a:pt x="1062" y="771"/>
                    </a:lnTo>
                    <a:lnTo>
                      <a:pt x="1064" y="764"/>
                    </a:lnTo>
                    <a:lnTo>
                      <a:pt x="1068" y="755"/>
                    </a:lnTo>
                    <a:lnTo>
                      <a:pt x="1070" y="751"/>
                    </a:lnTo>
                    <a:lnTo>
                      <a:pt x="1070" y="747"/>
                    </a:lnTo>
                    <a:lnTo>
                      <a:pt x="1070" y="745"/>
                    </a:lnTo>
                    <a:lnTo>
                      <a:pt x="1069" y="742"/>
                    </a:lnTo>
                    <a:lnTo>
                      <a:pt x="1067" y="740"/>
                    </a:lnTo>
                    <a:lnTo>
                      <a:pt x="1065" y="739"/>
                    </a:lnTo>
                    <a:lnTo>
                      <a:pt x="1062" y="737"/>
                    </a:lnTo>
                    <a:lnTo>
                      <a:pt x="1058" y="734"/>
                    </a:lnTo>
                    <a:lnTo>
                      <a:pt x="1057" y="732"/>
                    </a:lnTo>
                    <a:lnTo>
                      <a:pt x="1057" y="730"/>
                    </a:lnTo>
                    <a:lnTo>
                      <a:pt x="1057" y="728"/>
                    </a:lnTo>
                    <a:lnTo>
                      <a:pt x="1059" y="727"/>
                    </a:lnTo>
                    <a:lnTo>
                      <a:pt x="1062" y="726"/>
                    </a:lnTo>
                    <a:lnTo>
                      <a:pt x="1065" y="726"/>
                    </a:lnTo>
                    <a:lnTo>
                      <a:pt x="1068" y="725"/>
                    </a:lnTo>
                    <a:lnTo>
                      <a:pt x="1071" y="723"/>
                    </a:lnTo>
                    <a:lnTo>
                      <a:pt x="1074" y="719"/>
                    </a:lnTo>
                    <a:lnTo>
                      <a:pt x="1077" y="715"/>
                    </a:lnTo>
                    <a:lnTo>
                      <a:pt x="1079" y="710"/>
                    </a:lnTo>
                    <a:lnTo>
                      <a:pt x="1081" y="705"/>
                    </a:lnTo>
                    <a:lnTo>
                      <a:pt x="1083" y="700"/>
                    </a:lnTo>
                    <a:lnTo>
                      <a:pt x="1084" y="694"/>
                    </a:lnTo>
                    <a:lnTo>
                      <a:pt x="1084" y="688"/>
                    </a:lnTo>
                    <a:lnTo>
                      <a:pt x="1083" y="682"/>
                    </a:lnTo>
                    <a:lnTo>
                      <a:pt x="1079" y="674"/>
                    </a:lnTo>
                    <a:lnTo>
                      <a:pt x="1076" y="668"/>
                    </a:lnTo>
                    <a:lnTo>
                      <a:pt x="1071" y="664"/>
                    </a:lnTo>
                    <a:lnTo>
                      <a:pt x="1067" y="661"/>
                    </a:lnTo>
                    <a:lnTo>
                      <a:pt x="1064" y="661"/>
                    </a:lnTo>
                    <a:lnTo>
                      <a:pt x="1062" y="661"/>
                    </a:lnTo>
                    <a:lnTo>
                      <a:pt x="1058" y="662"/>
                    </a:lnTo>
                    <a:lnTo>
                      <a:pt x="1056" y="664"/>
                    </a:lnTo>
                    <a:lnTo>
                      <a:pt x="1043" y="679"/>
                    </a:lnTo>
                    <a:lnTo>
                      <a:pt x="1040" y="681"/>
                    </a:lnTo>
                    <a:lnTo>
                      <a:pt x="1033" y="684"/>
                    </a:lnTo>
                    <a:lnTo>
                      <a:pt x="1020" y="691"/>
                    </a:lnTo>
                    <a:lnTo>
                      <a:pt x="1014" y="696"/>
                    </a:lnTo>
                    <a:lnTo>
                      <a:pt x="1010" y="703"/>
                    </a:lnTo>
                    <a:lnTo>
                      <a:pt x="1009" y="706"/>
                    </a:lnTo>
                    <a:lnTo>
                      <a:pt x="1010" y="708"/>
                    </a:lnTo>
                    <a:lnTo>
                      <a:pt x="1011" y="711"/>
                    </a:lnTo>
                    <a:lnTo>
                      <a:pt x="1014" y="714"/>
                    </a:lnTo>
                    <a:lnTo>
                      <a:pt x="1022" y="719"/>
                    </a:lnTo>
                    <a:lnTo>
                      <a:pt x="1027" y="724"/>
                    </a:lnTo>
                    <a:lnTo>
                      <a:pt x="1032" y="725"/>
                    </a:lnTo>
                    <a:lnTo>
                      <a:pt x="1036" y="726"/>
                    </a:lnTo>
                    <a:lnTo>
                      <a:pt x="1042" y="726"/>
                    </a:lnTo>
                    <a:lnTo>
                      <a:pt x="1043" y="727"/>
                    </a:lnTo>
                    <a:lnTo>
                      <a:pt x="1045" y="729"/>
                    </a:lnTo>
                    <a:lnTo>
                      <a:pt x="1050" y="729"/>
                    </a:lnTo>
                    <a:lnTo>
                      <a:pt x="1052" y="730"/>
                    </a:lnTo>
                    <a:lnTo>
                      <a:pt x="1053" y="730"/>
                    </a:lnTo>
                    <a:lnTo>
                      <a:pt x="1053" y="732"/>
                    </a:lnTo>
                    <a:lnTo>
                      <a:pt x="1051" y="733"/>
                    </a:lnTo>
                    <a:lnTo>
                      <a:pt x="1043" y="738"/>
                    </a:lnTo>
                    <a:lnTo>
                      <a:pt x="1033" y="742"/>
                    </a:lnTo>
                    <a:lnTo>
                      <a:pt x="1029" y="745"/>
                    </a:lnTo>
                    <a:lnTo>
                      <a:pt x="1025" y="747"/>
                    </a:lnTo>
                    <a:lnTo>
                      <a:pt x="1024" y="749"/>
                    </a:lnTo>
                    <a:lnTo>
                      <a:pt x="1023" y="751"/>
                    </a:lnTo>
                    <a:lnTo>
                      <a:pt x="1024" y="757"/>
                    </a:lnTo>
                    <a:lnTo>
                      <a:pt x="1025" y="764"/>
                    </a:lnTo>
                    <a:lnTo>
                      <a:pt x="1025" y="767"/>
                    </a:lnTo>
                    <a:lnTo>
                      <a:pt x="1025" y="769"/>
                    </a:lnTo>
                    <a:lnTo>
                      <a:pt x="1024" y="770"/>
                    </a:lnTo>
                    <a:lnTo>
                      <a:pt x="1022" y="770"/>
                    </a:lnTo>
                    <a:lnTo>
                      <a:pt x="1006" y="769"/>
                    </a:lnTo>
                    <a:lnTo>
                      <a:pt x="980" y="769"/>
                    </a:lnTo>
                    <a:lnTo>
                      <a:pt x="965" y="769"/>
                    </a:lnTo>
                    <a:lnTo>
                      <a:pt x="953" y="768"/>
                    </a:lnTo>
                    <a:lnTo>
                      <a:pt x="942" y="767"/>
                    </a:lnTo>
                    <a:lnTo>
                      <a:pt x="935" y="763"/>
                    </a:lnTo>
                    <a:lnTo>
                      <a:pt x="924" y="755"/>
                    </a:lnTo>
                    <a:lnTo>
                      <a:pt x="911" y="747"/>
                    </a:lnTo>
                    <a:lnTo>
                      <a:pt x="903" y="745"/>
                    </a:lnTo>
                    <a:lnTo>
                      <a:pt x="897" y="744"/>
                    </a:lnTo>
                    <a:lnTo>
                      <a:pt x="894" y="744"/>
                    </a:lnTo>
                    <a:lnTo>
                      <a:pt x="891" y="745"/>
                    </a:lnTo>
                    <a:lnTo>
                      <a:pt x="889" y="746"/>
                    </a:lnTo>
                    <a:lnTo>
                      <a:pt x="888" y="749"/>
                    </a:lnTo>
                    <a:lnTo>
                      <a:pt x="879" y="759"/>
                    </a:lnTo>
                    <a:lnTo>
                      <a:pt x="871" y="769"/>
                    </a:lnTo>
                    <a:lnTo>
                      <a:pt x="867" y="773"/>
                    </a:lnTo>
                    <a:lnTo>
                      <a:pt x="865" y="777"/>
                    </a:lnTo>
                    <a:lnTo>
                      <a:pt x="864" y="780"/>
                    </a:lnTo>
                    <a:lnTo>
                      <a:pt x="864" y="783"/>
                    </a:lnTo>
                    <a:lnTo>
                      <a:pt x="868" y="790"/>
                    </a:lnTo>
                    <a:lnTo>
                      <a:pt x="873" y="798"/>
                    </a:lnTo>
                    <a:lnTo>
                      <a:pt x="874" y="802"/>
                    </a:lnTo>
                    <a:lnTo>
                      <a:pt x="876" y="805"/>
                    </a:lnTo>
                    <a:lnTo>
                      <a:pt x="876" y="808"/>
                    </a:lnTo>
                    <a:lnTo>
                      <a:pt x="875" y="811"/>
                    </a:lnTo>
                    <a:lnTo>
                      <a:pt x="870" y="818"/>
                    </a:lnTo>
                    <a:lnTo>
                      <a:pt x="865" y="828"/>
                    </a:lnTo>
                    <a:lnTo>
                      <a:pt x="861" y="833"/>
                    </a:lnTo>
                    <a:lnTo>
                      <a:pt x="858" y="836"/>
                    </a:lnTo>
                    <a:lnTo>
                      <a:pt x="857" y="836"/>
                    </a:lnTo>
                    <a:lnTo>
                      <a:pt x="856" y="836"/>
                    </a:lnTo>
                    <a:lnTo>
                      <a:pt x="854" y="835"/>
                    </a:lnTo>
                    <a:lnTo>
                      <a:pt x="853" y="833"/>
                    </a:lnTo>
                    <a:lnTo>
                      <a:pt x="849" y="822"/>
                    </a:lnTo>
                    <a:lnTo>
                      <a:pt x="843" y="810"/>
                    </a:lnTo>
                    <a:lnTo>
                      <a:pt x="839" y="804"/>
                    </a:lnTo>
                    <a:lnTo>
                      <a:pt x="836" y="798"/>
                    </a:lnTo>
                    <a:lnTo>
                      <a:pt x="833" y="794"/>
                    </a:lnTo>
                    <a:lnTo>
                      <a:pt x="829" y="790"/>
                    </a:lnTo>
                    <a:lnTo>
                      <a:pt x="816" y="784"/>
                    </a:lnTo>
                    <a:lnTo>
                      <a:pt x="811" y="783"/>
                    </a:lnTo>
                    <a:lnTo>
                      <a:pt x="803" y="789"/>
                    </a:lnTo>
                    <a:lnTo>
                      <a:pt x="794" y="794"/>
                    </a:lnTo>
                    <a:lnTo>
                      <a:pt x="785" y="795"/>
                    </a:lnTo>
                    <a:lnTo>
                      <a:pt x="765" y="797"/>
                    </a:lnTo>
                    <a:lnTo>
                      <a:pt x="744" y="798"/>
                    </a:lnTo>
                    <a:lnTo>
                      <a:pt x="734" y="799"/>
                    </a:lnTo>
                    <a:lnTo>
                      <a:pt x="730" y="797"/>
                    </a:lnTo>
                    <a:lnTo>
                      <a:pt x="728" y="795"/>
                    </a:lnTo>
                    <a:lnTo>
                      <a:pt x="728" y="793"/>
                    </a:lnTo>
                    <a:lnTo>
                      <a:pt x="729" y="792"/>
                    </a:lnTo>
                    <a:lnTo>
                      <a:pt x="730" y="790"/>
                    </a:lnTo>
                    <a:lnTo>
                      <a:pt x="734" y="788"/>
                    </a:lnTo>
                    <a:lnTo>
                      <a:pt x="741" y="782"/>
                    </a:lnTo>
                    <a:lnTo>
                      <a:pt x="747" y="776"/>
                    </a:lnTo>
                    <a:lnTo>
                      <a:pt x="750" y="771"/>
                    </a:lnTo>
                    <a:lnTo>
                      <a:pt x="751" y="769"/>
                    </a:lnTo>
                    <a:lnTo>
                      <a:pt x="750" y="766"/>
                    </a:lnTo>
                    <a:lnTo>
                      <a:pt x="747" y="758"/>
                    </a:lnTo>
                    <a:lnTo>
                      <a:pt x="744" y="754"/>
                    </a:lnTo>
                    <a:lnTo>
                      <a:pt x="740" y="751"/>
                    </a:lnTo>
                    <a:lnTo>
                      <a:pt x="736" y="749"/>
                    </a:lnTo>
                    <a:lnTo>
                      <a:pt x="729" y="748"/>
                    </a:lnTo>
                    <a:lnTo>
                      <a:pt x="719" y="750"/>
                    </a:lnTo>
                    <a:lnTo>
                      <a:pt x="710" y="753"/>
                    </a:lnTo>
                    <a:lnTo>
                      <a:pt x="706" y="754"/>
                    </a:lnTo>
                    <a:lnTo>
                      <a:pt x="702" y="755"/>
                    </a:lnTo>
                    <a:lnTo>
                      <a:pt x="700" y="754"/>
                    </a:lnTo>
                    <a:lnTo>
                      <a:pt x="697" y="753"/>
                    </a:lnTo>
                    <a:lnTo>
                      <a:pt x="684" y="746"/>
                    </a:lnTo>
                    <a:lnTo>
                      <a:pt x="663" y="736"/>
                    </a:lnTo>
                    <a:lnTo>
                      <a:pt x="652" y="732"/>
                    </a:lnTo>
                    <a:lnTo>
                      <a:pt x="640" y="730"/>
                    </a:lnTo>
                    <a:lnTo>
                      <a:pt x="636" y="730"/>
                    </a:lnTo>
                    <a:lnTo>
                      <a:pt x="632" y="730"/>
                    </a:lnTo>
                    <a:lnTo>
                      <a:pt x="629" y="730"/>
                    </a:lnTo>
                    <a:lnTo>
                      <a:pt x="627" y="732"/>
                    </a:lnTo>
                    <a:lnTo>
                      <a:pt x="620" y="740"/>
                    </a:lnTo>
                    <a:lnTo>
                      <a:pt x="615" y="747"/>
                    </a:lnTo>
                    <a:lnTo>
                      <a:pt x="612" y="749"/>
                    </a:lnTo>
                    <a:lnTo>
                      <a:pt x="611" y="751"/>
                    </a:lnTo>
                    <a:lnTo>
                      <a:pt x="609" y="751"/>
                    </a:lnTo>
                    <a:lnTo>
                      <a:pt x="607" y="750"/>
                    </a:lnTo>
                    <a:lnTo>
                      <a:pt x="605" y="742"/>
                    </a:lnTo>
                    <a:lnTo>
                      <a:pt x="603" y="730"/>
                    </a:lnTo>
                    <a:lnTo>
                      <a:pt x="603" y="725"/>
                    </a:lnTo>
                    <a:lnTo>
                      <a:pt x="602" y="719"/>
                    </a:lnTo>
                    <a:lnTo>
                      <a:pt x="601" y="718"/>
                    </a:lnTo>
                    <a:lnTo>
                      <a:pt x="600" y="718"/>
                    </a:lnTo>
                    <a:lnTo>
                      <a:pt x="598" y="718"/>
                    </a:lnTo>
                    <a:lnTo>
                      <a:pt x="597" y="719"/>
                    </a:lnTo>
                    <a:lnTo>
                      <a:pt x="591" y="730"/>
                    </a:lnTo>
                    <a:lnTo>
                      <a:pt x="583" y="741"/>
                    </a:lnTo>
                    <a:lnTo>
                      <a:pt x="579" y="748"/>
                    </a:lnTo>
                    <a:lnTo>
                      <a:pt x="575" y="752"/>
                    </a:lnTo>
                    <a:lnTo>
                      <a:pt x="573" y="754"/>
                    </a:lnTo>
                    <a:lnTo>
                      <a:pt x="572" y="755"/>
                    </a:lnTo>
                    <a:lnTo>
                      <a:pt x="569" y="746"/>
                    </a:lnTo>
                    <a:lnTo>
                      <a:pt x="565" y="730"/>
                    </a:lnTo>
                    <a:lnTo>
                      <a:pt x="563" y="722"/>
                    </a:lnTo>
                    <a:lnTo>
                      <a:pt x="561" y="715"/>
                    </a:lnTo>
                    <a:lnTo>
                      <a:pt x="559" y="713"/>
                    </a:lnTo>
                    <a:lnTo>
                      <a:pt x="558" y="711"/>
                    </a:lnTo>
                    <a:lnTo>
                      <a:pt x="555" y="711"/>
                    </a:lnTo>
                    <a:lnTo>
                      <a:pt x="554" y="711"/>
                    </a:lnTo>
                    <a:lnTo>
                      <a:pt x="549" y="716"/>
                    </a:lnTo>
                    <a:lnTo>
                      <a:pt x="547" y="720"/>
                    </a:lnTo>
                    <a:lnTo>
                      <a:pt x="546" y="725"/>
                    </a:lnTo>
                    <a:lnTo>
                      <a:pt x="547" y="729"/>
                    </a:lnTo>
                    <a:lnTo>
                      <a:pt x="548" y="733"/>
                    </a:lnTo>
                    <a:lnTo>
                      <a:pt x="547" y="737"/>
                    </a:lnTo>
                    <a:lnTo>
                      <a:pt x="544" y="742"/>
                    </a:lnTo>
                    <a:lnTo>
                      <a:pt x="538" y="749"/>
                    </a:lnTo>
                    <a:lnTo>
                      <a:pt x="533" y="751"/>
                    </a:lnTo>
                    <a:lnTo>
                      <a:pt x="529" y="751"/>
                    </a:lnTo>
                    <a:lnTo>
                      <a:pt x="526" y="751"/>
                    </a:lnTo>
                    <a:lnTo>
                      <a:pt x="522" y="749"/>
                    </a:lnTo>
                    <a:lnTo>
                      <a:pt x="519" y="748"/>
                    </a:lnTo>
                    <a:lnTo>
                      <a:pt x="516" y="747"/>
                    </a:lnTo>
                    <a:lnTo>
                      <a:pt x="513" y="749"/>
                    </a:lnTo>
                    <a:lnTo>
                      <a:pt x="510" y="752"/>
                    </a:lnTo>
                    <a:lnTo>
                      <a:pt x="501" y="764"/>
                    </a:lnTo>
                    <a:lnTo>
                      <a:pt x="489" y="779"/>
                    </a:lnTo>
                    <a:lnTo>
                      <a:pt x="483" y="790"/>
                    </a:lnTo>
                    <a:lnTo>
                      <a:pt x="476" y="801"/>
                    </a:lnTo>
                    <a:lnTo>
                      <a:pt x="471" y="810"/>
                    </a:lnTo>
                    <a:lnTo>
                      <a:pt x="467" y="813"/>
                    </a:lnTo>
                    <a:lnTo>
                      <a:pt x="465" y="812"/>
                    </a:lnTo>
                    <a:lnTo>
                      <a:pt x="460" y="811"/>
                    </a:lnTo>
                    <a:lnTo>
                      <a:pt x="457" y="810"/>
                    </a:lnTo>
                    <a:lnTo>
                      <a:pt x="456" y="808"/>
                    </a:lnTo>
                    <a:lnTo>
                      <a:pt x="455" y="806"/>
                    </a:lnTo>
                    <a:lnTo>
                      <a:pt x="455" y="804"/>
                    </a:lnTo>
                    <a:lnTo>
                      <a:pt x="456" y="801"/>
                    </a:lnTo>
                    <a:lnTo>
                      <a:pt x="457" y="797"/>
                    </a:lnTo>
                    <a:lnTo>
                      <a:pt x="457" y="793"/>
                    </a:lnTo>
                    <a:lnTo>
                      <a:pt x="457" y="790"/>
                    </a:lnTo>
                    <a:lnTo>
                      <a:pt x="456" y="785"/>
                    </a:lnTo>
                    <a:lnTo>
                      <a:pt x="455" y="783"/>
                    </a:lnTo>
                    <a:lnTo>
                      <a:pt x="453" y="782"/>
                    </a:lnTo>
                    <a:lnTo>
                      <a:pt x="451" y="782"/>
                    </a:lnTo>
                    <a:lnTo>
                      <a:pt x="445" y="783"/>
                    </a:lnTo>
                    <a:lnTo>
                      <a:pt x="441" y="785"/>
                    </a:lnTo>
                    <a:lnTo>
                      <a:pt x="439" y="788"/>
                    </a:lnTo>
                    <a:lnTo>
                      <a:pt x="437" y="791"/>
                    </a:lnTo>
                    <a:lnTo>
                      <a:pt x="436" y="794"/>
                    </a:lnTo>
                    <a:lnTo>
                      <a:pt x="436" y="797"/>
                    </a:lnTo>
                    <a:lnTo>
                      <a:pt x="436" y="805"/>
                    </a:lnTo>
                    <a:lnTo>
                      <a:pt x="435" y="812"/>
                    </a:lnTo>
                    <a:lnTo>
                      <a:pt x="434" y="817"/>
                    </a:lnTo>
                    <a:lnTo>
                      <a:pt x="432" y="821"/>
                    </a:lnTo>
                    <a:lnTo>
                      <a:pt x="431" y="822"/>
                    </a:lnTo>
                    <a:lnTo>
                      <a:pt x="429" y="822"/>
                    </a:lnTo>
                    <a:lnTo>
                      <a:pt x="427" y="822"/>
                    </a:lnTo>
                    <a:lnTo>
                      <a:pt x="425" y="821"/>
                    </a:lnTo>
                    <a:lnTo>
                      <a:pt x="420" y="819"/>
                    </a:lnTo>
                    <a:lnTo>
                      <a:pt x="418" y="818"/>
                    </a:lnTo>
                    <a:lnTo>
                      <a:pt x="415" y="815"/>
                    </a:lnTo>
                    <a:lnTo>
                      <a:pt x="409" y="806"/>
                    </a:lnTo>
                    <a:lnTo>
                      <a:pt x="404" y="802"/>
                    </a:lnTo>
                    <a:lnTo>
                      <a:pt x="399" y="799"/>
                    </a:lnTo>
                    <a:lnTo>
                      <a:pt x="394" y="797"/>
                    </a:lnTo>
                    <a:lnTo>
                      <a:pt x="390" y="796"/>
                    </a:lnTo>
                    <a:lnTo>
                      <a:pt x="382" y="797"/>
                    </a:lnTo>
                    <a:lnTo>
                      <a:pt x="370" y="798"/>
                    </a:lnTo>
                    <a:lnTo>
                      <a:pt x="361" y="799"/>
                    </a:lnTo>
                    <a:lnTo>
                      <a:pt x="357" y="799"/>
                    </a:lnTo>
                    <a:lnTo>
                      <a:pt x="357" y="797"/>
                    </a:lnTo>
                    <a:lnTo>
                      <a:pt x="356" y="792"/>
                    </a:lnTo>
                    <a:lnTo>
                      <a:pt x="354" y="790"/>
                    </a:lnTo>
                    <a:lnTo>
                      <a:pt x="352" y="789"/>
                    </a:lnTo>
                    <a:lnTo>
                      <a:pt x="348" y="790"/>
                    </a:lnTo>
                    <a:lnTo>
                      <a:pt x="343" y="793"/>
                    </a:lnTo>
                    <a:lnTo>
                      <a:pt x="333" y="800"/>
                    </a:lnTo>
                    <a:lnTo>
                      <a:pt x="328" y="805"/>
                    </a:lnTo>
                    <a:lnTo>
                      <a:pt x="326" y="806"/>
                    </a:lnTo>
                    <a:lnTo>
                      <a:pt x="325" y="806"/>
                    </a:lnTo>
                    <a:lnTo>
                      <a:pt x="324" y="806"/>
                    </a:lnTo>
                    <a:lnTo>
                      <a:pt x="324" y="805"/>
                    </a:lnTo>
                    <a:lnTo>
                      <a:pt x="321" y="801"/>
                    </a:lnTo>
                    <a:lnTo>
                      <a:pt x="319" y="799"/>
                    </a:lnTo>
                    <a:lnTo>
                      <a:pt x="317" y="798"/>
                    </a:lnTo>
                    <a:lnTo>
                      <a:pt x="316" y="798"/>
                    </a:lnTo>
                    <a:lnTo>
                      <a:pt x="315" y="798"/>
                    </a:lnTo>
                    <a:lnTo>
                      <a:pt x="312" y="799"/>
                    </a:lnTo>
                    <a:lnTo>
                      <a:pt x="305" y="805"/>
                    </a:lnTo>
                    <a:lnTo>
                      <a:pt x="300" y="808"/>
                    </a:lnTo>
                    <a:lnTo>
                      <a:pt x="297" y="807"/>
                    </a:lnTo>
                    <a:lnTo>
                      <a:pt x="290" y="804"/>
                    </a:lnTo>
                    <a:lnTo>
                      <a:pt x="286" y="803"/>
                    </a:lnTo>
                    <a:lnTo>
                      <a:pt x="283" y="803"/>
                    </a:lnTo>
                    <a:lnTo>
                      <a:pt x="280" y="803"/>
                    </a:lnTo>
                    <a:lnTo>
                      <a:pt x="278" y="803"/>
                    </a:lnTo>
                    <a:lnTo>
                      <a:pt x="275" y="807"/>
                    </a:lnTo>
                    <a:lnTo>
                      <a:pt x="271" y="813"/>
                    </a:lnTo>
                    <a:lnTo>
                      <a:pt x="269" y="815"/>
                    </a:lnTo>
                    <a:lnTo>
                      <a:pt x="268" y="816"/>
                    </a:lnTo>
                    <a:lnTo>
                      <a:pt x="267" y="816"/>
                    </a:lnTo>
                    <a:lnTo>
                      <a:pt x="267" y="814"/>
                    </a:lnTo>
                    <a:lnTo>
                      <a:pt x="267" y="808"/>
                    </a:lnTo>
                    <a:lnTo>
                      <a:pt x="268" y="801"/>
                    </a:lnTo>
                    <a:lnTo>
                      <a:pt x="267" y="799"/>
                    </a:lnTo>
                    <a:lnTo>
                      <a:pt x="266" y="797"/>
                    </a:lnTo>
                    <a:lnTo>
                      <a:pt x="265" y="797"/>
                    </a:lnTo>
                    <a:lnTo>
                      <a:pt x="262" y="799"/>
                    </a:lnTo>
                    <a:lnTo>
                      <a:pt x="256" y="805"/>
                    </a:lnTo>
                    <a:lnTo>
                      <a:pt x="252" y="811"/>
                    </a:lnTo>
                    <a:lnTo>
                      <a:pt x="249" y="816"/>
                    </a:lnTo>
                    <a:lnTo>
                      <a:pt x="247" y="819"/>
                    </a:lnTo>
                    <a:lnTo>
                      <a:pt x="246" y="822"/>
                    </a:lnTo>
                    <a:lnTo>
                      <a:pt x="245" y="823"/>
                    </a:lnTo>
                    <a:lnTo>
                      <a:pt x="245" y="818"/>
                    </a:lnTo>
                    <a:lnTo>
                      <a:pt x="249" y="810"/>
                    </a:lnTo>
                    <a:lnTo>
                      <a:pt x="249" y="808"/>
                    </a:lnTo>
                    <a:lnTo>
                      <a:pt x="249" y="806"/>
                    </a:lnTo>
                    <a:lnTo>
                      <a:pt x="249" y="805"/>
                    </a:lnTo>
                    <a:lnTo>
                      <a:pt x="246" y="805"/>
                    </a:lnTo>
                    <a:lnTo>
                      <a:pt x="245" y="804"/>
                    </a:lnTo>
                    <a:lnTo>
                      <a:pt x="243" y="802"/>
                    </a:lnTo>
                    <a:lnTo>
                      <a:pt x="241" y="802"/>
                    </a:lnTo>
                    <a:lnTo>
                      <a:pt x="239" y="802"/>
                    </a:lnTo>
                    <a:lnTo>
                      <a:pt x="237" y="804"/>
                    </a:lnTo>
                    <a:lnTo>
                      <a:pt x="234" y="806"/>
                    </a:lnTo>
                    <a:lnTo>
                      <a:pt x="228" y="815"/>
                    </a:lnTo>
                    <a:lnTo>
                      <a:pt x="219" y="824"/>
                    </a:lnTo>
                    <a:lnTo>
                      <a:pt x="212" y="832"/>
                    </a:lnTo>
                    <a:lnTo>
                      <a:pt x="209" y="835"/>
                    </a:lnTo>
                    <a:lnTo>
                      <a:pt x="209" y="833"/>
                    </a:lnTo>
                    <a:lnTo>
                      <a:pt x="209" y="832"/>
                    </a:lnTo>
                    <a:lnTo>
                      <a:pt x="208" y="833"/>
                    </a:lnTo>
                    <a:lnTo>
                      <a:pt x="208" y="834"/>
                    </a:lnTo>
                    <a:lnTo>
                      <a:pt x="203" y="837"/>
                    </a:lnTo>
                    <a:lnTo>
                      <a:pt x="201" y="841"/>
                    </a:lnTo>
                    <a:lnTo>
                      <a:pt x="192" y="854"/>
                    </a:lnTo>
                    <a:lnTo>
                      <a:pt x="181" y="867"/>
                    </a:lnTo>
                    <a:lnTo>
                      <a:pt x="177" y="871"/>
                    </a:lnTo>
                    <a:lnTo>
                      <a:pt x="173" y="877"/>
                    </a:lnTo>
                    <a:lnTo>
                      <a:pt x="169" y="884"/>
                    </a:lnTo>
                    <a:lnTo>
                      <a:pt x="165" y="892"/>
                    </a:lnTo>
                    <a:lnTo>
                      <a:pt x="154" y="911"/>
                    </a:lnTo>
                    <a:lnTo>
                      <a:pt x="147" y="924"/>
                    </a:lnTo>
                    <a:lnTo>
                      <a:pt x="138" y="932"/>
                    </a:lnTo>
                    <a:lnTo>
                      <a:pt x="129" y="945"/>
                    </a:lnTo>
                    <a:lnTo>
                      <a:pt x="124" y="954"/>
                    </a:lnTo>
                    <a:lnTo>
                      <a:pt x="122" y="961"/>
                    </a:lnTo>
                    <a:lnTo>
                      <a:pt x="123" y="965"/>
                    </a:lnTo>
                    <a:lnTo>
                      <a:pt x="126" y="968"/>
                    </a:lnTo>
                    <a:lnTo>
                      <a:pt x="129" y="973"/>
                    </a:lnTo>
                    <a:lnTo>
                      <a:pt x="129" y="978"/>
                    </a:lnTo>
                    <a:lnTo>
                      <a:pt x="129" y="990"/>
                    </a:lnTo>
                    <a:lnTo>
                      <a:pt x="129" y="995"/>
                    </a:lnTo>
                    <a:lnTo>
                      <a:pt x="131" y="994"/>
                    </a:lnTo>
                    <a:lnTo>
                      <a:pt x="134" y="992"/>
                    </a:lnTo>
                    <a:lnTo>
                      <a:pt x="135" y="991"/>
                    </a:lnTo>
                    <a:lnTo>
                      <a:pt x="136" y="991"/>
                    </a:lnTo>
                    <a:lnTo>
                      <a:pt x="137" y="992"/>
                    </a:lnTo>
                    <a:lnTo>
                      <a:pt x="137" y="993"/>
                    </a:lnTo>
                    <a:lnTo>
                      <a:pt x="135" y="1001"/>
                    </a:lnTo>
                    <a:lnTo>
                      <a:pt x="135" y="1005"/>
                    </a:lnTo>
                    <a:lnTo>
                      <a:pt x="134" y="1011"/>
                    </a:lnTo>
                    <a:lnTo>
                      <a:pt x="132" y="1017"/>
                    </a:lnTo>
                    <a:lnTo>
                      <a:pt x="130" y="1020"/>
                    </a:lnTo>
                    <a:lnTo>
                      <a:pt x="129" y="1022"/>
                    </a:lnTo>
                    <a:lnTo>
                      <a:pt x="127" y="1022"/>
                    </a:lnTo>
                    <a:lnTo>
                      <a:pt x="125" y="1020"/>
                    </a:lnTo>
                    <a:lnTo>
                      <a:pt x="121" y="1013"/>
                    </a:lnTo>
                    <a:lnTo>
                      <a:pt x="120" y="1011"/>
                    </a:lnTo>
                    <a:lnTo>
                      <a:pt x="118" y="1015"/>
                    </a:lnTo>
                    <a:lnTo>
                      <a:pt x="111" y="1024"/>
                    </a:lnTo>
                    <a:lnTo>
                      <a:pt x="104" y="1035"/>
                    </a:lnTo>
                    <a:lnTo>
                      <a:pt x="98" y="1045"/>
                    </a:lnTo>
                    <a:lnTo>
                      <a:pt x="88" y="1056"/>
                    </a:lnTo>
                    <a:lnTo>
                      <a:pt x="84" y="1062"/>
                    </a:lnTo>
                    <a:lnTo>
                      <a:pt x="86" y="1067"/>
                    </a:lnTo>
                    <a:lnTo>
                      <a:pt x="88" y="1073"/>
                    </a:lnTo>
                    <a:lnTo>
                      <a:pt x="87" y="1076"/>
                    </a:lnTo>
                    <a:lnTo>
                      <a:pt x="86" y="1081"/>
                    </a:lnTo>
                    <a:lnTo>
                      <a:pt x="86" y="1085"/>
                    </a:lnTo>
                    <a:lnTo>
                      <a:pt x="87" y="1088"/>
                    </a:lnTo>
                    <a:lnTo>
                      <a:pt x="96" y="1088"/>
                    </a:lnTo>
                    <a:lnTo>
                      <a:pt x="103" y="1087"/>
                    </a:lnTo>
                    <a:lnTo>
                      <a:pt x="108" y="1084"/>
                    </a:lnTo>
                    <a:lnTo>
                      <a:pt x="113" y="1078"/>
                    </a:lnTo>
                    <a:lnTo>
                      <a:pt x="115" y="1074"/>
                    </a:lnTo>
                    <a:lnTo>
                      <a:pt x="118" y="1069"/>
                    </a:lnTo>
                    <a:lnTo>
                      <a:pt x="119" y="1068"/>
                    </a:lnTo>
                    <a:lnTo>
                      <a:pt x="119" y="1067"/>
                    </a:lnTo>
                    <a:lnTo>
                      <a:pt x="120" y="1068"/>
                    </a:lnTo>
                    <a:lnTo>
                      <a:pt x="119" y="1070"/>
                    </a:lnTo>
                    <a:lnTo>
                      <a:pt x="119" y="1080"/>
                    </a:lnTo>
                    <a:lnTo>
                      <a:pt x="120" y="1085"/>
                    </a:lnTo>
                    <a:lnTo>
                      <a:pt x="120" y="1087"/>
                    </a:lnTo>
                    <a:lnTo>
                      <a:pt x="120" y="1089"/>
                    </a:lnTo>
                    <a:lnTo>
                      <a:pt x="119" y="1091"/>
                    </a:lnTo>
                    <a:lnTo>
                      <a:pt x="116" y="1095"/>
                    </a:lnTo>
                    <a:lnTo>
                      <a:pt x="109" y="1102"/>
                    </a:lnTo>
                    <a:lnTo>
                      <a:pt x="104" y="1106"/>
                    </a:lnTo>
                    <a:lnTo>
                      <a:pt x="101" y="1117"/>
                    </a:lnTo>
                    <a:lnTo>
                      <a:pt x="96" y="1125"/>
                    </a:lnTo>
                    <a:lnTo>
                      <a:pt x="93" y="1124"/>
                    </a:lnTo>
                    <a:lnTo>
                      <a:pt x="92" y="1123"/>
                    </a:lnTo>
                    <a:lnTo>
                      <a:pt x="91" y="1123"/>
                    </a:lnTo>
                    <a:lnTo>
                      <a:pt x="90" y="1123"/>
                    </a:lnTo>
                    <a:lnTo>
                      <a:pt x="89" y="1124"/>
                    </a:lnTo>
                    <a:lnTo>
                      <a:pt x="88" y="1126"/>
                    </a:lnTo>
                    <a:lnTo>
                      <a:pt x="82" y="1137"/>
                    </a:lnTo>
                    <a:lnTo>
                      <a:pt x="79" y="1147"/>
                    </a:lnTo>
                    <a:lnTo>
                      <a:pt x="78" y="1153"/>
                    </a:lnTo>
                    <a:lnTo>
                      <a:pt x="75" y="1158"/>
                    </a:lnTo>
                    <a:lnTo>
                      <a:pt x="72" y="1161"/>
                    </a:lnTo>
                    <a:lnTo>
                      <a:pt x="71" y="1163"/>
                    </a:lnTo>
                    <a:lnTo>
                      <a:pt x="68" y="1168"/>
                    </a:lnTo>
                    <a:lnTo>
                      <a:pt x="66" y="1178"/>
                    </a:lnTo>
                    <a:lnTo>
                      <a:pt x="64" y="1192"/>
                    </a:lnTo>
                    <a:lnTo>
                      <a:pt x="63" y="1202"/>
                    </a:lnTo>
                    <a:lnTo>
                      <a:pt x="63" y="1210"/>
                    </a:lnTo>
                    <a:lnTo>
                      <a:pt x="64" y="1214"/>
                    </a:lnTo>
                    <a:lnTo>
                      <a:pt x="66" y="1220"/>
                    </a:lnTo>
                    <a:lnTo>
                      <a:pt x="70" y="1232"/>
                    </a:lnTo>
                    <a:lnTo>
                      <a:pt x="70" y="1233"/>
                    </a:lnTo>
                    <a:lnTo>
                      <a:pt x="71" y="1234"/>
                    </a:lnTo>
                    <a:lnTo>
                      <a:pt x="72" y="1234"/>
                    </a:lnTo>
                    <a:lnTo>
                      <a:pt x="75" y="1234"/>
                    </a:lnTo>
                    <a:lnTo>
                      <a:pt x="77" y="1232"/>
                    </a:lnTo>
                    <a:lnTo>
                      <a:pt x="79" y="1230"/>
                    </a:lnTo>
                    <a:lnTo>
                      <a:pt x="81" y="1227"/>
                    </a:lnTo>
                    <a:lnTo>
                      <a:pt x="83" y="1224"/>
                    </a:lnTo>
                    <a:lnTo>
                      <a:pt x="84" y="1223"/>
                    </a:lnTo>
                    <a:lnTo>
                      <a:pt x="85" y="1224"/>
                    </a:lnTo>
                    <a:lnTo>
                      <a:pt x="84" y="1232"/>
                    </a:lnTo>
                    <a:lnTo>
                      <a:pt x="81" y="1244"/>
                    </a:lnTo>
                    <a:lnTo>
                      <a:pt x="80" y="1251"/>
                    </a:lnTo>
                    <a:lnTo>
                      <a:pt x="79" y="1257"/>
                    </a:lnTo>
                    <a:lnTo>
                      <a:pt x="79" y="1262"/>
                    </a:lnTo>
                    <a:lnTo>
                      <a:pt x="80" y="1266"/>
                    </a:lnTo>
                    <a:lnTo>
                      <a:pt x="81" y="1268"/>
                    </a:lnTo>
                    <a:lnTo>
                      <a:pt x="83" y="1269"/>
                    </a:lnTo>
                    <a:lnTo>
                      <a:pt x="86" y="1269"/>
                    </a:lnTo>
                    <a:lnTo>
                      <a:pt x="88" y="1267"/>
                    </a:lnTo>
                    <a:lnTo>
                      <a:pt x="92" y="1263"/>
                    </a:lnTo>
                    <a:lnTo>
                      <a:pt x="97" y="1258"/>
                    </a:lnTo>
                    <a:lnTo>
                      <a:pt x="99" y="1259"/>
                    </a:lnTo>
                    <a:lnTo>
                      <a:pt x="103" y="1263"/>
                    </a:lnTo>
                    <a:lnTo>
                      <a:pt x="108" y="1259"/>
                    </a:lnTo>
                    <a:lnTo>
                      <a:pt x="115" y="1251"/>
                    </a:lnTo>
                    <a:lnTo>
                      <a:pt x="119" y="1247"/>
                    </a:lnTo>
                    <a:lnTo>
                      <a:pt x="121" y="1245"/>
                    </a:lnTo>
                    <a:lnTo>
                      <a:pt x="122" y="1244"/>
                    </a:lnTo>
                    <a:lnTo>
                      <a:pt x="121" y="1247"/>
                    </a:lnTo>
                    <a:lnTo>
                      <a:pt x="119" y="1252"/>
                    </a:lnTo>
                    <a:lnTo>
                      <a:pt x="116" y="1256"/>
                    </a:lnTo>
                    <a:lnTo>
                      <a:pt x="114" y="1259"/>
                    </a:lnTo>
                    <a:lnTo>
                      <a:pt x="113" y="1264"/>
                    </a:lnTo>
                    <a:lnTo>
                      <a:pt x="114" y="1273"/>
                    </a:lnTo>
                    <a:lnTo>
                      <a:pt x="114" y="1275"/>
                    </a:lnTo>
                    <a:lnTo>
                      <a:pt x="110" y="1284"/>
                    </a:lnTo>
                    <a:lnTo>
                      <a:pt x="104" y="1297"/>
                    </a:lnTo>
                    <a:lnTo>
                      <a:pt x="97" y="1307"/>
                    </a:lnTo>
                    <a:lnTo>
                      <a:pt x="83" y="1326"/>
                    </a:lnTo>
                    <a:lnTo>
                      <a:pt x="69" y="1345"/>
                    </a:lnTo>
                    <a:lnTo>
                      <a:pt x="61" y="1356"/>
                    </a:lnTo>
                    <a:lnTo>
                      <a:pt x="53" y="1371"/>
                    </a:lnTo>
                    <a:lnTo>
                      <a:pt x="45" y="1383"/>
                    </a:lnTo>
                    <a:lnTo>
                      <a:pt x="40" y="1386"/>
                    </a:lnTo>
                    <a:lnTo>
                      <a:pt x="37" y="1391"/>
                    </a:lnTo>
                    <a:lnTo>
                      <a:pt x="37" y="1394"/>
                    </a:lnTo>
                    <a:lnTo>
                      <a:pt x="36" y="1397"/>
                    </a:lnTo>
                    <a:lnTo>
                      <a:pt x="35" y="1399"/>
                    </a:lnTo>
                    <a:lnTo>
                      <a:pt x="34" y="1400"/>
                    </a:lnTo>
                    <a:lnTo>
                      <a:pt x="31" y="1402"/>
                    </a:lnTo>
                    <a:lnTo>
                      <a:pt x="27" y="1404"/>
                    </a:lnTo>
                    <a:lnTo>
                      <a:pt x="25" y="1406"/>
                    </a:lnTo>
                    <a:lnTo>
                      <a:pt x="24" y="1409"/>
                    </a:lnTo>
                    <a:lnTo>
                      <a:pt x="21" y="1414"/>
                    </a:lnTo>
                    <a:lnTo>
                      <a:pt x="17" y="1419"/>
                    </a:lnTo>
                    <a:lnTo>
                      <a:pt x="13" y="1426"/>
                    </a:lnTo>
                    <a:lnTo>
                      <a:pt x="10" y="1434"/>
                    </a:lnTo>
                    <a:lnTo>
                      <a:pt x="9" y="1436"/>
                    </a:lnTo>
                    <a:lnTo>
                      <a:pt x="8" y="1437"/>
                    </a:lnTo>
                    <a:lnTo>
                      <a:pt x="6" y="1437"/>
                    </a:lnTo>
                    <a:lnTo>
                      <a:pt x="4" y="1438"/>
                    </a:lnTo>
                    <a:lnTo>
                      <a:pt x="3" y="1438"/>
                    </a:lnTo>
                    <a:lnTo>
                      <a:pt x="1" y="1439"/>
                    </a:lnTo>
                    <a:lnTo>
                      <a:pt x="1" y="1442"/>
                    </a:lnTo>
                    <a:lnTo>
                      <a:pt x="0" y="1447"/>
                    </a:lnTo>
                    <a:lnTo>
                      <a:pt x="0" y="1454"/>
                    </a:lnTo>
                    <a:lnTo>
                      <a:pt x="1" y="1458"/>
                    </a:lnTo>
                    <a:lnTo>
                      <a:pt x="2" y="1458"/>
                    </a:lnTo>
                    <a:lnTo>
                      <a:pt x="3" y="1455"/>
                    </a:lnTo>
                    <a:lnTo>
                      <a:pt x="6" y="1446"/>
                    </a:lnTo>
                    <a:lnTo>
                      <a:pt x="10" y="1439"/>
                    </a:lnTo>
                    <a:lnTo>
                      <a:pt x="12" y="1440"/>
                    </a:lnTo>
                    <a:lnTo>
                      <a:pt x="15" y="1438"/>
                    </a:lnTo>
                    <a:lnTo>
                      <a:pt x="18" y="1435"/>
                    </a:lnTo>
                    <a:lnTo>
                      <a:pt x="21" y="1430"/>
                    </a:lnTo>
                    <a:lnTo>
                      <a:pt x="23" y="1422"/>
                    </a:lnTo>
                    <a:lnTo>
                      <a:pt x="24" y="1415"/>
                    </a:lnTo>
                    <a:lnTo>
                      <a:pt x="25" y="1413"/>
                    </a:lnTo>
                    <a:lnTo>
                      <a:pt x="26" y="1410"/>
                    </a:lnTo>
                    <a:lnTo>
                      <a:pt x="27" y="1409"/>
                    </a:lnTo>
                    <a:lnTo>
                      <a:pt x="30" y="1408"/>
                    </a:lnTo>
                    <a:lnTo>
                      <a:pt x="34" y="1409"/>
                    </a:lnTo>
                    <a:lnTo>
                      <a:pt x="36" y="1409"/>
                    </a:lnTo>
                    <a:lnTo>
                      <a:pt x="39" y="1407"/>
                    </a:lnTo>
                    <a:lnTo>
                      <a:pt x="42" y="1400"/>
                    </a:lnTo>
                    <a:lnTo>
                      <a:pt x="46" y="1392"/>
                    </a:lnTo>
                    <a:lnTo>
                      <a:pt x="48" y="1387"/>
                    </a:lnTo>
                    <a:lnTo>
                      <a:pt x="50" y="1385"/>
                    </a:lnTo>
                    <a:lnTo>
                      <a:pt x="52" y="1384"/>
                    </a:lnTo>
                    <a:lnTo>
                      <a:pt x="54" y="1384"/>
                    </a:lnTo>
                    <a:lnTo>
                      <a:pt x="55" y="1385"/>
                    </a:lnTo>
                    <a:lnTo>
                      <a:pt x="57" y="1385"/>
                    </a:lnTo>
                    <a:lnTo>
                      <a:pt x="59" y="1384"/>
                    </a:lnTo>
                    <a:lnTo>
                      <a:pt x="61" y="1383"/>
                    </a:lnTo>
                    <a:lnTo>
                      <a:pt x="62" y="1381"/>
                    </a:lnTo>
                    <a:lnTo>
                      <a:pt x="65" y="1377"/>
                    </a:lnTo>
                    <a:lnTo>
                      <a:pt x="66" y="1375"/>
                    </a:lnTo>
                    <a:lnTo>
                      <a:pt x="66" y="1371"/>
                    </a:lnTo>
                    <a:lnTo>
                      <a:pt x="68" y="1365"/>
                    </a:lnTo>
                    <a:lnTo>
                      <a:pt x="70" y="1362"/>
                    </a:lnTo>
                    <a:lnTo>
                      <a:pt x="72" y="1361"/>
                    </a:lnTo>
                    <a:lnTo>
                      <a:pt x="75" y="1361"/>
                    </a:lnTo>
                    <a:lnTo>
                      <a:pt x="77" y="1364"/>
                    </a:lnTo>
                    <a:lnTo>
                      <a:pt x="79" y="1369"/>
                    </a:lnTo>
                    <a:lnTo>
                      <a:pt x="82" y="1372"/>
                    </a:lnTo>
                    <a:lnTo>
                      <a:pt x="85" y="1374"/>
                    </a:lnTo>
                    <a:lnTo>
                      <a:pt x="88" y="1375"/>
                    </a:lnTo>
                    <a:lnTo>
                      <a:pt x="91" y="1375"/>
                    </a:lnTo>
                    <a:lnTo>
                      <a:pt x="92" y="1375"/>
                    </a:lnTo>
                    <a:lnTo>
                      <a:pt x="93" y="1373"/>
                    </a:lnTo>
                    <a:lnTo>
                      <a:pt x="92" y="1369"/>
                    </a:lnTo>
                    <a:lnTo>
                      <a:pt x="89" y="1361"/>
                    </a:lnTo>
                    <a:lnTo>
                      <a:pt x="85" y="1354"/>
                    </a:lnTo>
                    <a:lnTo>
                      <a:pt x="84" y="1351"/>
                    </a:lnTo>
                    <a:lnTo>
                      <a:pt x="83" y="1349"/>
                    </a:lnTo>
                    <a:lnTo>
                      <a:pt x="83" y="1347"/>
                    </a:lnTo>
                    <a:lnTo>
                      <a:pt x="84" y="1346"/>
                    </a:lnTo>
                    <a:lnTo>
                      <a:pt x="88" y="1345"/>
                    </a:lnTo>
                    <a:lnTo>
                      <a:pt x="92" y="1343"/>
                    </a:lnTo>
                    <a:lnTo>
                      <a:pt x="96" y="1342"/>
                    </a:lnTo>
                    <a:lnTo>
                      <a:pt x="98" y="1340"/>
                    </a:lnTo>
                    <a:lnTo>
                      <a:pt x="99" y="1338"/>
                    </a:lnTo>
                    <a:lnTo>
                      <a:pt x="101" y="1335"/>
                    </a:lnTo>
                    <a:lnTo>
                      <a:pt x="106" y="1325"/>
                    </a:lnTo>
                    <a:lnTo>
                      <a:pt x="115" y="1310"/>
                    </a:lnTo>
                    <a:lnTo>
                      <a:pt x="126" y="1294"/>
                    </a:lnTo>
                    <a:lnTo>
                      <a:pt x="132" y="1281"/>
                    </a:lnTo>
                    <a:lnTo>
                      <a:pt x="136" y="1271"/>
                    </a:lnTo>
                    <a:lnTo>
                      <a:pt x="143" y="1258"/>
                    </a:lnTo>
                    <a:lnTo>
                      <a:pt x="149" y="1245"/>
                    </a:lnTo>
                    <a:lnTo>
                      <a:pt x="153" y="1237"/>
                    </a:lnTo>
                    <a:lnTo>
                      <a:pt x="158" y="1225"/>
                    </a:lnTo>
                    <a:lnTo>
                      <a:pt x="166" y="1207"/>
                    </a:lnTo>
                    <a:lnTo>
                      <a:pt x="172" y="1189"/>
                    </a:lnTo>
                    <a:lnTo>
                      <a:pt x="175" y="1180"/>
                    </a:lnTo>
                    <a:lnTo>
                      <a:pt x="179" y="1174"/>
                    </a:lnTo>
                    <a:lnTo>
                      <a:pt x="190" y="1159"/>
                    </a:lnTo>
                    <a:lnTo>
                      <a:pt x="195" y="1153"/>
                    </a:lnTo>
                    <a:lnTo>
                      <a:pt x="199" y="1148"/>
                    </a:lnTo>
                    <a:lnTo>
                      <a:pt x="201" y="1146"/>
                    </a:lnTo>
                    <a:lnTo>
                      <a:pt x="202" y="1145"/>
                    </a:lnTo>
                    <a:lnTo>
                      <a:pt x="203" y="1145"/>
                    </a:lnTo>
                    <a:lnTo>
                      <a:pt x="203" y="1146"/>
                    </a:lnTo>
                    <a:lnTo>
                      <a:pt x="203" y="1153"/>
                    </a:lnTo>
                    <a:lnTo>
                      <a:pt x="202" y="1158"/>
                    </a:lnTo>
                    <a:lnTo>
                      <a:pt x="200" y="1162"/>
                    </a:lnTo>
                    <a:lnTo>
                      <a:pt x="198" y="1163"/>
                    </a:lnTo>
                    <a:lnTo>
                      <a:pt x="196" y="1164"/>
                    </a:lnTo>
                    <a:lnTo>
                      <a:pt x="194" y="1164"/>
                    </a:lnTo>
                    <a:lnTo>
                      <a:pt x="192" y="1166"/>
                    </a:lnTo>
                    <a:lnTo>
                      <a:pt x="189" y="1172"/>
                    </a:lnTo>
                    <a:lnTo>
                      <a:pt x="181" y="1189"/>
                    </a:lnTo>
                    <a:lnTo>
                      <a:pt x="177" y="1201"/>
                    </a:lnTo>
                    <a:lnTo>
                      <a:pt x="176" y="1207"/>
                    </a:lnTo>
                    <a:lnTo>
                      <a:pt x="174" y="1214"/>
                    </a:lnTo>
                    <a:lnTo>
                      <a:pt x="172" y="1221"/>
                    </a:lnTo>
                    <a:lnTo>
                      <a:pt x="169" y="1225"/>
                    </a:lnTo>
                    <a:lnTo>
                      <a:pt x="167" y="1232"/>
                    </a:lnTo>
                    <a:lnTo>
                      <a:pt x="164" y="1242"/>
                    </a:lnTo>
                    <a:lnTo>
                      <a:pt x="159" y="1254"/>
                    </a:lnTo>
                    <a:lnTo>
                      <a:pt x="153" y="1263"/>
                    </a:lnTo>
                    <a:lnTo>
                      <a:pt x="147" y="1269"/>
                    </a:lnTo>
                    <a:lnTo>
                      <a:pt x="142" y="1274"/>
                    </a:lnTo>
                    <a:lnTo>
                      <a:pt x="140" y="1276"/>
                    </a:lnTo>
                    <a:lnTo>
                      <a:pt x="137" y="1278"/>
                    </a:lnTo>
                    <a:lnTo>
                      <a:pt x="136" y="1280"/>
                    </a:lnTo>
                    <a:lnTo>
                      <a:pt x="136" y="1283"/>
                    </a:lnTo>
                    <a:lnTo>
                      <a:pt x="136" y="1286"/>
                    </a:lnTo>
                    <a:lnTo>
                      <a:pt x="137" y="1288"/>
                    </a:lnTo>
                    <a:lnTo>
                      <a:pt x="138" y="1290"/>
                    </a:lnTo>
                    <a:lnTo>
                      <a:pt x="141" y="1291"/>
                    </a:lnTo>
                    <a:lnTo>
                      <a:pt x="142" y="1293"/>
                    </a:lnTo>
                    <a:lnTo>
                      <a:pt x="143" y="1295"/>
                    </a:lnTo>
                    <a:lnTo>
                      <a:pt x="142" y="1297"/>
                    </a:lnTo>
                    <a:lnTo>
                      <a:pt x="141" y="1300"/>
                    </a:lnTo>
                    <a:lnTo>
                      <a:pt x="137" y="1307"/>
                    </a:lnTo>
                    <a:lnTo>
                      <a:pt x="135" y="1313"/>
                    </a:lnTo>
                    <a:lnTo>
                      <a:pt x="135" y="1318"/>
                    </a:lnTo>
                    <a:lnTo>
                      <a:pt x="136" y="1320"/>
                    </a:lnTo>
                    <a:lnTo>
                      <a:pt x="143" y="1312"/>
                    </a:lnTo>
                    <a:lnTo>
                      <a:pt x="148" y="1304"/>
                    </a:lnTo>
                    <a:lnTo>
                      <a:pt x="154" y="1299"/>
                    </a:lnTo>
                    <a:lnTo>
                      <a:pt x="163" y="1288"/>
                    </a:lnTo>
                    <a:lnTo>
                      <a:pt x="165" y="1282"/>
                    </a:lnTo>
                    <a:lnTo>
                      <a:pt x="167" y="1271"/>
                    </a:lnTo>
                    <a:lnTo>
                      <a:pt x="169" y="1260"/>
                    </a:lnTo>
                    <a:lnTo>
                      <a:pt x="169" y="1255"/>
                    </a:lnTo>
                    <a:lnTo>
                      <a:pt x="169" y="1252"/>
                    </a:lnTo>
                    <a:lnTo>
                      <a:pt x="169" y="1244"/>
                    </a:lnTo>
                    <a:lnTo>
                      <a:pt x="170" y="1239"/>
                    </a:lnTo>
                    <a:lnTo>
                      <a:pt x="172" y="1234"/>
                    </a:lnTo>
                    <a:lnTo>
                      <a:pt x="175" y="1228"/>
                    </a:lnTo>
                    <a:lnTo>
                      <a:pt x="180" y="1221"/>
                    </a:lnTo>
                    <a:lnTo>
                      <a:pt x="198" y="1202"/>
                    </a:lnTo>
                    <a:lnTo>
                      <a:pt x="205" y="1196"/>
                    </a:lnTo>
                    <a:lnTo>
                      <a:pt x="208" y="1192"/>
                    </a:lnTo>
                    <a:lnTo>
                      <a:pt x="211" y="1186"/>
                    </a:lnTo>
                    <a:lnTo>
                      <a:pt x="213" y="1184"/>
                    </a:lnTo>
                    <a:lnTo>
                      <a:pt x="215" y="1181"/>
                    </a:lnTo>
                    <a:lnTo>
                      <a:pt x="216" y="1183"/>
                    </a:lnTo>
                    <a:lnTo>
                      <a:pt x="218" y="1185"/>
                    </a:lnTo>
                    <a:lnTo>
                      <a:pt x="219" y="1186"/>
                    </a:lnTo>
                    <a:lnTo>
                      <a:pt x="219" y="1186"/>
                    </a:lnTo>
                    <a:lnTo>
                      <a:pt x="220" y="1186"/>
                    </a:lnTo>
                    <a:lnTo>
                      <a:pt x="221" y="1186"/>
                    </a:lnTo>
                    <a:lnTo>
                      <a:pt x="224" y="1183"/>
                    </a:lnTo>
                    <a:lnTo>
                      <a:pt x="227" y="1179"/>
                    </a:lnTo>
                    <a:lnTo>
                      <a:pt x="228" y="1174"/>
                    </a:lnTo>
                    <a:lnTo>
                      <a:pt x="229" y="1170"/>
                    </a:lnTo>
                    <a:lnTo>
                      <a:pt x="230" y="1167"/>
                    </a:lnTo>
                    <a:lnTo>
                      <a:pt x="229" y="1165"/>
                    </a:lnTo>
                    <a:lnTo>
                      <a:pt x="229" y="1162"/>
                    </a:lnTo>
                    <a:lnTo>
                      <a:pt x="229" y="1158"/>
                    </a:lnTo>
                    <a:lnTo>
                      <a:pt x="230" y="1154"/>
                    </a:lnTo>
                    <a:lnTo>
                      <a:pt x="232" y="1150"/>
                    </a:lnTo>
                    <a:lnTo>
                      <a:pt x="233" y="1147"/>
                    </a:lnTo>
                    <a:lnTo>
                      <a:pt x="235" y="1145"/>
                    </a:lnTo>
                    <a:lnTo>
                      <a:pt x="236" y="1145"/>
                    </a:lnTo>
                    <a:lnTo>
                      <a:pt x="238" y="1146"/>
                    </a:lnTo>
                    <a:lnTo>
                      <a:pt x="238" y="1147"/>
                    </a:lnTo>
                    <a:lnTo>
                      <a:pt x="239" y="1149"/>
                    </a:lnTo>
                    <a:lnTo>
                      <a:pt x="243" y="1157"/>
                    </a:lnTo>
                    <a:lnTo>
                      <a:pt x="249" y="1162"/>
                    </a:lnTo>
                    <a:lnTo>
                      <a:pt x="252" y="1165"/>
                    </a:lnTo>
                    <a:lnTo>
                      <a:pt x="253" y="1166"/>
                    </a:lnTo>
                    <a:lnTo>
                      <a:pt x="257" y="1168"/>
                    </a:lnTo>
                    <a:lnTo>
                      <a:pt x="267" y="1174"/>
                    </a:lnTo>
                    <a:lnTo>
                      <a:pt x="271" y="1174"/>
                    </a:lnTo>
                    <a:lnTo>
                      <a:pt x="273" y="1173"/>
                    </a:lnTo>
                    <a:lnTo>
                      <a:pt x="275" y="1172"/>
                    </a:lnTo>
                    <a:lnTo>
                      <a:pt x="277" y="1170"/>
                    </a:lnTo>
                    <a:lnTo>
                      <a:pt x="280" y="1168"/>
                    </a:lnTo>
                    <a:lnTo>
                      <a:pt x="283" y="1168"/>
                    </a:lnTo>
                    <a:lnTo>
                      <a:pt x="288" y="1169"/>
                    </a:lnTo>
                    <a:lnTo>
                      <a:pt x="295" y="1172"/>
                    </a:lnTo>
                    <a:lnTo>
                      <a:pt x="306" y="1181"/>
                    </a:lnTo>
                    <a:lnTo>
                      <a:pt x="315" y="1188"/>
                    </a:lnTo>
                    <a:lnTo>
                      <a:pt x="322" y="1194"/>
                    </a:lnTo>
                    <a:lnTo>
                      <a:pt x="327" y="1200"/>
                    </a:lnTo>
                    <a:lnTo>
                      <a:pt x="331" y="1202"/>
                    </a:lnTo>
                    <a:lnTo>
                      <a:pt x="337" y="1203"/>
                    </a:lnTo>
                    <a:lnTo>
                      <a:pt x="341" y="1203"/>
                    </a:lnTo>
                    <a:lnTo>
                      <a:pt x="346" y="1205"/>
                    </a:lnTo>
                    <a:lnTo>
                      <a:pt x="349" y="1206"/>
                    </a:lnTo>
                    <a:lnTo>
                      <a:pt x="352" y="1209"/>
                    </a:lnTo>
                    <a:lnTo>
                      <a:pt x="354" y="1214"/>
                    </a:lnTo>
                    <a:lnTo>
                      <a:pt x="355" y="1223"/>
                    </a:lnTo>
                    <a:lnTo>
                      <a:pt x="354" y="1241"/>
                    </a:lnTo>
                    <a:lnTo>
                      <a:pt x="354" y="1256"/>
                    </a:lnTo>
                    <a:lnTo>
                      <a:pt x="354" y="1261"/>
                    </a:lnTo>
                    <a:lnTo>
                      <a:pt x="355" y="1266"/>
                    </a:lnTo>
                    <a:lnTo>
                      <a:pt x="357" y="1271"/>
                    </a:lnTo>
                    <a:lnTo>
                      <a:pt x="361" y="1275"/>
                    </a:lnTo>
                    <a:lnTo>
                      <a:pt x="371" y="1285"/>
                    </a:lnTo>
                    <a:lnTo>
                      <a:pt x="386" y="1302"/>
                    </a:lnTo>
                    <a:lnTo>
                      <a:pt x="400" y="1320"/>
                    </a:lnTo>
                    <a:lnTo>
                      <a:pt x="411" y="1330"/>
                    </a:lnTo>
                    <a:lnTo>
                      <a:pt x="415" y="1333"/>
                    </a:lnTo>
                    <a:lnTo>
                      <a:pt x="420" y="1335"/>
                    </a:lnTo>
                    <a:lnTo>
                      <a:pt x="426" y="1335"/>
                    </a:lnTo>
                    <a:lnTo>
                      <a:pt x="430" y="1337"/>
                    </a:lnTo>
                    <a:lnTo>
                      <a:pt x="435" y="1338"/>
                    </a:lnTo>
                    <a:lnTo>
                      <a:pt x="439" y="1340"/>
                    </a:lnTo>
                    <a:lnTo>
                      <a:pt x="442" y="1345"/>
                    </a:lnTo>
                    <a:lnTo>
                      <a:pt x="444" y="1351"/>
                    </a:lnTo>
                    <a:lnTo>
                      <a:pt x="447" y="1361"/>
                    </a:lnTo>
                    <a:lnTo>
                      <a:pt x="451" y="1370"/>
                    </a:lnTo>
                    <a:lnTo>
                      <a:pt x="455" y="1380"/>
                    </a:lnTo>
                    <a:lnTo>
                      <a:pt x="459" y="1389"/>
                    </a:lnTo>
                    <a:lnTo>
                      <a:pt x="466" y="1404"/>
                    </a:lnTo>
                    <a:lnTo>
                      <a:pt x="470" y="1410"/>
                    </a:lnTo>
                    <a:lnTo>
                      <a:pt x="471" y="1412"/>
                    </a:lnTo>
                    <a:lnTo>
                      <a:pt x="472" y="1419"/>
                    </a:lnTo>
                    <a:lnTo>
                      <a:pt x="473" y="1426"/>
                    </a:lnTo>
                    <a:lnTo>
                      <a:pt x="472" y="1432"/>
                    </a:lnTo>
                    <a:lnTo>
                      <a:pt x="471" y="1440"/>
                    </a:lnTo>
                    <a:lnTo>
                      <a:pt x="469" y="1449"/>
                    </a:lnTo>
                    <a:lnTo>
                      <a:pt x="467" y="1454"/>
                    </a:lnTo>
                    <a:lnTo>
                      <a:pt x="466" y="1458"/>
                    </a:lnTo>
                    <a:lnTo>
                      <a:pt x="467" y="1461"/>
                    </a:lnTo>
                    <a:lnTo>
                      <a:pt x="469" y="1464"/>
                    </a:lnTo>
                    <a:lnTo>
                      <a:pt x="474" y="1471"/>
                    </a:lnTo>
                    <a:lnTo>
                      <a:pt x="480" y="1476"/>
                    </a:lnTo>
                    <a:lnTo>
                      <a:pt x="487" y="1482"/>
                    </a:lnTo>
                    <a:lnTo>
                      <a:pt x="495" y="1488"/>
                    </a:lnTo>
                    <a:lnTo>
                      <a:pt x="498" y="1493"/>
                    </a:lnTo>
                    <a:lnTo>
                      <a:pt x="501" y="1497"/>
                    </a:lnTo>
                    <a:lnTo>
                      <a:pt x="503" y="1502"/>
                    </a:lnTo>
                    <a:lnTo>
                      <a:pt x="505" y="1508"/>
                    </a:lnTo>
                    <a:lnTo>
                      <a:pt x="514" y="1530"/>
                    </a:lnTo>
                    <a:lnTo>
                      <a:pt x="520" y="1550"/>
                    </a:lnTo>
                    <a:lnTo>
                      <a:pt x="522" y="1562"/>
                    </a:lnTo>
                    <a:lnTo>
                      <a:pt x="524" y="1573"/>
                    </a:lnTo>
                    <a:lnTo>
                      <a:pt x="525" y="1586"/>
                    </a:lnTo>
                    <a:lnTo>
                      <a:pt x="525" y="1601"/>
                    </a:lnTo>
                    <a:lnTo>
                      <a:pt x="523" y="1615"/>
                    </a:lnTo>
                    <a:lnTo>
                      <a:pt x="521" y="1630"/>
                    </a:lnTo>
                    <a:lnTo>
                      <a:pt x="517" y="1642"/>
                    </a:lnTo>
                    <a:lnTo>
                      <a:pt x="513" y="1655"/>
                    </a:lnTo>
                    <a:lnTo>
                      <a:pt x="509" y="1668"/>
                    </a:lnTo>
                    <a:lnTo>
                      <a:pt x="506" y="1679"/>
                    </a:lnTo>
                    <a:lnTo>
                      <a:pt x="504" y="1691"/>
                    </a:lnTo>
                    <a:lnTo>
                      <a:pt x="504" y="1701"/>
                    </a:lnTo>
                    <a:lnTo>
                      <a:pt x="506" y="1713"/>
                    </a:lnTo>
                    <a:lnTo>
                      <a:pt x="509" y="1725"/>
                    </a:lnTo>
                    <a:lnTo>
                      <a:pt x="515" y="1739"/>
                    </a:lnTo>
                    <a:lnTo>
                      <a:pt x="521" y="1754"/>
                    </a:lnTo>
                    <a:lnTo>
                      <a:pt x="533" y="1781"/>
                    </a:lnTo>
                    <a:lnTo>
                      <a:pt x="545" y="1806"/>
                    </a:lnTo>
                    <a:lnTo>
                      <a:pt x="554" y="1830"/>
                    </a:lnTo>
                    <a:lnTo>
                      <a:pt x="565" y="1854"/>
                    </a:lnTo>
                    <a:lnTo>
                      <a:pt x="570" y="1865"/>
                    </a:lnTo>
                    <a:lnTo>
                      <a:pt x="575" y="1874"/>
                    </a:lnTo>
                    <a:lnTo>
                      <a:pt x="581" y="1882"/>
                    </a:lnTo>
                    <a:lnTo>
                      <a:pt x="586" y="1888"/>
                    </a:lnTo>
                    <a:lnTo>
                      <a:pt x="598" y="1894"/>
                    </a:lnTo>
                    <a:lnTo>
                      <a:pt x="613" y="1900"/>
                    </a:lnTo>
                    <a:lnTo>
                      <a:pt x="620" y="1902"/>
                    </a:lnTo>
                    <a:lnTo>
                      <a:pt x="627" y="1905"/>
                    </a:lnTo>
                    <a:lnTo>
                      <a:pt x="632" y="1910"/>
                    </a:lnTo>
                    <a:lnTo>
                      <a:pt x="635" y="1915"/>
                    </a:lnTo>
                    <a:lnTo>
                      <a:pt x="641" y="1926"/>
                    </a:lnTo>
                    <a:lnTo>
                      <a:pt x="649" y="1940"/>
                    </a:lnTo>
                    <a:lnTo>
                      <a:pt x="656" y="1954"/>
                    </a:lnTo>
                    <a:lnTo>
                      <a:pt x="659" y="1963"/>
                    </a:lnTo>
                    <a:lnTo>
                      <a:pt x="661" y="1970"/>
                    </a:lnTo>
                    <a:lnTo>
                      <a:pt x="662" y="1981"/>
                    </a:lnTo>
                    <a:lnTo>
                      <a:pt x="666" y="1992"/>
                    </a:lnTo>
                    <a:lnTo>
                      <a:pt x="670" y="2002"/>
                    </a:lnTo>
                    <a:lnTo>
                      <a:pt x="684" y="2012"/>
                    </a:lnTo>
                    <a:lnTo>
                      <a:pt x="696" y="2022"/>
                    </a:lnTo>
                    <a:lnTo>
                      <a:pt x="698" y="2036"/>
                    </a:lnTo>
                    <a:lnTo>
                      <a:pt x="698" y="2042"/>
                    </a:lnTo>
                    <a:lnTo>
                      <a:pt x="696" y="2043"/>
                    </a:lnTo>
                    <a:lnTo>
                      <a:pt x="693" y="2045"/>
                    </a:lnTo>
                    <a:lnTo>
                      <a:pt x="692" y="2047"/>
                    </a:lnTo>
                    <a:lnTo>
                      <a:pt x="691" y="2049"/>
                    </a:lnTo>
                    <a:lnTo>
                      <a:pt x="691" y="2052"/>
                    </a:lnTo>
                    <a:lnTo>
                      <a:pt x="692" y="2054"/>
                    </a:lnTo>
                    <a:lnTo>
                      <a:pt x="705" y="2064"/>
                    </a:lnTo>
                    <a:lnTo>
                      <a:pt x="721" y="2072"/>
                    </a:lnTo>
                    <a:lnTo>
                      <a:pt x="726" y="2078"/>
                    </a:lnTo>
                    <a:lnTo>
                      <a:pt x="733" y="2088"/>
                    </a:lnTo>
                    <a:lnTo>
                      <a:pt x="735" y="2092"/>
                    </a:lnTo>
                    <a:lnTo>
                      <a:pt x="737" y="2097"/>
                    </a:lnTo>
                    <a:lnTo>
                      <a:pt x="739" y="2102"/>
                    </a:lnTo>
                    <a:lnTo>
                      <a:pt x="739" y="2107"/>
                    </a:lnTo>
                    <a:lnTo>
                      <a:pt x="739" y="2114"/>
                    </a:lnTo>
                    <a:lnTo>
                      <a:pt x="740" y="2118"/>
                    </a:lnTo>
                    <a:lnTo>
                      <a:pt x="742" y="2122"/>
                    </a:lnTo>
                    <a:lnTo>
                      <a:pt x="746" y="2127"/>
                    </a:lnTo>
                    <a:lnTo>
                      <a:pt x="759" y="2132"/>
                    </a:lnTo>
                    <a:lnTo>
                      <a:pt x="771" y="2137"/>
                    </a:lnTo>
                    <a:lnTo>
                      <a:pt x="777" y="2141"/>
                    </a:lnTo>
                    <a:lnTo>
                      <a:pt x="780" y="2141"/>
                    </a:lnTo>
                    <a:lnTo>
                      <a:pt x="781" y="2142"/>
                    </a:lnTo>
                    <a:lnTo>
                      <a:pt x="782" y="2143"/>
                    </a:lnTo>
                    <a:lnTo>
                      <a:pt x="783" y="2144"/>
                    </a:lnTo>
                    <a:lnTo>
                      <a:pt x="783" y="2148"/>
                    </a:lnTo>
                    <a:lnTo>
                      <a:pt x="783" y="2155"/>
                    </a:lnTo>
                    <a:lnTo>
                      <a:pt x="784" y="2159"/>
                    </a:lnTo>
                    <a:lnTo>
                      <a:pt x="785" y="2162"/>
                    </a:lnTo>
                    <a:lnTo>
                      <a:pt x="787" y="2163"/>
                    </a:lnTo>
                    <a:lnTo>
                      <a:pt x="791" y="2163"/>
                    </a:lnTo>
                    <a:lnTo>
                      <a:pt x="796" y="2161"/>
                    </a:lnTo>
                    <a:lnTo>
                      <a:pt x="799" y="2159"/>
                    </a:lnTo>
                    <a:lnTo>
                      <a:pt x="801" y="2157"/>
                    </a:lnTo>
                    <a:lnTo>
                      <a:pt x="802" y="2154"/>
                    </a:lnTo>
                    <a:lnTo>
                      <a:pt x="801" y="2151"/>
                    </a:lnTo>
                    <a:lnTo>
                      <a:pt x="799" y="2144"/>
                    </a:lnTo>
                    <a:lnTo>
                      <a:pt x="795" y="2138"/>
                    </a:lnTo>
                    <a:lnTo>
                      <a:pt x="790" y="2133"/>
                    </a:lnTo>
                    <a:lnTo>
                      <a:pt x="783" y="2126"/>
                    </a:lnTo>
                    <a:lnTo>
                      <a:pt x="776" y="2115"/>
                    </a:lnTo>
                    <a:lnTo>
                      <a:pt x="768" y="2104"/>
                    </a:lnTo>
                    <a:lnTo>
                      <a:pt x="763" y="2093"/>
                    </a:lnTo>
                    <a:lnTo>
                      <a:pt x="761" y="2086"/>
                    </a:lnTo>
                    <a:lnTo>
                      <a:pt x="759" y="2081"/>
                    </a:lnTo>
                    <a:lnTo>
                      <a:pt x="757" y="2077"/>
                    </a:lnTo>
                    <a:lnTo>
                      <a:pt x="754" y="2074"/>
                    </a:lnTo>
                    <a:lnTo>
                      <a:pt x="752" y="2073"/>
                    </a:lnTo>
                    <a:lnTo>
                      <a:pt x="744" y="2062"/>
                    </a:lnTo>
                    <a:lnTo>
                      <a:pt x="728" y="2040"/>
                    </a:lnTo>
                    <a:lnTo>
                      <a:pt x="713" y="2018"/>
                    </a:lnTo>
                    <a:lnTo>
                      <a:pt x="705" y="2007"/>
                    </a:lnTo>
                    <a:lnTo>
                      <a:pt x="702" y="2001"/>
                    </a:lnTo>
                    <a:lnTo>
                      <a:pt x="697" y="1991"/>
                    </a:lnTo>
                    <a:lnTo>
                      <a:pt x="696" y="1986"/>
                    </a:lnTo>
                    <a:lnTo>
                      <a:pt x="694" y="1981"/>
                    </a:lnTo>
                    <a:lnTo>
                      <a:pt x="694" y="1977"/>
                    </a:lnTo>
                    <a:lnTo>
                      <a:pt x="696" y="1974"/>
                    </a:lnTo>
                    <a:lnTo>
                      <a:pt x="701" y="1970"/>
                    </a:lnTo>
                    <a:lnTo>
                      <a:pt x="705" y="1968"/>
                    </a:lnTo>
                    <a:lnTo>
                      <a:pt x="707" y="1967"/>
                    </a:lnTo>
                    <a:lnTo>
                      <a:pt x="710" y="1968"/>
                    </a:lnTo>
                    <a:lnTo>
                      <a:pt x="713" y="1970"/>
                    </a:lnTo>
                    <a:lnTo>
                      <a:pt x="715" y="1975"/>
                    </a:lnTo>
                    <a:lnTo>
                      <a:pt x="720" y="1985"/>
                    </a:lnTo>
                    <a:lnTo>
                      <a:pt x="725" y="1996"/>
                    </a:lnTo>
                    <a:lnTo>
                      <a:pt x="727" y="1999"/>
                    </a:lnTo>
                    <a:lnTo>
                      <a:pt x="728" y="2003"/>
                    </a:lnTo>
                    <a:lnTo>
                      <a:pt x="728" y="2007"/>
                    </a:lnTo>
                    <a:lnTo>
                      <a:pt x="729" y="2011"/>
                    </a:lnTo>
                    <a:lnTo>
                      <a:pt x="729" y="2017"/>
                    </a:lnTo>
                    <a:lnTo>
                      <a:pt x="730" y="2021"/>
                    </a:lnTo>
                    <a:lnTo>
                      <a:pt x="734" y="2025"/>
                    </a:lnTo>
                    <a:lnTo>
                      <a:pt x="739" y="2029"/>
                    </a:lnTo>
                    <a:lnTo>
                      <a:pt x="745" y="2035"/>
                    </a:lnTo>
                    <a:lnTo>
                      <a:pt x="751" y="2043"/>
                    </a:lnTo>
                    <a:lnTo>
                      <a:pt x="759" y="2051"/>
                    </a:lnTo>
                    <a:lnTo>
                      <a:pt x="766" y="2061"/>
                    </a:lnTo>
                    <a:lnTo>
                      <a:pt x="778" y="2077"/>
                    </a:lnTo>
                    <a:lnTo>
                      <a:pt x="785" y="2088"/>
                    </a:lnTo>
                    <a:lnTo>
                      <a:pt x="789" y="2093"/>
                    </a:lnTo>
                    <a:lnTo>
                      <a:pt x="796" y="2100"/>
                    </a:lnTo>
                    <a:lnTo>
                      <a:pt x="807" y="2109"/>
                    </a:lnTo>
                    <a:lnTo>
                      <a:pt x="817" y="2119"/>
                    </a:lnTo>
                    <a:lnTo>
                      <a:pt x="828" y="2128"/>
                    </a:lnTo>
                    <a:lnTo>
                      <a:pt x="836" y="2136"/>
                    </a:lnTo>
                    <a:lnTo>
                      <a:pt x="844" y="2144"/>
                    </a:lnTo>
                    <a:lnTo>
                      <a:pt x="851" y="2155"/>
                    </a:lnTo>
                    <a:lnTo>
                      <a:pt x="858" y="2166"/>
                    </a:lnTo>
                    <a:lnTo>
                      <a:pt x="867" y="2175"/>
                    </a:lnTo>
                    <a:lnTo>
                      <a:pt x="871" y="2179"/>
                    </a:lnTo>
                    <a:lnTo>
                      <a:pt x="873" y="2182"/>
                    </a:lnTo>
                    <a:lnTo>
                      <a:pt x="874" y="2186"/>
                    </a:lnTo>
                    <a:lnTo>
                      <a:pt x="873" y="2192"/>
                    </a:lnTo>
                    <a:lnTo>
                      <a:pt x="870" y="2200"/>
                    </a:lnTo>
                    <a:lnTo>
                      <a:pt x="867" y="2206"/>
                    </a:lnTo>
                    <a:lnTo>
                      <a:pt x="866" y="2208"/>
                    </a:lnTo>
                    <a:lnTo>
                      <a:pt x="865" y="2211"/>
                    </a:lnTo>
                    <a:lnTo>
                      <a:pt x="865" y="2212"/>
                    </a:lnTo>
                    <a:lnTo>
                      <a:pt x="866" y="2215"/>
                    </a:lnTo>
                    <a:lnTo>
                      <a:pt x="870" y="2222"/>
                    </a:lnTo>
                    <a:lnTo>
                      <a:pt x="879" y="2231"/>
                    </a:lnTo>
                    <a:lnTo>
                      <a:pt x="893" y="2244"/>
                    </a:lnTo>
                    <a:lnTo>
                      <a:pt x="908" y="2255"/>
                    </a:lnTo>
                    <a:lnTo>
                      <a:pt x="916" y="2262"/>
                    </a:lnTo>
                    <a:lnTo>
                      <a:pt x="927" y="2267"/>
                    </a:lnTo>
                    <a:lnTo>
                      <a:pt x="939" y="2273"/>
                    </a:lnTo>
                    <a:lnTo>
                      <a:pt x="953" y="2278"/>
                    </a:lnTo>
                    <a:lnTo>
                      <a:pt x="978" y="2289"/>
                    </a:lnTo>
                    <a:lnTo>
                      <a:pt x="997" y="2297"/>
                    </a:lnTo>
                    <a:lnTo>
                      <a:pt x="1014" y="2307"/>
                    </a:lnTo>
                    <a:lnTo>
                      <a:pt x="1033" y="2319"/>
                    </a:lnTo>
                    <a:lnTo>
                      <a:pt x="1043" y="2324"/>
                    </a:lnTo>
                    <a:lnTo>
                      <a:pt x="1051" y="2328"/>
                    </a:lnTo>
                    <a:lnTo>
                      <a:pt x="1054" y="2329"/>
                    </a:lnTo>
                    <a:lnTo>
                      <a:pt x="1057" y="2329"/>
                    </a:lnTo>
                    <a:lnTo>
                      <a:pt x="1059" y="2329"/>
                    </a:lnTo>
                    <a:lnTo>
                      <a:pt x="1061" y="2327"/>
                    </a:lnTo>
                    <a:lnTo>
                      <a:pt x="1068" y="2318"/>
                    </a:lnTo>
                    <a:lnTo>
                      <a:pt x="1077" y="2311"/>
                    </a:lnTo>
                    <a:lnTo>
                      <a:pt x="1081" y="2307"/>
                    </a:lnTo>
                    <a:lnTo>
                      <a:pt x="1087" y="2305"/>
                    </a:lnTo>
                    <a:lnTo>
                      <a:pt x="1090" y="2304"/>
                    </a:lnTo>
                    <a:lnTo>
                      <a:pt x="1093" y="2305"/>
                    </a:lnTo>
                    <a:lnTo>
                      <a:pt x="1097" y="2309"/>
                    </a:lnTo>
                    <a:lnTo>
                      <a:pt x="1101" y="2315"/>
                    </a:lnTo>
                    <a:lnTo>
                      <a:pt x="1103" y="2317"/>
                    </a:lnTo>
                    <a:lnTo>
                      <a:pt x="1107" y="2320"/>
                    </a:lnTo>
                    <a:lnTo>
                      <a:pt x="1111" y="2322"/>
                    </a:lnTo>
                    <a:lnTo>
                      <a:pt x="1116" y="2322"/>
                    </a:lnTo>
                    <a:lnTo>
                      <a:pt x="1122" y="2324"/>
                    </a:lnTo>
                    <a:lnTo>
                      <a:pt x="1129" y="2327"/>
                    </a:lnTo>
                    <a:lnTo>
                      <a:pt x="1134" y="2330"/>
                    </a:lnTo>
                    <a:lnTo>
                      <a:pt x="1140" y="2334"/>
                    </a:lnTo>
                    <a:lnTo>
                      <a:pt x="1150" y="2343"/>
                    </a:lnTo>
                    <a:lnTo>
                      <a:pt x="1158" y="2351"/>
                    </a:lnTo>
                    <a:lnTo>
                      <a:pt x="1167" y="2358"/>
                    </a:lnTo>
                    <a:lnTo>
                      <a:pt x="1182" y="2365"/>
                    </a:lnTo>
                    <a:lnTo>
                      <a:pt x="1196" y="2372"/>
                    </a:lnTo>
                    <a:lnTo>
                      <a:pt x="1205" y="2377"/>
                    </a:lnTo>
                    <a:lnTo>
                      <a:pt x="1207" y="2377"/>
                    </a:lnTo>
                    <a:lnTo>
                      <a:pt x="1210" y="2376"/>
                    </a:lnTo>
                    <a:lnTo>
                      <a:pt x="1215" y="2375"/>
                    </a:lnTo>
                    <a:lnTo>
                      <a:pt x="1219" y="2373"/>
                    </a:lnTo>
                    <a:lnTo>
                      <a:pt x="1221" y="2373"/>
                    </a:lnTo>
                    <a:lnTo>
                      <a:pt x="1223" y="2373"/>
                    </a:lnTo>
                    <a:lnTo>
                      <a:pt x="1225" y="2373"/>
                    </a:lnTo>
                    <a:lnTo>
                      <a:pt x="1227" y="2374"/>
                    </a:lnTo>
                    <a:lnTo>
                      <a:pt x="1230" y="2376"/>
                    </a:lnTo>
                    <a:lnTo>
                      <a:pt x="1232" y="2379"/>
                    </a:lnTo>
                    <a:lnTo>
                      <a:pt x="1235" y="2383"/>
                    </a:lnTo>
                    <a:lnTo>
                      <a:pt x="1239" y="2388"/>
                    </a:lnTo>
                    <a:lnTo>
                      <a:pt x="1248" y="2407"/>
                    </a:lnTo>
                    <a:lnTo>
                      <a:pt x="1255" y="2420"/>
                    </a:lnTo>
                    <a:lnTo>
                      <a:pt x="1262" y="2428"/>
                    </a:lnTo>
                    <a:lnTo>
                      <a:pt x="1269" y="2437"/>
                    </a:lnTo>
                    <a:lnTo>
                      <a:pt x="1274" y="2443"/>
                    </a:lnTo>
                    <a:lnTo>
                      <a:pt x="1283" y="2449"/>
                    </a:lnTo>
                    <a:lnTo>
                      <a:pt x="1292" y="2457"/>
                    </a:lnTo>
                    <a:lnTo>
                      <a:pt x="1303" y="2464"/>
                    </a:lnTo>
                    <a:lnTo>
                      <a:pt x="1321" y="2476"/>
                    </a:lnTo>
                    <a:lnTo>
                      <a:pt x="1331" y="2484"/>
                    </a:lnTo>
                    <a:lnTo>
                      <a:pt x="1337" y="2489"/>
                    </a:lnTo>
                    <a:lnTo>
                      <a:pt x="1349" y="2496"/>
                    </a:lnTo>
                    <a:lnTo>
                      <a:pt x="1356" y="2499"/>
                    </a:lnTo>
                    <a:lnTo>
                      <a:pt x="1363" y="2501"/>
                    </a:lnTo>
                    <a:lnTo>
                      <a:pt x="1371" y="2501"/>
                    </a:lnTo>
                    <a:lnTo>
                      <a:pt x="1378" y="2500"/>
                    </a:lnTo>
                    <a:lnTo>
                      <a:pt x="1384" y="2496"/>
                    </a:lnTo>
                    <a:lnTo>
                      <a:pt x="1390" y="2493"/>
                    </a:lnTo>
                    <a:lnTo>
                      <a:pt x="1394" y="2490"/>
                    </a:lnTo>
                    <a:lnTo>
                      <a:pt x="1398" y="2487"/>
                    </a:lnTo>
                    <a:lnTo>
                      <a:pt x="1401" y="2485"/>
                    </a:lnTo>
                    <a:lnTo>
                      <a:pt x="1405" y="2484"/>
                    </a:lnTo>
                    <a:lnTo>
                      <a:pt x="1410" y="2485"/>
                    </a:lnTo>
                    <a:lnTo>
                      <a:pt x="1417" y="2488"/>
                    </a:lnTo>
                    <a:lnTo>
                      <a:pt x="1422" y="2491"/>
                    </a:lnTo>
                    <a:lnTo>
                      <a:pt x="1428" y="2493"/>
                    </a:lnTo>
                    <a:lnTo>
                      <a:pt x="1432" y="2494"/>
                    </a:lnTo>
                    <a:lnTo>
                      <a:pt x="1437" y="2495"/>
                    </a:lnTo>
                    <a:lnTo>
                      <a:pt x="1441" y="2496"/>
                    </a:lnTo>
                    <a:lnTo>
                      <a:pt x="1443" y="2497"/>
                    </a:lnTo>
                    <a:lnTo>
                      <a:pt x="1445" y="2501"/>
                    </a:lnTo>
                    <a:lnTo>
                      <a:pt x="1446" y="2505"/>
                    </a:lnTo>
                    <a:lnTo>
                      <a:pt x="1446" y="2510"/>
                    </a:lnTo>
                    <a:lnTo>
                      <a:pt x="1449" y="2515"/>
                    </a:lnTo>
                    <a:lnTo>
                      <a:pt x="1452" y="2521"/>
                    </a:lnTo>
                    <a:lnTo>
                      <a:pt x="1456" y="2527"/>
                    </a:lnTo>
                    <a:lnTo>
                      <a:pt x="1458" y="2533"/>
                    </a:lnTo>
                    <a:lnTo>
                      <a:pt x="1458" y="2540"/>
                    </a:lnTo>
                    <a:lnTo>
                      <a:pt x="1458" y="2545"/>
                    </a:lnTo>
                    <a:lnTo>
                      <a:pt x="1456" y="2548"/>
                    </a:lnTo>
                    <a:lnTo>
                      <a:pt x="1453" y="2552"/>
                    </a:lnTo>
                    <a:lnTo>
                      <a:pt x="1449" y="2557"/>
                    </a:lnTo>
                    <a:lnTo>
                      <a:pt x="1430" y="2577"/>
                    </a:lnTo>
                    <a:lnTo>
                      <a:pt x="1409" y="2599"/>
                    </a:lnTo>
                    <a:lnTo>
                      <a:pt x="1400" y="2610"/>
                    </a:lnTo>
                    <a:lnTo>
                      <a:pt x="1392" y="2620"/>
                    </a:lnTo>
                    <a:lnTo>
                      <a:pt x="1385" y="2627"/>
                    </a:lnTo>
                    <a:lnTo>
                      <a:pt x="1382" y="2634"/>
                    </a:lnTo>
                    <a:lnTo>
                      <a:pt x="1382" y="2640"/>
                    </a:lnTo>
                    <a:lnTo>
                      <a:pt x="1382" y="2648"/>
                    </a:lnTo>
                    <a:lnTo>
                      <a:pt x="1383" y="2657"/>
                    </a:lnTo>
                    <a:lnTo>
                      <a:pt x="1385" y="2665"/>
                    </a:lnTo>
                    <a:lnTo>
                      <a:pt x="1390" y="2681"/>
                    </a:lnTo>
                    <a:lnTo>
                      <a:pt x="1391" y="2687"/>
                    </a:lnTo>
                    <a:lnTo>
                      <a:pt x="1386" y="2691"/>
                    </a:lnTo>
                    <a:lnTo>
                      <a:pt x="1377" y="2702"/>
                    </a:lnTo>
                    <a:lnTo>
                      <a:pt x="1373" y="2708"/>
                    </a:lnTo>
                    <a:lnTo>
                      <a:pt x="1370" y="2715"/>
                    </a:lnTo>
                    <a:lnTo>
                      <a:pt x="1369" y="2720"/>
                    </a:lnTo>
                    <a:lnTo>
                      <a:pt x="1369" y="2723"/>
                    </a:lnTo>
                    <a:lnTo>
                      <a:pt x="1369" y="2727"/>
                    </a:lnTo>
                    <a:lnTo>
                      <a:pt x="1370" y="2730"/>
                    </a:lnTo>
                    <a:lnTo>
                      <a:pt x="1375" y="2736"/>
                    </a:lnTo>
                    <a:lnTo>
                      <a:pt x="1382" y="2745"/>
                    </a:lnTo>
                    <a:lnTo>
                      <a:pt x="1391" y="2753"/>
                    </a:lnTo>
                    <a:lnTo>
                      <a:pt x="1401" y="2763"/>
                    </a:lnTo>
                    <a:lnTo>
                      <a:pt x="1412" y="2773"/>
                    </a:lnTo>
                    <a:lnTo>
                      <a:pt x="1422" y="2786"/>
                    </a:lnTo>
                    <a:lnTo>
                      <a:pt x="1427" y="2793"/>
                    </a:lnTo>
                    <a:lnTo>
                      <a:pt x="1431" y="2800"/>
                    </a:lnTo>
                    <a:lnTo>
                      <a:pt x="1436" y="2809"/>
                    </a:lnTo>
                    <a:lnTo>
                      <a:pt x="1439" y="2817"/>
                    </a:lnTo>
                    <a:lnTo>
                      <a:pt x="1444" y="2833"/>
                    </a:lnTo>
                    <a:lnTo>
                      <a:pt x="1449" y="2845"/>
                    </a:lnTo>
                    <a:lnTo>
                      <a:pt x="1453" y="2855"/>
                    </a:lnTo>
                    <a:lnTo>
                      <a:pt x="1458" y="2862"/>
                    </a:lnTo>
                    <a:lnTo>
                      <a:pt x="1468" y="2875"/>
                    </a:lnTo>
                    <a:lnTo>
                      <a:pt x="1483" y="2890"/>
                    </a:lnTo>
                    <a:lnTo>
                      <a:pt x="1489" y="2896"/>
                    </a:lnTo>
                    <a:lnTo>
                      <a:pt x="1495" y="2900"/>
                    </a:lnTo>
                    <a:lnTo>
                      <a:pt x="1504" y="2904"/>
                    </a:lnTo>
                    <a:lnTo>
                      <a:pt x="1512" y="2908"/>
                    </a:lnTo>
                    <a:lnTo>
                      <a:pt x="1531" y="2916"/>
                    </a:lnTo>
                    <a:lnTo>
                      <a:pt x="1550" y="2923"/>
                    </a:lnTo>
                    <a:lnTo>
                      <a:pt x="1569" y="2930"/>
                    </a:lnTo>
                    <a:lnTo>
                      <a:pt x="1583" y="2938"/>
                    </a:lnTo>
                    <a:lnTo>
                      <a:pt x="1589" y="2941"/>
                    </a:lnTo>
                    <a:lnTo>
                      <a:pt x="1593" y="2944"/>
                    </a:lnTo>
                    <a:lnTo>
                      <a:pt x="1595" y="2948"/>
                    </a:lnTo>
                    <a:lnTo>
                      <a:pt x="1596" y="2951"/>
                    </a:lnTo>
                    <a:lnTo>
                      <a:pt x="1594" y="2964"/>
                    </a:lnTo>
                    <a:lnTo>
                      <a:pt x="1593" y="2976"/>
                    </a:lnTo>
                    <a:lnTo>
                      <a:pt x="1593" y="2988"/>
                    </a:lnTo>
                    <a:lnTo>
                      <a:pt x="1595" y="2997"/>
                    </a:lnTo>
                    <a:lnTo>
                      <a:pt x="1597" y="3004"/>
                    </a:lnTo>
                    <a:lnTo>
                      <a:pt x="1598" y="3007"/>
                    </a:lnTo>
                    <a:lnTo>
                      <a:pt x="1598" y="3010"/>
                    </a:lnTo>
                    <a:lnTo>
                      <a:pt x="1597" y="3012"/>
                    </a:lnTo>
                    <a:lnTo>
                      <a:pt x="1594" y="3021"/>
                    </a:lnTo>
                    <a:lnTo>
                      <a:pt x="1591" y="3034"/>
                    </a:lnTo>
                    <a:lnTo>
                      <a:pt x="1590" y="3048"/>
                    </a:lnTo>
                    <a:lnTo>
                      <a:pt x="1588" y="3056"/>
                    </a:lnTo>
                    <a:lnTo>
                      <a:pt x="1585" y="3063"/>
                    </a:lnTo>
                    <a:lnTo>
                      <a:pt x="1582" y="3076"/>
                    </a:lnTo>
                    <a:lnTo>
                      <a:pt x="1581" y="3087"/>
                    </a:lnTo>
                    <a:lnTo>
                      <a:pt x="1580" y="3093"/>
                    </a:lnTo>
                    <a:lnTo>
                      <a:pt x="1576" y="3093"/>
                    </a:lnTo>
                    <a:lnTo>
                      <a:pt x="1569" y="3092"/>
                    </a:lnTo>
                    <a:lnTo>
                      <a:pt x="1564" y="3092"/>
                    </a:lnTo>
                    <a:lnTo>
                      <a:pt x="1561" y="3093"/>
                    </a:lnTo>
                    <a:lnTo>
                      <a:pt x="1559" y="3094"/>
                    </a:lnTo>
                    <a:lnTo>
                      <a:pt x="1559" y="3096"/>
                    </a:lnTo>
                    <a:lnTo>
                      <a:pt x="1569" y="3102"/>
                    </a:lnTo>
                    <a:lnTo>
                      <a:pt x="1578" y="3107"/>
                    </a:lnTo>
                    <a:lnTo>
                      <a:pt x="1579" y="3112"/>
                    </a:lnTo>
                    <a:lnTo>
                      <a:pt x="1578" y="3118"/>
                    </a:lnTo>
                    <a:lnTo>
                      <a:pt x="1577" y="3122"/>
                    </a:lnTo>
                    <a:lnTo>
                      <a:pt x="1576" y="3125"/>
                    </a:lnTo>
                    <a:lnTo>
                      <a:pt x="1571" y="3130"/>
                    </a:lnTo>
                    <a:lnTo>
                      <a:pt x="1566" y="3134"/>
                    </a:lnTo>
                    <a:lnTo>
                      <a:pt x="1566" y="3143"/>
                    </a:lnTo>
                    <a:lnTo>
                      <a:pt x="1569" y="3154"/>
                    </a:lnTo>
                    <a:lnTo>
                      <a:pt x="1571" y="3158"/>
                    </a:lnTo>
                    <a:lnTo>
                      <a:pt x="1571" y="3160"/>
                    </a:lnTo>
                    <a:lnTo>
                      <a:pt x="1571" y="3162"/>
                    </a:lnTo>
                    <a:lnTo>
                      <a:pt x="1570" y="3164"/>
                    </a:lnTo>
                    <a:lnTo>
                      <a:pt x="1568" y="3171"/>
                    </a:lnTo>
                    <a:lnTo>
                      <a:pt x="1566" y="3178"/>
                    </a:lnTo>
                    <a:lnTo>
                      <a:pt x="1559" y="3190"/>
                    </a:lnTo>
                    <a:lnTo>
                      <a:pt x="1550" y="3206"/>
                    </a:lnTo>
                    <a:lnTo>
                      <a:pt x="1544" y="3212"/>
                    </a:lnTo>
                    <a:lnTo>
                      <a:pt x="1540" y="3216"/>
                    </a:lnTo>
                    <a:lnTo>
                      <a:pt x="1538" y="3219"/>
                    </a:lnTo>
                    <a:lnTo>
                      <a:pt x="1537" y="3221"/>
                    </a:lnTo>
                    <a:lnTo>
                      <a:pt x="1540" y="3224"/>
                    </a:lnTo>
                    <a:lnTo>
                      <a:pt x="1542" y="3225"/>
                    </a:lnTo>
                    <a:lnTo>
                      <a:pt x="1544" y="3226"/>
                    </a:lnTo>
                    <a:lnTo>
                      <a:pt x="1545" y="3227"/>
                    </a:lnTo>
                    <a:lnTo>
                      <a:pt x="1545" y="3227"/>
                    </a:lnTo>
                    <a:lnTo>
                      <a:pt x="1544" y="3228"/>
                    </a:lnTo>
                    <a:lnTo>
                      <a:pt x="1541" y="3230"/>
                    </a:lnTo>
                    <a:lnTo>
                      <a:pt x="1539" y="3230"/>
                    </a:lnTo>
                    <a:lnTo>
                      <a:pt x="1538" y="3231"/>
                    </a:lnTo>
                    <a:lnTo>
                      <a:pt x="1538" y="3233"/>
                    </a:lnTo>
                    <a:lnTo>
                      <a:pt x="1544" y="3239"/>
                    </a:lnTo>
                    <a:lnTo>
                      <a:pt x="1547" y="3246"/>
                    </a:lnTo>
                    <a:lnTo>
                      <a:pt x="1541" y="3251"/>
                    </a:lnTo>
                    <a:lnTo>
                      <a:pt x="1535" y="3256"/>
                    </a:lnTo>
                    <a:lnTo>
                      <a:pt x="1536" y="3260"/>
                    </a:lnTo>
                    <a:lnTo>
                      <a:pt x="1536" y="3271"/>
                    </a:lnTo>
                    <a:lnTo>
                      <a:pt x="1536" y="3277"/>
                    </a:lnTo>
                    <a:lnTo>
                      <a:pt x="1537" y="3283"/>
                    </a:lnTo>
                    <a:lnTo>
                      <a:pt x="1537" y="3285"/>
                    </a:lnTo>
                    <a:lnTo>
                      <a:pt x="1536" y="3289"/>
                    </a:lnTo>
                    <a:lnTo>
                      <a:pt x="1535" y="3291"/>
                    </a:lnTo>
                    <a:lnTo>
                      <a:pt x="1533" y="3292"/>
                    </a:lnTo>
                    <a:lnTo>
                      <a:pt x="1528" y="3295"/>
                    </a:lnTo>
                    <a:lnTo>
                      <a:pt x="1523" y="3297"/>
                    </a:lnTo>
                    <a:lnTo>
                      <a:pt x="1520" y="3298"/>
                    </a:lnTo>
                    <a:lnTo>
                      <a:pt x="1519" y="3299"/>
                    </a:lnTo>
                    <a:lnTo>
                      <a:pt x="1519" y="3301"/>
                    </a:lnTo>
                    <a:lnTo>
                      <a:pt x="1523" y="3304"/>
                    </a:lnTo>
                    <a:lnTo>
                      <a:pt x="1527" y="3308"/>
                    </a:lnTo>
                    <a:lnTo>
                      <a:pt x="1529" y="3312"/>
                    </a:lnTo>
                    <a:lnTo>
                      <a:pt x="1529" y="3314"/>
                    </a:lnTo>
                    <a:lnTo>
                      <a:pt x="1528" y="3315"/>
                    </a:lnTo>
                    <a:lnTo>
                      <a:pt x="1526" y="3316"/>
                    </a:lnTo>
                    <a:lnTo>
                      <a:pt x="1523" y="3316"/>
                    </a:lnTo>
                    <a:lnTo>
                      <a:pt x="1522" y="3316"/>
                    </a:lnTo>
                    <a:lnTo>
                      <a:pt x="1522" y="3316"/>
                    </a:lnTo>
                    <a:lnTo>
                      <a:pt x="1520" y="3317"/>
                    </a:lnTo>
                    <a:lnTo>
                      <a:pt x="1522" y="3319"/>
                    </a:lnTo>
                    <a:lnTo>
                      <a:pt x="1523" y="3321"/>
                    </a:lnTo>
                    <a:lnTo>
                      <a:pt x="1525" y="3323"/>
                    </a:lnTo>
                    <a:lnTo>
                      <a:pt x="1525" y="3323"/>
                    </a:lnTo>
                    <a:lnTo>
                      <a:pt x="1526" y="3324"/>
                    </a:lnTo>
                    <a:lnTo>
                      <a:pt x="1525" y="3325"/>
                    </a:lnTo>
                    <a:lnTo>
                      <a:pt x="1524" y="3327"/>
                    </a:lnTo>
                    <a:lnTo>
                      <a:pt x="1517" y="3329"/>
                    </a:lnTo>
                    <a:lnTo>
                      <a:pt x="1511" y="3333"/>
                    </a:lnTo>
                    <a:lnTo>
                      <a:pt x="1509" y="3334"/>
                    </a:lnTo>
                    <a:lnTo>
                      <a:pt x="1508" y="3336"/>
                    </a:lnTo>
                    <a:lnTo>
                      <a:pt x="1509" y="3338"/>
                    </a:lnTo>
                    <a:lnTo>
                      <a:pt x="1511" y="3341"/>
                    </a:lnTo>
                    <a:lnTo>
                      <a:pt x="1514" y="3343"/>
                    </a:lnTo>
                    <a:lnTo>
                      <a:pt x="1515" y="3344"/>
                    </a:lnTo>
                    <a:lnTo>
                      <a:pt x="1516" y="3344"/>
                    </a:lnTo>
                    <a:lnTo>
                      <a:pt x="1517" y="3344"/>
                    </a:lnTo>
                    <a:lnTo>
                      <a:pt x="1518" y="3340"/>
                    </a:lnTo>
                    <a:lnTo>
                      <a:pt x="1522" y="3337"/>
                    </a:lnTo>
                    <a:lnTo>
                      <a:pt x="1526" y="3335"/>
                    </a:lnTo>
                    <a:lnTo>
                      <a:pt x="1529" y="3334"/>
                    </a:lnTo>
                    <a:lnTo>
                      <a:pt x="1530" y="3335"/>
                    </a:lnTo>
                    <a:lnTo>
                      <a:pt x="1531" y="3336"/>
                    </a:lnTo>
                    <a:lnTo>
                      <a:pt x="1530" y="3337"/>
                    </a:lnTo>
                    <a:lnTo>
                      <a:pt x="1530" y="3339"/>
                    </a:lnTo>
                    <a:lnTo>
                      <a:pt x="1525" y="3344"/>
                    </a:lnTo>
                    <a:lnTo>
                      <a:pt x="1520" y="3347"/>
                    </a:lnTo>
                    <a:lnTo>
                      <a:pt x="1525" y="3353"/>
                    </a:lnTo>
                    <a:lnTo>
                      <a:pt x="1528" y="3360"/>
                    </a:lnTo>
                    <a:lnTo>
                      <a:pt x="1524" y="3362"/>
                    </a:lnTo>
                    <a:lnTo>
                      <a:pt x="1520" y="3366"/>
                    </a:lnTo>
                    <a:lnTo>
                      <a:pt x="1523" y="3370"/>
                    </a:lnTo>
                    <a:lnTo>
                      <a:pt x="1526" y="3372"/>
                    </a:lnTo>
                    <a:lnTo>
                      <a:pt x="1524" y="3375"/>
                    </a:lnTo>
                    <a:lnTo>
                      <a:pt x="1522" y="3378"/>
                    </a:lnTo>
                    <a:lnTo>
                      <a:pt x="1525" y="3380"/>
                    </a:lnTo>
                    <a:lnTo>
                      <a:pt x="1528" y="3382"/>
                    </a:lnTo>
                    <a:lnTo>
                      <a:pt x="1535" y="3385"/>
                    </a:lnTo>
                    <a:lnTo>
                      <a:pt x="1550" y="3391"/>
                    </a:lnTo>
                    <a:lnTo>
                      <a:pt x="1566" y="3399"/>
                    </a:lnTo>
                    <a:lnTo>
                      <a:pt x="1576" y="3402"/>
                    </a:lnTo>
                    <a:lnTo>
                      <a:pt x="1580" y="3403"/>
                    </a:lnTo>
                    <a:lnTo>
                      <a:pt x="1582" y="3404"/>
                    </a:lnTo>
                    <a:lnTo>
                      <a:pt x="1583" y="3405"/>
                    </a:lnTo>
                    <a:lnTo>
                      <a:pt x="1582" y="3406"/>
                    </a:lnTo>
                    <a:lnTo>
                      <a:pt x="1584" y="3406"/>
                    </a:lnTo>
                    <a:lnTo>
                      <a:pt x="1584" y="3406"/>
                    </a:lnTo>
                    <a:lnTo>
                      <a:pt x="1586" y="3407"/>
                    </a:lnTo>
                    <a:lnTo>
                      <a:pt x="1590" y="3407"/>
                    </a:lnTo>
                    <a:lnTo>
                      <a:pt x="1595" y="3408"/>
                    </a:lnTo>
                    <a:lnTo>
                      <a:pt x="1610" y="3409"/>
                    </a:lnTo>
                    <a:lnTo>
                      <a:pt x="1625" y="3410"/>
                    </a:lnTo>
                    <a:lnTo>
                      <a:pt x="1639" y="3411"/>
                    </a:lnTo>
                    <a:lnTo>
                      <a:pt x="1649" y="3413"/>
                    </a:lnTo>
                    <a:lnTo>
                      <a:pt x="1656" y="3413"/>
                    </a:lnTo>
                    <a:lnTo>
                      <a:pt x="1659" y="3412"/>
                    </a:lnTo>
                    <a:lnTo>
                      <a:pt x="1663" y="3411"/>
                    </a:lnTo>
                    <a:lnTo>
                      <a:pt x="1671" y="3408"/>
                    </a:lnTo>
                    <a:lnTo>
                      <a:pt x="1685" y="3405"/>
                    </a:lnTo>
                    <a:lnTo>
                      <a:pt x="1693" y="3406"/>
                    </a:lnTo>
                    <a:lnTo>
                      <a:pt x="1699" y="3406"/>
                    </a:lnTo>
                    <a:lnTo>
                      <a:pt x="1703" y="3406"/>
                    </a:lnTo>
                    <a:lnTo>
                      <a:pt x="1708" y="3406"/>
                    </a:lnTo>
                    <a:lnTo>
                      <a:pt x="1713" y="3405"/>
                    </a:lnTo>
                    <a:lnTo>
                      <a:pt x="1713" y="3405"/>
                    </a:lnTo>
                    <a:close/>
                    <a:moveTo>
                      <a:pt x="2792" y="423"/>
                    </a:moveTo>
                    <a:lnTo>
                      <a:pt x="2810" y="439"/>
                    </a:lnTo>
                    <a:lnTo>
                      <a:pt x="2828" y="455"/>
                    </a:lnTo>
                    <a:lnTo>
                      <a:pt x="2845" y="471"/>
                    </a:lnTo>
                    <a:lnTo>
                      <a:pt x="2862" y="488"/>
                    </a:lnTo>
                    <a:lnTo>
                      <a:pt x="2863" y="489"/>
                    </a:lnTo>
                    <a:lnTo>
                      <a:pt x="2863" y="489"/>
                    </a:lnTo>
                    <a:lnTo>
                      <a:pt x="2863" y="490"/>
                    </a:lnTo>
                    <a:lnTo>
                      <a:pt x="2875" y="503"/>
                    </a:lnTo>
                    <a:lnTo>
                      <a:pt x="2888" y="515"/>
                    </a:lnTo>
                    <a:lnTo>
                      <a:pt x="2896" y="523"/>
                    </a:lnTo>
                    <a:lnTo>
                      <a:pt x="2904" y="531"/>
                    </a:lnTo>
                    <a:lnTo>
                      <a:pt x="2906" y="534"/>
                    </a:lnTo>
                    <a:lnTo>
                      <a:pt x="2909" y="537"/>
                    </a:lnTo>
                    <a:lnTo>
                      <a:pt x="2915" y="544"/>
                    </a:lnTo>
                    <a:lnTo>
                      <a:pt x="2922" y="552"/>
                    </a:lnTo>
                    <a:lnTo>
                      <a:pt x="2929" y="559"/>
                    </a:lnTo>
                    <a:lnTo>
                      <a:pt x="2932" y="564"/>
                    </a:lnTo>
                    <a:lnTo>
                      <a:pt x="2935" y="567"/>
                    </a:lnTo>
                    <a:lnTo>
                      <a:pt x="2937" y="571"/>
                    </a:lnTo>
                    <a:lnTo>
                      <a:pt x="2937" y="573"/>
                    </a:lnTo>
                    <a:lnTo>
                      <a:pt x="2937" y="573"/>
                    </a:lnTo>
                    <a:lnTo>
                      <a:pt x="2937" y="573"/>
                    </a:lnTo>
                    <a:lnTo>
                      <a:pt x="2936" y="573"/>
                    </a:lnTo>
                    <a:lnTo>
                      <a:pt x="2932" y="566"/>
                    </a:lnTo>
                    <a:lnTo>
                      <a:pt x="2928" y="559"/>
                    </a:lnTo>
                    <a:lnTo>
                      <a:pt x="2921" y="555"/>
                    </a:lnTo>
                    <a:lnTo>
                      <a:pt x="2913" y="548"/>
                    </a:lnTo>
                    <a:lnTo>
                      <a:pt x="2906" y="539"/>
                    </a:lnTo>
                    <a:lnTo>
                      <a:pt x="2902" y="533"/>
                    </a:lnTo>
                    <a:lnTo>
                      <a:pt x="2896" y="526"/>
                    </a:lnTo>
                    <a:lnTo>
                      <a:pt x="2891" y="520"/>
                    </a:lnTo>
                    <a:lnTo>
                      <a:pt x="2884" y="513"/>
                    </a:lnTo>
                    <a:lnTo>
                      <a:pt x="2873" y="501"/>
                    </a:lnTo>
                    <a:lnTo>
                      <a:pt x="2875" y="506"/>
                    </a:lnTo>
                    <a:lnTo>
                      <a:pt x="2885" y="520"/>
                    </a:lnTo>
                    <a:lnTo>
                      <a:pt x="2895" y="537"/>
                    </a:lnTo>
                    <a:lnTo>
                      <a:pt x="2902" y="548"/>
                    </a:lnTo>
                    <a:lnTo>
                      <a:pt x="2905" y="552"/>
                    </a:lnTo>
                    <a:lnTo>
                      <a:pt x="2905" y="555"/>
                    </a:lnTo>
                    <a:lnTo>
                      <a:pt x="2902" y="555"/>
                    </a:lnTo>
                    <a:lnTo>
                      <a:pt x="2898" y="551"/>
                    </a:lnTo>
                    <a:lnTo>
                      <a:pt x="2889" y="541"/>
                    </a:lnTo>
                    <a:lnTo>
                      <a:pt x="2876" y="528"/>
                    </a:lnTo>
                    <a:lnTo>
                      <a:pt x="2863" y="513"/>
                    </a:lnTo>
                    <a:lnTo>
                      <a:pt x="2854" y="504"/>
                    </a:lnTo>
                    <a:lnTo>
                      <a:pt x="2852" y="501"/>
                    </a:lnTo>
                    <a:lnTo>
                      <a:pt x="2851" y="499"/>
                    </a:lnTo>
                    <a:lnTo>
                      <a:pt x="2852" y="499"/>
                    </a:lnTo>
                    <a:lnTo>
                      <a:pt x="2853" y="499"/>
                    </a:lnTo>
                    <a:lnTo>
                      <a:pt x="2855" y="499"/>
                    </a:lnTo>
                    <a:lnTo>
                      <a:pt x="2856" y="499"/>
                    </a:lnTo>
                    <a:lnTo>
                      <a:pt x="2857" y="499"/>
                    </a:lnTo>
                    <a:lnTo>
                      <a:pt x="2857" y="498"/>
                    </a:lnTo>
                    <a:lnTo>
                      <a:pt x="2849" y="490"/>
                    </a:lnTo>
                    <a:lnTo>
                      <a:pt x="2839" y="481"/>
                    </a:lnTo>
                    <a:lnTo>
                      <a:pt x="2834" y="475"/>
                    </a:lnTo>
                    <a:lnTo>
                      <a:pt x="2834" y="474"/>
                    </a:lnTo>
                    <a:lnTo>
                      <a:pt x="2836" y="474"/>
                    </a:lnTo>
                    <a:lnTo>
                      <a:pt x="2837" y="474"/>
                    </a:lnTo>
                    <a:lnTo>
                      <a:pt x="2837" y="474"/>
                    </a:lnTo>
                    <a:lnTo>
                      <a:pt x="2840" y="475"/>
                    </a:lnTo>
                    <a:lnTo>
                      <a:pt x="2841" y="475"/>
                    </a:lnTo>
                    <a:lnTo>
                      <a:pt x="2842" y="475"/>
                    </a:lnTo>
                    <a:lnTo>
                      <a:pt x="2841" y="474"/>
                    </a:lnTo>
                    <a:lnTo>
                      <a:pt x="2840" y="472"/>
                    </a:lnTo>
                    <a:lnTo>
                      <a:pt x="2832" y="468"/>
                    </a:lnTo>
                    <a:lnTo>
                      <a:pt x="2826" y="466"/>
                    </a:lnTo>
                    <a:lnTo>
                      <a:pt x="2819" y="459"/>
                    </a:lnTo>
                    <a:lnTo>
                      <a:pt x="2809" y="449"/>
                    </a:lnTo>
                    <a:lnTo>
                      <a:pt x="2808" y="449"/>
                    </a:lnTo>
                    <a:lnTo>
                      <a:pt x="2813" y="457"/>
                    </a:lnTo>
                    <a:lnTo>
                      <a:pt x="2812" y="456"/>
                    </a:lnTo>
                    <a:lnTo>
                      <a:pt x="2806" y="450"/>
                    </a:lnTo>
                    <a:lnTo>
                      <a:pt x="2798" y="441"/>
                    </a:lnTo>
                    <a:lnTo>
                      <a:pt x="2790" y="431"/>
                    </a:lnTo>
                    <a:lnTo>
                      <a:pt x="2788" y="430"/>
                    </a:lnTo>
                    <a:lnTo>
                      <a:pt x="2785" y="427"/>
                    </a:lnTo>
                    <a:lnTo>
                      <a:pt x="2782" y="425"/>
                    </a:lnTo>
                    <a:lnTo>
                      <a:pt x="2779" y="421"/>
                    </a:lnTo>
                    <a:lnTo>
                      <a:pt x="2785" y="426"/>
                    </a:lnTo>
                    <a:lnTo>
                      <a:pt x="2790" y="429"/>
                    </a:lnTo>
                    <a:lnTo>
                      <a:pt x="2782" y="421"/>
                    </a:lnTo>
                    <a:lnTo>
                      <a:pt x="2770" y="409"/>
                    </a:lnTo>
                    <a:lnTo>
                      <a:pt x="2759" y="399"/>
                    </a:lnTo>
                    <a:lnTo>
                      <a:pt x="2749" y="389"/>
                    </a:lnTo>
                    <a:lnTo>
                      <a:pt x="2751" y="388"/>
                    </a:lnTo>
                    <a:lnTo>
                      <a:pt x="2758" y="394"/>
                    </a:lnTo>
                    <a:lnTo>
                      <a:pt x="2767" y="402"/>
                    </a:lnTo>
                    <a:lnTo>
                      <a:pt x="2775" y="407"/>
                    </a:lnTo>
                    <a:lnTo>
                      <a:pt x="2788" y="420"/>
                    </a:lnTo>
                    <a:lnTo>
                      <a:pt x="2795" y="425"/>
                    </a:lnTo>
                    <a:lnTo>
                      <a:pt x="2793" y="424"/>
                    </a:lnTo>
                    <a:lnTo>
                      <a:pt x="2792" y="423"/>
                    </a:lnTo>
                    <a:close/>
                    <a:moveTo>
                      <a:pt x="3239" y="1053"/>
                    </a:moveTo>
                    <a:lnTo>
                      <a:pt x="3253" y="1090"/>
                    </a:lnTo>
                    <a:lnTo>
                      <a:pt x="3268" y="1129"/>
                    </a:lnTo>
                    <a:lnTo>
                      <a:pt x="3281" y="1168"/>
                    </a:lnTo>
                    <a:lnTo>
                      <a:pt x="3293" y="1208"/>
                    </a:lnTo>
                    <a:lnTo>
                      <a:pt x="3305" y="1247"/>
                    </a:lnTo>
                    <a:lnTo>
                      <a:pt x="3315" y="1287"/>
                    </a:lnTo>
                    <a:lnTo>
                      <a:pt x="3326" y="1328"/>
                    </a:lnTo>
                    <a:lnTo>
                      <a:pt x="3334" y="1369"/>
                    </a:lnTo>
                    <a:lnTo>
                      <a:pt x="3341" y="1410"/>
                    </a:lnTo>
                    <a:lnTo>
                      <a:pt x="3349" y="1452"/>
                    </a:lnTo>
                    <a:lnTo>
                      <a:pt x="3354" y="1494"/>
                    </a:lnTo>
                    <a:lnTo>
                      <a:pt x="3359" y="1536"/>
                    </a:lnTo>
                    <a:lnTo>
                      <a:pt x="3362" y="1579"/>
                    </a:lnTo>
                    <a:lnTo>
                      <a:pt x="3366" y="1622"/>
                    </a:lnTo>
                    <a:lnTo>
                      <a:pt x="3367" y="1664"/>
                    </a:lnTo>
                    <a:lnTo>
                      <a:pt x="3368" y="1707"/>
                    </a:lnTo>
                    <a:lnTo>
                      <a:pt x="3368" y="1738"/>
                    </a:lnTo>
                    <a:lnTo>
                      <a:pt x="3367" y="1768"/>
                    </a:lnTo>
                    <a:lnTo>
                      <a:pt x="3366" y="1799"/>
                    </a:lnTo>
                    <a:lnTo>
                      <a:pt x="3363" y="1829"/>
                    </a:lnTo>
                    <a:lnTo>
                      <a:pt x="3361" y="1859"/>
                    </a:lnTo>
                    <a:lnTo>
                      <a:pt x="3358" y="1889"/>
                    </a:lnTo>
                    <a:lnTo>
                      <a:pt x="3355" y="1918"/>
                    </a:lnTo>
                    <a:lnTo>
                      <a:pt x="3351" y="1948"/>
                    </a:lnTo>
                    <a:lnTo>
                      <a:pt x="3351" y="1948"/>
                    </a:lnTo>
                    <a:lnTo>
                      <a:pt x="3350" y="1956"/>
                    </a:lnTo>
                    <a:lnTo>
                      <a:pt x="3349" y="1957"/>
                    </a:lnTo>
                    <a:lnTo>
                      <a:pt x="3349" y="1949"/>
                    </a:lnTo>
                    <a:lnTo>
                      <a:pt x="3349" y="1937"/>
                    </a:lnTo>
                    <a:lnTo>
                      <a:pt x="3348" y="1923"/>
                    </a:lnTo>
                    <a:lnTo>
                      <a:pt x="3348" y="1916"/>
                    </a:lnTo>
                    <a:lnTo>
                      <a:pt x="3348" y="1914"/>
                    </a:lnTo>
                    <a:lnTo>
                      <a:pt x="3347" y="1913"/>
                    </a:lnTo>
                    <a:lnTo>
                      <a:pt x="3347" y="1912"/>
                    </a:lnTo>
                    <a:lnTo>
                      <a:pt x="3346" y="1913"/>
                    </a:lnTo>
                    <a:lnTo>
                      <a:pt x="3345" y="1918"/>
                    </a:lnTo>
                    <a:lnTo>
                      <a:pt x="3345" y="1923"/>
                    </a:lnTo>
                    <a:lnTo>
                      <a:pt x="3345" y="1930"/>
                    </a:lnTo>
                    <a:lnTo>
                      <a:pt x="3345" y="1938"/>
                    </a:lnTo>
                    <a:lnTo>
                      <a:pt x="3344" y="1953"/>
                    </a:lnTo>
                    <a:lnTo>
                      <a:pt x="3344" y="1968"/>
                    </a:lnTo>
                    <a:lnTo>
                      <a:pt x="3345" y="1967"/>
                    </a:lnTo>
                    <a:lnTo>
                      <a:pt x="3345" y="1971"/>
                    </a:lnTo>
                    <a:lnTo>
                      <a:pt x="3343" y="1985"/>
                    </a:lnTo>
                    <a:lnTo>
                      <a:pt x="3341" y="1997"/>
                    </a:lnTo>
                    <a:lnTo>
                      <a:pt x="3341" y="1998"/>
                    </a:lnTo>
                    <a:lnTo>
                      <a:pt x="3343" y="1992"/>
                    </a:lnTo>
                    <a:lnTo>
                      <a:pt x="3344" y="1989"/>
                    </a:lnTo>
                    <a:lnTo>
                      <a:pt x="3346" y="1982"/>
                    </a:lnTo>
                    <a:lnTo>
                      <a:pt x="3348" y="1970"/>
                    </a:lnTo>
                    <a:lnTo>
                      <a:pt x="3349" y="1962"/>
                    </a:lnTo>
                    <a:lnTo>
                      <a:pt x="3349" y="1963"/>
                    </a:lnTo>
                    <a:lnTo>
                      <a:pt x="3349" y="1963"/>
                    </a:lnTo>
                    <a:lnTo>
                      <a:pt x="3344" y="1998"/>
                    </a:lnTo>
                    <a:lnTo>
                      <a:pt x="3337" y="2032"/>
                    </a:lnTo>
                    <a:lnTo>
                      <a:pt x="3330" y="2067"/>
                    </a:lnTo>
                    <a:lnTo>
                      <a:pt x="3323" y="2100"/>
                    </a:lnTo>
                    <a:lnTo>
                      <a:pt x="3323" y="2100"/>
                    </a:lnTo>
                    <a:lnTo>
                      <a:pt x="3319" y="2110"/>
                    </a:lnTo>
                    <a:lnTo>
                      <a:pt x="3317" y="2120"/>
                    </a:lnTo>
                    <a:lnTo>
                      <a:pt x="3312" y="2136"/>
                    </a:lnTo>
                    <a:lnTo>
                      <a:pt x="3307" y="2152"/>
                    </a:lnTo>
                    <a:lnTo>
                      <a:pt x="3302" y="2164"/>
                    </a:lnTo>
                    <a:lnTo>
                      <a:pt x="3300" y="2170"/>
                    </a:lnTo>
                    <a:lnTo>
                      <a:pt x="3297" y="2174"/>
                    </a:lnTo>
                    <a:lnTo>
                      <a:pt x="3293" y="2180"/>
                    </a:lnTo>
                    <a:lnTo>
                      <a:pt x="3292" y="2182"/>
                    </a:lnTo>
                    <a:lnTo>
                      <a:pt x="3291" y="2184"/>
                    </a:lnTo>
                    <a:lnTo>
                      <a:pt x="3290" y="2183"/>
                    </a:lnTo>
                    <a:lnTo>
                      <a:pt x="3290" y="2181"/>
                    </a:lnTo>
                    <a:lnTo>
                      <a:pt x="3292" y="2170"/>
                    </a:lnTo>
                    <a:lnTo>
                      <a:pt x="3293" y="2153"/>
                    </a:lnTo>
                    <a:lnTo>
                      <a:pt x="3295" y="2138"/>
                    </a:lnTo>
                    <a:lnTo>
                      <a:pt x="3296" y="2131"/>
                    </a:lnTo>
                    <a:lnTo>
                      <a:pt x="3295" y="2127"/>
                    </a:lnTo>
                    <a:lnTo>
                      <a:pt x="3293" y="2115"/>
                    </a:lnTo>
                    <a:lnTo>
                      <a:pt x="3292" y="2108"/>
                    </a:lnTo>
                    <a:lnTo>
                      <a:pt x="3292" y="2100"/>
                    </a:lnTo>
                    <a:lnTo>
                      <a:pt x="3292" y="2092"/>
                    </a:lnTo>
                    <a:lnTo>
                      <a:pt x="3293" y="2085"/>
                    </a:lnTo>
                    <a:lnTo>
                      <a:pt x="3295" y="2073"/>
                    </a:lnTo>
                    <a:lnTo>
                      <a:pt x="3297" y="2062"/>
                    </a:lnTo>
                    <a:lnTo>
                      <a:pt x="3297" y="2052"/>
                    </a:lnTo>
                    <a:lnTo>
                      <a:pt x="3297" y="2045"/>
                    </a:lnTo>
                    <a:lnTo>
                      <a:pt x="3295" y="2032"/>
                    </a:lnTo>
                    <a:lnTo>
                      <a:pt x="3293" y="2012"/>
                    </a:lnTo>
                    <a:lnTo>
                      <a:pt x="3292" y="1992"/>
                    </a:lnTo>
                    <a:lnTo>
                      <a:pt x="3291" y="1980"/>
                    </a:lnTo>
                    <a:lnTo>
                      <a:pt x="3290" y="1971"/>
                    </a:lnTo>
                    <a:lnTo>
                      <a:pt x="3290" y="1959"/>
                    </a:lnTo>
                    <a:lnTo>
                      <a:pt x="3290" y="1946"/>
                    </a:lnTo>
                    <a:lnTo>
                      <a:pt x="3290" y="1938"/>
                    </a:lnTo>
                    <a:lnTo>
                      <a:pt x="3289" y="1938"/>
                    </a:lnTo>
                    <a:lnTo>
                      <a:pt x="3287" y="1945"/>
                    </a:lnTo>
                    <a:lnTo>
                      <a:pt x="3286" y="1955"/>
                    </a:lnTo>
                    <a:lnTo>
                      <a:pt x="3285" y="1962"/>
                    </a:lnTo>
                    <a:lnTo>
                      <a:pt x="3285" y="1964"/>
                    </a:lnTo>
                    <a:lnTo>
                      <a:pt x="3285" y="1964"/>
                    </a:lnTo>
                    <a:lnTo>
                      <a:pt x="3284" y="1964"/>
                    </a:lnTo>
                    <a:lnTo>
                      <a:pt x="3284" y="1964"/>
                    </a:lnTo>
                    <a:lnTo>
                      <a:pt x="3282" y="1962"/>
                    </a:lnTo>
                    <a:lnTo>
                      <a:pt x="3281" y="1958"/>
                    </a:lnTo>
                    <a:lnTo>
                      <a:pt x="3279" y="1949"/>
                    </a:lnTo>
                    <a:lnTo>
                      <a:pt x="3277" y="1946"/>
                    </a:lnTo>
                    <a:lnTo>
                      <a:pt x="3278" y="1956"/>
                    </a:lnTo>
                    <a:lnTo>
                      <a:pt x="3280" y="1966"/>
                    </a:lnTo>
                    <a:lnTo>
                      <a:pt x="3281" y="1970"/>
                    </a:lnTo>
                    <a:lnTo>
                      <a:pt x="3282" y="1979"/>
                    </a:lnTo>
                    <a:lnTo>
                      <a:pt x="3282" y="1986"/>
                    </a:lnTo>
                    <a:lnTo>
                      <a:pt x="3282" y="1996"/>
                    </a:lnTo>
                    <a:lnTo>
                      <a:pt x="3282" y="2004"/>
                    </a:lnTo>
                    <a:lnTo>
                      <a:pt x="3283" y="2010"/>
                    </a:lnTo>
                    <a:lnTo>
                      <a:pt x="3283" y="2020"/>
                    </a:lnTo>
                    <a:lnTo>
                      <a:pt x="3284" y="2033"/>
                    </a:lnTo>
                    <a:lnTo>
                      <a:pt x="3284" y="2047"/>
                    </a:lnTo>
                    <a:lnTo>
                      <a:pt x="3284" y="2053"/>
                    </a:lnTo>
                    <a:lnTo>
                      <a:pt x="3284" y="2065"/>
                    </a:lnTo>
                    <a:lnTo>
                      <a:pt x="3283" y="2085"/>
                    </a:lnTo>
                    <a:lnTo>
                      <a:pt x="3283" y="2095"/>
                    </a:lnTo>
                    <a:lnTo>
                      <a:pt x="3282" y="2109"/>
                    </a:lnTo>
                    <a:lnTo>
                      <a:pt x="3282" y="2121"/>
                    </a:lnTo>
                    <a:lnTo>
                      <a:pt x="3282" y="2128"/>
                    </a:lnTo>
                    <a:lnTo>
                      <a:pt x="3284" y="2131"/>
                    </a:lnTo>
                    <a:lnTo>
                      <a:pt x="3286" y="2135"/>
                    </a:lnTo>
                    <a:lnTo>
                      <a:pt x="3289" y="2140"/>
                    </a:lnTo>
                    <a:lnTo>
                      <a:pt x="3289" y="2145"/>
                    </a:lnTo>
                    <a:lnTo>
                      <a:pt x="3286" y="2157"/>
                    </a:lnTo>
                    <a:lnTo>
                      <a:pt x="3286" y="2165"/>
                    </a:lnTo>
                    <a:lnTo>
                      <a:pt x="3285" y="2179"/>
                    </a:lnTo>
                    <a:lnTo>
                      <a:pt x="3283" y="2197"/>
                    </a:lnTo>
                    <a:lnTo>
                      <a:pt x="3282" y="2202"/>
                    </a:lnTo>
                    <a:lnTo>
                      <a:pt x="3282" y="2207"/>
                    </a:lnTo>
                    <a:lnTo>
                      <a:pt x="3282" y="2209"/>
                    </a:lnTo>
                    <a:lnTo>
                      <a:pt x="3282" y="2210"/>
                    </a:lnTo>
                    <a:lnTo>
                      <a:pt x="3283" y="2210"/>
                    </a:lnTo>
                    <a:lnTo>
                      <a:pt x="3284" y="2209"/>
                    </a:lnTo>
                    <a:lnTo>
                      <a:pt x="3289" y="2200"/>
                    </a:lnTo>
                    <a:lnTo>
                      <a:pt x="3296" y="2185"/>
                    </a:lnTo>
                    <a:lnTo>
                      <a:pt x="3300" y="2179"/>
                    </a:lnTo>
                    <a:lnTo>
                      <a:pt x="3302" y="2174"/>
                    </a:lnTo>
                    <a:lnTo>
                      <a:pt x="3303" y="2173"/>
                    </a:lnTo>
                    <a:lnTo>
                      <a:pt x="3303" y="2173"/>
                    </a:lnTo>
                    <a:lnTo>
                      <a:pt x="3303" y="2174"/>
                    </a:lnTo>
                    <a:lnTo>
                      <a:pt x="3303" y="2176"/>
                    </a:lnTo>
                    <a:lnTo>
                      <a:pt x="3297" y="2194"/>
                    </a:lnTo>
                    <a:lnTo>
                      <a:pt x="3289" y="2220"/>
                    </a:lnTo>
                    <a:lnTo>
                      <a:pt x="3281" y="2245"/>
                    </a:lnTo>
                    <a:lnTo>
                      <a:pt x="3275" y="2263"/>
                    </a:lnTo>
                    <a:lnTo>
                      <a:pt x="3270" y="2277"/>
                    </a:lnTo>
                    <a:lnTo>
                      <a:pt x="3263" y="2294"/>
                    </a:lnTo>
                    <a:lnTo>
                      <a:pt x="3257" y="2312"/>
                    </a:lnTo>
                    <a:lnTo>
                      <a:pt x="3250" y="2327"/>
                    </a:lnTo>
                    <a:lnTo>
                      <a:pt x="3241" y="2348"/>
                    </a:lnTo>
                    <a:lnTo>
                      <a:pt x="3227" y="2376"/>
                    </a:lnTo>
                    <a:lnTo>
                      <a:pt x="3215" y="2403"/>
                    </a:lnTo>
                    <a:lnTo>
                      <a:pt x="3206" y="2422"/>
                    </a:lnTo>
                    <a:lnTo>
                      <a:pt x="3201" y="2434"/>
                    </a:lnTo>
                    <a:lnTo>
                      <a:pt x="3197" y="2443"/>
                    </a:lnTo>
                    <a:lnTo>
                      <a:pt x="3193" y="2453"/>
                    </a:lnTo>
                    <a:lnTo>
                      <a:pt x="3190" y="2462"/>
                    </a:lnTo>
                    <a:lnTo>
                      <a:pt x="3183" y="2475"/>
                    </a:lnTo>
                    <a:lnTo>
                      <a:pt x="3181" y="2481"/>
                    </a:lnTo>
                    <a:lnTo>
                      <a:pt x="3177" y="2490"/>
                    </a:lnTo>
                    <a:lnTo>
                      <a:pt x="3171" y="2506"/>
                    </a:lnTo>
                    <a:lnTo>
                      <a:pt x="3163" y="2519"/>
                    </a:lnTo>
                    <a:lnTo>
                      <a:pt x="3153" y="2539"/>
                    </a:lnTo>
                    <a:lnTo>
                      <a:pt x="3141" y="2560"/>
                    </a:lnTo>
                    <a:lnTo>
                      <a:pt x="3135" y="2571"/>
                    </a:lnTo>
                    <a:lnTo>
                      <a:pt x="3130" y="2579"/>
                    </a:lnTo>
                    <a:lnTo>
                      <a:pt x="3121" y="2594"/>
                    </a:lnTo>
                    <a:lnTo>
                      <a:pt x="3112" y="2610"/>
                    </a:lnTo>
                    <a:lnTo>
                      <a:pt x="3106" y="2620"/>
                    </a:lnTo>
                    <a:lnTo>
                      <a:pt x="3096" y="2633"/>
                    </a:lnTo>
                    <a:lnTo>
                      <a:pt x="3090" y="2644"/>
                    </a:lnTo>
                    <a:lnTo>
                      <a:pt x="3088" y="2648"/>
                    </a:lnTo>
                    <a:lnTo>
                      <a:pt x="3085" y="2654"/>
                    </a:lnTo>
                    <a:lnTo>
                      <a:pt x="3081" y="2660"/>
                    </a:lnTo>
                    <a:lnTo>
                      <a:pt x="3074" y="2669"/>
                    </a:lnTo>
                    <a:lnTo>
                      <a:pt x="3067" y="2680"/>
                    </a:lnTo>
                    <a:lnTo>
                      <a:pt x="3062" y="2688"/>
                    </a:lnTo>
                    <a:lnTo>
                      <a:pt x="3059" y="2691"/>
                    </a:lnTo>
                    <a:lnTo>
                      <a:pt x="3056" y="2695"/>
                    </a:lnTo>
                    <a:lnTo>
                      <a:pt x="3050" y="2704"/>
                    </a:lnTo>
                    <a:lnTo>
                      <a:pt x="3044" y="2713"/>
                    </a:lnTo>
                    <a:lnTo>
                      <a:pt x="3042" y="2715"/>
                    </a:lnTo>
                    <a:lnTo>
                      <a:pt x="3042" y="2715"/>
                    </a:lnTo>
                    <a:lnTo>
                      <a:pt x="3042" y="2715"/>
                    </a:lnTo>
                    <a:lnTo>
                      <a:pt x="3034" y="2726"/>
                    </a:lnTo>
                    <a:lnTo>
                      <a:pt x="3026" y="2736"/>
                    </a:lnTo>
                    <a:lnTo>
                      <a:pt x="3026" y="2736"/>
                    </a:lnTo>
                    <a:lnTo>
                      <a:pt x="3025" y="2739"/>
                    </a:lnTo>
                    <a:lnTo>
                      <a:pt x="3024" y="2739"/>
                    </a:lnTo>
                    <a:lnTo>
                      <a:pt x="3024" y="2739"/>
                    </a:lnTo>
                    <a:lnTo>
                      <a:pt x="3006" y="2764"/>
                    </a:lnTo>
                    <a:lnTo>
                      <a:pt x="2986" y="2788"/>
                    </a:lnTo>
                    <a:lnTo>
                      <a:pt x="2967" y="2812"/>
                    </a:lnTo>
                    <a:lnTo>
                      <a:pt x="2948" y="2835"/>
                    </a:lnTo>
                    <a:lnTo>
                      <a:pt x="2940" y="2843"/>
                    </a:lnTo>
                    <a:lnTo>
                      <a:pt x="2933" y="2852"/>
                    </a:lnTo>
                    <a:lnTo>
                      <a:pt x="2924" y="2859"/>
                    </a:lnTo>
                    <a:lnTo>
                      <a:pt x="2917" y="2867"/>
                    </a:lnTo>
                    <a:lnTo>
                      <a:pt x="2905" y="2880"/>
                    </a:lnTo>
                    <a:lnTo>
                      <a:pt x="2897" y="2887"/>
                    </a:lnTo>
                    <a:lnTo>
                      <a:pt x="2891" y="2892"/>
                    </a:lnTo>
                    <a:lnTo>
                      <a:pt x="2889" y="2892"/>
                    </a:lnTo>
                    <a:lnTo>
                      <a:pt x="2889" y="2890"/>
                    </a:lnTo>
                    <a:lnTo>
                      <a:pt x="2889" y="2888"/>
                    </a:lnTo>
                    <a:lnTo>
                      <a:pt x="2897" y="2878"/>
                    </a:lnTo>
                    <a:lnTo>
                      <a:pt x="2904" y="2866"/>
                    </a:lnTo>
                    <a:lnTo>
                      <a:pt x="2907" y="2854"/>
                    </a:lnTo>
                    <a:lnTo>
                      <a:pt x="2910" y="2838"/>
                    </a:lnTo>
                    <a:lnTo>
                      <a:pt x="2911" y="2832"/>
                    </a:lnTo>
                    <a:lnTo>
                      <a:pt x="2913" y="2824"/>
                    </a:lnTo>
                    <a:lnTo>
                      <a:pt x="2917" y="2815"/>
                    </a:lnTo>
                    <a:lnTo>
                      <a:pt x="2921" y="2805"/>
                    </a:lnTo>
                    <a:lnTo>
                      <a:pt x="2929" y="2791"/>
                    </a:lnTo>
                    <a:lnTo>
                      <a:pt x="2933" y="2782"/>
                    </a:lnTo>
                    <a:lnTo>
                      <a:pt x="2933" y="2777"/>
                    </a:lnTo>
                    <a:lnTo>
                      <a:pt x="2933" y="2771"/>
                    </a:lnTo>
                    <a:lnTo>
                      <a:pt x="2935" y="2763"/>
                    </a:lnTo>
                    <a:lnTo>
                      <a:pt x="2935" y="2753"/>
                    </a:lnTo>
                    <a:lnTo>
                      <a:pt x="2933" y="2751"/>
                    </a:lnTo>
                    <a:lnTo>
                      <a:pt x="2931" y="2747"/>
                    </a:lnTo>
                    <a:lnTo>
                      <a:pt x="2930" y="2745"/>
                    </a:lnTo>
                    <a:lnTo>
                      <a:pt x="2930" y="2743"/>
                    </a:lnTo>
                    <a:lnTo>
                      <a:pt x="2930" y="2739"/>
                    </a:lnTo>
                    <a:lnTo>
                      <a:pt x="2931" y="2737"/>
                    </a:lnTo>
                    <a:lnTo>
                      <a:pt x="2936" y="2725"/>
                    </a:lnTo>
                    <a:lnTo>
                      <a:pt x="2945" y="2706"/>
                    </a:lnTo>
                    <a:lnTo>
                      <a:pt x="2955" y="2687"/>
                    </a:lnTo>
                    <a:lnTo>
                      <a:pt x="2960" y="2677"/>
                    </a:lnTo>
                    <a:lnTo>
                      <a:pt x="2964" y="2671"/>
                    </a:lnTo>
                    <a:lnTo>
                      <a:pt x="2974" y="2662"/>
                    </a:lnTo>
                    <a:lnTo>
                      <a:pt x="2982" y="2650"/>
                    </a:lnTo>
                    <a:lnTo>
                      <a:pt x="2986" y="2642"/>
                    </a:lnTo>
                    <a:lnTo>
                      <a:pt x="2986" y="2631"/>
                    </a:lnTo>
                    <a:lnTo>
                      <a:pt x="2985" y="2623"/>
                    </a:lnTo>
                    <a:lnTo>
                      <a:pt x="2985" y="2617"/>
                    </a:lnTo>
                    <a:lnTo>
                      <a:pt x="2987" y="2609"/>
                    </a:lnTo>
                    <a:lnTo>
                      <a:pt x="2990" y="2603"/>
                    </a:lnTo>
                    <a:lnTo>
                      <a:pt x="2992" y="2598"/>
                    </a:lnTo>
                    <a:lnTo>
                      <a:pt x="2990" y="2590"/>
                    </a:lnTo>
                    <a:lnTo>
                      <a:pt x="2989" y="2581"/>
                    </a:lnTo>
                    <a:lnTo>
                      <a:pt x="2990" y="2576"/>
                    </a:lnTo>
                    <a:lnTo>
                      <a:pt x="2990" y="2567"/>
                    </a:lnTo>
                    <a:lnTo>
                      <a:pt x="2992" y="2561"/>
                    </a:lnTo>
                    <a:lnTo>
                      <a:pt x="2990" y="2555"/>
                    </a:lnTo>
                    <a:lnTo>
                      <a:pt x="2990" y="2551"/>
                    </a:lnTo>
                    <a:lnTo>
                      <a:pt x="2988" y="2547"/>
                    </a:lnTo>
                    <a:lnTo>
                      <a:pt x="2981" y="2541"/>
                    </a:lnTo>
                    <a:lnTo>
                      <a:pt x="2973" y="2536"/>
                    </a:lnTo>
                    <a:lnTo>
                      <a:pt x="2970" y="2533"/>
                    </a:lnTo>
                    <a:lnTo>
                      <a:pt x="2966" y="2530"/>
                    </a:lnTo>
                    <a:lnTo>
                      <a:pt x="2966" y="2528"/>
                    </a:lnTo>
                    <a:lnTo>
                      <a:pt x="2966" y="2525"/>
                    </a:lnTo>
                    <a:lnTo>
                      <a:pt x="2967" y="2523"/>
                    </a:lnTo>
                    <a:lnTo>
                      <a:pt x="2968" y="2519"/>
                    </a:lnTo>
                    <a:lnTo>
                      <a:pt x="2975" y="2506"/>
                    </a:lnTo>
                    <a:lnTo>
                      <a:pt x="2980" y="2491"/>
                    </a:lnTo>
                    <a:lnTo>
                      <a:pt x="2985" y="2480"/>
                    </a:lnTo>
                    <a:lnTo>
                      <a:pt x="2987" y="2471"/>
                    </a:lnTo>
                    <a:lnTo>
                      <a:pt x="2990" y="2464"/>
                    </a:lnTo>
                    <a:lnTo>
                      <a:pt x="2995" y="2453"/>
                    </a:lnTo>
                    <a:lnTo>
                      <a:pt x="2997" y="2448"/>
                    </a:lnTo>
                    <a:lnTo>
                      <a:pt x="2998" y="2443"/>
                    </a:lnTo>
                    <a:lnTo>
                      <a:pt x="2999" y="2439"/>
                    </a:lnTo>
                    <a:lnTo>
                      <a:pt x="2998" y="2437"/>
                    </a:lnTo>
                    <a:lnTo>
                      <a:pt x="2993" y="2434"/>
                    </a:lnTo>
                    <a:lnTo>
                      <a:pt x="2988" y="2430"/>
                    </a:lnTo>
                    <a:lnTo>
                      <a:pt x="2986" y="2429"/>
                    </a:lnTo>
                    <a:lnTo>
                      <a:pt x="2984" y="2429"/>
                    </a:lnTo>
                    <a:lnTo>
                      <a:pt x="2982" y="2429"/>
                    </a:lnTo>
                    <a:lnTo>
                      <a:pt x="2979" y="2430"/>
                    </a:lnTo>
                    <a:lnTo>
                      <a:pt x="2974" y="2432"/>
                    </a:lnTo>
                    <a:lnTo>
                      <a:pt x="2968" y="2435"/>
                    </a:lnTo>
                    <a:lnTo>
                      <a:pt x="2965" y="2436"/>
                    </a:lnTo>
                    <a:lnTo>
                      <a:pt x="2963" y="2436"/>
                    </a:lnTo>
                    <a:lnTo>
                      <a:pt x="2961" y="2436"/>
                    </a:lnTo>
                    <a:lnTo>
                      <a:pt x="2960" y="2435"/>
                    </a:lnTo>
                    <a:lnTo>
                      <a:pt x="2952" y="2422"/>
                    </a:lnTo>
                    <a:lnTo>
                      <a:pt x="2943" y="2412"/>
                    </a:lnTo>
                    <a:lnTo>
                      <a:pt x="2930" y="2413"/>
                    </a:lnTo>
                    <a:lnTo>
                      <a:pt x="2920" y="2413"/>
                    </a:lnTo>
                    <a:lnTo>
                      <a:pt x="2912" y="2418"/>
                    </a:lnTo>
                    <a:lnTo>
                      <a:pt x="2897" y="2428"/>
                    </a:lnTo>
                    <a:lnTo>
                      <a:pt x="2889" y="2436"/>
                    </a:lnTo>
                    <a:lnTo>
                      <a:pt x="2879" y="2444"/>
                    </a:lnTo>
                    <a:lnTo>
                      <a:pt x="2874" y="2448"/>
                    </a:lnTo>
                    <a:lnTo>
                      <a:pt x="2868" y="2451"/>
                    </a:lnTo>
                    <a:lnTo>
                      <a:pt x="2863" y="2453"/>
                    </a:lnTo>
                    <a:lnTo>
                      <a:pt x="2858" y="2453"/>
                    </a:lnTo>
                    <a:lnTo>
                      <a:pt x="2848" y="2453"/>
                    </a:lnTo>
                    <a:lnTo>
                      <a:pt x="2837" y="2454"/>
                    </a:lnTo>
                    <a:lnTo>
                      <a:pt x="2827" y="2457"/>
                    </a:lnTo>
                    <a:lnTo>
                      <a:pt x="2820" y="2460"/>
                    </a:lnTo>
                    <a:lnTo>
                      <a:pt x="2810" y="2465"/>
                    </a:lnTo>
                    <a:lnTo>
                      <a:pt x="2796" y="2471"/>
                    </a:lnTo>
                    <a:lnTo>
                      <a:pt x="2781" y="2478"/>
                    </a:lnTo>
                    <a:lnTo>
                      <a:pt x="2768" y="2482"/>
                    </a:lnTo>
                    <a:lnTo>
                      <a:pt x="2766" y="2482"/>
                    </a:lnTo>
                    <a:lnTo>
                      <a:pt x="2762" y="2481"/>
                    </a:lnTo>
                    <a:lnTo>
                      <a:pt x="2757" y="2479"/>
                    </a:lnTo>
                    <a:lnTo>
                      <a:pt x="2751" y="2474"/>
                    </a:lnTo>
                    <a:lnTo>
                      <a:pt x="2738" y="2466"/>
                    </a:lnTo>
                    <a:lnTo>
                      <a:pt x="2723" y="2456"/>
                    </a:lnTo>
                    <a:lnTo>
                      <a:pt x="2710" y="2444"/>
                    </a:lnTo>
                    <a:lnTo>
                      <a:pt x="2697" y="2434"/>
                    </a:lnTo>
                    <a:lnTo>
                      <a:pt x="2688" y="2425"/>
                    </a:lnTo>
                    <a:lnTo>
                      <a:pt x="2683" y="2419"/>
                    </a:lnTo>
                    <a:lnTo>
                      <a:pt x="2678" y="2405"/>
                    </a:lnTo>
                    <a:lnTo>
                      <a:pt x="2672" y="2388"/>
                    </a:lnTo>
                    <a:lnTo>
                      <a:pt x="2666" y="2373"/>
                    </a:lnTo>
                    <a:lnTo>
                      <a:pt x="2659" y="2364"/>
                    </a:lnTo>
                    <a:lnTo>
                      <a:pt x="2652" y="2359"/>
                    </a:lnTo>
                    <a:lnTo>
                      <a:pt x="2642" y="2353"/>
                    </a:lnTo>
                    <a:lnTo>
                      <a:pt x="2637" y="2350"/>
                    </a:lnTo>
                    <a:lnTo>
                      <a:pt x="2633" y="2346"/>
                    </a:lnTo>
                    <a:lnTo>
                      <a:pt x="2632" y="2342"/>
                    </a:lnTo>
                    <a:lnTo>
                      <a:pt x="2631" y="2340"/>
                    </a:lnTo>
                    <a:lnTo>
                      <a:pt x="2631" y="2337"/>
                    </a:lnTo>
                    <a:lnTo>
                      <a:pt x="2631" y="2335"/>
                    </a:lnTo>
                    <a:lnTo>
                      <a:pt x="2636" y="2318"/>
                    </a:lnTo>
                    <a:lnTo>
                      <a:pt x="2643" y="2298"/>
                    </a:lnTo>
                    <a:lnTo>
                      <a:pt x="2649" y="2281"/>
                    </a:lnTo>
                    <a:lnTo>
                      <a:pt x="2653" y="2270"/>
                    </a:lnTo>
                    <a:lnTo>
                      <a:pt x="2656" y="2259"/>
                    </a:lnTo>
                    <a:lnTo>
                      <a:pt x="2661" y="2234"/>
                    </a:lnTo>
                    <a:lnTo>
                      <a:pt x="2664" y="2222"/>
                    </a:lnTo>
                    <a:lnTo>
                      <a:pt x="2666" y="2209"/>
                    </a:lnTo>
                    <a:lnTo>
                      <a:pt x="2667" y="2199"/>
                    </a:lnTo>
                    <a:lnTo>
                      <a:pt x="2667" y="2192"/>
                    </a:lnTo>
                    <a:lnTo>
                      <a:pt x="2665" y="2179"/>
                    </a:lnTo>
                    <a:lnTo>
                      <a:pt x="2663" y="2164"/>
                    </a:lnTo>
                    <a:lnTo>
                      <a:pt x="2661" y="2157"/>
                    </a:lnTo>
                    <a:lnTo>
                      <a:pt x="2661" y="2151"/>
                    </a:lnTo>
                    <a:lnTo>
                      <a:pt x="2663" y="2146"/>
                    </a:lnTo>
                    <a:lnTo>
                      <a:pt x="2664" y="2143"/>
                    </a:lnTo>
                    <a:lnTo>
                      <a:pt x="2673" y="2129"/>
                    </a:lnTo>
                    <a:lnTo>
                      <a:pt x="2689" y="2099"/>
                    </a:lnTo>
                    <a:lnTo>
                      <a:pt x="2698" y="2083"/>
                    </a:lnTo>
                    <a:lnTo>
                      <a:pt x="2707" y="2068"/>
                    </a:lnTo>
                    <a:lnTo>
                      <a:pt x="2715" y="2055"/>
                    </a:lnTo>
                    <a:lnTo>
                      <a:pt x="2721" y="2047"/>
                    </a:lnTo>
                    <a:lnTo>
                      <a:pt x="2736" y="2032"/>
                    </a:lnTo>
                    <a:lnTo>
                      <a:pt x="2753" y="2017"/>
                    </a:lnTo>
                    <a:lnTo>
                      <a:pt x="2767" y="2004"/>
                    </a:lnTo>
                    <a:lnTo>
                      <a:pt x="2773" y="1998"/>
                    </a:lnTo>
                    <a:lnTo>
                      <a:pt x="2773" y="1997"/>
                    </a:lnTo>
                    <a:lnTo>
                      <a:pt x="2773" y="1992"/>
                    </a:lnTo>
                    <a:lnTo>
                      <a:pt x="2774" y="1984"/>
                    </a:lnTo>
                    <a:lnTo>
                      <a:pt x="2779" y="1974"/>
                    </a:lnTo>
                    <a:lnTo>
                      <a:pt x="2784" y="1959"/>
                    </a:lnTo>
                    <a:lnTo>
                      <a:pt x="2788" y="1946"/>
                    </a:lnTo>
                    <a:lnTo>
                      <a:pt x="2790" y="1940"/>
                    </a:lnTo>
                    <a:lnTo>
                      <a:pt x="2792" y="1934"/>
                    </a:lnTo>
                    <a:lnTo>
                      <a:pt x="2796" y="1929"/>
                    </a:lnTo>
                    <a:lnTo>
                      <a:pt x="2799" y="1923"/>
                    </a:lnTo>
                    <a:lnTo>
                      <a:pt x="2807" y="1914"/>
                    </a:lnTo>
                    <a:lnTo>
                      <a:pt x="2817" y="1904"/>
                    </a:lnTo>
                    <a:lnTo>
                      <a:pt x="2825" y="1894"/>
                    </a:lnTo>
                    <a:lnTo>
                      <a:pt x="2833" y="1883"/>
                    </a:lnTo>
                    <a:lnTo>
                      <a:pt x="2840" y="1874"/>
                    </a:lnTo>
                    <a:lnTo>
                      <a:pt x="2846" y="1865"/>
                    </a:lnTo>
                    <a:lnTo>
                      <a:pt x="2849" y="1857"/>
                    </a:lnTo>
                    <a:lnTo>
                      <a:pt x="2851" y="1853"/>
                    </a:lnTo>
                    <a:lnTo>
                      <a:pt x="2852" y="1849"/>
                    </a:lnTo>
                    <a:lnTo>
                      <a:pt x="2854" y="1844"/>
                    </a:lnTo>
                    <a:lnTo>
                      <a:pt x="2855" y="1843"/>
                    </a:lnTo>
                    <a:lnTo>
                      <a:pt x="2856" y="1843"/>
                    </a:lnTo>
                    <a:lnTo>
                      <a:pt x="2858" y="1843"/>
                    </a:lnTo>
                    <a:lnTo>
                      <a:pt x="2861" y="1846"/>
                    </a:lnTo>
                    <a:lnTo>
                      <a:pt x="2863" y="1848"/>
                    </a:lnTo>
                    <a:lnTo>
                      <a:pt x="2865" y="1850"/>
                    </a:lnTo>
                    <a:lnTo>
                      <a:pt x="2868" y="1851"/>
                    </a:lnTo>
                    <a:lnTo>
                      <a:pt x="2870" y="1852"/>
                    </a:lnTo>
                    <a:lnTo>
                      <a:pt x="2876" y="1853"/>
                    </a:lnTo>
                    <a:lnTo>
                      <a:pt x="2882" y="1853"/>
                    </a:lnTo>
                    <a:lnTo>
                      <a:pt x="2890" y="1852"/>
                    </a:lnTo>
                    <a:lnTo>
                      <a:pt x="2902" y="1851"/>
                    </a:lnTo>
                    <a:lnTo>
                      <a:pt x="2917" y="1849"/>
                    </a:lnTo>
                    <a:lnTo>
                      <a:pt x="2928" y="1846"/>
                    </a:lnTo>
                    <a:lnTo>
                      <a:pt x="2935" y="1841"/>
                    </a:lnTo>
                    <a:lnTo>
                      <a:pt x="2943" y="1832"/>
                    </a:lnTo>
                    <a:lnTo>
                      <a:pt x="2952" y="1825"/>
                    </a:lnTo>
                    <a:lnTo>
                      <a:pt x="2959" y="1821"/>
                    </a:lnTo>
                    <a:lnTo>
                      <a:pt x="2967" y="1820"/>
                    </a:lnTo>
                    <a:lnTo>
                      <a:pt x="2981" y="1815"/>
                    </a:lnTo>
                    <a:lnTo>
                      <a:pt x="2997" y="1812"/>
                    </a:lnTo>
                    <a:lnTo>
                      <a:pt x="3012" y="1809"/>
                    </a:lnTo>
                    <a:lnTo>
                      <a:pt x="3028" y="1806"/>
                    </a:lnTo>
                    <a:lnTo>
                      <a:pt x="3045" y="1802"/>
                    </a:lnTo>
                    <a:lnTo>
                      <a:pt x="3052" y="1800"/>
                    </a:lnTo>
                    <a:lnTo>
                      <a:pt x="3060" y="1799"/>
                    </a:lnTo>
                    <a:lnTo>
                      <a:pt x="3065" y="1799"/>
                    </a:lnTo>
                    <a:lnTo>
                      <a:pt x="3069" y="1801"/>
                    </a:lnTo>
                    <a:lnTo>
                      <a:pt x="3075" y="1805"/>
                    </a:lnTo>
                    <a:lnTo>
                      <a:pt x="3081" y="1809"/>
                    </a:lnTo>
                    <a:lnTo>
                      <a:pt x="3083" y="1811"/>
                    </a:lnTo>
                    <a:lnTo>
                      <a:pt x="3085" y="1812"/>
                    </a:lnTo>
                    <a:lnTo>
                      <a:pt x="3085" y="1814"/>
                    </a:lnTo>
                    <a:lnTo>
                      <a:pt x="3085" y="1815"/>
                    </a:lnTo>
                    <a:lnTo>
                      <a:pt x="3082" y="1820"/>
                    </a:lnTo>
                    <a:lnTo>
                      <a:pt x="3078" y="1826"/>
                    </a:lnTo>
                    <a:lnTo>
                      <a:pt x="3077" y="1830"/>
                    </a:lnTo>
                    <a:lnTo>
                      <a:pt x="3077" y="1834"/>
                    </a:lnTo>
                    <a:lnTo>
                      <a:pt x="3077" y="1839"/>
                    </a:lnTo>
                    <a:lnTo>
                      <a:pt x="3080" y="1846"/>
                    </a:lnTo>
                    <a:lnTo>
                      <a:pt x="3083" y="1857"/>
                    </a:lnTo>
                    <a:lnTo>
                      <a:pt x="3085" y="1869"/>
                    </a:lnTo>
                    <a:lnTo>
                      <a:pt x="3086" y="1880"/>
                    </a:lnTo>
                    <a:lnTo>
                      <a:pt x="3088" y="1889"/>
                    </a:lnTo>
                    <a:lnTo>
                      <a:pt x="3090" y="1895"/>
                    </a:lnTo>
                    <a:lnTo>
                      <a:pt x="3093" y="1898"/>
                    </a:lnTo>
                    <a:lnTo>
                      <a:pt x="3097" y="1900"/>
                    </a:lnTo>
                    <a:lnTo>
                      <a:pt x="3103" y="1901"/>
                    </a:lnTo>
                    <a:lnTo>
                      <a:pt x="3110" y="1900"/>
                    </a:lnTo>
                    <a:lnTo>
                      <a:pt x="3116" y="1899"/>
                    </a:lnTo>
                    <a:lnTo>
                      <a:pt x="3118" y="1899"/>
                    </a:lnTo>
                    <a:lnTo>
                      <a:pt x="3121" y="1900"/>
                    </a:lnTo>
                    <a:lnTo>
                      <a:pt x="3124" y="1903"/>
                    </a:lnTo>
                    <a:lnTo>
                      <a:pt x="3127" y="1908"/>
                    </a:lnTo>
                    <a:lnTo>
                      <a:pt x="3129" y="1912"/>
                    </a:lnTo>
                    <a:lnTo>
                      <a:pt x="3133" y="1917"/>
                    </a:lnTo>
                    <a:lnTo>
                      <a:pt x="3138" y="1920"/>
                    </a:lnTo>
                    <a:lnTo>
                      <a:pt x="3143" y="1924"/>
                    </a:lnTo>
                    <a:lnTo>
                      <a:pt x="3155" y="1931"/>
                    </a:lnTo>
                    <a:lnTo>
                      <a:pt x="3165" y="1935"/>
                    </a:lnTo>
                    <a:lnTo>
                      <a:pt x="3169" y="1935"/>
                    </a:lnTo>
                    <a:lnTo>
                      <a:pt x="3171" y="1933"/>
                    </a:lnTo>
                    <a:lnTo>
                      <a:pt x="3173" y="1931"/>
                    </a:lnTo>
                    <a:lnTo>
                      <a:pt x="3175" y="1927"/>
                    </a:lnTo>
                    <a:lnTo>
                      <a:pt x="3179" y="1918"/>
                    </a:lnTo>
                    <a:lnTo>
                      <a:pt x="3183" y="1909"/>
                    </a:lnTo>
                    <a:lnTo>
                      <a:pt x="3187" y="1898"/>
                    </a:lnTo>
                    <a:lnTo>
                      <a:pt x="3192" y="1891"/>
                    </a:lnTo>
                    <a:lnTo>
                      <a:pt x="3194" y="1888"/>
                    </a:lnTo>
                    <a:lnTo>
                      <a:pt x="3196" y="1887"/>
                    </a:lnTo>
                    <a:lnTo>
                      <a:pt x="3198" y="1886"/>
                    </a:lnTo>
                    <a:lnTo>
                      <a:pt x="3200" y="1888"/>
                    </a:lnTo>
                    <a:lnTo>
                      <a:pt x="3207" y="1895"/>
                    </a:lnTo>
                    <a:lnTo>
                      <a:pt x="3215" y="1903"/>
                    </a:lnTo>
                    <a:lnTo>
                      <a:pt x="3221" y="1910"/>
                    </a:lnTo>
                    <a:lnTo>
                      <a:pt x="3229" y="1915"/>
                    </a:lnTo>
                    <a:lnTo>
                      <a:pt x="3238" y="1916"/>
                    </a:lnTo>
                    <a:lnTo>
                      <a:pt x="3247" y="1915"/>
                    </a:lnTo>
                    <a:lnTo>
                      <a:pt x="3255" y="1913"/>
                    </a:lnTo>
                    <a:lnTo>
                      <a:pt x="3258" y="1912"/>
                    </a:lnTo>
                    <a:lnTo>
                      <a:pt x="3258" y="1910"/>
                    </a:lnTo>
                    <a:lnTo>
                      <a:pt x="3261" y="1904"/>
                    </a:lnTo>
                    <a:lnTo>
                      <a:pt x="3263" y="1903"/>
                    </a:lnTo>
                    <a:lnTo>
                      <a:pt x="3264" y="1902"/>
                    </a:lnTo>
                    <a:lnTo>
                      <a:pt x="3267" y="1903"/>
                    </a:lnTo>
                    <a:lnTo>
                      <a:pt x="3269" y="1907"/>
                    </a:lnTo>
                    <a:lnTo>
                      <a:pt x="3273" y="1914"/>
                    </a:lnTo>
                    <a:lnTo>
                      <a:pt x="3275" y="1917"/>
                    </a:lnTo>
                    <a:lnTo>
                      <a:pt x="3277" y="1918"/>
                    </a:lnTo>
                    <a:lnTo>
                      <a:pt x="3278" y="1918"/>
                    </a:lnTo>
                    <a:lnTo>
                      <a:pt x="3279" y="1917"/>
                    </a:lnTo>
                    <a:lnTo>
                      <a:pt x="3281" y="1915"/>
                    </a:lnTo>
                    <a:lnTo>
                      <a:pt x="3288" y="1904"/>
                    </a:lnTo>
                    <a:lnTo>
                      <a:pt x="3291" y="1899"/>
                    </a:lnTo>
                    <a:lnTo>
                      <a:pt x="3291" y="1895"/>
                    </a:lnTo>
                    <a:lnTo>
                      <a:pt x="3292" y="1883"/>
                    </a:lnTo>
                    <a:lnTo>
                      <a:pt x="3293" y="1870"/>
                    </a:lnTo>
                    <a:lnTo>
                      <a:pt x="3295" y="1856"/>
                    </a:lnTo>
                    <a:lnTo>
                      <a:pt x="3300" y="1837"/>
                    </a:lnTo>
                    <a:lnTo>
                      <a:pt x="3302" y="1826"/>
                    </a:lnTo>
                    <a:lnTo>
                      <a:pt x="3303" y="1821"/>
                    </a:lnTo>
                    <a:lnTo>
                      <a:pt x="3303" y="1813"/>
                    </a:lnTo>
                    <a:lnTo>
                      <a:pt x="3303" y="1809"/>
                    </a:lnTo>
                    <a:lnTo>
                      <a:pt x="3303" y="1807"/>
                    </a:lnTo>
                    <a:lnTo>
                      <a:pt x="3302" y="1805"/>
                    </a:lnTo>
                    <a:lnTo>
                      <a:pt x="3301" y="1805"/>
                    </a:lnTo>
                    <a:lnTo>
                      <a:pt x="3296" y="1809"/>
                    </a:lnTo>
                    <a:lnTo>
                      <a:pt x="3293" y="1814"/>
                    </a:lnTo>
                    <a:lnTo>
                      <a:pt x="3291" y="1816"/>
                    </a:lnTo>
                    <a:lnTo>
                      <a:pt x="3290" y="1819"/>
                    </a:lnTo>
                    <a:lnTo>
                      <a:pt x="3288" y="1819"/>
                    </a:lnTo>
                    <a:lnTo>
                      <a:pt x="3287" y="1817"/>
                    </a:lnTo>
                    <a:lnTo>
                      <a:pt x="3285" y="1814"/>
                    </a:lnTo>
                    <a:lnTo>
                      <a:pt x="3282" y="1810"/>
                    </a:lnTo>
                    <a:lnTo>
                      <a:pt x="3281" y="1809"/>
                    </a:lnTo>
                    <a:lnTo>
                      <a:pt x="3279" y="1808"/>
                    </a:lnTo>
                    <a:lnTo>
                      <a:pt x="3278" y="1809"/>
                    </a:lnTo>
                    <a:lnTo>
                      <a:pt x="3275" y="1810"/>
                    </a:lnTo>
                    <a:lnTo>
                      <a:pt x="3268" y="1817"/>
                    </a:lnTo>
                    <a:lnTo>
                      <a:pt x="3263" y="1821"/>
                    </a:lnTo>
                    <a:lnTo>
                      <a:pt x="3251" y="1828"/>
                    </a:lnTo>
                    <a:lnTo>
                      <a:pt x="3241" y="1834"/>
                    </a:lnTo>
                    <a:lnTo>
                      <a:pt x="3240" y="1831"/>
                    </a:lnTo>
                    <a:lnTo>
                      <a:pt x="3238" y="1825"/>
                    </a:lnTo>
                    <a:lnTo>
                      <a:pt x="3236" y="1816"/>
                    </a:lnTo>
                    <a:lnTo>
                      <a:pt x="3236" y="1808"/>
                    </a:lnTo>
                    <a:lnTo>
                      <a:pt x="3238" y="1795"/>
                    </a:lnTo>
                    <a:lnTo>
                      <a:pt x="3240" y="1784"/>
                    </a:lnTo>
                    <a:lnTo>
                      <a:pt x="3239" y="1777"/>
                    </a:lnTo>
                    <a:lnTo>
                      <a:pt x="3238" y="1769"/>
                    </a:lnTo>
                    <a:lnTo>
                      <a:pt x="3237" y="1761"/>
                    </a:lnTo>
                    <a:lnTo>
                      <a:pt x="3238" y="1754"/>
                    </a:lnTo>
                    <a:lnTo>
                      <a:pt x="3240" y="1745"/>
                    </a:lnTo>
                    <a:lnTo>
                      <a:pt x="3242" y="1736"/>
                    </a:lnTo>
                    <a:lnTo>
                      <a:pt x="3245" y="1727"/>
                    </a:lnTo>
                    <a:lnTo>
                      <a:pt x="3246" y="1722"/>
                    </a:lnTo>
                    <a:lnTo>
                      <a:pt x="3240" y="1727"/>
                    </a:lnTo>
                    <a:lnTo>
                      <a:pt x="3229" y="1735"/>
                    </a:lnTo>
                    <a:lnTo>
                      <a:pt x="3227" y="1746"/>
                    </a:lnTo>
                    <a:lnTo>
                      <a:pt x="3225" y="1757"/>
                    </a:lnTo>
                    <a:lnTo>
                      <a:pt x="3222" y="1753"/>
                    </a:lnTo>
                    <a:lnTo>
                      <a:pt x="3217" y="1745"/>
                    </a:lnTo>
                    <a:lnTo>
                      <a:pt x="3215" y="1742"/>
                    </a:lnTo>
                    <a:lnTo>
                      <a:pt x="3212" y="1739"/>
                    </a:lnTo>
                    <a:lnTo>
                      <a:pt x="3210" y="1738"/>
                    </a:lnTo>
                    <a:lnTo>
                      <a:pt x="3209" y="1738"/>
                    </a:lnTo>
                    <a:lnTo>
                      <a:pt x="3209" y="1738"/>
                    </a:lnTo>
                    <a:lnTo>
                      <a:pt x="3208" y="1739"/>
                    </a:lnTo>
                    <a:lnTo>
                      <a:pt x="3207" y="1744"/>
                    </a:lnTo>
                    <a:lnTo>
                      <a:pt x="3207" y="1753"/>
                    </a:lnTo>
                    <a:lnTo>
                      <a:pt x="3208" y="1761"/>
                    </a:lnTo>
                    <a:lnTo>
                      <a:pt x="3209" y="1770"/>
                    </a:lnTo>
                    <a:lnTo>
                      <a:pt x="3209" y="1776"/>
                    </a:lnTo>
                    <a:lnTo>
                      <a:pt x="3209" y="1781"/>
                    </a:lnTo>
                    <a:lnTo>
                      <a:pt x="3208" y="1786"/>
                    </a:lnTo>
                    <a:lnTo>
                      <a:pt x="3206" y="1790"/>
                    </a:lnTo>
                    <a:lnTo>
                      <a:pt x="3203" y="1797"/>
                    </a:lnTo>
                    <a:lnTo>
                      <a:pt x="3202" y="1800"/>
                    </a:lnTo>
                    <a:lnTo>
                      <a:pt x="3200" y="1797"/>
                    </a:lnTo>
                    <a:lnTo>
                      <a:pt x="3195" y="1790"/>
                    </a:lnTo>
                    <a:lnTo>
                      <a:pt x="3191" y="1783"/>
                    </a:lnTo>
                    <a:lnTo>
                      <a:pt x="3188" y="1777"/>
                    </a:lnTo>
                    <a:lnTo>
                      <a:pt x="3187" y="1767"/>
                    </a:lnTo>
                    <a:lnTo>
                      <a:pt x="3183" y="1748"/>
                    </a:lnTo>
                    <a:lnTo>
                      <a:pt x="3179" y="1731"/>
                    </a:lnTo>
                    <a:lnTo>
                      <a:pt x="3178" y="1721"/>
                    </a:lnTo>
                    <a:lnTo>
                      <a:pt x="3175" y="1711"/>
                    </a:lnTo>
                    <a:lnTo>
                      <a:pt x="3170" y="1698"/>
                    </a:lnTo>
                    <a:lnTo>
                      <a:pt x="3163" y="1691"/>
                    </a:lnTo>
                    <a:lnTo>
                      <a:pt x="3151" y="1677"/>
                    </a:lnTo>
                    <a:lnTo>
                      <a:pt x="3137" y="1662"/>
                    </a:lnTo>
                    <a:lnTo>
                      <a:pt x="3128" y="1651"/>
                    </a:lnTo>
                    <a:lnTo>
                      <a:pt x="3121" y="1639"/>
                    </a:lnTo>
                    <a:lnTo>
                      <a:pt x="3115" y="1625"/>
                    </a:lnTo>
                    <a:lnTo>
                      <a:pt x="3112" y="1617"/>
                    </a:lnTo>
                    <a:lnTo>
                      <a:pt x="3109" y="1612"/>
                    </a:lnTo>
                    <a:lnTo>
                      <a:pt x="3108" y="1610"/>
                    </a:lnTo>
                    <a:lnTo>
                      <a:pt x="3107" y="1609"/>
                    </a:lnTo>
                    <a:lnTo>
                      <a:pt x="3106" y="1609"/>
                    </a:lnTo>
                    <a:lnTo>
                      <a:pt x="3106" y="1610"/>
                    </a:lnTo>
                    <a:lnTo>
                      <a:pt x="3100" y="1620"/>
                    </a:lnTo>
                    <a:lnTo>
                      <a:pt x="3097" y="1626"/>
                    </a:lnTo>
                    <a:lnTo>
                      <a:pt x="3100" y="1634"/>
                    </a:lnTo>
                    <a:lnTo>
                      <a:pt x="3106" y="1646"/>
                    </a:lnTo>
                    <a:lnTo>
                      <a:pt x="3109" y="1651"/>
                    </a:lnTo>
                    <a:lnTo>
                      <a:pt x="3111" y="1658"/>
                    </a:lnTo>
                    <a:lnTo>
                      <a:pt x="3113" y="1663"/>
                    </a:lnTo>
                    <a:lnTo>
                      <a:pt x="3116" y="1668"/>
                    </a:lnTo>
                    <a:lnTo>
                      <a:pt x="3119" y="1674"/>
                    </a:lnTo>
                    <a:lnTo>
                      <a:pt x="3125" y="1679"/>
                    </a:lnTo>
                    <a:lnTo>
                      <a:pt x="3137" y="1693"/>
                    </a:lnTo>
                    <a:lnTo>
                      <a:pt x="3151" y="1707"/>
                    </a:lnTo>
                    <a:lnTo>
                      <a:pt x="3162" y="1721"/>
                    </a:lnTo>
                    <a:lnTo>
                      <a:pt x="3168" y="1727"/>
                    </a:lnTo>
                    <a:lnTo>
                      <a:pt x="3168" y="1741"/>
                    </a:lnTo>
                    <a:lnTo>
                      <a:pt x="3166" y="1750"/>
                    </a:lnTo>
                    <a:lnTo>
                      <a:pt x="3163" y="1747"/>
                    </a:lnTo>
                    <a:lnTo>
                      <a:pt x="3158" y="1742"/>
                    </a:lnTo>
                    <a:lnTo>
                      <a:pt x="3155" y="1739"/>
                    </a:lnTo>
                    <a:lnTo>
                      <a:pt x="3153" y="1738"/>
                    </a:lnTo>
                    <a:lnTo>
                      <a:pt x="3152" y="1738"/>
                    </a:lnTo>
                    <a:lnTo>
                      <a:pt x="3151" y="1738"/>
                    </a:lnTo>
                    <a:lnTo>
                      <a:pt x="3151" y="1738"/>
                    </a:lnTo>
                    <a:lnTo>
                      <a:pt x="3151" y="1739"/>
                    </a:lnTo>
                    <a:lnTo>
                      <a:pt x="3154" y="1754"/>
                    </a:lnTo>
                    <a:lnTo>
                      <a:pt x="3156" y="1764"/>
                    </a:lnTo>
                    <a:lnTo>
                      <a:pt x="3153" y="1770"/>
                    </a:lnTo>
                    <a:lnTo>
                      <a:pt x="3146" y="1781"/>
                    </a:lnTo>
                    <a:lnTo>
                      <a:pt x="3142" y="1786"/>
                    </a:lnTo>
                    <a:lnTo>
                      <a:pt x="3139" y="1790"/>
                    </a:lnTo>
                    <a:lnTo>
                      <a:pt x="3137" y="1792"/>
                    </a:lnTo>
                    <a:lnTo>
                      <a:pt x="3135" y="1792"/>
                    </a:lnTo>
                    <a:lnTo>
                      <a:pt x="3134" y="1791"/>
                    </a:lnTo>
                    <a:lnTo>
                      <a:pt x="3133" y="1791"/>
                    </a:lnTo>
                    <a:lnTo>
                      <a:pt x="3133" y="1791"/>
                    </a:lnTo>
                    <a:lnTo>
                      <a:pt x="3132" y="1792"/>
                    </a:lnTo>
                    <a:lnTo>
                      <a:pt x="3131" y="1794"/>
                    </a:lnTo>
                    <a:lnTo>
                      <a:pt x="3131" y="1797"/>
                    </a:lnTo>
                    <a:lnTo>
                      <a:pt x="3131" y="1801"/>
                    </a:lnTo>
                    <a:lnTo>
                      <a:pt x="3130" y="1805"/>
                    </a:lnTo>
                    <a:lnTo>
                      <a:pt x="3129" y="1809"/>
                    </a:lnTo>
                    <a:lnTo>
                      <a:pt x="3126" y="1811"/>
                    </a:lnTo>
                    <a:lnTo>
                      <a:pt x="3119" y="1809"/>
                    </a:lnTo>
                    <a:lnTo>
                      <a:pt x="3109" y="1802"/>
                    </a:lnTo>
                    <a:lnTo>
                      <a:pt x="3105" y="1799"/>
                    </a:lnTo>
                    <a:lnTo>
                      <a:pt x="3100" y="1794"/>
                    </a:lnTo>
                    <a:lnTo>
                      <a:pt x="3098" y="1791"/>
                    </a:lnTo>
                    <a:lnTo>
                      <a:pt x="3098" y="1789"/>
                    </a:lnTo>
                    <a:lnTo>
                      <a:pt x="3110" y="1784"/>
                    </a:lnTo>
                    <a:lnTo>
                      <a:pt x="3121" y="1780"/>
                    </a:lnTo>
                    <a:lnTo>
                      <a:pt x="3125" y="1782"/>
                    </a:lnTo>
                    <a:lnTo>
                      <a:pt x="3129" y="1785"/>
                    </a:lnTo>
                    <a:lnTo>
                      <a:pt x="3130" y="1786"/>
                    </a:lnTo>
                    <a:lnTo>
                      <a:pt x="3131" y="1787"/>
                    </a:lnTo>
                    <a:lnTo>
                      <a:pt x="3132" y="1786"/>
                    </a:lnTo>
                    <a:lnTo>
                      <a:pt x="3132" y="1785"/>
                    </a:lnTo>
                    <a:lnTo>
                      <a:pt x="3134" y="1773"/>
                    </a:lnTo>
                    <a:lnTo>
                      <a:pt x="3136" y="1764"/>
                    </a:lnTo>
                    <a:lnTo>
                      <a:pt x="3137" y="1762"/>
                    </a:lnTo>
                    <a:lnTo>
                      <a:pt x="3138" y="1758"/>
                    </a:lnTo>
                    <a:lnTo>
                      <a:pt x="3138" y="1754"/>
                    </a:lnTo>
                    <a:lnTo>
                      <a:pt x="3136" y="1749"/>
                    </a:lnTo>
                    <a:lnTo>
                      <a:pt x="3128" y="1739"/>
                    </a:lnTo>
                    <a:lnTo>
                      <a:pt x="3112" y="1722"/>
                    </a:lnTo>
                    <a:lnTo>
                      <a:pt x="3096" y="1704"/>
                    </a:lnTo>
                    <a:lnTo>
                      <a:pt x="3087" y="1693"/>
                    </a:lnTo>
                    <a:lnTo>
                      <a:pt x="3082" y="1681"/>
                    </a:lnTo>
                    <a:lnTo>
                      <a:pt x="3072" y="1662"/>
                    </a:lnTo>
                    <a:lnTo>
                      <a:pt x="3064" y="1646"/>
                    </a:lnTo>
                    <a:lnTo>
                      <a:pt x="3060" y="1638"/>
                    </a:lnTo>
                    <a:lnTo>
                      <a:pt x="3053" y="1644"/>
                    </a:lnTo>
                    <a:lnTo>
                      <a:pt x="3046" y="1652"/>
                    </a:lnTo>
                    <a:lnTo>
                      <a:pt x="3041" y="1657"/>
                    </a:lnTo>
                    <a:lnTo>
                      <a:pt x="3033" y="1667"/>
                    </a:lnTo>
                    <a:lnTo>
                      <a:pt x="3029" y="1672"/>
                    </a:lnTo>
                    <a:lnTo>
                      <a:pt x="3025" y="1675"/>
                    </a:lnTo>
                    <a:lnTo>
                      <a:pt x="3023" y="1676"/>
                    </a:lnTo>
                    <a:lnTo>
                      <a:pt x="3021" y="1677"/>
                    </a:lnTo>
                    <a:lnTo>
                      <a:pt x="3019" y="1677"/>
                    </a:lnTo>
                    <a:lnTo>
                      <a:pt x="3018" y="1676"/>
                    </a:lnTo>
                    <a:lnTo>
                      <a:pt x="3009" y="1670"/>
                    </a:lnTo>
                    <a:lnTo>
                      <a:pt x="3001" y="1663"/>
                    </a:lnTo>
                    <a:lnTo>
                      <a:pt x="2997" y="1661"/>
                    </a:lnTo>
                    <a:lnTo>
                      <a:pt x="2993" y="1660"/>
                    </a:lnTo>
                    <a:lnTo>
                      <a:pt x="2990" y="1660"/>
                    </a:lnTo>
                    <a:lnTo>
                      <a:pt x="2989" y="1661"/>
                    </a:lnTo>
                    <a:lnTo>
                      <a:pt x="2988" y="1662"/>
                    </a:lnTo>
                    <a:lnTo>
                      <a:pt x="2987" y="1664"/>
                    </a:lnTo>
                    <a:lnTo>
                      <a:pt x="2984" y="1672"/>
                    </a:lnTo>
                    <a:lnTo>
                      <a:pt x="2982" y="1677"/>
                    </a:lnTo>
                    <a:lnTo>
                      <a:pt x="2983" y="1681"/>
                    </a:lnTo>
                    <a:lnTo>
                      <a:pt x="2985" y="1684"/>
                    </a:lnTo>
                    <a:lnTo>
                      <a:pt x="2987" y="1689"/>
                    </a:lnTo>
                    <a:lnTo>
                      <a:pt x="2988" y="1693"/>
                    </a:lnTo>
                    <a:lnTo>
                      <a:pt x="2987" y="1697"/>
                    </a:lnTo>
                    <a:lnTo>
                      <a:pt x="2986" y="1699"/>
                    </a:lnTo>
                    <a:lnTo>
                      <a:pt x="2980" y="1703"/>
                    </a:lnTo>
                    <a:lnTo>
                      <a:pt x="2972" y="1712"/>
                    </a:lnTo>
                    <a:lnTo>
                      <a:pt x="2966" y="1719"/>
                    </a:lnTo>
                    <a:lnTo>
                      <a:pt x="2961" y="1725"/>
                    </a:lnTo>
                    <a:lnTo>
                      <a:pt x="2956" y="1729"/>
                    </a:lnTo>
                    <a:lnTo>
                      <a:pt x="2953" y="1733"/>
                    </a:lnTo>
                    <a:lnTo>
                      <a:pt x="2950" y="1737"/>
                    </a:lnTo>
                    <a:lnTo>
                      <a:pt x="2945" y="1743"/>
                    </a:lnTo>
                    <a:lnTo>
                      <a:pt x="2943" y="1747"/>
                    </a:lnTo>
                    <a:lnTo>
                      <a:pt x="2942" y="1751"/>
                    </a:lnTo>
                    <a:lnTo>
                      <a:pt x="2940" y="1757"/>
                    </a:lnTo>
                    <a:lnTo>
                      <a:pt x="2940" y="1762"/>
                    </a:lnTo>
                    <a:lnTo>
                      <a:pt x="2940" y="1769"/>
                    </a:lnTo>
                    <a:lnTo>
                      <a:pt x="2940" y="1772"/>
                    </a:lnTo>
                    <a:lnTo>
                      <a:pt x="2940" y="1775"/>
                    </a:lnTo>
                    <a:lnTo>
                      <a:pt x="2938" y="1780"/>
                    </a:lnTo>
                    <a:lnTo>
                      <a:pt x="2934" y="1789"/>
                    </a:lnTo>
                    <a:lnTo>
                      <a:pt x="2928" y="1800"/>
                    </a:lnTo>
                    <a:lnTo>
                      <a:pt x="2924" y="1805"/>
                    </a:lnTo>
                    <a:lnTo>
                      <a:pt x="2921" y="1810"/>
                    </a:lnTo>
                    <a:lnTo>
                      <a:pt x="2917" y="1814"/>
                    </a:lnTo>
                    <a:lnTo>
                      <a:pt x="2913" y="1817"/>
                    </a:lnTo>
                    <a:lnTo>
                      <a:pt x="2908" y="1819"/>
                    </a:lnTo>
                    <a:lnTo>
                      <a:pt x="2902" y="1821"/>
                    </a:lnTo>
                    <a:lnTo>
                      <a:pt x="2896" y="1821"/>
                    </a:lnTo>
                    <a:lnTo>
                      <a:pt x="2891" y="1822"/>
                    </a:lnTo>
                    <a:lnTo>
                      <a:pt x="2879" y="1823"/>
                    </a:lnTo>
                    <a:lnTo>
                      <a:pt x="2873" y="1825"/>
                    </a:lnTo>
                    <a:lnTo>
                      <a:pt x="2864" y="1833"/>
                    </a:lnTo>
                    <a:lnTo>
                      <a:pt x="2856" y="1836"/>
                    </a:lnTo>
                    <a:lnTo>
                      <a:pt x="2849" y="1828"/>
                    </a:lnTo>
                    <a:lnTo>
                      <a:pt x="2842" y="1820"/>
                    </a:lnTo>
                    <a:lnTo>
                      <a:pt x="2839" y="1816"/>
                    </a:lnTo>
                    <a:lnTo>
                      <a:pt x="2833" y="1814"/>
                    </a:lnTo>
                    <a:lnTo>
                      <a:pt x="2828" y="1812"/>
                    </a:lnTo>
                    <a:lnTo>
                      <a:pt x="2824" y="1813"/>
                    </a:lnTo>
                    <a:lnTo>
                      <a:pt x="2822" y="1813"/>
                    </a:lnTo>
                    <a:lnTo>
                      <a:pt x="2820" y="1812"/>
                    </a:lnTo>
                    <a:lnTo>
                      <a:pt x="2815" y="1810"/>
                    </a:lnTo>
                    <a:lnTo>
                      <a:pt x="2812" y="1808"/>
                    </a:lnTo>
                    <a:lnTo>
                      <a:pt x="2806" y="1803"/>
                    </a:lnTo>
                    <a:lnTo>
                      <a:pt x="2803" y="1800"/>
                    </a:lnTo>
                    <a:lnTo>
                      <a:pt x="2801" y="1790"/>
                    </a:lnTo>
                    <a:lnTo>
                      <a:pt x="2796" y="1773"/>
                    </a:lnTo>
                    <a:lnTo>
                      <a:pt x="2793" y="1764"/>
                    </a:lnTo>
                    <a:lnTo>
                      <a:pt x="2792" y="1755"/>
                    </a:lnTo>
                    <a:lnTo>
                      <a:pt x="2791" y="1747"/>
                    </a:lnTo>
                    <a:lnTo>
                      <a:pt x="2792" y="1741"/>
                    </a:lnTo>
                    <a:lnTo>
                      <a:pt x="2797" y="1731"/>
                    </a:lnTo>
                    <a:lnTo>
                      <a:pt x="2800" y="1718"/>
                    </a:lnTo>
                    <a:lnTo>
                      <a:pt x="2803" y="1706"/>
                    </a:lnTo>
                    <a:lnTo>
                      <a:pt x="2804" y="1698"/>
                    </a:lnTo>
                    <a:lnTo>
                      <a:pt x="2801" y="1682"/>
                    </a:lnTo>
                    <a:lnTo>
                      <a:pt x="2799" y="1674"/>
                    </a:lnTo>
                    <a:lnTo>
                      <a:pt x="2798" y="1672"/>
                    </a:lnTo>
                    <a:lnTo>
                      <a:pt x="2797" y="1667"/>
                    </a:lnTo>
                    <a:lnTo>
                      <a:pt x="2796" y="1663"/>
                    </a:lnTo>
                    <a:lnTo>
                      <a:pt x="2797" y="1660"/>
                    </a:lnTo>
                    <a:lnTo>
                      <a:pt x="2798" y="1658"/>
                    </a:lnTo>
                    <a:lnTo>
                      <a:pt x="2800" y="1655"/>
                    </a:lnTo>
                    <a:lnTo>
                      <a:pt x="2805" y="1652"/>
                    </a:lnTo>
                    <a:lnTo>
                      <a:pt x="2809" y="1647"/>
                    </a:lnTo>
                    <a:lnTo>
                      <a:pt x="2811" y="1646"/>
                    </a:lnTo>
                    <a:lnTo>
                      <a:pt x="2813" y="1644"/>
                    </a:lnTo>
                    <a:lnTo>
                      <a:pt x="2815" y="1644"/>
                    </a:lnTo>
                    <a:lnTo>
                      <a:pt x="2818" y="1645"/>
                    </a:lnTo>
                    <a:lnTo>
                      <a:pt x="2826" y="1647"/>
                    </a:lnTo>
                    <a:lnTo>
                      <a:pt x="2835" y="1648"/>
                    </a:lnTo>
                    <a:lnTo>
                      <a:pt x="2841" y="1647"/>
                    </a:lnTo>
                    <a:lnTo>
                      <a:pt x="2847" y="1646"/>
                    </a:lnTo>
                    <a:lnTo>
                      <a:pt x="2853" y="1645"/>
                    </a:lnTo>
                    <a:lnTo>
                      <a:pt x="2857" y="1646"/>
                    </a:lnTo>
                    <a:lnTo>
                      <a:pt x="2861" y="1648"/>
                    </a:lnTo>
                    <a:lnTo>
                      <a:pt x="2866" y="1650"/>
                    </a:lnTo>
                    <a:lnTo>
                      <a:pt x="2872" y="1652"/>
                    </a:lnTo>
                    <a:lnTo>
                      <a:pt x="2878" y="1652"/>
                    </a:lnTo>
                    <a:lnTo>
                      <a:pt x="2888" y="1651"/>
                    </a:lnTo>
                    <a:lnTo>
                      <a:pt x="2899" y="1651"/>
                    </a:lnTo>
                    <a:lnTo>
                      <a:pt x="2910" y="1651"/>
                    </a:lnTo>
                    <a:lnTo>
                      <a:pt x="2915" y="1649"/>
                    </a:lnTo>
                    <a:lnTo>
                      <a:pt x="2917" y="1642"/>
                    </a:lnTo>
                    <a:lnTo>
                      <a:pt x="2921" y="1630"/>
                    </a:lnTo>
                    <a:lnTo>
                      <a:pt x="2922" y="1623"/>
                    </a:lnTo>
                    <a:lnTo>
                      <a:pt x="2923" y="1614"/>
                    </a:lnTo>
                    <a:lnTo>
                      <a:pt x="2923" y="1607"/>
                    </a:lnTo>
                    <a:lnTo>
                      <a:pt x="2922" y="1602"/>
                    </a:lnTo>
                    <a:lnTo>
                      <a:pt x="2920" y="1590"/>
                    </a:lnTo>
                    <a:lnTo>
                      <a:pt x="2917" y="1579"/>
                    </a:lnTo>
                    <a:lnTo>
                      <a:pt x="2916" y="1573"/>
                    </a:lnTo>
                    <a:lnTo>
                      <a:pt x="2915" y="1569"/>
                    </a:lnTo>
                    <a:lnTo>
                      <a:pt x="2913" y="1566"/>
                    </a:lnTo>
                    <a:lnTo>
                      <a:pt x="2911" y="1564"/>
                    </a:lnTo>
                    <a:lnTo>
                      <a:pt x="2901" y="1553"/>
                    </a:lnTo>
                    <a:lnTo>
                      <a:pt x="2886" y="1536"/>
                    </a:lnTo>
                    <a:lnTo>
                      <a:pt x="2871" y="1518"/>
                    </a:lnTo>
                    <a:lnTo>
                      <a:pt x="2865" y="1510"/>
                    </a:lnTo>
                    <a:lnTo>
                      <a:pt x="2869" y="1507"/>
                    </a:lnTo>
                    <a:lnTo>
                      <a:pt x="2876" y="1503"/>
                    </a:lnTo>
                    <a:lnTo>
                      <a:pt x="2884" y="1506"/>
                    </a:lnTo>
                    <a:lnTo>
                      <a:pt x="2896" y="1512"/>
                    </a:lnTo>
                    <a:lnTo>
                      <a:pt x="2901" y="1515"/>
                    </a:lnTo>
                    <a:lnTo>
                      <a:pt x="2907" y="1516"/>
                    </a:lnTo>
                    <a:lnTo>
                      <a:pt x="2908" y="1517"/>
                    </a:lnTo>
                    <a:lnTo>
                      <a:pt x="2909" y="1517"/>
                    </a:lnTo>
                    <a:lnTo>
                      <a:pt x="2910" y="1516"/>
                    </a:lnTo>
                    <a:lnTo>
                      <a:pt x="2909" y="1515"/>
                    </a:lnTo>
                    <a:lnTo>
                      <a:pt x="2906" y="1508"/>
                    </a:lnTo>
                    <a:lnTo>
                      <a:pt x="2905" y="1499"/>
                    </a:lnTo>
                    <a:lnTo>
                      <a:pt x="2904" y="1492"/>
                    </a:lnTo>
                    <a:lnTo>
                      <a:pt x="2905" y="1488"/>
                    </a:lnTo>
                    <a:lnTo>
                      <a:pt x="2915" y="1488"/>
                    </a:lnTo>
                    <a:lnTo>
                      <a:pt x="2924" y="1487"/>
                    </a:lnTo>
                    <a:lnTo>
                      <a:pt x="2930" y="1487"/>
                    </a:lnTo>
                    <a:lnTo>
                      <a:pt x="2938" y="1484"/>
                    </a:lnTo>
                    <a:lnTo>
                      <a:pt x="2942" y="1482"/>
                    </a:lnTo>
                    <a:lnTo>
                      <a:pt x="2945" y="1480"/>
                    </a:lnTo>
                    <a:lnTo>
                      <a:pt x="2949" y="1478"/>
                    </a:lnTo>
                    <a:lnTo>
                      <a:pt x="2950" y="1475"/>
                    </a:lnTo>
                    <a:lnTo>
                      <a:pt x="2957" y="1460"/>
                    </a:lnTo>
                    <a:lnTo>
                      <a:pt x="2964" y="1447"/>
                    </a:lnTo>
                    <a:lnTo>
                      <a:pt x="2966" y="1443"/>
                    </a:lnTo>
                    <a:lnTo>
                      <a:pt x="2968" y="1438"/>
                    </a:lnTo>
                    <a:lnTo>
                      <a:pt x="2973" y="1433"/>
                    </a:lnTo>
                    <a:lnTo>
                      <a:pt x="2978" y="1428"/>
                    </a:lnTo>
                    <a:lnTo>
                      <a:pt x="2981" y="1422"/>
                    </a:lnTo>
                    <a:lnTo>
                      <a:pt x="2984" y="1415"/>
                    </a:lnTo>
                    <a:lnTo>
                      <a:pt x="2987" y="1407"/>
                    </a:lnTo>
                    <a:lnTo>
                      <a:pt x="2990" y="1396"/>
                    </a:lnTo>
                    <a:lnTo>
                      <a:pt x="2995" y="1378"/>
                    </a:lnTo>
                    <a:lnTo>
                      <a:pt x="2997" y="1371"/>
                    </a:lnTo>
                    <a:lnTo>
                      <a:pt x="2998" y="1366"/>
                    </a:lnTo>
                    <a:lnTo>
                      <a:pt x="3002" y="1355"/>
                    </a:lnTo>
                    <a:lnTo>
                      <a:pt x="3004" y="1350"/>
                    </a:lnTo>
                    <a:lnTo>
                      <a:pt x="3006" y="1346"/>
                    </a:lnTo>
                    <a:lnTo>
                      <a:pt x="3008" y="1343"/>
                    </a:lnTo>
                    <a:lnTo>
                      <a:pt x="3009" y="1343"/>
                    </a:lnTo>
                    <a:lnTo>
                      <a:pt x="3009" y="1349"/>
                    </a:lnTo>
                    <a:lnTo>
                      <a:pt x="3009" y="1361"/>
                    </a:lnTo>
                    <a:lnTo>
                      <a:pt x="3009" y="1365"/>
                    </a:lnTo>
                    <a:lnTo>
                      <a:pt x="3010" y="1369"/>
                    </a:lnTo>
                    <a:lnTo>
                      <a:pt x="3010" y="1370"/>
                    </a:lnTo>
                    <a:lnTo>
                      <a:pt x="3010" y="1371"/>
                    </a:lnTo>
                    <a:lnTo>
                      <a:pt x="3011" y="1372"/>
                    </a:lnTo>
                    <a:lnTo>
                      <a:pt x="3012" y="1371"/>
                    </a:lnTo>
                    <a:lnTo>
                      <a:pt x="3016" y="1369"/>
                    </a:lnTo>
                    <a:lnTo>
                      <a:pt x="3019" y="1365"/>
                    </a:lnTo>
                    <a:lnTo>
                      <a:pt x="3021" y="1361"/>
                    </a:lnTo>
                    <a:lnTo>
                      <a:pt x="3023" y="1358"/>
                    </a:lnTo>
                    <a:lnTo>
                      <a:pt x="3024" y="1351"/>
                    </a:lnTo>
                    <a:lnTo>
                      <a:pt x="3026" y="1340"/>
                    </a:lnTo>
                    <a:lnTo>
                      <a:pt x="3027" y="1333"/>
                    </a:lnTo>
                    <a:lnTo>
                      <a:pt x="3027" y="1327"/>
                    </a:lnTo>
                    <a:lnTo>
                      <a:pt x="3026" y="1321"/>
                    </a:lnTo>
                    <a:lnTo>
                      <a:pt x="3025" y="1315"/>
                    </a:lnTo>
                    <a:lnTo>
                      <a:pt x="3023" y="1302"/>
                    </a:lnTo>
                    <a:lnTo>
                      <a:pt x="3023" y="1288"/>
                    </a:lnTo>
                    <a:lnTo>
                      <a:pt x="3023" y="1281"/>
                    </a:lnTo>
                    <a:lnTo>
                      <a:pt x="3024" y="1276"/>
                    </a:lnTo>
                    <a:lnTo>
                      <a:pt x="3025" y="1272"/>
                    </a:lnTo>
                    <a:lnTo>
                      <a:pt x="3026" y="1269"/>
                    </a:lnTo>
                    <a:lnTo>
                      <a:pt x="3030" y="1264"/>
                    </a:lnTo>
                    <a:lnTo>
                      <a:pt x="3037" y="1255"/>
                    </a:lnTo>
                    <a:lnTo>
                      <a:pt x="3040" y="1251"/>
                    </a:lnTo>
                    <a:lnTo>
                      <a:pt x="3043" y="1249"/>
                    </a:lnTo>
                    <a:lnTo>
                      <a:pt x="3044" y="1247"/>
                    </a:lnTo>
                    <a:lnTo>
                      <a:pt x="3045" y="1247"/>
                    </a:lnTo>
                    <a:lnTo>
                      <a:pt x="3046" y="1247"/>
                    </a:lnTo>
                    <a:lnTo>
                      <a:pt x="3047" y="1249"/>
                    </a:lnTo>
                    <a:lnTo>
                      <a:pt x="3050" y="1260"/>
                    </a:lnTo>
                    <a:lnTo>
                      <a:pt x="3056" y="1275"/>
                    </a:lnTo>
                    <a:lnTo>
                      <a:pt x="3060" y="1281"/>
                    </a:lnTo>
                    <a:lnTo>
                      <a:pt x="3063" y="1286"/>
                    </a:lnTo>
                    <a:lnTo>
                      <a:pt x="3064" y="1288"/>
                    </a:lnTo>
                    <a:lnTo>
                      <a:pt x="3066" y="1289"/>
                    </a:lnTo>
                    <a:lnTo>
                      <a:pt x="3067" y="1289"/>
                    </a:lnTo>
                    <a:lnTo>
                      <a:pt x="3068" y="1289"/>
                    </a:lnTo>
                    <a:lnTo>
                      <a:pt x="3070" y="1286"/>
                    </a:lnTo>
                    <a:lnTo>
                      <a:pt x="3071" y="1283"/>
                    </a:lnTo>
                    <a:lnTo>
                      <a:pt x="3071" y="1280"/>
                    </a:lnTo>
                    <a:lnTo>
                      <a:pt x="3070" y="1278"/>
                    </a:lnTo>
                    <a:lnTo>
                      <a:pt x="3066" y="1266"/>
                    </a:lnTo>
                    <a:lnTo>
                      <a:pt x="3060" y="1253"/>
                    </a:lnTo>
                    <a:lnTo>
                      <a:pt x="3058" y="1243"/>
                    </a:lnTo>
                    <a:lnTo>
                      <a:pt x="3054" y="1229"/>
                    </a:lnTo>
                    <a:lnTo>
                      <a:pt x="3051" y="1215"/>
                    </a:lnTo>
                    <a:lnTo>
                      <a:pt x="3049" y="1209"/>
                    </a:lnTo>
                    <a:lnTo>
                      <a:pt x="3048" y="1208"/>
                    </a:lnTo>
                    <a:lnTo>
                      <a:pt x="3046" y="1207"/>
                    </a:lnTo>
                    <a:lnTo>
                      <a:pt x="3044" y="1207"/>
                    </a:lnTo>
                    <a:lnTo>
                      <a:pt x="3041" y="1209"/>
                    </a:lnTo>
                    <a:lnTo>
                      <a:pt x="3034" y="1220"/>
                    </a:lnTo>
                    <a:lnTo>
                      <a:pt x="3025" y="1233"/>
                    </a:lnTo>
                    <a:lnTo>
                      <a:pt x="3022" y="1235"/>
                    </a:lnTo>
                    <a:lnTo>
                      <a:pt x="3020" y="1236"/>
                    </a:lnTo>
                    <a:lnTo>
                      <a:pt x="3017" y="1237"/>
                    </a:lnTo>
                    <a:lnTo>
                      <a:pt x="3014" y="1237"/>
                    </a:lnTo>
                    <a:lnTo>
                      <a:pt x="3008" y="1236"/>
                    </a:lnTo>
                    <a:lnTo>
                      <a:pt x="3005" y="1235"/>
                    </a:lnTo>
                    <a:lnTo>
                      <a:pt x="2999" y="1227"/>
                    </a:lnTo>
                    <a:lnTo>
                      <a:pt x="2985" y="1206"/>
                    </a:lnTo>
                    <a:lnTo>
                      <a:pt x="2979" y="1194"/>
                    </a:lnTo>
                    <a:lnTo>
                      <a:pt x="2973" y="1183"/>
                    </a:lnTo>
                    <a:lnTo>
                      <a:pt x="2968" y="1174"/>
                    </a:lnTo>
                    <a:lnTo>
                      <a:pt x="2967" y="1168"/>
                    </a:lnTo>
                    <a:lnTo>
                      <a:pt x="2968" y="1163"/>
                    </a:lnTo>
                    <a:lnTo>
                      <a:pt x="2971" y="1161"/>
                    </a:lnTo>
                    <a:lnTo>
                      <a:pt x="2971" y="1159"/>
                    </a:lnTo>
                    <a:lnTo>
                      <a:pt x="2971" y="1158"/>
                    </a:lnTo>
                    <a:lnTo>
                      <a:pt x="2971" y="1157"/>
                    </a:lnTo>
                    <a:lnTo>
                      <a:pt x="2970" y="1155"/>
                    </a:lnTo>
                    <a:lnTo>
                      <a:pt x="2967" y="1151"/>
                    </a:lnTo>
                    <a:lnTo>
                      <a:pt x="2964" y="1146"/>
                    </a:lnTo>
                    <a:lnTo>
                      <a:pt x="2963" y="1141"/>
                    </a:lnTo>
                    <a:lnTo>
                      <a:pt x="2962" y="1136"/>
                    </a:lnTo>
                    <a:lnTo>
                      <a:pt x="2960" y="1124"/>
                    </a:lnTo>
                    <a:lnTo>
                      <a:pt x="2961" y="1114"/>
                    </a:lnTo>
                    <a:lnTo>
                      <a:pt x="2962" y="1109"/>
                    </a:lnTo>
                    <a:lnTo>
                      <a:pt x="2963" y="1100"/>
                    </a:lnTo>
                    <a:lnTo>
                      <a:pt x="2965" y="1089"/>
                    </a:lnTo>
                    <a:lnTo>
                      <a:pt x="2967" y="1083"/>
                    </a:lnTo>
                    <a:lnTo>
                      <a:pt x="2971" y="1076"/>
                    </a:lnTo>
                    <a:lnTo>
                      <a:pt x="2976" y="1064"/>
                    </a:lnTo>
                    <a:lnTo>
                      <a:pt x="2981" y="1052"/>
                    </a:lnTo>
                    <a:lnTo>
                      <a:pt x="2985" y="1043"/>
                    </a:lnTo>
                    <a:lnTo>
                      <a:pt x="2990" y="1037"/>
                    </a:lnTo>
                    <a:lnTo>
                      <a:pt x="2996" y="1029"/>
                    </a:lnTo>
                    <a:lnTo>
                      <a:pt x="2999" y="1024"/>
                    </a:lnTo>
                    <a:lnTo>
                      <a:pt x="3002" y="1021"/>
                    </a:lnTo>
                    <a:lnTo>
                      <a:pt x="3004" y="1020"/>
                    </a:lnTo>
                    <a:lnTo>
                      <a:pt x="3006" y="1019"/>
                    </a:lnTo>
                    <a:lnTo>
                      <a:pt x="3008" y="1020"/>
                    </a:lnTo>
                    <a:lnTo>
                      <a:pt x="3010" y="1019"/>
                    </a:lnTo>
                    <a:lnTo>
                      <a:pt x="3011" y="1015"/>
                    </a:lnTo>
                    <a:lnTo>
                      <a:pt x="3012" y="1008"/>
                    </a:lnTo>
                    <a:lnTo>
                      <a:pt x="3012" y="1004"/>
                    </a:lnTo>
                    <a:lnTo>
                      <a:pt x="3015" y="1002"/>
                    </a:lnTo>
                    <a:lnTo>
                      <a:pt x="3016" y="1001"/>
                    </a:lnTo>
                    <a:lnTo>
                      <a:pt x="3018" y="1001"/>
                    </a:lnTo>
                    <a:lnTo>
                      <a:pt x="3019" y="1001"/>
                    </a:lnTo>
                    <a:lnTo>
                      <a:pt x="3021" y="1000"/>
                    </a:lnTo>
                    <a:lnTo>
                      <a:pt x="3021" y="998"/>
                    </a:lnTo>
                    <a:lnTo>
                      <a:pt x="3021" y="995"/>
                    </a:lnTo>
                    <a:lnTo>
                      <a:pt x="3018" y="983"/>
                    </a:lnTo>
                    <a:lnTo>
                      <a:pt x="3016" y="972"/>
                    </a:lnTo>
                    <a:lnTo>
                      <a:pt x="3015" y="964"/>
                    </a:lnTo>
                    <a:lnTo>
                      <a:pt x="3015" y="958"/>
                    </a:lnTo>
                    <a:lnTo>
                      <a:pt x="3017" y="948"/>
                    </a:lnTo>
                    <a:lnTo>
                      <a:pt x="3021" y="935"/>
                    </a:lnTo>
                    <a:lnTo>
                      <a:pt x="3023" y="931"/>
                    </a:lnTo>
                    <a:lnTo>
                      <a:pt x="3026" y="926"/>
                    </a:lnTo>
                    <a:lnTo>
                      <a:pt x="3027" y="920"/>
                    </a:lnTo>
                    <a:lnTo>
                      <a:pt x="3028" y="915"/>
                    </a:lnTo>
                    <a:lnTo>
                      <a:pt x="3030" y="907"/>
                    </a:lnTo>
                    <a:lnTo>
                      <a:pt x="3030" y="900"/>
                    </a:lnTo>
                    <a:lnTo>
                      <a:pt x="3028" y="896"/>
                    </a:lnTo>
                    <a:lnTo>
                      <a:pt x="3027" y="893"/>
                    </a:lnTo>
                    <a:lnTo>
                      <a:pt x="3025" y="891"/>
                    </a:lnTo>
                    <a:lnTo>
                      <a:pt x="3023" y="890"/>
                    </a:lnTo>
                    <a:lnTo>
                      <a:pt x="3020" y="892"/>
                    </a:lnTo>
                    <a:lnTo>
                      <a:pt x="3017" y="895"/>
                    </a:lnTo>
                    <a:lnTo>
                      <a:pt x="3016" y="895"/>
                    </a:lnTo>
                    <a:lnTo>
                      <a:pt x="3014" y="894"/>
                    </a:lnTo>
                    <a:lnTo>
                      <a:pt x="3012" y="894"/>
                    </a:lnTo>
                    <a:lnTo>
                      <a:pt x="3011" y="895"/>
                    </a:lnTo>
                    <a:lnTo>
                      <a:pt x="3011" y="896"/>
                    </a:lnTo>
                    <a:lnTo>
                      <a:pt x="3011" y="899"/>
                    </a:lnTo>
                    <a:lnTo>
                      <a:pt x="3015" y="907"/>
                    </a:lnTo>
                    <a:lnTo>
                      <a:pt x="3016" y="909"/>
                    </a:lnTo>
                    <a:lnTo>
                      <a:pt x="3014" y="909"/>
                    </a:lnTo>
                    <a:lnTo>
                      <a:pt x="3009" y="906"/>
                    </a:lnTo>
                    <a:lnTo>
                      <a:pt x="3007" y="902"/>
                    </a:lnTo>
                    <a:lnTo>
                      <a:pt x="3004" y="898"/>
                    </a:lnTo>
                    <a:lnTo>
                      <a:pt x="3004" y="894"/>
                    </a:lnTo>
                    <a:lnTo>
                      <a:pt x="3004" y="892"/>
                    </a:lnTo>
                    <a:lnTo>
                      <a:pt x="3004" y="890"/>
                    </a:lnTo>
                    <a:lnTo>
                      <a:pt x="3005" y="888"/>
                    </a:lnTo>
                    <a:lnTo>
                      <a:pt x="3010" y="880"/>
                    </a:lnTo>
                    <a:lnTo>
                      <a:pt x="3014" y="873"/>
                    </a:lnTo>
                    <a:lnTo>
                      <a:pt x="3015" y="866"/>
                    </a:lnTo>
                    <a:lnTo>
                      <a:pt x="3017" y="857"/>
                    </a:lnTo>
                    <a:lnTo>
                      <a:pt x="3021" y="849"/>
                    </a:lnTo>
                    <a:lnTo>
                      <a:pt x="3024" y="846"/>
                    </a:lnTo>
                    <a:lnTo>
                      <a:pt x="3026" y="847"/>
                    </a:lnTo>
                    <a:lnTo>
                      <a:pt x="3028" y="848"/>
                    </a:lnTo>
                    <a:lnTo>
                      <a:pt x="3030" y="848"/>
                    </a:lnTo>
                    <a:lnTo>
                      <a:pt x="3031" y="847"/>
                    </a:lnTo>
                    <a:lnTo>
                      <a:pt x="3037" y="842"/>
                    </a:lnTo>
                    <a:lnTo>
                      <a:pt x="3041" y="838"/>
                    </a:lnTo>
                    <a:lnTo>
                      <a:pt x="3041" y="835"/>
                    </a:lnTo>
                    <a:lnTo>
                      <a:pt x="3041" y="828"/>
                    </a:lnTo>
                    <a:lnTo>
                      <a:pt x="3041" y="825"/>
                    </a:lnTo>
                    <a:lnTo>
                      <a:pt x="3042" y="823"/>
                    </a:lnTo>
                    <a:lnTo>
                      <a:pt x="3043" y="822"/>
                    </a:lnTo>
                    <a:lnTo>
                      <a:pt x="3044" y="822"/>
                    </a:lnTo>
                    <a:lnTo>
                      <a:pt x="3045" y="822"/>
                    </a:lnTo>
                    <a:lnTo>
                      <a:pt x="3046" y="823"/>
                    </a:lnTo>
                    <a:lnTo>
                      <a:pt x="3051" y="826"/>
                    </a:lnTo>
                    <a:lnTo>
                      <a:pt x="3056" y="829"/>
                    </a:lnTo>
                    <a:lnTo>
                      <a:pt x="3059" y="832"/>
                    </a:lnTo>
                    <a:lnTo>
                      <a:pt x="3060" y="833"/>
                    </a:lnTo>
                    <a:lnTo>
                      <a:pt x="3061" y="832"/>
                    </a:lnTo>
                    <a:lnTo>
                      <a:pt x="3062" y="830"/>
                    </a:lnTo>
                    <a:lnTo>
                      <a:pt x="3063" y="826"/>
                    </a:lnTo>
                    <a:lnTo>
                      <a:pt x="3065" y="823"/>
                    </a:lnTo>
                    <a:lnTo>
                      <a:pt x="3069" y="823"/>
                    </a:lnTo>
                    <a:lnTo>
                      <a:pt x="3076" y="825"/>
                    </a:lnTo>
                    <a:lnTo>
                      <a:pt x="3085" y="828"/>
                    </a:lnTo>
                    <a:lnTo>
                      <a:pt x="3090" y="833"/>
                    </a:lnTo>
                    <a:lnTo>
                      <a:pt x="3100" y="841"/>
                    </a:lnTo>
                    <a:lnTo>
                      <a:pt x="3107" y="845"/>
                    </a:lnTo>
                    <a:lnTo>
                      <a:pt x="3109" y="847"/>
                    </a:lnTo>
                    <a:lnTo>
                      <a:pt x="3115" y="856"/>
                    </a:lnTo>
                    <a:lnTo>
                      <a:pt x="3120" y="861"/>
                    </a:lnTo>
                    <a:lnTo>
                      <a:pt x="3127" y="869"/>
                    </a:lnTo>
                    <a:lnTo>
                      <a:pt x="3130" y="873"/>
                    </a:lnTo>
                    <a:lnTo>
                      <a:pt x="3132" y="877"/>
                    </a:lnTo>
                    <a:lnTo>
                      <a:pt x="3133" y="881"/>
                    </a:lnTo>
                    <a:lnTo>
                      <a:pt x="3133" y="883"/>
                    </a:lnTo>
                    <a:lnTo>
                      <a:pt x="3132" y="889"/>
                    </a:lnTo>
                    <a:lnTo>
                      <a:pt x="3133" y="892"/>
                    </a:lnTo>
                    <a:lnTo>
                      <a:pt x="3134" y="894"/>
                    </a:lnTo>
                    <a:lnTo>
                      <a:pt x="3136" y="899"/>
                    </a:lnTo>
                    <a:lnTo>
                      <a:pt x="3138" y="901"/>
                    </a:lnTo>
                    <a:lnTo>
                      <a:pt x="3139" y="902"/>
                    </a:lnTo>
                    <a:lnTo>
                      <a:pt x="3140" y="902"/>
                    </a:lnTo>
                    <a:lnTo>
                      <a:pt x="3141" y="902"/>
                    </a:lnTo>
                    <a:lnTo>
                      <a:pt x="3142" y="901"/>
                    </a:lnTo>
                    <a:lnTo>
                      <a:pt x="3143" y="901"/>
                    </a:lnTo>
                    <a:lnTo>
                      <a:pt x="3144" y="901"/>
                    </a:lnTo>
                    <a:lnTo>
                      <a:pt x="3146" y="902"/>
                    </a:lnTo>
                    <a:lnTo>
                      <a:pt x="3148" y="905"/>
                    </a:lnTo>
                    <a:lnTo>
                      <a:pt x="3151" y="909"/>
                    </a:lnTo>
                    <a:lnTo>
                      <a:pt x="3160" y="922"/>
                    </a:lnTo>
                    <a:lnTo>
                      <a:pt x="3171" y="934"/>
                    </a:lnTo>
                    <a:lnTo>
                      <a:pt x="3175" y="943"/>
                    </a:lnTo>
                    <a:lnTo>
                      <a:pt x="3181" y="952"/>
                    </a:lnTo>
                    <a:lnTo>
                      <a:pt x="3187" y="963"/>
                    </a:lnTo>
                    <a:lnTo>
                      <a:pt x="3194" y="973"/>
                    </a:lnTo>
                    <a:lnTo>
                      <a:pt x="3198" y="982"/>
                    </a:lnTo>
                    <a:lnTo>
                      <a:pt x="3203" y="992"/>
                    </a:lnTo>
                    <a:lnTo>
                      <a:pt x="3207" y="1000"/>
                    </a:lnTo>
                    <a:lnTo>
                      <a:pt x="3210" y="1007"/>
                    </a:lnTo>
                    <a:lnTo>
                      <a:pt x="3216" y="1015"/>
                    </a:lnTo>
                    <a:lnTo>
                      <a:pt x="3221" y="1026"/>
                    </a:lnTo>
                    <a:lnTo>
                      <a:pt x="3225" y="1038"/>
                    </a:lnTo>
                    <a:lnTo>
                      <a:pt x="3228" y="1047"/>
                    </a:lnTo>
                    <a:lnTo>
                      <a:pt x="3229" y="1057"/>
                    </a:lnTo>
                    <a:lnTo>
                      <a:pt x="3228" y="1062"/>
                    </a:lnTo>
                    <a:lnTo>
                      <a:pt x="3228" y="1062"/>
                    </a:lnTo>
                    <a:lnTo>
                      <a:pt x="3227" y="1063"/>
                    </a:lnTo>
                    <a:lnTo>
                      <a:pt x="3226" y="1063"/>
                    </a:lnTo>
                    <a:lnTo>
                      <a:pt x="3225" y="1061"/>
                    </a:lnTo>
                    <a:lnTo>
                      <a:pt x="3221" y="1057"/>
                    </a:lnTo>
                    <a:lnTo>
                      <a:pt x="3216" y="1048"/>
                    </a:lnTo>
                    <a:lnTo>
                      <a:pt x="3203" y="1034"/>
                    </a:lnTo>
                    <a:lnTo>
                      <a:pt x="3195" y="1022"/>
                    </a:lnTo>
                    <a:lnTo>
                      <a:pt x="3194" y="1022"/>
                    </a:lnTo>
                    <a:lnTo>
                      <a:pt x="3192" y="1021"/>
                    </a:lnTo>
                    <a:lnTo>
                      <a:pt x="3192" y="1021"/>
                    </a:lnTo>
                    <a:lnTo>
                      <a:pt x="3194" y="1026"/>
                    </a:lnTo>
                    <a:lnTo>
                      <a:pt x="3201" y="1040"/>
                    </a:lnTo>
                    <a:lnTo>
                      <a:pt x="3205" y="1045"/>
                    </a:lnTo>
                    <a:lnTo>
                      <a:pt x="3206" y="1046"/>
                    </a:lnTo>
                    <a:lnTo>
                      <a:pt x="3208" y="1047"/>
                    </a:lnTo>
                    <a:lnTo>
                      <a:pt x="3210" y="1052"/>
                    </a:lnTo>
                    <a:lnTo>
                      <a:pt x="3212" y="1058"/>
                    </a:lnTo>
                    <a:lnTo>
                      <a:pt x="3212" y="1063"/>
                    </a:lnTo>
                    <a:lnTo>
                      <a:pt x="3212" y="1066"/>
                    </a:lnTo>
                    <a:lnTo>
                      <a:pt x="3213" y="1068"/>
                    </a:lnTo>
                    <a:lnTo>
                      <a:pt x="3215" y="1073"/>
                    </a:lnTo>
                    <a:lnTo>
                      <a:pt x="3218" y="1083"/>
                    </a:lnTo>
                    <a:lnTo>
                      <a:pt x="3221" y="1090"/>
                    </a:lnTo>
                    <a:lnTo>
                      <a:pt x="3224" y="1098"/>
                    </a:lnTo>
                    <a:lnTo>
                      <a:pt x="3228" y="1106"/>
                    </a:lnTo>
                    <a:lnTo>
                      <a:pt x="3233" y="1112"/>
                    </a:lnTo>
                    <a:lnTo>
                      <a:pt x="3236" y="1120"/>
                    </a:lnTo>
                    <a:lnTo>
                      <a:pt x="3238" y="1125"/>
                    </a:lnTo>
                    <a:lnTo>
                      <a:pt x="3240" y="1127"/>
                    </a:lnTo>
                    <a:lnTo>
                      <a:pt x="3240" y="1121"/>
                    </a:lnTo>
                    <a:lnTo>
                      <a:pt x="3239" y="1113"/>
                    </a:lnTo>
                    <a:lnTo>
                      <a:pt x="3235" y="1107"/>
                    </a:lnTo>
                    <a:lnTo>
                      <a:pt x="3229" y="1100"/>
                    </a:lnTo>
                    <a:lnTo>
                      <a:pt x="3226" y="1092"/>
                    </a:lnTo>
                    <a:lnTo>
                      <a:pt x="3224" y="1085"/>
                    </a:lnTo>
                    <a:lnTo>
                      <a:pt x="3223" y="1081"/>
                    </a:lnTo>
                    <a:lnTo>
                      <a:pt x="3223" y="1078"/>
                    </a:lnTo>
                    <a:lnTo>
                      <a:pt x="3224" y="1078"/>
                    </a:lnTo>
                    <a:lnTo>
                      <a:pt x="3228" y="1084"/>
                    </a:lnTo>
                    <a:lnTo>
                      <a:pt x="3235" y="1096"/>
                    </a:lnTo>
                    <a:lnTo>
                      <a:pt x="3239" y="1104"/>
                    </a:lnTo>
                    <a:lnTo>
                      <a:pt x="3243" y="1113"/>
                    </a:lnTo>
                    <a:lnTo>
                      <a:pt x="3245" y="1118"/>
                    </a:lnTo>
                    <a:lnTo>
                      <a:pt x="3245" y="1109"/>
                    </a:lnTo>
                    <a:lnTo>
                      <a:pt x="3242" y="1101"/>
                    </a:lnTo>
                    <a:lnTo>
                      <a:pt x="3239" y="1092"/>
                    </a:lnTo>
                    <a:lnTo>
                      <a:pt x="3236" y="1085"/>
                    </a:lnTo>
                    <a:lnTo>
                      <a:pt x="3236" y="1077"/>
                    </a:lnTo>
                    <a:lnTo>
                      <a:pt x="3236" y="1070"/>
                    </a:lnTo>
                    <a:lnTo>
                      <a:pt x="3235" y="1060"/>
                    </a:lnTo>
                    <a:lnTo>
                      <a:pt x="3231" y="1049"/>
                    </a:lnTo>
                    <a:lnTo>
                      <a:pt x="3233" y="1049"/>
                    </a:lnTo>
                    <a:lnTo>
                      <a:pt x="3237" y="1059"/>
                    </a:lnTo>
                    <a:lnTo>
                      <a:pt x="3240" y="1068"/>
                    </a:lnTo>
                    <a:lnTo>
                      <a:pt x="3241" y="1071"/>
                    </a:lnTo>
                    <a:lnTo>
                      <a:pt x="3245" y="1081"/>
                    </a:lnTo>
                    <a:lnTo>
                      <a:pt x="3247" y="1086"/>
                    </a:lnTo>
                    <a:lnTo>
                      <a:pt x="3245" y="1079"/>
                    </a:lnTo>
                    <a:lnTo>
                      <a:pt x="3241" y="1067"/>
                    </a:lnTo>
                    <a:lnTo>
                      <a:pt x="3239" y="1061"/>
                    </a:lnTo>
                    <a:lnTo>
                      <a:pt x="3236" y="1054"/>
                    </a:lnTo>
                    <a:lnTo>
                      <a:pt x="3233" y="1047"/>
                    </a:lnTo>
                    <a:lnTo>
                      <a:pt x="3229" y="1039"/>
                    </a:lnTo>
                    <a:lnTo>
                      <a:pt x="3227" y="1033"/>
                    </a:lnTo>
                    <a:lnTo>
                      <a:pt x="3226" y="1030"/>
                    </a:lnTo>
                    <a:lnTo>
                      <a:pt x="3225" y="1025"/>
                    </a:lnTo>
                    <a:lnTo>
                      <a:pt x="3221" y="1017"/>
                    </a:lnTo>
                    <a:lnTo>
                      <a:pt x="3217" y="1007"/>
                    </a:lnTo>
                    <a:lnTo>
                      <a:pt x="3214" y="999"/>
                    </a:lnTo>
                    <a:lnTo>
                      <a:pt x="3214" y="999"/>
                    </a:lnTo>
                    <a:lnTo>
                      <a:pt x="3217" y="1005"/>
                    </a:lnTo>
                    <a:lnTo>
                      <a:pt x="3221" y="1013"/>
                    </a:lnTo>
                    <a:lnTo>
                      <a:pt x="3225" y="1022"/>
                    </a:lnTo>
                    <a:lnTo>
                      <a:pt x="3229" y="1032"/>
                    </a:lnTo>
                    <a:lnTo>
                      <a:pt x="3231" y="1038"/>
                    </a:lnTo>
                    <a:lnTo>
                      <a:pt x="3234" y="1042"/>
                    </a:lnTo>
                    <a:lnTo>
                      <a:pt x="3235" y="1044"/>
                    </a:lnTo>
                    <a:lnTo>
                      <a:pt x="3234" y="1045"/>
                    </a:lnTo>
                    <a:lnTo>
                      <a:pt x="3235" y="1048"/>
                    </a:lnTo>
                    <a:lnTo>
                      <a:pt x="3238" y="1054"/>
                    </a:lnTo>
                    <a:lnTo>
                      <a:pt x="3241" y="1061"/>
                    </a:lnTo>
                    <a:lnTo>
                      <a:pt x="3243" y="1065"/>
                    </a:lnTo>
                    <a:lnTo>
                      <a:pt x="3244" y="1067"/>
                    </a:lnTo>
                    <a:lnTo>
                      <a:pt x="3243" y="1066"/>
                    </a:lnTo>
                    <a:lnTo>
                      <a:pt x="3242" y="1062"/>
                    </a:lnTo>
                    <a:lnTo>
                      <a:pt x="3240" y="1056"/>
                    </a:lnTo>
                    <a:lnTo>
                      <a:pt x="3238" y="1053"/>
                    </a:lnTo>
                    <a:lnTo>
                      <a:pt x="3239" y="1053"/>
                    </a:lnTo>
                    <a:close/>
                    <a:moveTo>
                      <a:pt x="1425" y="939"/>
                    </a:moveTo>
                    <a:lnTo>
                      <a:pt x="1427" y="944"/>
                    </a:lnTo>
                    <a:lnTo>
                      <a:pt x="1430" y="946"/>
                    </a:lnTo>
                    <a:lnTo>
                      <a:pt x="1431" y="946"/>
                    </a:lnTo>
                    <a:lnTo>
                      <a:pt x="1434" y="946"/>
                    </a:lnTo>
                    <a:lnTo>
                      <a:pt x="1435" y="946"/>
                    </a:lnTo>
                    <a:lnTo>
                      <a:pt x="1437" y="944"/>
                    </a:lnTo>
                    <a:lnTo>
                      <a:pt x="1441" y="938"/>
                    </a:lnTo>
                    <a:lnTo>
                      <a:pt x="1444" y="933"/>
                    </a:lnTo>
                    <a:lnTo>
                      <a:pt x="1445" y="930"/>
                    </a:lnTo>
                    <a:lnTo>
                      <a:pt x="1445" y="928"/>
                    </a:lnTo>
                    <a:lnTo>
                      <a:pt x="1444" y="927"/>
                    </a:lnTo>
                    <a:lnTo>
                      <a:pt x="1442" y="927"/>
                    </a:lnTo>
                    <a:lnTo>
                      <a:pt x="1435" y="928"/>
                    </a:lnTo>
                    <a:lnTo>
                      <a:pt x="1430" y="929"/>
                    </a:lnTo>
                    <a:lnTo>
                      <a:pt x="1427" y="932"/>
                    </a:lnTo>
                    <a:lnTo>
                      <a:pt x="1424" y="935"/>
                    </a:lnTo>
                    <a:lnTo>
                      <a:pt x="1424" y="937"/>
                    </a:lnTo>
                    <a:lnTo>
                      <a:pt x="1425" y="939"/>
                    </a:lnTo>
                    <a:close/>
                    <a:moveTo>
                      <a:pt x="1380" y="999"/>
                    </a:moveTo>
                    <a:lnTo>
                      <a:pt x="1381" y="1004"/>
                    </a:lnTo>
                    <a:lnTo>
                      <a:pt x="1382" y="1010"/>
                    </a:lnTo>
                    <a:lnTo>
                      <a:pt x="1383" y="1011"/>
                    </a:lnTo>
                    <a:lnTo>
                      <a:pt x="1384" y="1012"/>
                    </a:lnTo>
                    <a:lnTo>
                      <a:pt x="1385" y="1012"/>
                    </a:lnTo>
                    <a:lnTo>
                      <a:pt x="1387" y="1012"/>
                    </a:lnTo>
                    <a:lnTo>
                      <a:pt x="1393" y="1008"/>
                    </a:lnTo>
                    <a:lnTo>
                      <a:pt x="1398" y="1004"/>
                    </a:lnTo>
                    <a:lnTo>
                      <a:pt x="1399" y="1002"/>
                    </a:lnTo>
                    <a:lnTo>
                      <a:pt x="1401" y="999"/>
                    </a:lnTo>
                    <a:lnTo>
                      <a:pt x="1401" y="997"/>
                    </a:lnTo>
                    <a:lnTo>
                      <a:pt x="1400" y="994"/>
                    </a:lnTo>
                    <a:lnTo>
                      <a:pt x="1399" y="987"/>
                    </a:lnTo>
                    <a:lnTo>
                      <a:pt x="1398" y="981"/>
                    </a:lnTo>
                    <a:lnTo>
                      <a:pt x="1397" y="980"/>
                    </a:lnTo>
                    <a:lnTo>
                      <a:pt x="1396" y="979"/>
                    </a:lnTo>
                    <a:lnTo>
                      <a:pt x="1395" y="980"/>
                    </a:lnTo>
                    <a:lnTo>
                      <a:pt x="1392" y="982"/>
                    </a:lnTo>
                    <a:lnTo>
                      <a:pt x="1383" y="993"/>
                    </a:lnTo>
                    <a:lnTo>
                      <a:pt x="1380" y="999"/>
                    </a:lnTo>
                    <a:close/>
                    <a:moveTo>
                      <a:pt x="1293" y="983"/>
                    </a:moveTo>
                    <a:lnTo>
                      <a:pt x="1296" y="991"/>
                    </a:lnTo>
                    <a:lnTo>
                      <a:pt x="1300" y="995"/>
                    </a:lnTo>
                    <a:lnTo>
                      <a:pt x="1305" y="997"/>
                    </a:lnTo>
                    <a:lnTo>
                      <a:pt x="1309" y="997"/>
                    </a:lnTo>
                    <a:lnTo>
                      <a:pt x="1313" y="996"/>
                    </a:lnTo>
                    <a:lnTo>
                      <a:pt x="1317" y="994"/>
                    </a:lnTo>
                    <a:lnTo>
                      <a:pt x="1320" y="992"/>
                    </a:lnTo>
                    <a:lnTo>
                      <a:pt x="1323" y="989"/>
                    </a:lnTo>
                    <a:lnTo>
                      <a:pt x="1332" y="982"/>
                    </a:lnTo>
                    <a:lnTo>
                      <a:pt x="1341" y="974"/>
                    </a:lnTo>
                    <a:lnTo>
                      <a:pt x="1344" y="970"/>
                    </a:lnTo>
                    <a:lnTo>
                      <a:pt x="1347" y="966"/>
                    </a:lnTo>
                    <a:lnTo>
                      <a:pt x="1347" y="965"/>
                    </a:lnTo>
                    <a:lnTo>
                      <a:pt x="1347" y="964"/>
                    </a:lnTo>
                    <a:lnTo>
                      <a:pt x="1344" y="963"/>
                    </a:lnTo>
                    <a:lnTo>
                      <a:pt x="1342" y="961"/>
                    </a:lnTo>
                    <a:lnTo>
                      <a:pt x="1332" y="959"/>
                    </a:lnTo>
                    <a:lnTo>
                      <a:pt x="1322" y="959"/>
                    </a:lnTo>
                    <a:lnTo>
                      <a:pt x="1318" y="959"/>
                    </a:lnTo>
                    <a:lnTo>
                      <a:pt x="1315" y="961"/>
                    </a:lnTo>
                    <a:lnTo>
                      <a:pt x="1313" y="964"/>
                    </a:lnTo>
                    <a:lnTo>
                      <a:pt x="1311" y="967"/>
                    </a:lnTo>
                    <a:lnTo>
                      <a:pt x="1310" y="970"/>
                    </a:lnTo>
                    <a:lnTo>
                      <a:pt x="1308" y="974"/>
                    </a:lnTo>
                    <a:lnTo>
                      <a:pt x="1305" y="976"/>
                    </a:lnTo>
                    <a:lnTo>
                      <a:pt x="1301" y="979"/>
                    </a:lnTo>
                    <a:lnTo>
                      <a:pt x="1296" y="982"/>
                    </a:lnTo>
                    <a:lnTo>
                      <a:pt x="1293" y="983"/>
                    </a:lnTo>
                    <a:close/>
                    <a:moveTo>
                      <a:pt x="1449" y="732"/>
                    </a:moveTo>
                    <a:lnTo>
                      <a:pt x="1446" y="740"/>
                    </a:lnTo>
                    <a:lnTo>
                      <a:pt x="1445" y="749"/>
                    </a:lnTo>
                    <a:lnTo>
                      <a:pt x="1445" y="753"/>
                    </a:lnTo>
                    <a:lnTo>
                      <a:pt x="1447" y="756"/>
                    </a:lnTo>
                    <a:lnTo>
                      <a:pt x="1450" y="759"/>
                    </a:lnTo>
                    <a:lnTo>
                      <a:pt x="1457" y="762"/>
                    </a:lnTo>
                    <a:lnTo>
                      <a:pt x="1463" y="764"/>
                    </a:lnTo>
                    <a:lnTo>
                      <a:pt x="1470" y="764"/>
                    </a:lnTo>
                    <a:lnTo>
                      <a:pt x="1475" y="764"/>
                    </a:lnTo>
                    <a:lnTo>
                      <a:pt x="1481" y="762"/>
                    </a:lnTo>
                    <a:lnTo>
                      <a:pt x="1486" y="760"/>
                    </a:lnTo>
                    <a:lnTo>
                      <a:pt x="1490" y="757"/>
                    </a:lnTo>
                    <a:lnTo>
                      <a:pt x="1492" y="753"/>
                    </a:lnTo>
                    <a:lnTo>
                      <a:pt x="1494" y="749"/>
                    </a:lnTo>
                    <a:lnTo>
                      <a:pt x="1495" y="745"/>
                    </a:lnTo>
                    <a:lnTo>
                      <a:pt x="1494" y="738"/>
                    </a:lnTo>
                    <a:lnTo>
                      <a:pt x="1493" y="733"/>
                    </a:lnTo>
                    <a:lnTo>
                      <a:pt x="1491" y="728"/>
                    </a:lnTo>
                    <a:lnTo>
                      <a:pt x="1489" y="724"/>
                    </a:lnTo>
                    <a:lnTo>
                      <a:pt x="1486" y="720"/>
                    </a:lnTo>
                    <a:lnTo>
                      <a:pt x="1483" y="718"/>
                    </a:lnTo>
                    <a:lnTo>
                      <a:pt x="1480" y="718"/>
                    </a:lnTo>
                    <a:lnTo>
                      <a:pt x="1472" y="720"/>
                    </a:lnTo>
                    <a:lnTo>
                      <a:pt x="1466" y="723"/>
                    </a:lnTo>
                    <a:lnTo>
                      <a:pt x="1464" y="725"/>
                    </a:lnTo>
                    <a:lnTo>
                      <a:pt x="1461" y="726"/>
                    </a:lnTo>
                    <a:lnTo>
                      <a:pt x="1460" y="728"/>
                    </a:lnTo>
                    <a:lnTo>
                      <a:pt x="1458" y="730"/>
                    </a:lnTo>
                    <a:lnTo>
                      <a:pt x="1457" y="733"/>
                    </a:lnTo>
                    <a:lnTo>
                      <a:pt x="1456" y="732"/>
                    </a:lnTo>
                    <a:lnTo>
                      <a:pt x="1456" y="731"/>
                    </a:lnTo>
                    <a:lnTo>
                      <a:pt x="1454" y="729"/>
                    </a:lnTo>
                    <a:lnTo>
                      <a:pt x="1452" y="728"/>
                    </a:lnTo>
                    <a:lnTo>
                      <a:pt x="1450" y="729"/>
                    </a:lnTo>
                    <a:lnTo>
                      <a:pt x="1449" y="731"/>
                    </a:lnTo>
                    <a:lnTo>
                      <a:pt x="1449" y="732"/>
                    </a:lnTo>
                    <a:close/>
                    <a:moveTo>
                      <a:pt x="1193" y="200"/>
                    </a:moveTo>
                    <a:lnTo>
                      <a:pt x="1200" y="204"/>
                    </a:lnTo>
                    <a:lnTo>
                      <a:pt x="1207" y="206"/>
                    </a:lnTo>
                    <a:lnTo>
                      <a:pt x="1215" y="207"/>
                    </a:lnTo>
                    <a:lnTo>
                      <a:pt x="1221" y="208"/>
                    </a:lnTo>
                    <a:lnTo>
                      <a:pt x="1225" y="208"/>
                    </a:lnTo>
                    <a:lnTo>
                      <a:pt x="1227" y="210"/>
                    </a:lnTo>
                    <a:lnTo>
                      <a:pt x="1227" y="212"/>
                    </a:lnTo>
                    <a:lnTo>
                      <a:pt x="1223" y="215"/>
                    </a:lnTo>
                    <a:lnTo>
                      <a:pt x="1217" y="219"/>
                    </a:lnTo>
                    <a:lnTo>
                      <a:pt x="1210" y="221"/>
                    </a:lnTo>
                    <a:lnTo>
                      <a:pt x="1206" y="222"/>
                    </a:lnTo>
                    <a:lnTo>
                      <a:pt x="1202" y="222"/>
                    </a:lnTo>
                    <a:lnTo>
                      <a:pt x="1200" y="223"/>
                    </a:lnTo>
                    <a:lnTo>
                      <a:pt x="1200" y="223"/>
                    </a:lnTo>
                    <a:lnTo>
                      <a:pt x="1202" y="224"/>
                    </a:lnTo>
                    <a:lnTo>
                      <a:pt x="1207" y="227"/>
                    </a:lnTo>
                    <a:lnTo>
                      <a:pt x="1213" y="230"/>
                    </a:lnTo>
                    <a:lnTo>
                      <a:pt x="1220" y="232"/>
                    </a:lnTo>
                    <a:lnTo>
                      <a:pt x="1225" y="233"/>
                    </a:lnTo>
                    <a:lnTo>
                      <a:pt x="1231" y="232"/>
                    </a:lnTo>
                    <a:lnTo>
                      <a:pt x="1237" y="231"/>
                    </a:lnTo>
                    <a:lnTo>
                      <a:pt x="1241" y="230"/>
                    </a:lnTo>
                    <a:lnTo>
                      <a:pt x="1244" y="228"/>
                    </a:lnTo>
                    <a:lnTo>
                      <a:pt x="1245" y="226"/>
                    </a:lnTo>
                    <a:lnTo>
                      <a:pt x="1247" y="221"/>
                    </a:lnTo>
                    <a:lnTo>
                      <a:pt x="1249" y="213"/>
                    </a:lnTo>
                    <a:lnTo>
                      <a:pt x="1251" y="210"/>
                    </a:lnTo>
                    <a:lnTo>
                      <a:pt x="1252" y="208"/>
                    </a:lnTo>
                    <a:lnTo>
                      <a:pt x="1255" y="207"/>
                    </a:lnTo>
                    <a:lnTo>
                      <a:pt x="1257" y="208"/>
                    </a:lnTo>
                    <a:lnTo>
                      <a:pt x="1261" y="220"/>
                    </a:lnTo>
                    <a:lnTo>
                      <a:pt x="1264" y="225"/>
                    </a:lnTo>
                    <a:lnTo>
                      <a:pt x="1266" y="224"/>
                    </a:lnTo>
                    <a:lnTo>
                      <a:pt x="1268" y="222"/>
                    </a:lnTo>
                    <a:lnTo>
                      <a:pt x="1269" y="219"/>
                    </a:lnTo>
                    <a:lnTo>
                      <a:pt x="1271" y="215"/>
                    </a:lnTo>
                    <a:lnTo>
                      <a:pt x="1273" y="209"/>
                    </a:lnTo>
                    <a:lnTo>
                      <a:pt x="1274" y="206"/>
                    </a:lnTo>
                    <a:lnTo>
                      <a:pt x="1276" y="201"/>
                    </a:lnTo>
                    <a:lnTo>
                      <a:pt x="1277" y="194"/>
                    </a:lnTo>
                    <a:lnTo>
                      <a:pt x="1278" y="191"/>
                    </a:lnTo>
                    <a:lnTo>
                      <a:pt x="1279" y="188"/>
                    </a:lnTo>
                    <a:lnTo>
                      <a:pt x="1282" y="186"/>
                    </a:lnTo>
                    <a:lnTo>
                      <a:pt x="1285" y="186"/>
                    </a:lnTo>
                    <a:lnTo>
                      <a:pt x="1292" y="185"/>
                    </a:lnTo>
                    <a:lnTo>
                      <a:pt x="1300" y="183"/>
                    </a:lnTo>
                    <a:lnTo>
                      <a:pt x="1308" y="181"/>
                    </a:lnTo>
                    <a:lnTo>
                      <a:pt x="1312" y="179"/>
                    </a:lnTo>
                    <a:lnTo>
                      <a:pt x="1323" y="174"/>
                    </a:lnTo>
                    <a:lnTo>
                      <a:pt x="1336" y="166"/>
                    </a:lnTo>
                    <a:lnTo>
                      <a:pt x="1335" y="164"/>
                    </a:lnTo>
                    <a:lnTo>
                      <a:pt x="1332" y="161"/>
                    </a:lnTo>
                    <a:lnTo>
                      <a:pt x="1327" y="158"/>
                    </a:lnTo>
                    <a:lnTo>
                      <a:pt x="1320" y="157"/>
                    </a:lnTo>
                    <a:lnTo>
                      <a:pt x="1313" y="158"/>
                    </a:lnTo>
                    <a:lnTo>
                      <a:pt x="1308" y="158"/>
                    </a:lnTo>
                    <a:lnTo>
                      <a:pt x="1306" y="158"/>
                    </a:lnTo>
                    <a:lnTo>
                      <a:pt x="1304" y="157"/>
                    </a:lnTo>
                    <a:lnTo>
                      <a:pt x="1303" y="157"/>
                    </a:lnTo>
                    <a:lnTo>
                      <a:pt x="1301" y="155"/>
                    </a:lnTo>
                    <a:lnTo>
                      <a:pt x="1305" y="152"/>
                    </a:lnTo>
                    <a:lnTo>
                      <a:pt x="1309" y="148"/>
                    </a:lnTo>
                    <a:lnTo>
                      <a:pt x="1310" y="146"/>
                    </a:lnTo>
                    <a:lnTo>
                      <a:pt x="1311" y="145"/>
                    </a:lnTo>
                    <a:lnTo>
                      <a:pt x="1311" y="143"/>
                    </a:lnTo>
                    <a:lnTo>
                      <a:pt x="1309" y="142"/>
                    </a:lnTo>
                    <a:lnTo>
                      <a:pt x="1299" y="140"/>
                    </a:lnTo>
                    <a:lnTo>
                      <a:pt x="1289" y="138"/>
                    </a:lnTo>
                    <a:lnTo>
                      <a:pt x="1285" y="137"/>
                    </a:lnTo>
                    <a:lnTo>
                      <a:pt x="1281" y="136"/>
                    </a:lnTo>
                    <a:lnTo>
                      <a:pt x="1278" y="135"/>
                    </a:lnTo>
                    <a:lnTo>
                      <a:pt x="1278" y="133"/>
                    </a:lnTo>
                    <a:lnTo>
                      <a:pt x="1281" y="128"/>
                    </a:lnTo>
                    <a:lnTo>
                      <a:pt x="1282" y="123"/>
                    </a:lnTo>
                    <a:lnTo>
                      <a:pt x="1282" y="121"/>
                    </a:lnTo>
                    <a:lnTo>
                      <a:pt x="1282" y="119"/>
                    </a:lnTo>
                    <a:lnTo>
                      <a:pt x="1281" y="118"/>
                    </a:lnTo>
                    <a:lnTo>
                      <a:pt x="1278" y="117"/>
                    </a:lnTo>
                    <a:lnTo>
                      <a:pt x="1270" y="116"/>
                    </a:lnTo>
                    <a:lnTo>
                      <a:pt x="1262" y="114"/>
                    </a:lnTo>
                    <a:lnTo>
                      <a:pt x="1255" y="113"/>
                    </a:lnTo>
                    <a:lnTo>
                      <a:pt x="1253" y="110"/>
                    </a:lnTo>
                    <a:lnTo>
                      <a:pt x="1253" y="106"/>
                    </a:lnTo>
                    <a:lnTo>
                      <a:pt x="1254" y="100"/>
                    </a:lnTo>
                    <a:lnTo>
                      <a:pt x="1253" y="95"/>
                    </a:lnTo>
                    <a:lnTo>
                      <a:pt x="1252" y="93"/>
                    </a:lnTo>
                    <a:lnTo>
                      <a:pt x="1250" y="92"/>
                    </a:lnTo>
                    <a:lnTo>
                      <a:pt x="1246" y="90"/>
                    </a:lnTo>
                    <a:lnTo>
                      <a:pt x="1241" y="89"/>
                    </a:lnTo>
                    <a:lnTo>
                      <a:pt x="1235" y="90"/>
                    </a:lnTo>
                    <a:lnTo>
                      <a:pt x="1225" y="93"/>
                    </a:lnTo>
                    <a:lnTo>
                      <a:pt x="1220" y="95"/>
                    </a:lnTo>
                    <a:lnTo>
                      <a:pt x="1228" y="95"/>
                    </a:lnTo>
                    <a:lnTo>
                      <a:pt x="1232" y="96"/>
                    </a:lnTo>
                    <a:lnTo>
                      <a:pt x="1232" y="97"/>
                    </a:lnTo>
                    <a:lnTo>
                      <a:pt x="1231" y="98"/>
                    </a:lnTo>
                    <a:lnTo>
                      <a:pt x="1230" y="100"/>
                    </a:lnTo>
                    <a:lnTo>
                      <a:pt x="1225" y="102"/>
                    </a:lnTo>
                    <a:lnTo>
                      <a:pt x="1219" y="106"/>
                    </a:lnTo>
                    <a:lnTo>
                      <a:pt x="1212" y="110"/>
                    </a:lnTo>
                    <a:lnTo>
                      <a:pt x="1208" y="112"/>
                    </a:lnTo>
                    <a:lnTo>
                      <a:pt x="1208" y="114"/>
                    </a:lnTo>
                    <a:lnTo>
                      <a:pt x="1212" y="116"/>
                    </a:lnTo>
                    <a:lnTo>
                      <a:pt x="1218" y="118"/>
                    </a:lnTo>
                    <a:lnTo>
                      <a:pt x="1219" y="120"/>
                    </a:lnTo>
                    <a:lnTo>
                      <a:pt x="1221" y="121"/>
                    </a:lnTo>
                    <a:lnTo>
                      <a:pt x="1221" y="122"/>
                    </a:lnTo>
                    <a:lnTo>
                      <a:pt x="1219" y="122"/>
                    </a:lnTo>
                    <a:lnTo>
                      <a:pt x="1205" y="123"/>
                    </a:lnTo>
                    <a:lnTo>
                      <a:pt x="1197" y="124"/>
                    </a:lnTo>
                    <a:lnTo>
                      <a:pt x="1193" y="126"/>
                    </a:lnTo>
                    <a:lnTo>
                      <a:pt x="1189" y="130"/>
                    </a:lnTo>
                    <a:lnTo>
                      <a:pt x="1200" y="136"/>
                    </a:lnTo>
                    <a:lnTo>
                      <a:pt x="1208" y="141"/>
                    </a:lnTo>
                    <a:lnTo>
                      <a:pt x="1207" y="143"/>
                    </a:lnTo>
                    <a:lnTo>
                      <a:pt x="1199" y="148"/>
                    </a:lnTo>
                    <a:lnTo>
                      <a:pt x="1193" y="152"/>
                    </a:lnTo>
                    <a:lnTo>
                      <a:pt x="1186" y="154"/>
                    </a:lnTo>
                    <a:lnTo>
                      <a:pt x="1184" y="155"/>
                    </a:lnTo>
                    <a:lnTo>
                      <a:pt x="1183" y="155"/>
                    </a:lnTo>
                    <a:lnTo>
                      <a:pt x="1182" y="154"/>
                    </a:lnTo>
                    <a:lnTo>
                      <a:pt x="1182" y="153"/>
                    </a:lnTo>
                    <a:lnTo>
                      <a:pt x="1181" y="150"/>
                    </a:lnTo>
                    <a:lnTo>
                      <a:pt x="1180" y="147"/>
                    </a:lnTo>
                    <a:lnTo>
                      <a:pt x="1179" y="147"/>
                    </a:lnTo>
                    <a:lnTo>
                      <a:pt x="1178" y="147"/>
                    </a:lnTo>
                    <a:lnTo>
                      <a:pt x="1177" y="147"/>
                    </a:lnTo>
                    <a:lnTo>
                      <a:pt x="1175" y="148"/>
                    </a:lnTo>
                    <a:lnTo>
                      <a:pt x="1172" y="152"/>
                    </a:lnTo>
                    <a:lnTo>
                      <a:pt x="1171" y="154"/>
                    </a:lnTo>
                    <a:lnTo>
                      <a:pt x="1169" y="157"/>
                    </a:lnTo>
                    <a:lnTo>
                      <a:pt x="1169" y="159"/>
                    </a:lnTo>
                    <a:lnTo>
                      <a:pt x="1171" y="161"/>
                    </a:lnTo>
                    <a:lnTo>
                      <a:pt x="1174" y="162"/>
                    </a:lnTo>
                    <a:lnTo>
                      <a:pt x="1177" y="163"/>
                    </a:lnTo>
                    <a:lnTo>
                      <a:pt x="1182" y="164"/>
                    </a:lnTo>
                    <a:lnTo>
                      <a:pt x="1190" y="166"/>
                    </a:lnTo>
                    <a:lnTo>
                      <a:pt x="1204" y="168"/>
                    </a:lnTo>
                    <a:lnTo>
                      <a:pt x="1207" y="168"/>
                    </a:lnTo>
                    <a:lnTo>
                      <a:pt x="1207" y="168"/>
                    </a:lnTo>
                    <a:lnTo>
                      <a:pt x="1204" y="169"/>
                    </a:lnTo>
                    <a:lnTo>
                      <a:pt x="1199" y="169"/>
                    </a:lnTo>
                    <a:lnTo>
                      <a:pt x="1188" y="171"/>
                    </a:lnTo>
                    <a:lnTo>
                      <a:pt x="1181" y="175"/>
                    </a:lnTo>
                    <a:lnTo>
                      <a:pt x="1181" y="177"/>
                    </a:lnTo>
                    <a:lnTo>
                      <a:pt x="1183" y="178"/>
                    </a:lnTo>
                    <a:lnTo>
                      <a:pt x="1185" y="179"/>
                    </a:lnTo>
                    <a:lnTo>
                      <a:pt x="1188" y="180"/>
                    </a:lnTo>
                    <a:lnTo>
                      <a:pt x="1195" y="181"/>
                    </a:lnTo>
                    <a:lnTo>
                      <a:pt x="1200" y="180"/>
                    </a:lnTo>
                    <a:lnTo>
                      <a:pt x="1211" y="175"/>
                    </a:lnTo>
                    <a:lnTo>
                      <a:pt x="1222" y="169"/>
                    </a:lnTo>
                    <a:lnTo>
                      <a:pt x="1225" y="168"/>
                    </a:lnTo>
                    <a:lnTo>
                      <a:pt x="1230" y="168"/>
                    </a:lnTo>
                    <a:lnTo>
                      <a:pt x="1232" y="168"/>
                    </a:lnTo>
                    <a:lnTo>
                      <a:pt x="1234" y="168"/>
                    </a:lnTo>
                    <a:lnTo>
                      <a:pt x="1235" y="170"/>
                    </a:lnTo>
                    <a:lnTo>
                      <a:pt x="1235" y="171"/>
                    </a:lnTo>
                    <a:lnTo>
                      <a:pt x="1239" y="178"/>
                    </a:lnTo>
                    <a:lnTo>
                      <a:pt x="1241" y="181"/>
                    </a:lnTo>
                    <a:lnTo>
                      <a:pt x="1229" y="185"/>
                    </a:lnTo>
                    <a:lnTo>
                      <a:pt x="1215" y="187"/>
                    </a:lnTo>
                    <a:lnTo>
                      <a:pt x="1199" y="193"/>
                    </a:lnTo>
                    <a:lnTo>
                      <a:pt x="1185" y="199"/>
                    </a:lnTo>
                    <a:lnTo>
                      <a:pt x="1188" y="200"/>
                    </a:lnTo>
                    <a:lnTo>
                      <a:pt x="1193" y="200"/>
                    </a:lnTo>
                    <a:close/>
                    <a:moveTo>
                      <a:pt x="1086" y="398"/>
                    </a:moveTo>
                    <a:lnTo>
                      <a:pt x="1089" y="395"/>
                    </a:lnTo>
                    <a:lnTo>
                      <a:pt x="1093" y="389"/>
                    </a:lnTo>
                    <a:lnTo>
                      <a:pt x="1096" y="384"/>
                    </a:lnTo>
                    <a:lnTo>
                      <a:pt x="1100" y="378"/>
                    </a:lnTo>
                    <a:lnTo>
                      <a:pt x="1103" y="371"/>
                    </a:lnTo>
                    <a:lnTo>
                      <a:pt x="1106" y="364"/>
                    </a:lnTo>
                    <a:lnTo>
                      <a:pt x="1107" y="359"/>
                    </a:lnTo>
                    <a:lnTo>
                      <a:pt x="1107" y="354"/>
                    </a:lnTo>
                    <a:lnTo>
                      <a:pt x="1103" y="346"/>
                    </a:lnTo>
                    <a:lnTo>
                      <a:pt x="1101" y="337"/>
                    </a:lnTo>
                    <a:lnTo>
                      <a:pt x="1099" y="334"/>
                    </a:lnTo>
                    <a:lnTo>
                      <a:pt x="1097" y="331"/>
                    </a:lnTo>
                    <a:lnTo>
                      <a:pt x="1094" y="330"/>
                    </a:lnTo>
                    <a:lnTo>
                      <a:pt x="1090" y="330"/>
                    </a:lnTo>
                    <a:lnTo>
                      <a:pt x="1083" y="334"/>
                    </a:lnTo>
                    <a:lnTo>
                      <a:pt x="1076" y="339"/>
                    </a:lnTo>
                    <a:lnTo>
                      <a:pt x="1073" y="340"/>
                    </a:lnTo>
                    <a:lnTo>
                      <a:pt x="1071" y="341"/>
                    </a:lnTo>
                    <a:lnTo>
                      <a:pt x="1069" y="341"/>
                    </a:lnTo>
                    <a:lnTo>
                      <a:pt x="1067" y="338"/>
                    </a:lnTo>
                    <a:lnTo>
                      <a:pt x="1062" y="332"/>
                    </a:lnTo>
                    <a:lnTo>
                      <a:pt x="1056" y="328"/>
                    </a:lnTo>
                    <a:lnTo>
                      <a:pt x="1054" y="327"/>
                    </a:lnTo>
                    <a:lnTo>
                      <a:pt x="1051" y="327"/>
                    </a:lnTo>
                    <a:lnTo>
                      <a:pt x="1048" y="328"/>
                    </a:lnTo>
                    <a:lnTo>
                      <a:pt x="1046" y="331"/>
                    </a:lnTo>
                    <a:lnTo>
                      <a:pt x="1044" y="335"/>
                    </a:lnTo>
                    <a:lnTo>
                      <a:pt x="1044" y="339"/>
                    </a:lnTo>
                    <a:lnTo>
                      <a:pt x="1045" y="343"/>
                    </a:lnTo>
                    <a:lnTo>
                      <a:pt x="1046" y="347"/>
                    </a:lnTo>
                    <a:lnTo>
                      <a:pt x="1049" y="355"/>
                    </a:lnTo>
                    <a:lnTo>
                      <a:pt x="1048" y="360"/>
                    </a:lnTo>
                    <a:lnTo>
                      <a:pt x="1042" y="362"/>
                    </a:lnTo>
                    <a:lnTo>
                      <a:pt x="1032" y="363"/>
                    </a:lnTo>
                    <a:lnTo>
                      <a:pt x="1027" y="363"/>
                    </a:lnTo>
                    <a:lnTo>
                      <a:pt x="1022" y="363"/>
                    </a:lnTo>
                    <a:lnTo>
                      <a:pt x="1019" y="361"/>
                    </a:lnTo>
                    <a:lnTo>
                      <a:pt x="1015" y="360"/>
                    </a:lnTo>
                    <a:lnTo>
                      <a:pt x="1013" y="353"/>
                    </a:lnTo>
                    <a:lnTo>
                      <a:pt x="1011" y="345"/>
                    </a:lnTo>
                    <a:lnTo>
                      <a:pt x="1010" y="343"/>
                    </a:lnTo>
                    <a:lnTo>
                      <a:pt x="1008" y="341"/>
                    </a:lnTo>
                    <a:lnTo>
                      <a:pt x="1006" y="342"/>
                    </a:lnTo>
                    <a:lnTo>
                      <a:pt x="1002" y="344"/>
                    </a:lnTo>
                    <a:lnTo>
                      <a:pt x="999" y="349"/>
                    </a:lnTo>
                    <a:lnTo>
                      <a:pt x="996" y="353"/>
                    </a:lnTo>
                    <a:lnTo>
                      <a:pt x="995" y="356"/>
                    </a:lnTo>
                    <a:lnTo>
                      <a:pt x="995" y="359"/>
                    </a:lnTo>
                    <a:lnTo>
                      <a:pt x="997" y="364"/>
                    </a:lnTo>
                    <a:lnTo>
                      <a:pt x="1000" y="367"/>
                    </a:lnTo>
                    <a:lnTo>
                      <a:pt x="1002" y="368"/>
                    </a:lnTo>
                    <a:lnTo>
                      <a:pt x="1005" y="368"/>
                    </a:lnTo>
                    <a:lnTo>
                      <a:pt x="1009" y="368"/>
                    </a:lnTo>
                    <a:lnTo>
                      <a:pt x="1013" y="367"/>
                    </a:lnTo>
                    <a:lnTo>
                      <a:pt x="1017" y="366"/>
                    </a:lnTo>
                    <a:lnTo>
                      <a:pt x="1020" y="367"/>
                    </a:lnTo>
                    <a:lnTo>
                      <a:pt x="1021" y="367"/>
                    </a:lnTo>
                    <a:lnTo>
                      <a:pt x="1021" y="368"/>
                    </a:lnTo>
                    <a:lnTo>
                      <a:pt x="1021" y="371"/>
                    </a:lnTo>
                    <a:lnTo>
                      <a:pt x="1020" y="373"/>
                    </a:lnTo>
                    <a:lnTo>
                      <a:pt x="1017" y="380"/>
                    </a:lnTo>
                    <a:lnTo>
                      <a:pt x="1013" y="386"/>
                    </a:lnTo>
                    <a:lnTo>
                      <a:pt x="1013" y="388"/>
                    </a:lnTo>
                    <a:lnTo>
                      <a:pt x="1013" y="389"/>
                    </a:lnTo>
                    <a:lnTo>
                      <a:pt x="1013" y="390"/>
                    </a:lnTo>
                    <a:lnTo>
                      <a:pt x="1014" y="391"/>
                    </a:lnTo>
                    <a:lnTo>
                      <a:pt x="1028" y="385"/>
                    </a:lnTo>
                    <a:lnTo>
                      <a:pt x="1043" y="380"/>
                    </a:lnTo>
                    <a:lnTo>
                      <a:pt x="1047" y="381"/>
                    </a:lnTo>
                    <a:lnTo>
                      <a:pt x="1050" y="385"/>
                    </a:lnTo>
                    <a:lnTo>
                      <a:pt x="1051" y="387"/>
                    </a:lnTo>
                    <a:lnTo>
                      <a:pt x="1051" y="389"/>
                    </a:lnTo>
                    <a:lnTo>
                      <a:pt x="1051" y="391"/>
                    </a:lnTo>
                    <a:lnTo>
                      <a:pt x="1049" y="394"/>
                    </a:lnTo>
                    <a:lnTo>
                      <a:pt x="1045" y="400"/>
                    </a:lnTo>
                    <a:lnTo>
                      <a:pt x="1040" y="406"/>
                    </a:lnTo>
                    <a:lnTo>
                      <a:pt x="1036" y="410"/>
                    </a:lnTo>
                    <a:lnTo>
                      <a:pt x="1035" y="413"/>
                    </a:lnTo>
                    <a:lnTo>
                      <a:pt x="1035" y="416"/>
                    </a:lnTo>
                    <a:lnTo>
                      <a:pt x="1036" y="419"/>
                    </a:lnTo>
                    <a:lnTo>
                      <a:pt x="1040" y="420"/>
                    </a:lnTo>
                    <a:lnTo>
                      <a:pt x="1043" y="421"/>
                    </a:lnTo>
                    <a:lnTo>
                      <a:pt x="1047" y="422"/>
                    </a:lnTo>
                    <a:lnTo>
                      <a:pt x="1051" y="423"/>
                    </a:lnTo>
                    <a:lnTo>
                      <a:pt x="1055" y="422"/>
                    </a:lnTo>
                    <a:lnTo>
                      <a:pt x="1058" y="422"/>
                    </a:lnTo>
                    <a:lnTo>
                      <a:pt x="1063" y="420"/>
                    </a:lnTo>
                    <a:lnTo>
                      <a:pt x="1067" y="418"/>
                    </a:lnTo>
                    <a:lnTo>
                      <a:pt x="1079" y="405"/>
                    </a:lnTo>
                    <a:lnTo>
                      <a:pt x="1086" y="398"/>
                    </a:lnTo>
                    <a:close/>
                    <a:moveTo>
                      <a:pt x="1127" y="303"/>
                    </a:moveTo>
                    <a:lnTo>
                      <a:pt x="1119" y="305"/>
                    </a:lnTo>
                    <a:lnTo>
                      <a:pt x="1113" y="307"/>
                    </a:lnTo>
                    <a:lnTo>
                      <a:pt x="1113" y="309"/>
                    </a:lnTo>
                    <a:lnTo>
                      <a:pt x="1114" y="312"/>
                    </a:lnTo>
                    <a:lnTo>
                      <a:pt x="1116" y="315"/>
                    </a:lnTo>
                    <a:lnTo>
                      <a:pt x="1119" y="317"/>
                    </a:lnTo>
                    <a:lnTo>
                      <a:pt x="1127" y="324"/>
                    </a:lnTo>
                    <a:lnTo>
                      <a:pt x="1131" y="332"/>
                    </a:lnTo>
                    <a:lnTo>
                      <a:pt x="1135" y="338"/>
                    </a:lnTo>
                    <a:lnTo>
                      <a:pt x="1140" y="344"/>
                    </a:lnTo>
                    <a:lnTo>
                      <a:pt x="1141" y="347"/>
                    </a:lnTo>
                    <a:lnTo>
                      <a:pt x="1143" y="350"/>
                    </a:lnTo>
                    <a:lnTo>
                      <a:pt x="1144" y="352"/>
                    </a:lnTo>
                    <a:lnTo>
                      <a:pt x="1145" y="353"/>
                    </a:lnTo>
                    <a:lnTo>
                      <a:pt x="1144" y="355"/>
                    </a:lnTo>
                    <a:lnTo>
                      <a:pt x="1143" y="358"/>
                    </a:lnTo>
                    <a:lnTo>
                      <a:pt x="1139" y="366"/>
                    </a:lnTo>
                    <a:lnTo>
                      <a:pt x="1131" y="376"/>
                    </a:lnTo>
                    <a:lnTo>
                      <a:pt x="1123" y="383"/>
                    </a:lnTo>
                    <a:lnTo>
                      <a:pt x="1119" y="389"/>
                    </a:lnTo>
                    <a:lnTo>
                      <a:pt x="1115" y="391"/>
                    </a:lnTo>
                    <a:lnTo>
                      <a:pt x="1112" y="394"/>
                    </a:lnTo>
                    <a:lnTo>
                      <a:pt x="1110" y="395"/>
                    </a:lnTo>
                    <a:lnTo>
                      <a:pt x="1109" y="397"/>
                    </a:lnTo>
                    <a:lnTo>
                      <a:pt x="1108" y="400"/>
                    </a:lnTo>
                    <a:lnTo>
                      <a:pt x="1107" y="405"/>
                    </a:lnTo>
                    <a:lnTo>
                      <a:pt x="1107" y="409"/>
                    </a:lnTo>
                    <a:lnTo>
                      <a:pt x="1107" y="413"/>
                    </a:lnTo>
                    <a:lnTo>
                      <a:pt x="1108" y="416"/>
                    </a:lnTo>
                    <a:lnTo>
                      <a:pt x="1110" y="418"/>
                    </a:lnTo>
                    <a:lnTo>
                      <a:pt x="1114" y="422"/>
                    </a:lnTo>
                    <a:lnTo>
                      <a:pt x="1120" y="426"/>
                    </a:lnTo>
                    <a:lnTo>
                      <a:pt x="1124" y="428"/>
                    </a:lnTo>
                    <a:lnTo>
                      <a:pt x="1129" y="429"/>
                    </a:lnTo>
                    <a:lnTo>
                      <a:pt x="1133" y="428"/>
                    </a:lnTo>
                    <a:lnTo>
                      <a:pt x="1137" y="427"/>
                    </a:lnTo>
                    <a:lnTo>
                      <a:pt x="1146" y="424"/>
                    </a:lnTo>
                    <a:lnTo>
                      <a:pt x="1154" y="422"/>
                    </a:lnTo>
                    <a:lnTo>
                      <a:pt x="1158" y="422"/>
                    </a:lnTo>
                    <a:lnTo>
                      <a:pt x="1161" y="420"/>
                    </a:lnTo>
                    <a:lnTo>
                      <a:pt x="1163" y="419"/>
                    </a:lnTo>
                    <a:lnTo>
                      <a:pt x="1165" y="416"/>
                    </a:lnTo>
                    <a:lnTo>
                      <a:pt x="1167" y="413"/>
                    </a:lnTo>
                    <a:lnTo>
                      <a:pt x="1168" y="410"/>
                    </a:lnTo>
                    <a:lnTo>
                      <a:pt x="1168" y="406"/>
                    </a:lnTo>
                    <a:lnTo>
                      <a:pt x="1168" y="402"/>
                    </a:lnTo>
                    <a:lnTo>
                      <a:pt x="1166" y="399"/>
                    </a:lnTo>
                    <a:lnTo>
                      <a:pt x="1163" y="395"/>
                    </a:lnTo>
                    <a:lnTo>
                      <a:pt x="1159" y="391"/>
                    </a:lnTo>
                    <a:lnTo>
                      <a:pt x="1154" y="388"/>
                    </a:lnTo>
                    <a:lnTo>
                      <a:pt x="1150" y="385"/>
                    </a:lnTo>
                    <a:lnTo>
                      <a:pt x="1146" y="382"/>
                    </a:lnTo>
                    <a:lnTo>
                      <a:pt x="1146" y="380"/>
                    </a:lnTo>
                    <a:lnTo>
                      <a:pt x="1146" y="377"/>
                    </a:lnTo>
                    <a:lnTo>
                      <a:pt x="1147" y="375"/>
                    </a:lnTo>
                    <a:lnTo>
                      <a:pt x="1149" y="373"/>
                    </a:lnTo>
                    <a:lnTo>
                      <a:pt x="1152" y="367"/>
                    </a:lnTo>
                    <a:lnTo>
                      <a:pt x="1154" y="363"/>
                    </a:lnTo>
                    <a:lnTo>
                      <a:pt x="1155" y="359"/>
                    </a:lnTo>
                    <a:lnTo>
                      <a:pt x="1155" y="355"/>
                    </a:lnTo>
                    <a:lnTo>
                      <a:pt x="1154" y="351"/>
                    </a:lnTo>
                    <a:lnTo>
                      <a:pt x="1153" y="349"/>
                    </a:lnTo>
                    <a:lnTo>
                      <a:pt x="1153" y="347"/>
                    </a:lnTo>
                    <a:lnTo>
                      <a:pt x="1155" y="345"/>
                    </a:lnTo>
                    <a:lnTo>
                      <a:pt x="1157" y="342"/>
                    </a:lnTo>
                    <a:lnTo>
                      <a:pt x="1161" y="340"/>
                    </a:lnTo>
                    <a:lnTo>
                      <a:pt x="1167" y="335"/>
                    </a:lnTo>
                    <a:lnTo>
                      <a:pt x="1174" y="329"/>
                    </a:lnTo>
                    <a:lnTo>
                      <a:pt x="1177" y="327"/>
                    </a:lnTo>
                    <a:lnTo>
                      <a:pt x="1179" y="327"/>
                    </a:lnTo>
                    <a:lnTo>
                      <a:pt x="1180" y="329"/>
                    </a:lnTo>
                    <a:lnTo>
                      <a:pt x="1180" y="335"/>
                    </a:lnTo>
                    <a:lnTo>
                      <a:pt x="1180" y="342"/>
                    </a:lnTo>
                    <a:lnTo>
                      <a:pt x="1181" y="347"/>
                    </a:lnTo>
                    <a:lnTo>
                      <a:pt x="1183" y="352"/>
                    </a:lnTo>
                    <a:lnTo>
                      <a:pt x="1186" y="355"/>
                    </a:lnTo>
                    <a:lnTo>
                      <a:pt x="1193" y="358"/>
                    </a:lnTo>
                    <a:lnTo>
                      <a:pt x="1195" y="361"/>
                    </a:lnTo>
                    <a:lnTo>
                      <a:pt x="1186" y="369"/>
                    </a:lnTo>
                    <a:lnTo>
                      <a:pt x="1180" y="379"/>
                    </a:lnTo>
                    <a:lnTo>
                      <a:pt x="1179" y="385"/>
                    </a:lnTo>
                    <a:lnTo>
                      <a:pt x="1178" y="397"/>
                    </a:lnTo>
                    <a:lnTo>
                      <a:pt x="1178" y="402"/>
                    </a:lnTo>
                    <a:lnTo>
                      <a:pt x="1179" y="407"/>
                    </a:lnTo>
                    <a:lnTo>
                      <a:pt x="1181" y="412"/>
                    </a:lnTo>
                    <a:lnTo>
                      <a:pt x="1185" y="416"/>
                    </a:lnTo>
                    <a:lnTo>
                      <a:pt x="1202" y="418"/>
                    </a:lnTo>
                    <a:lnTo>
                      <a:pt x="1212" y="420"/>
                    </a:lnTo>
                    <a:lnTo>
                      <a:pt x="1226" y="417"/>
                    </a:lnTo>
                    <a:lnTo>
                      <a:pt x="1242" y="413"/>
                    </a:lnTo>
                    <a:lnTo>
                      <a:pt x="1247" y="418"/>
                    </a:lnTo>
                    <a:lnTo>
                      <a:pt x="1252" y="420"/>
                    </a:lnTo>
                    <a:lnTo>
                      <a:pt x="1262" y="422"/>
                    </a:lnTo>
                    <a:lnTo>
                      <a:pt x="1278" y="422"/>
                    </a:lnTo>
                    <a:lnTo>
                      <a:pt x="1289" y="422"/>
                    </a:lnTo>
                    <a:lnTo>
                      <a:pt x="1296" y="421"/>
                    </a:lnTo>
                    <a:lnTo>
                      <a:pt x="1301" y="419"/>
                    </a:lnTo>
                    <a:lnTo>
                      <a:pt x="1306" y="416"/>
                    </a:lnTo>
                    <a:lnTo>
                      <a:pt x="1309" y="413"/>
                    </a:lnTo>
                    <a:lnTo>
                      <a:pt x="1311" y="412"/>
                    </a:lnTo>
                    <a:lnTo>
                      <a:pt x="1313" y="412"/>
                    </a:lnTo>
                    <a:lnTo>
                      <a:pt x="1316" y="413"/>
                    </a:lnTo>
                    <a:lnTo>
                      <a:pt x="1332" y="410"/>
                    </a:lnTo>
                    <a:lnTo>
                      <a:pt x="1347" y="407"/>
                    </a:lnTo>
                    <a:lnTo>
                      <a:pt x="1350" y="409"/>
                    </a:lnTo>
                    <a:lnTo>
                      <a:pt x="1354" y="411"/>
                    </a:lnTo>
                    <a:lnTo>
                      <a:pt x="1359" y="411"/>
                    </a:lnTo>
                    <a:lnTo>
                      <a:pt x="1365" y="412"/>
                    </a:lnTo>
                    <a:lnTo>
                      <a:pt x="1378" y="412"/>
                    </a:lnTo>
                    <a:lnTo>
                      <a:pt x="1388" y="412"/>
                    </a:lnTo>
                    <a:lnTo>
                      <a:pt x="1393" y="411"/>
                    </a:lnTo>
                    <a:lnTo>
                      <a:pt x="1398" y="410"/>
                    </a:lnTo>
                    <a:lnTo>
                      <a:pt x="1403" y="407"/>
                    </a:lnTo>
                    <a:lnTo>
                      <a:pt x="1408" y="404"/>
                    </a:lnTo>
                    <a:lnTo>
                      <a:pt x="1413" y="401"/>
                    </a:lnTo>
                    <a:lnTo>
                      <a:pt x="1416" y="398"/>
                    </a:lnTo>
                    <a:lnTo>
                      <a:pt x="1416" y="396"/>
                    </a:lnTo>
                    <a:lnTo>
                      <a:pt x="1417" y="395"/>
                    </a:lnTo>
                    <a:lnTo>
                      <a:pt x="1416" y="394"/>
                    </a:lnTo>
                    <a:lnTo>
                      <a:pt x="1416" y="393"/>
                    </a:lnTo>
                    <a:lnTo>
                      <a:pt x="1408" y="389"/>
                    </a:lnTo>
                    <a:lnTo>
                      <a:pt x="1401" y="386"/>
                    </a:lnTo>
                    <a:lnTo>
                      <a:pt x="1399" y="385"/>
                    </a:lnTo>
                    <a:lnTo>
                      <a:pt x="1397" y="383"/>
                    </a:lnTo>
                    <a:lnTo>
                      <a:pt x="1398" y="381"/>
                    </a:lnTo>
                    <a:lnTo>
                      <a:pt x="1401" y="378"/>
                    </a:lnTo>
                    <a:lnTo>
                      <a:pt x="1408" y="374"/>
                    </a:lnTo>
                    <a:lnTo>
                      <a:pt x="1415" y="369"/>
                    </a:lnTo>
                    <a:lnTo>
                      <a:pt x="1416" y="367"/>
                    </a:lnTo>
                    <a:lnTo>
                      <a:pt x="1417" y="365"/>
                    </a:lnTo>
                    <a:lnTo>
                      <a:pt x="1416" y="364"/>
                    </a:lnTo>
                    <a:lnTo>
                      <a:pt x="1413" y="361"/>
                    </a:lnTo>
                    <a:lnTo>
                      <a:pt x="1404" y="355"/>
                    </a:lnTo>
                    <a:lnTo>
                      <a:pt x="1393" y="346"/>
                    </a:lnTo>
                    <a:lnTo>
                      <a:pt x="1387" y="343"/>
                    </a:lnTo>
                    <a:lnTo>
                      <a:pt x="1382" y="340"/>
                    </a:lnTo>
                    <a:lnTo>
                      <a:pt x="1377" y="338"/>
                    </a:lnTo>
                    <a:lnTo>
                      <a:pt x="1374" y="338"/>
                    </a:lnTo>
                    <a:lnTo>
                      <a:pt x="1366" y="341"/>
                    </a:lnTo>
                    <a:lnTo>
                      <a:pt x="1357" y="346"/>
                    </a:lnTo>
                    <a:lnTo>
                      <a:pt x="1353" y="349"/>
                    </a:lnTo>
                    <a:lnTo>
                      <a:pt x="1349" y="350"/>
                    </a:lnTo>
                    <a:lnTo>
                      <a:pt x="1346" y="350"/>
                    </a:lnTo>
                    <a:lnTo>
                      <a:pt x="1342" y="347"/>
                    </a:lnTo>
                    <a:lnTo>
                      <a:pt x="1340" y="343"/>
                    </a:lnTo>
                    <a:lnTo>
                      <a:pt x="1338" y="340"/>
                    </a:lnTo>
                    <a:lnTo>
                      <a:pt x="1337" y="339"/>
                    </a:lnTo>
                    <a:lnTo>
                      <a:pt x="1335" y="339"/>
                    </a:lnTo>
                    <a:lnTo>
                      <a:pt x="1334" y="340"/>
                    </a:lnTo>
                    <a:lnTo>
                      <a:pt x="1331" y="341"/>
                    </a:lnTo>
                    <a:lnTo>
                      <a:pt x="1328" y="345"/>
                    </a:lnTo>
                    <a:lnTo>
                      <a:pt x="1326" y="351"/>
                    </a:lnTo>
                    <a:lnTo>
                      <a:pt x="1325" y="354"/>
                    </a:lnTo>
                    <a:lnTo>
                      <a:pt x="1321" y="357"/>
                    </a:lnTo>
                    <a:lnTo>
                      <a:pt x="1317" y="359"/>
                    </a:lnTo>
                    <a:lnTo>
                      <a:pt x="1312" y="361"/>
                    </a:lnTo>
                    <a:lnTo>
                      <a:pt x="1298" y="364"/>
                    </a:lnTo>
                    <a:lnTo>
                      <a:pt x="1287" y="366"/>
                    </a:lnTo>
                    <a:lnTo>
                      <a:pt x="1279" y="367"/>
                    </a:lnTo>
                    <a:lnTo>
                      <a:pt x="1276" y="367"/>
                    </a:lnTo>
                    <a:lnTo>
                      <a:pt x="1275" y="365"/>
                    </a:lnTo>
                    <a:lnTo>
                      <a:pt x="1274" y="361"/>
                    </a:lnTo>
                    <a:lnTo>
                      <a:pt x="1272" y="360"/>
                    </a:lnTo>
                    <a:lnTo>
                      <a:pt x="1270" y="359"/>
                    </a:lnTo>
                    <a:lnTo>
                      <a:pt x="1268" y="359"/>
                    </a:lnTo>
                    <a:lnTo>
                      <a:pt x="1264" y="361"/>
                    </a:lnTo>
                    <a:lnTo>
                      <a:pt x="1252" y="369"/>
                    </a:lnTo>
                    <a:lnTo>
                      <a:pt x="1248" y="372"/>
                    </a:lnTo>
                    <a:lnTo>
                      <a:pt x="1244" y="368"/>
                    </a:lnTo>
                    <a:lnTo>
                      <a:pt x="1228" y="358"/>
                    </a:lnTo>
                    <a:lnTo>
                      <a:pt x="1223" y="355"/>
                    </a:lnTo>
                    <a:lnTo>
                      <a:pt x="1220" y="352"/>
                    </a:lnTo>
                    <a:lnTo>
                      <a:pt x="1218" y="349"/>
                    </a:lnTo>
                    <a:lnTo>
                      <a:pt x="1217" y="346"/>
                    </a:lnTo>
                    <a:lnTo>
                      <a:pt x="1216" y="344"/>
                    </a:lnTo>
                    <a:lnTo>
                      <a:pt x="1217" y="343"/>
                    </a:lnTo>
                    <a:lnTo>
                      <a:pt x="1218" y="341"/>
                    </a:lnTo>
                    <a:lnTo>
                      <a:pt x="1220" y="341"/>
                    </a:lnTo>
                    <a:lnTo>
                      <a:pt x="1218" y="340"/>
                    </a:lnTo>
                    <a:lnTo>
                      <a:pt x="1210" y="339"/>
                    </a:lnTo>
                    <a:lnTo>
                      <a:pt x="1206" y="338"/>
                    </a:lnTo>
                    <a:lnTo>
                      <a:pt x="1203" y="337"/>
                    </a:lnTo>
                    <a:lnTo>
                      <a:pt x="1202" y="336"/>
                    </a:lnTo>
                    <a:lnTo>
                      <a:pt x="1202" y="336"/>
                    </a:lnTo>
                    <a:lnTo>
                      <a:pt x="1203" y="335"/>
                    </a:lnTo>
                    <a:lnTo>
                      <a:pt x="1204" y="334"/>
                    </a:lnTo>
                    <a:lnTo>
                      <a:pt x="1218" y="325"/>
                    </a:lnTo>
                    <a:lnTo>
                      <a:pt x="1227" y="320"/>
                    </a:lnTo>
                    <a:lnTo>
                      <a:pt x="1228" y="317"/>
                    </a:lnTo>
                    <a:lnTo>
                      <a:pt x="1232" y="311"/>
                    </a:lnTo>
                    <a:lnTo>
                      <a:pt x="1234" y="309"/>
                    </a:lnTo>
                    <a:lnTo>
                      <a:pt x="1238" y="307"/>
                    </a:lnTo>
                    <a:lnTo>
                      <a:pt x="1239" y="307"/>
                    </a:lnTo>
                    <a:lnTo>
                      <a:pt x="1241" y="308"/>
                    </a:lnTo>
                    <a:lnTo>
                      <a:pt x="1242" y="309"/>
                    </a:lnTo>
                    <a:lnTo>
                      <a:pt x="1244" y="310"/>
                    </a:lnTo>
                    <a:lnTo>
                      <a:pt x="1246" y="314"/>
                    </a:lnTo>
                    <a:lnTo>
                      <a:pt x="1249" y="317"/>
                    </a:lnTo>
                    <a:lnTo>
                      <a:pt x="1252" y="319"/>
                    </a:lnTo>
                    <a:lnTo>
                      <a:pt x="1255" y="320"/>
                    </a:lnTo>
                    <a:lnTo>
                      <a:pt x="1263" y="321"/>
                    </a:lnTo>
                    <a:lnTo>
                      <a:pt x="1272" y="320"/>
                    </a:lnTo>
                    <a:lnTo>
                      <a:pt x="1277" y="319"/>
                    </a:lnTo>
                    <a:lnTo>
                      <a:pt x="1282" y="316"/>
                    </a:lnTo>
                    <a:lnTo>
                      <a:pt x="1285" y="313"/>
                    </a:lnTo>
                    <a:lnTo>
                      <a:pt x="1289" y="309"/>
                    </a:lnTo>
                    <a:lnTo>
                      <a:pt x="1292" y="307"/>
                    </a:lnTo>
                    <a:lnTo>
                      <a:pt x="1294" y="305"/>
                    </a:lnTo>
                    <a:lnTo>
                      <a:pt x="1296" y="305"/>
                    </a:lnTo>
                    <a:lnTo>
                      <a:pt x="1297" y="306"/>
                    </a:lnTo>
                    <a:lnTo>
                      <a:pt x="1298" y="307"/>
                    </a:lnTo>
                    <a:lnTo>
                      <a:pt x="1299" y="308"/>
                    </a:lnTo>
                    <a:lnTo>
                      <a:pt x="1304" y="312"/>
                    </a:lnTo>
                    <a:lnTo>
                      <a:pt x="1308" y="314"/>
                    </a:lnTo>
                    <a:lnTo>
                      <a:pt x="1312" y="315"/>
                    </a:lnTo>
                    <a:lnTo>
                      <a:pt x="1317" y="316"/>
                    </a:lnTo>
                    <a:lnTo>
                      <a:pt x="1321" y="316"/>
                    </a:lnTo>
                    <a:lnTo>
                      <a:pt x="1326" y="315"/>
                    </a:lnTo>
                    <a:lnTo>
                      <a:pt x="1329" y="313"/>
                    </a:lnTo>
                    <a:lnTo>
                      <a:pt x="1330" y="312"/>
                    </a:lnTo>
                    <a:lnTo>
                      <a:pt x="1332" y="308"/>
                    </a:lnTo>
                    <a:lnTo>
                      <a:pt x="1334" y="303"/>
                    </a:lnTo>
                    <a:lnTo>
                      <a:pt x="1335" y="302"/>
                    </a:lnTo>
                    <a:lnTo>
                      <a:pt x="1336" y="301"/>
                    </a:lnTo>
                    <a:lnTo>
                      <a:pt x="1338" y="301"/>
                    </a:lnTo>
                    <a:lnTo>
                      <a:pt x="1340" y="302"/>
                    </a:lnTo>
                    <a:lnTo>
                      <a:pt x="1344" y="306"/>
                    </a:lnTo>
                    <a:lnTo>
                      <a:pt x="1348" y="309"/>
                    </a:lnTo>
                    <a:lnTo>
                      <a:pt x="1352" y="310"/>
                    </a:lnTo>
                    <a:lnTo>
                      <a:pt x="1355" y="310"/>
                    </a:lnTo>
                    <a:lnTo>
                      <a:pt x="1358" y="309"/>
                    </a:lnTo>
                    <a:lnTo>
                      <a:pt x="1364" y="307"/>
                    </a:lnTo>
                    <a:lnTo>
                      <a:pt x="1370" y="305"/>
                    </a:lnTo>
                    <a:lnTo>
                      <a:pt x="1376" y="303"/>
                    </a:lnTo>
                    <a:lnTo>
                      <a:pt x="1384" y="305"/>
                    </a:lnTo>
                    <a:lnTo>
                      <a:pt x="1394" y="308"/>
                    </a:lnTo>
                    <a:lnTo>
                      <a:pt x="1404" y="312"/>
                    </a:lnTo>
                    <a:lnTo>
                      <a:pt x="1414" y="316"/>
                    </a:lnTo>
                    <a:lnTo>
                      <a:pt x="1418" y="317"/>
                    </a:lnTo>
                    <a:lnTo>
                      <a:pt x="1422" y="316"/>
                    </a:lnTo>
                    <a:lnTo>
                      <a:pt x="1425" y="315"/>
                    </a:lnTo>
                    <a:lnTo>
                      <a:pt x="1428" y="312"/>
                    </a:lnTo>
                    <a:lnTo>
                      <a:pt x="1439" y="301"/>
                    </a:lnTo>
                    <a:lnTo>
                      <a:pt x="1445" y="295"/>
                    </a:lnTo>
                    <a:lnTo>
                      <a:pt x="1449" y="291"/>
                    </a:lnTo>
                    <a:lnTo>
                      <a:pt x="1454" y="287"/>
                    </a:lnTo>
                    <a:lnTo>
                      <a:pt x="1457" y="286"/>
                    </a:lnTo>
                    <a:lnTo>
                      <a:pt x="1458" y="284"/>
                    </a:lnTo>
                    <a:lnTo>
                      <a:pt x="1457" y="281"/>
                    </a:lnTo>
                    <a:lnTo>
                      <a:pt x="1454" y="280"/>
                    </a:lnTo>
                    <a:lnTo>
                      <a:pt x="1446" y="277"/>
                    </a:lnTo>
                    <a:lnTo>
                      <a:pt x="1436" y="275"/>
                    </a:lnTo>
                    <a:lnTo>
                      <a:pt x="1426" y="274"/>
                    </a:lnTo>
                    <a:lnTo>
                      <a:pt x="1417" y="272"/>
                    </a:lnTo>
                    <a:lnTo>
                      <a:pt x="1409" y="269"/>
                    </a:lnTo>
                    <a:lnTo>
                      <a:pt x="1402" y="268"/>
                    </a:lnTo>
                    <a:lnTo>
                      <a:pt x="1396" y="267"/>
                    </a:lnTo>
                    <a:lnTo>
                      <a:pt x="1391" y="268"/>
                    </a:lnTo>
                    <a:lnTo>
                      <a:pt x="1385" y="270"/>
                    </a:lnTo>
                    <a:lnTo>
                      <a:pt x="1378" y="271"/>
                    </a:lnTo>
                    <a:lnTo>
                      <a:pt x="1375" y="271"/>
                    </a:lnTo>
                    <a:lnTo>
                      <a:pt x="1374" y="270"/>
                    </a:lnTo>
                    <a:lnTo>
                      <a:pt x="1374" y="269"/>
                    </a:lnTo>
                    <a:lnTo>
                      <a:pt x="1376" y="267"/>
                    </a:lnTo>
                    <a:lnTo>
                      <a:pt x="1382" y="262"/>
                    </a:lnTo>
                    <a:lnTo>
                      <a:pt x="1388" y="256"/>
                    </a:lnTo>
                    <a:lnTo>
                      <a:pt x="1391" y="253"/>
                    </a:lnTo>
                    <a:lnTo>
                      <a:pt x="1394" y="252"/>
                    </a:lnTo>
                    <a:lnTo>
                      <a:pt x="1396" y="251"/>
                    </a:lnTo>
                    <a:lnTo>
                      <a:pt x="1397" y="252"/>
                    </a:lnTo>
                    <a:lnTo>
                      <a:pt x="1400" y="254"/>
                    </a:lnTo>
                    <a:lnTo>
                      <a:pt x="1402" y="256"/>
                    </a:lnTo>
                    <a:lnTo>
                      <a:pt x="1406" y="257"/>
                    </a:lnTo>
                    <a:lnTo>
                      <a:pt x="1412" y="258"/>
                    </a:lnTo>
                    <a:lnTo>
                      <a:pt x="1417" y="259"/>
                    </a:lnTo>
                    <a:lnTo>
                      <a:pt x="1420" y="259"/>
                    </a:lnTo>
                    <a:lnTo>
                      <a:pt x="1425" y="258"/>
                    </a:lnTo>
                    <a:lnTo>
                      <a:pt x="1437" y="255"/>
                    </a:lnTo>
                    <a:lnTo>
                      <a:pt x="1443" y="253"/>
                    </a:lnTo>
                    <a:lnTo>
                      <a:pt x="1448" y="251"/>
                    </a:lnTo>
                    <a:lnTo>
                      <a:pt x="1452" y="248"/>
                    </a:lnTo>
                    <a:lnTo>
                      <a:pt x="1454" y="245"/>
                    </a:lnTo>
                    <a:lnTo>
                      <a:pt x="1456" y="243"/>
                    </a:lnTo>
                    <a:lnTo>
                      <a:pt x="1456" y="240"/>
                    </a:lnTo>
                    <a:lnTo>
                      <a:pt x="1454" y="237"/>
                    </a:lnTo>
                    <a:lnTo>
                      <a:pt x="1453" y="235"/>
                    </a:lnTo>
                    <a:lnTo>
                      <a:pt x="1448" y="233"/>
                    </a:lnTo>
                    <a:lnTo>
                      <a:pt x="1443" y="230"/>
                    </a:lnTo>
                    <a:lnTo>
                      <a:pt x="1441" y="230"/>
                    </a:lnTo>
                    <a:lnTo>
                      <a:pt x="1440" y="229"/>
                    </a:lnTo>
                    <a:lnTo>
                      <a:pt x="1441" y="228"/>
                    </a:lnTo>
                    <a:lnTo>
                      <a:pt x="1443" y="228"/>
                    </a:lnTo>
                    <a:lnTo>
                      <a:pt x="1451" y="227"/>
                    </a:lnTo>
                    <a:lnTo>
                      <a:pt x="1461" y="227"/>
                    </a:lnTo>
                    <a:lnTo>
                      <a:pt x="1470" y="226"/>
                    </a:lnTo>
                    <a:lnTo>
                      <a:pt x="1479" y="225"/>
                    </a:lnTo>
                    <a:lnTo>
                      <a:pt x="1480" y="224"/>
                    </a:lnTo>
                    <a:lnTo>
                      <a:pt x="1481" y="224"/>
                    </a:lnTo>
                    <a:lnTo>
                      <a:pt x="1481" y="223"/>
                    </a:lnTo>
                    <a:lnTo>
                      <a:pt x="1480" y="222"/>
                    </a:lnTo>
                    <a:lnTo>
                      <a:pt x="1478" y="220"/>
                    </a:lnTo>
                    <a:lnTo>
                      <a:pt x="1475" y="218"/>
                    </a:lnTo>
                    <a:lnTo>
                      <a:pt x="1472" y="217"/>
                    </a:lnTo>
                    <a:lnTo>
                      <a:pt x="1471" y="214"/>
                    </a:lnTo>
                    <a:lnTo>
                      <a:pt x="1471" y="213"/>
                    </a:lnTo>
                    <a:lnTo>
                      <a:pt x="1474" y="212"/>
                    </a:lnTo>
                    <a:lnTo>
                      <a:pt x="1484" y="211"/>
                    </a:lnTo>
                    <a:lnTo>
                      <a:pt x="1492" y="212"/>
                    </a:lnTo>
                    <a:lnTo>
                      <a:pt x="1496" y="212"/>
                    </a:lnTo>
                    <a:lnTo>
                      <a:pt x="1500" y="211"/>
                    </a:lnTo>
                    <a:lnTo>
                      <a:pt x="1502" y="209"/>
                    </a:lnTo>
                    <a:lnTo>
                      <a:pt x="1503" y="206"/>
                    </a:lnTo>
                    <a:lnTo>
                      <a:pt x="1501" y="202"/>
                    </a:lnTo>
                    <a:lnTo>
                      <a:pt x="1498" y="200"/>
                    </a:lnTo>
                    <a:lnTo>
                      <a:pt x="1494" y="198"/>
                    </a:lnTo>
                    <a:lnTo>
                      <a:pt x="1490" y="197"/>
                    </a:lnTo>
                    <a:lnTo>
                      <a:pt x="1487" y="197"/>
                    </a:lnTo>
                    <a:lnTo>
                      <a:pt x="1485" y="196"/>
                    </a:lnTo>
                    <a:lnTo>
                      <a:pt x="1485" y="196"/>
                    </a:lnTo>
                    <a:lnTo>
                      <a:pt x="1488" y="194"/>
                    </a:lnTo>
                    <a:lnTo>
                      <a:pt x="1495" y="192"/>
                    </a:lnTo>
                    <a:lnTo>
                      <a:pt x="1503" y="191"/>
                    </a:lnTo>
                    <a:lnTo>
                      <a:pt x="1509" y="189"/>
                    </a:lnTo>
                    <a:lnTo>
                      <a:pt x="1511" y="187"/>
                    </a:lnTo>
                    <a:lnTo>
                      <a:pt x="1512" y="184"/>
                    </a:lnTo>
                    <a:lnTo>
                      <a:pt x="1513" y="182"/>
                    </a:lnTo>
                    <a:lnTo>
                      <a:pt x="1513" y="181"/>
                    </a:lnTo>
                    <a:lnTo>
                      <a:pt x="1512" y="179"/>
                    </a:lnTo>
                    <a:lnTo>
                      <a:pt x="1510" y="178"/>
                    </a:lnTo>
                    <a:lnTo>
                      <a:pt x="1506" y="177"/>
                    </a:lnTo>
                    <a:lnTo>
                      <a:pt x="1497" y="174"/>
                    </a:lnTo>
                    <a:lnTo>
                      <a:pt x="1489" y="170"/>
                    </a:lnTo>
                    <a:lnTo>
                      <a:pt x="1485" y="169"/>
                    </a:lnTo>
                    <a:lnTo>
                      <a:pt x="1482" y="169"/>
                    </a:lnTo>
                    <a:lnTo>
                      <a:pt x="1479" y="169"/>
                    </a:lnTo>
                    <a:lnTo>
                      <a:pt x="1475" y="170"/>
                    </a:lnTo>
                    <a:lnTo>
                      <a:pt x="1473" y="174"/>
                    </a:lnTo>
                    <a:lnTo>
                      <a:pt x="1473" y="177"/>
                    </a:lnTo>
                    <a:lnTo>
                      <a:pt x="1473" y="178"/>
                    </a:lnTo>
                    <a:lnTo>
                      <a:pt x="1471" y="178"/>
                    </a:lnTo>
                    <a:lnTo>
                      <a:pt x="1467" y="178"/>
                    </a:lnTo>
                    <a:lnTo>
                      <a:pt x="1461" y="176"/>
                    </a:lnTo>
                    <a:lnTo>
                      <a:pt x="1456" y="175"/>
                    </a:lnTo>
                    <a:lnTo>
                      <a:pt x="1454" y="172"/>
                    </a:lnTo>
                    <a:lnTo>
                      <a:pt x="1457" y="170"/>
                    </a:lnTo>
                    <a:lnTo>
                      <a:pt x="1460" y="169"/>
                    </a:lnTo>
                    <a:lnTo>
                      <a:pt x="1464" y="168"/>
                    </a:lnTo>
                    <a:lnTo>
                      <a:pt x="1468" y="167"/>
                    </a:lnTo>
                    <a:lnTo>
                      <a:pt x="1471" y="165"/>
                    </a:lnTo>
                    <a:lnTo>
                      <a:pt x="1472" y="164"/>
                    </a:lnTo>
                    <a:lnTo>
                      <a:pt x="1470" y="161"/>
                    </a:lnTo>
                    <a:lnTo>
                      <a:pt x="1469" y="159"/>
                    </a:lnTo>
                    <a:lnTo>
                      <a:pt x="1469" y="157"/>
                    </a:lnTo>
                    <a:lnTo>
                      <a:pt x="1471" y="155"/>
                    </a:lnTo>
                    <a:lnTo>
                      <a:pt x="1473" y="152"/>
                    </a:lnTo>
                    <a:lnTo>
                      <a:pt x="1474" y="148"/>
                    </a:lnTo>
                    <a:lnTo>
                      <a:pt x="1475" y="147"/>
                    </a:lnTo>
                    <a:lnTo>
                      <a:pt x="1478" y="146"/>
                    </a:lnTo>
                    <a:lnTo>
                      <a:pt x="1480" y="146"/>
                    </a:lnTo>
                    <a:lnTo>
                      <a:pt x="1484" y="147"/>
                    </a:lnTo>
                    <a:lnTo>
                      <a:pt x="1492" y="152"/>
                    </a:lnTo>
                    <a:lnTo>
                      <a:pt x="1498" y="155"/>
                    </a:lnTo>
                    <a:lnTo>
                      <a:pt x="1502" y="156"/>
                    </a:lnTo>
                    <a:lnTo>
                      <a:pt x="1506" y="155"/>
                    </a:lnTo>
                    <a:lnTo>
                      <a:pt x="1510" y="154"/>
                    </a:lnTo>
                    <a:lnTo>
                      <a:pt x="1514" y="152"/>
                    </a:lnTo>
                    <a:lnTo>
                      <a:pt x="1525" y="146"/>
                    </a:lnTo>
                    <a:lnTo>
                      <a:pt x="1531" y="143"/>
                    </a:lnTo>
                    <a:lnTo>
                      <a:pt x="1533" y="141"/>
                    </a:lnTo>
                    <a:lnTo>
                      <a:pt x="1535" y="140"/>
                    </a:lnTo>
                    <a:lnTo>
                      <a:pt x="1535" y="139"/>
                    </a:lnTo>
                    <a:lnTo>
                      <a:pt x="1535" y="137"/>
                    </a:lnTo>
                    <a:lnTo>
                      <a:pt x="1531" y="134"/>
                    </a:lnTo>
                    <a:lnTo>
                      <a:pt x="1526" y="131"/>
                    </a:lnTo>
                    <a:lnTo>
                      <a:pt x="1524" y="128"/>
                    </a:lnTo>
                    <a:lnTo>
                      <a:pt x="1523" y="127"/>
                    </a:lnTo>
                    <a:lnTo>
                      <a:pt x="1523" y="126"/>
                    </a:lnTo>
                    <a:lnTo>
                      <a:pt x="1525" y="126"/>
                    </a:lnTo>
                    <a:lnTo>
                      <a:pt x="1534" y="128"/>
                    </a:lnTo>
                    <a:lnTo>
                      <a:pt x="1548" y="133"/>
                    </a:lnTo>
                    <a:lnTo>
                      <a:pt x="1554" y="135"/>
                    </a:lnTo>
                    <a:lnTo>
                      <a:pt x="1559" y="136"/>
                    </a:lnTo>
                    <a:lnTo>
                      <a:pt x="1563" y="136"/>
                    </a:lnTo>
                    <a:lnTo>
                      <a:pt x="1566" y="135"/>
                    </a:lnTo>
                    <a:lnTo>
                      <a:pt x="1564" y="132"/>
                    </a:lnTo>
                    <a:lnTo>
                      <a:pt x="1562" y="130"/>
                    </a:lnTo>
                    <a:lnTo>
                      <a:pt x="1560" y="127"/>
                    </a:lnTo>
                    <a:lnTo>
                      <a:pt x="1557" y="125"/>
                    </a:lnTo>
                    <a:lnTo>
                      <a:pt x="1554" y="123"/>
                    </a:lnTo>
                    <a:lnTo>
                      <a:pt x="1553" y="121"/>
                    </a:lnTo>
                    <a:lnTo>
                      <a:pt x="1553" y="119"/>
                    </a:lnTo>
                    <a:lnTo>
                      <a:pt x="1555" y="117"/>
                    </a:lnTo>
                    <a:lnTo>
                      <a:pt x="1561" y="113"/>
                    </a:lnTo>
                    <a:lnTo>
                      <a:pt x="1568" y="111"/>
                    </a:lnTo>
                    <a:lnTo>
                      <a:pt x="1575" y="109"/>
                    </a:lnTo>
                    <a:lnTo>
                      <a:pt x="1583" y="106"/>
                    </a:lnTo>
                    <a:lnTo>
                      <a:pt x="1591" y="104"/>
                    </a:lnTo>
                    <a:lnTo>
                      <a:pt x="1597" y="101"/>
                    </a:lnTo>
                    <a:lnTo>
                      <a:pt x="1601" y="99"/>
                    </a:lnTo>
                    <a:lnTo>
                      <a:pt x="1603" y="95"/>
                    </a:lnTo>
                    <a:lnTo>
                      <a:pt x="1604" y="93"/>
                    </a:lnTo>
                    <a:lnTo>
                      <a:pt x="1607" y="91"/>
                    </a:lnTo>
                    <a:lnTo>
                      <a:pt x="1611" y="89"/>
                    </a:lnTo>
                    <a:lnTo>
                      <a:pt x="1615" y="88"/>
                    </a:lnTo>
                    <a:lnTo>
                      <a:pt x="1624" y="83"/>
                    </a:lnTo>
                    <a:lnTo>
                      <a:pt x="1633" y="80"/>
                    </a:lnTo>
                    <a:lnTo>
                      <a:pt x="1647" y="74"/>
                    </a:lnTo>
                    <a:lnTo>
                      <a:pt x="1669" y="65"/>
                    </a:lnTo>
                    <a:lnTo>
                      <a:pt x="1680" y="60"/>
                    </a:lnTo>
                    <a:lnTo>
                      <a:pt x="1688" y="56"/>
                    </a:lnTo>
                    <a:lnTo>
                      <a:pt x="1690" y="55"/>
                    </a:lnTo>
                    <a:lnTo>
                      <a:pt x="1692" y="53"/>
                    </a:lnTo>
                    <a:lnTo>
                      <a:pt x="1692" y="52"/>
                    </a:lnTo>
                    <a:lnTo>
                      <a:pt x="1690" y="52"/>
                    </a:lnTo>
                    <a:lnTo>
                      <a:pt x="1683" y="52"/>
                    </a:lnTo>
                    <a:lnTo>
                      <a:pt x="1670" y="53"/>
                    </a:lnTo>
                    <a:lnTo>
                      <a:pt x="1656" y="56"/>
                    </a:lnTo>
                    <a:lnTo>
                      <a:pt x="1639" y="59"/>
                    </a:lnTo>
                    <a:lnTo>
                      <a:pt x="1623" y="62"/>
                    </a:lnTo>
                    <a:lnTo>
                      <a:pt x="1611" y="65"/>
                    </a:lnTo>
                    <a:lnTo>
                      <a:pt x="1601" y="67"/>
                    </a:lnTo>
                    <a:lnTo>
                      <a:pt x="1598" y="66"/>
                    </a:lnTo>
                    <a:lnTo>
                      <a:pt x="1600" y="64"/>
                    </a:lnTo>
                    <a:lnTo>
                      <a:pt x="1604" y="61"/>
                    </a:lnTo>
                    <a:lnTo>
                      <a:pt x="1611" y="59"/>
                    </a:lnTo>
                    <a:lnTo>
                      <a:pt x="1618" y="57"/>
                    </a:lnTo>
                    <a:lnTo>
                      <a:pt x="1633" y="54"/>
                    </a:lnTo>
                    <a:lnTo>
                      <a:pt x="1639" y="53"/>
                    </a:lnTo>
                    <a:lnTo>
                      <a:pt x="1624" y="51"/>
                    </a:lnTo>
                    <a:lnTo>
                      <a:pt x="1611" y="49"/>
                    </a:lnTo>
                    <a:lnTo>
                      <a:pt x="1625" y="47"/>
                    </a:lnTo>
                    <a:lnTo>
                      <a:pt x="1641" y="46"/>
                    </a:lnTo>
                    <a:lnTo>
                      <a:pt x="1651" y="47"/>
                    </a:lnTo>
                    <a:lnTo>
                      <a:pt x="1667" y="47"/>
                    </a:lnTo>
                    <a:lnTo>
                      <a:pt x="1674" y="43"/>
                    </a:lnTo>
                    <a:lnTo>
                      <a:pt x="1679" y="40"/>
                    </a:lnTo>
                    <a:lnTo>
                      <a:pt x="1685" y="40"/>
                    </a:lnTo>
                    <a:lnTo>
                      <a:pt x="1696" y="38"/>
                    </a:lnTo>
                    <a:lnTo>
                      <a:pt x="1708" y="36"/>
                    </a:lnTo>
                    <a:lnTo>
                      <a:pt x="1714" y="34"/>
                    </a:lnTo>
                    <a:lnTo>
                      <a:pt x="1721" y="31"/>
                    </a:lnTo>
                    <a:lnTo>
                      <a:pt x="1730" y="28"/>
                    </a:lnTo>
                    <a:lnTo>
                      <a:pt x="1734" y="26"/>
                    </a:lnTo>
                    <a:lnTo>
                      <a:pt x="1737" y="24"/>
                    </a:lnTo>
                    <a:lnTo>
                      <a:pt x="1737" y="23"/>
                    </a:lnTo>
                    <a:lnTo>
                      <a:pt x="1737" y="22"/>
                    </a:lnTo>
                    <a:lnTo>
                      <a:pt x="1736" y="22"/>
                    </a:lnTo>
                    <a:lnTo>
                      <a:pt x="1735" y="21"/>
                    </a:lnTo>
                    <a:lnTo>
                      <a:pt x="1725" y="16"/>
                    </a:lnTo>
                    <a:lnTo>
                      <a:pt x="1719" y="14"/>
                    </a:lnTo>
                    <a:lnTo>
                      <a:pt x="1705" y="11"/>
                    </a:lnTo>
                    <a:lnTo>
                      <a:pt x="1696" y="8"/>
                    </a:lnTo>
                    <a:lnTo>
                      <a:pt x="1695" y="6"/>
                    </a:lnTo>
                    <a:lnTo>
                      <a:pt x="1692" y="4"/>
                    </a:lnTo>
                    <a:lnTo>
                      <a:pt x="1688" y="3"/>
                    </a:lnTo>
                    <a:lnTo>
                      <a:pt x="1683" y="2"/>
                    </a:lnTo>
                    <a:lnTo>
                      <a:pt x="1674" y="3"/>
                    </a:lnTo>
                    <a:lnTo>
                      <a:pt x="1663" y="4"/>
                    </a:lnTo>
                    <a:lnTo>
                      <a:pt x="1651" y="6"/>
                    </a:lnTo>
                    <a:lnTo>
                      <a:pt x="1642" y="8"/>
                    </a:lnTo>
                    <a:lnTo>
                      <a:pt x="1634" y="10"/>
                    </a:lnTo>
                    <a:lnTo>
                      <a:pt x="1626" y="11"/>
                    </a:lnTo>
                    <a:lnTo>
                      <a:pt x="1620" y="11"/>
                    </a:lnTo>
                    <a:lnTo>
                      <a:pt x="1617" y="10"/>
                    </a:lnTo>
                    <a:lnTo>
                      <a:pt x="1616" y="10"/>
                    </a:lnTo>
                    <a:lnTo>
                      <a:pt x="1616" y="9"/>
                    </a:lnTo>
                    <a:lnTo>
                      <a:pt x="1616" y="9"/>
                    </a:lnTo>
                    <a:lnTo>
                      <a:pt x="1617" y="9"/>
                    </a:lnTo>
                    <a:lnTo>
                      <a:pt x="1620" y="8"/>
                    </a:lnTo>
                    <a:lnTo>
                      <a:pt x="1627" y="6"/>
                    </a:lnTo>
                    <a:lnTo>
                      <a:pt x="1637" y="5"/>
                    </a:lnTo>
                    <a:lnTo>
                      <a:pt x="1649" y="3"/>
                    </a:lnTo>
                    <a:lnTo>
                      <a:pt x="1654" y="3"/>
                    </a:lnTo>
                    <a:lnTo>
                      <a:pt x="1656" y="2"/>
                    </a:lnTo>
                    <a:lnTo>
                      <a:pt x="1652" y="2"/>
                    </a:lnTo>
                    <a:lnTo>
                      <a:pt x="1645" y="2"/>
                    </a:lnTo>
                    <a:lnTo>
                      <a:pt x="1626" y="1"/>
                    </a:lnTo>
                    <a:lnTo>
                      <a:pt x="1612" y="1"/>
                    </a:lnTo>
                    <a:lnTo>
                      <a:pt x="1601" y="1"/>
                    </a:lnTo>
                    <a:lnTo>
                      <a:pt x="1594" y="1"/>
                    </a:lnTo>
                    <a:lnTo>
                      <a:pt x="1585" y="0"/>
                    </a:lnTo>
                    <a:lnTo>
                      <a:pt x="1579" y="2"/>
                    </a:lnTo>
                    <a:lnTo>
                      <a:pt x="1577" y="3"/>
                    </a:lnTo>
                    <a:lnTo>
                      <a:pt x="1575" y="4"/>
                    </a:lnTo>
                    <a:lnTo>
                      <a:pt x="1572" y="4"/>
                    </a:lnTo>
                    <a:lnTo>
                      <a:pt x="1569" y="4"/>
                    </a:lnTo>
                    <a:lnTo>
                      <a:pt x="1563" y="2"/>
                    </a:lnTo>
                    <a:lnTo>
                      <a:pt x="1555" y="1"/>
                    </a:lnTo>
                    <a:lnTo>
                      <a:pt x="1546" y="1"/>
                    </a:lnTo>
                    <a:lnTo>
                      <a:pt x="1541" y="2"/>
                    </a:lnTo>
                    <a:lnTo>
                      <a:pt x="1547" y="6"/>
                    </a:lnTo>
                    <a:lnTo>
                      <a:pt x="1552" y="8"/>
                    </a:lnTo>
                    <a:lnTo>
                      <a:pt x="1551" y="9"/>
                    </a:lnTo>
                    <a:lnTo>
                      <a:pt x="1549" y="11"/>
                    </a:lnTo>
                    <a:lnTo>
                      <a:pt x="1546" y="12"/>
                    </a:lnTo>
                    <a:lnTo>
                      <a:pt x="1540" y="11"/>
                    </a:lnTo>
                    <a:lnTo>
                      <a:pt x="1525" y="7"/>
                    </a:lnTo>
                    <a:lnTo>
                      <a:pt x="1517" y="4"/>
                    </a:lnTo>
                    <a:lnTo>
                      <a:pt x="1517" y="4"/>
                    </a:lnTo>
                    <a:lnTo>
                      <a:pt x="1516" y="3"/>
                    </a:lnTo>
                    <a:lnTo>
                      <a:pt x="1513" y="3"/>
                    </a:lnTo>
                    <a:lnTo>
                      <a:pt x="1506" y="4"/>
                    </a:lnTo>
                    <a:lnTo>
                      <a:pt x="1491" y="5"/>
                    </a:lnTo>
                    <a:lnTo>
                      <a:pt x="1482" y="6"/>
                    </a:lnTo>
                    <a:lnTo>
                      <a:pt x="1480" y="7"/>
                    </a:lnTo>
                    <a:lnTo>
                      <a:pt x="1480" y="8"/>
                    </a:lnTo>
                    <a:lnTo>
                      <a:pt x="1480" y="8"/>
                    </a:lnTo>
                    <a:lnTo>
                      <a:pt x="1481" y="9"/>
                    </a:lnTo>
                    <a:lnTo>
                      <a:pt x="1485" y="10"/>
                    </a:lnTo>
                    <a:lnTo>
                      <a:pt x="1489" y="10"/>
                    </a:lnTo>
                    <a:lnTo>
                      <a:pt x="1503" y="12"/>
                    </a:lnTo>
                    <a:lnTo>
                      <a:pt x="1513" y="15"/>
                    </a:lnTo>
                    <a:lnTo>
                      <a:pt x="1513" y="16"/>
                    </a:lnTo>
                    <a:lnTo>
                      <a:pt x="1513" y="18"/>
                    </a:lnTo>
                    <a:lnTo>
                      <a:pt x="1511" y="18"/>
                    </a:lnTo>
                    <a:lnTo>
                      <a:pt x="1505" y="18"/>
                    </a:lnTo>
                    <a:lnTo>
                      <a:pt x="1493" y="17"/>
                    </a:lnTo>
                    <a:lnTo>
                      <a:pt x="1486" y="15"/>
                    </a:lnTo>
                    <a:lnTo>
                      <a:pt x="1480" y="13"/>
                    </a:lnTo>
                    <a:lnTo>
                      <a:pt x="1475" y="11"/>
                    </a:lnTo>
                    <a:lnTo>
                      <a:pt x="1466" y="10"/>
                    </a:lnTo>
                    <a:lnTo>
                      <a:pt x="1460" y="9"/>
                    </a:lnTo>
                    <a:lnTo>
                      <a:pt x="1456" y="10"/>
                    </a:lnTo>
                    <a:lnTo>
                      <a:pt x="1447" y="11"/>
                    </a:lnTo>
                    <a:lnTo>
                      <a:pt x="1440" y="13"/>
                    </a:lnTo>
                    <a:lnTo>
                      <a:pt x="1440" y="14"/>
                    </a:lnTo>
                    <a:lnTo>
                      <a:pt x="1450" y="14"/>
                    </a:lnTo>
                    <a:lnTo>
                      <a:pt x="1451" y="15"/>
                    </a:lnTo>
                    <a:lnTo>
                      <a:pt x="1441" y="18"/>
                    </a:lnTo>
                    <a:lnTo>
                      <a:pt x="1434" y="20"/>
                    </a:lnTo>
                    <a:lnTo>
                      <a:pt x="1435" y="20"/>
                    </a:lnTo>
                    <a:lnTo>
                      <a:pt x="1435" y="21"/>
                    </a:lnTo>
                    <a:lnTo>
                      <a:pt x="1435" y="21"/>
                    </a:lnTo>
                    <a:lnTo>
                      <a:pt x="1430" y="23"/>
                    </a:lnTo>
                    <a:lnTo>
                      <a:pt x="1419" y="25"/>
                    </a:lnTo>
                    <a:lnTo>
                      <a:pt x="1412" y="26"/>
                    </a:lnTo>
                    <a:lnTo>
                      <a:pt x="1407" y="28"/>
                    </a:lnTo>
                    <a:lnTo>
                      <a:pt x="1401" y="31"/>
                    </a:lnTo>
                    <a:lnTo>
                      <a:pt x="1399" y="31"/>
                    </a:lnTo>
                    <a:lnTo>
                      <a:pt x="1399" y="32"/>
                    </a:lnTo>
                    <a:lnTo>
                      <a:pt x="1399" y="32"/>
                    </a:lnTo>
                    <a:lnTo>
                      <a:pt x="1400" y="33"/>
                    </a:lnTo>
                    <a:lnTo>
                      <a:pt x="1403" y="34"/>
                    </a:lnTo>
                    <a:lnTo>
                      <a:pt x="1406" y="34"/>
                    </a:lnTo>
                    <a:lnTo>
                      <a:pt x="1416" y="35"/>
                    </a:lnTo>
                    <a:lnTo>
                      <a:pt x="1422" y="38"/>
                    </a:lnTo>
                    <a:lnTo>
                      <a:pt x="1423" y="40"/>
                    </a:lnTo>
                    <a:lnTo>
                      <a:pt x="1421" y="43"/>
                    </a:lnTo>
                    <a:lnTo>
                      <a:pt x="1419" y="44"/>
                    </a:lnTo>
                    <a:lnTo>
                      <a:pt x="1418" y="44"/>
                    </a:lnTo>
                    <a:lnTo>
                      <a:pt x="1416" y="44"/>
                    </a:lnTo>
                    <a:lnTo>
                      <a:pt x="1413" y="43"/>
                    </a:lnTo>
                    <a:lnTo>
                      <a:pt x="1403" y="40"/>
                    </a:lnTo>
                    <a:lnTo>
                      <a:pt x="1395" y="38"/>
                    </a:lnTo>
                    <a:lnTo>
                      <a:pt x="1383" y="38"/>
                    </a:lnTo>
                    <a:lnTo>
                      <a:pt x="1374" y="36"/>
                    </a:lnTo>
                    <a:lnTo>
                      <a:pt x="1372" y="34"/>
                    </a:lnTo>
                    <a:lnTo>
                      <a:pt x="1369" y="33"/>
                    </a:lnTo>
                    <a:lnTo>
                      <a:pt x="1365" y="32"/>
                    </a:lnTo>
                    <a:lnTo>
                      <a:pt x="1363" y="31"/>
                    </a:lnTo>
                    <a:lnTo>
                      <a:pt x="1358" y="32"/>
                    </a:lnTo>
                    <a:lnTo>
                      <a:pt x="1353" y="34"/>
                    </a:lnTo>
                    <a:lnTo>
                      <a:pt x="1350" y="34"/>
                    </a:lnTo>
                    <a:lnTo>
                      <a:pt x="1349" y="35"/>
                    </a:lnTo>
                    <a:lnTo>
                      <a:pt x="1348" y="36"/>
                    </a:lnTo>
                    <a:lnTo>
                      <a:pt x="1349" y="37"/>
                    </a:lnTo>
                    <a:lnTo>
                      <a:pt x="1351" y="38"/>
                    </a:lnTo>
                    <a:lnTo>
                      <a:pt x="1352" y="38"/>
                    </a:lnTo>
                    <a:lnTo>
                      <a:pt x="1350" y="39"/>
                    </a:lnTo>
                    <a:lnTo>
                      <a:pt x="1346" y="42"/>
                    </a:lnTo>
                    <a:lnTo>
                      <a:pt x="1340" y="44"/>
                    </a:lnTo>
                    <a:lnTo>
                      <a:pt x="1336" y="45"/>
                    </a:lnTo>
                    <a:lnTo>
                      <a:pt x="1334" y="46"/>
                    </a:lnTo>
                    <a:lnTo>
                      <a:pt x="1333" y="46"/>
                    </a:lnTo>
                    <a:lnTo>
                      <a:pt x="1332" y="47"/>
                    </a:lnTo>
                    <a:lnTo>
                      <a:pt x="1333" y="47"/>
                    </a:lnTo>
                    <a:lnTo>
                      <a:pt x="1344" y="49"/>
                    </a:lnTo>
                    <a:lnTo>
                      <a:pt x="1348" y="50"/>
                    </a:lnTo>
                    <a:lnTo>
                      <a:pt x="1336" y="52"/>
                    </a:lnTo>
                    <a:lnTo>
                      <a:pt x="1326" y="53"/>
                    </a:lnTo>
                    <a:lnTo>
                      <a:pt x="1326" y="51"/>
                    </a:lnTo>
                    <a:lnTo>
                      <a:pt x="1327" y="50"/>
                    </a:lnTo>
                    <a:lnTo>
                      <a:pt x="1326" y="49"/>
                    </a:lnTo>
                    <a:lnTo>
                      <a:pt x="1320" y="50"/>
                    </a:lnTo>
                    <a:lnTo>
                      <a:pt x="1310" y="55"/>
                    </a:lnTo>
                    <a:lnTo>
                      <a:pt x="1303" y="57"/>
                    </a:lnTo>
                    <a:lnTo>
                      <a:pt x="1294" y="59"/>
                    </a:lnTo>
                    <a:lnTo>
                      <a:pt x="1288" y="62"/>
                    </a:lnTo>
                    <a:lnTo>
                      <a:pt x="1275" y="66"/>
                    </a:lnTo>
                    <a:lnTo>
                      <a:pt x="1263" y="71"/>
                    </a:lnTo>
                    <a:lnTo>
                      <a:pt x="1260" y="73"/>
                    </a:lnTo>
                    <a:lnTo>
                      <a:pt x="1259" y="75"/>
                    </a:lnTo>
                    <a:lnTo>
                      <a:pt x="1260" y="76"/>
                    </a:lnTo>
                    <a:lnTo>
                      <a:pt x="1262" y="77"/>
                    </a:lnTo>
                    <a:lnTo>
                      <a:pt x="1272" y="75"/>
                    </a:lnTo>
                    <a:lnTo>
                      <a:pt x="1282" y="73"/>
                    </a:lnTo>
                    <a:lnTo>
                      <a:pt x="1285" y="74"/>
                    </a:lnTo>
                    <a:lnTo>
                      <a:pt x="1287" y="75"/>
                    </a:lnTo>
                    <a:lnTo>
                      <a:pt x="1300" y="72"/>
                    </a:lnTo>
                    <a:lnTo>
                      <a:pt x="1309" y="70"/>
                    </a:lnTo>
                    <a:lnTo>
                      <a:pt x="1303" y="75"/>
                    </a:lnTo>
                    <a:lnTo>
                      <a:pt x="1297" y="79"/>
                    </a:lnTo>
                    <a:lnTo>
                      <a:pt x="1294" y="80"/>
                    </a:lnTo>
                    <a:lnTo>
                      <a:pt x="1291" y="81"/>
                    </a:lnTo>
                    <a:lnTo>
                      <a:pt x="1289" y="82"/>
                    </a:lnTo>
                    <a:lnTo>
                      <a:pt x="1286" y="86"/>
                    </a:lnTo>
                    <a:lnTo>
                      <a:pt x="1284" y="90"/>
                    </a:lnTo>
                    <a:lnTo>
                      <a:pt x="1282" y="92"/>
                    </a:lnTo>
                    <a:lnTo>
                      <a:pt x="1281" y="93"/>
                    </a:lnTo>
                    <a:lnTo>
                      <a:pt x="1281" y="94"/>
                    </a:lnTo>
                    <a:lnTo>
                      <a:pt x="1282" y="95"/>
                    </a:lnTo>
                    <a:lnTo>
                      <a:pt x="1284" y="95"/>
                    </a:lnTo>
                    <a:lnTo>
                      <a:pt x="1300" y="92"/>
                    </a:lnTo>
                    <a:lnTo>
                      <a:pt x="1314" y="90"/>
                    </a:lnTo>
                    <a:lnTo>
                      <a:pt x="1321" y="90"/>
                    </a:lnTo>
                    <a:lnTo>
                      <a:pt x="1331" y="87"/>
                    </a:lnTo>
                    <a:lnTo>
                      <a:pt x="1340" y="83"/>
                    </a:lnTo>
                    <a:lnTo>
                      <a:pt x="1347" y="82"/>
                    </a:lnTo>
                    <a:lnTo>
                      <a:pt x="1359" y="76"/>
                    </a:lnTo>
                    <a:lnTo>
                      <a:pt x="1365" y="75"/>
                    </a:lnTo>
                    <a:lnTo>
                      <a:pt x="1355" y="81"/>
                    </a:lnTo>
                    <a:lnTo>
                      <a:pt x="1343" y="86"/>
                    </a:lnTo>
                    <a:lnTo>
                      <a:pt x="1348" y="86"/>
                    </a:lnTo>
                    <a:lnTo>
                      <a:pt x="1359" y="83"/>
                    </a:lnTo>
                    <a:lnTo>
                      <a:pt x="1373" y="80"/>
                    </a:lnTo>
                    <a:lnTo>
                      <a:pt x="1381" y="79"/>
                    </a:lnTo>
                    <a:lnTo>
                      <a:pt x="1382" y="79"/>
                    </a:lnTo>
                    <a:lnTo>
                      <a:pt x="1383" y="80"/>
                    </a:lnTo>
                    <a:lnTo>
                      <a:pt x="1382" y="81"/>
                    </a:lnTo>
                    <a:lnTo>
                      <a:pt x="1382" y="82"/>
                    </a:lnTo>
                    <a:lnTo>
                      <a:pt x="1378" y="83"/>
                    </a:lnTo>
                    <a:lnTo>
                      <a:pt x="1371" y="86"/>
                    </a:lnTo>
                    <a:lnTo>
                      <a:pt x="1362" y="87"/>
                    </a:lnTo>
                    <a:lnTo>
                      <a:pt x="1354" y="87"/>
                    </a:lnTo>
                    <a:lnTo>
                      <a:pt x="1351" y="87"/>
                    </a:lnTo>
                    <a:lnTo>
                      <a:pt x="1348" y="88"/>
                    </a:lnTo>
                    <a:lnTo>
                      <a:pt x="1346" y="89"/>
                    </a:lnTo>
                    <a:lnTo>
                      <a:pt x="1344" y="90"/>
                    </a:lnTo>
                    <a:lnTo>
                      <a:pt x="1341" y="94"/>
                    </a:lnTo>
                    <a:lnTo>
                      <a:pt x="1337" y="97"/>
                    </a:lnTo>
                    <a:lnTo>
                      <a:pt x="1333" y="99"/>
                    </a:lnTo>
                    <a:lnTo>
                      <a:pt x="1330" y="98"/>
                    </a:lnTo>
                    <a:lnTo>
                      <a:pt x="1321" y="97"/>
                    </a:lnTo>
                    <a:lnTo>
                      <a:pt x="1310" y="97"/>
                    </a:lnTo>
                    <a:lnTo>
                      <a:pt x="1305" y="97"/>
                    </a:lnTo>
                    <a:lnTo>
                      <a:pt x="1299" y="97"/>
                    </a:lnTo>
                    <a:lnTo>
                      <a:pt x="1296" y="98"/>
                    </a:lnTo>
                    <a:lnTo>
                      <a:pt x="1294" y="99"/>
                    </a:lnTo>
                    <a:lnTo>
                      <a:pt x="1294" y="102"/>
                    </a:lnTo>
                    <a:lnTo>
                      <a:pt x="1296" y="106"/>
                    </a:lnTo>
                    <a:lnTo>
                      <a:pt x="1297" y="108"/>
                    </a:lnTo>
                    <a:lnTo>
                      <a:pt x="1300" y="109"/>
                    </a:lnTo>
                    <a:lnTo>
                      <a:pt x="1306" y="109"/>
                    </a:lnTo>
                    <a:lnTo>
                      <a:pt x="1311" y="108"/>
                    </a:lnTo>
                    <a:lnTo>
                      <a:pt x="1328" y="102"/>
                    </a:lnTo>
                    <a:lnTo>
                      <a:pt x="1333" y="102"/>
                    </a:lnTo>
                    <a:lnTo>
                      <a:pt x="1337" y="104"/>
                    </a:lnTo>
                    <a:lnTo>
                      <a:pt x="1340" y="106"/>
                    </a:lnTo>
                    <a:lnTo>
                      <a:pt x="1346" y="106"/>
                    </a:lnTo>
                    <a:lnTo>
                      <a:pt x="1354" y="106"/>
                    </a:lnTo>
                    <a:lnTo>
                      <a:pt x="1360" y="106"/>
                    </a:lnTo>
                    <a:lnTo>
                      <a:pt x="1368" y="103"/>
                    </a:lnTo>
                    <a:lnTo>
                      <a:pt x="1375" y="101"/>
                    </a:lnTo>
                    <a:lnTo>
                      <a:pt x="1382" y="98"/>
                    </a:lnTo>
                    <a:lnTo>
                      <a:pt x="1388" y="95"/>
                    </a:lnTo>
                    <a:lnTo>
                      <a:pt x="1394" y="93"/>
                    </a:lnTo>
                    <a:lnTo>
                      <a:pt x="1396" y="93"/>
                    </a:lnTo>
                    <a:lnTo>
                      <a:pt x="1397" y="93"/>
                    </a:lnTo>
                    <a:lnTo>
                      <a:pt x="1397" y="93"/>
                    </a:lnTo>
                    <a:lnTo>
                      <a:pt x="1397" y="94"/>
                    </a:lnTo>
                    <a:lnTo>
                      <a:pt x="1395" y="98"/>
                    </a:lnTo>
                    <a:lnTo>
                      <a:pt x="1395" y="100"/>
                    </a:lnTo>
                    <a:lnTo>
                      <a:pt x="1397" y="101"/>
                    </a:lnTo>
                    <a:lnTo>
                      <a:pt x="1402" y="100"/>
                    </a:lnTo>
                    <a:lnTo>
                      <a:pt x="1413" y="96"/>
                    </a:lnTo>
                    <a:lnTo>
                      <a:pt x="1425" y="91"/>
                    </a:lnTo>
                    <a:lnTo>
                      <a:pt x="1431" y="88"/>
                    </a:lnTo>
                    <a:lnTo>
                      <a:pt x="1438" y="84"/>
                    </a:lnTo>
                    <a:lnTo>
                      <a:pt x="1442" y="81"/>
                    </a:lnTo>
                    <a:lnTo>
                      <a:pt x="1444" y="78"/>
                    </a:lnTo>
                    <a:lnTo>
                      <a:pt x="1450" y="71"/>
                    </a:lnTo>
                    <a:lnTo>
                      <a:pt x="1458" y="65"/>
                    </a:lnTo>
                    <a:lnTo>
                      <a:pt x="1462" y="61"/>
                    </a:lnTo>
                    <a:lnTo>
                      <a:pt x="1465" y="59"/>
                    </a:lnTo>
                    <a:lnTo>
                      <a:pt x="1468" y="58"/>
                    </a:lnTo>
                    <a:lnTo>
                      <a:pt x="1470" y="59"/>
                    </a:lnTo>
                    <a:lnTo>
                      <a:pt x="1473" y="61"/>
                    </a:lnTo>
                    <a:lnTo>
                      <a:pt x="1475" y="64"/>
                    </a:lnTo>
                    <a:lnTo>
                      <a:pt x="1473" y="67"/>
                    </a:lnTo>
                    <a:lnTo>
                      <a:pt x="1466" y="70"/>
                    </a:lnTo>
                    <a:lnTo>
                      <a:pt x="1458" y="75"/>
                    </a:lnTo>
                    <a:lnTo>
                      <a:pt x="1450" y="78"/>
                    </a:lnTo>
                    <a:lnTo>
                      <a:pt x="1448" y="80"/>
                    </a:lnTo>
                    <a:lnTo>
                      <a:pt x="1447" y="81"/>
                    </a:lnTo>
                    <a:lnTo>
                      <a:pt x="1448" y="82"/>
                    </a:lnTo>
                    <a:lnTo>
                      <a:pt x="1451" y="82"/>
                    </a:lnTo>
                    <a:lnTo>
                      <a:pt x="1464" y="81"/>
                    </a:lnTo>
                    <a:lnTo>
                      <a:pt x="1479" y="79"/>
                    </a:lnTo>
                    <a:lnTo>
                      <a:pt x="1485" y="79"/>
                    </a:lnTo>
                    <a:lnTo>
                      <a:pt x="1489" y="79"/>
                    </a:lnTo>
                    <a:lnTo>
                      <a:pt x="1491" y="79"/>
                    </a:lnTo>
                    <a:lnTo>
                      <a:pt x="1491" y="80"/>
                    </a:lnTo>
                    <a:lnTo>
                      <a:pt x="1490" y="80"/>
                    </a:lnTo>
                    <a:lnTo>
                      <a:pt x="1489" y="81"/>
                    </a:lnTo>
                    <a:lnTo>
                      <a:pt x="1478" y="84"/>
                    </a:lnTo>
                    <a:lnTo>
                      <a:pt x="1463" y="86"/>
                    </a:lnTo>
                    <a:lnTo>
                      <a:pt x="1456" y="86"/>
                    </a:lnTo>
                    <a:lnTo>
                      <a:pt x="1448" y="87"/>
                    </a:lnTo>
                    <a:lnTo>
                      <a:pt x="1443" y="88"/>
                    </a:lnTo>
                    <a:lnTo>
                      <a:pt x="1439" y="90"/>
                    </a:lnTo>
                    <a:lnTo>
                      <a:pt x="1438" y="91"/>
                    </a:lnTo>
                    <a:lnTo>
                      <a:pt x="1438" y="92"/>
                    </a:lnTo>
                    <a:lnTo>
                      <a:pt x="1438" y="93"/>
                    </a:lnTo>
                    <a:lnTo>
                      <a:pt x="1439" y="94"/>
                    </a:lnTo>
                    <a:lnTo>
                      <a:pt x="1441" y="96"/>
                    </a:lnTo>
                    <a:lnTo>
                      <a:pt x="1443" y="97"/>
                    </a:lnTo>
                    <a:lnTo>
                      <a:pt x="1445" y="98"/>
                    </a:lnTo>
                    <a:lnTo>
                      <a:pt x="1446" y="99"/>
                    </a:lnTo>
                    <a:lnTo>
                      <a:pt x="1446" y="100"/>
                    </a:lnTo>
                    <a:lnTo>
                      <a:pt x="1442" y="100"/>
                    </a:lnTo>
                    <a:lnTo>
                      <a:pt x="1431" y="101"/>
                    </a:lnTo>
                    <a:lnTo>
                      <a:pt x="1421" y="102"/>
                    </a:lnTo>
                    <a:lnTo>
                      <a:pt x="1414" y="104"/>
                    </a:lnTo>
                    <a:lnTo>
                      <a:pt x="1408" y="105"/>
                    </a:lnTo>
                    <a:lnTo>
                      <a:pt x="1402" y="108"/>
                    </a:lnTo>
                    <a:lnTo>
                      <a:pt x="1393" y="110"/>
                    </a:lnTo>
                    <a:lnTo>
                      <a:pt x="1387" y="110"/>
                    </a:lnTo>
                    <a:lnTo>
                      <a:pt x="1384" y="111"/>
                    </a:lnTo>
                    <a:lnTo>
                      <a:pt x="1382" y="112"/>
                    </a:lnTo>
                    <a:lnTo>
                      <a:pt x="1381" y="113"/>
                    </a:lnTo>
                    <a:lnTo>
                      <a:pt x="1381" y="114"/>
                    </a:lnTo>
                    <a:lnTo>
                      <a:pt x="1382" y="114"/>
                    </a:lnTo>
                    <a:lnTo>
                      <a:pt x="1386" y="119"/>
                    </a:lnTo>
                    <a:lnTo>
                      <a:pt x="1393" y="123"/>
                    </a:lnTo>
                    <a:lnTo>
                      <a:pt x="1398" y="126"/>
                    </a:lnTo>
                    <a:lnTo>
                      <a:pt x="1402" y="128"/>
                    </a:lnTo>
                    <a:lnTo>
                      <a:pt x="1404" y="133"/>
                    </a:lnTo>
                    <a:lnTo>
                      <a:pt x="1408" y="138"/>
                    </a:lnTo>
                    <a:lnTo>
                      <a:pt x="1415" y="139"/>
                    </a:lnTo>
                    <a:lnTo>
                      <a:pt x="1424" y="138"/>
                    </a:lnTo>
                    <a:lnTo>
                      <a:pt x="1427" y="138"/>
                    </a:lnTo>
                    <a:lnTo>
                      <a:pt x="1429" y="139"/>
                    </a:lnTo>
                    <a:lnTo>
                      <a:pt x="1429" y="140"/>
                    </a:lnTo>
                    <a:lnTo>
                      <a:pt x="1426" y="142"/>
                    </a:lnTo>
                    <a:lnTo>
                      <a:pt x="1421" y="146"/>
                    </a:lnTo>
                    <a:lnTo>
                      <a:pt x="1419" y="149"/>
                    </a:lnTo>
                    <a:lnTo>
                      <a:pt x="1417" y="150"/>
                    </a:lnTo>
                    <a:lnTo>
                      <a:pt x="1412" y="149"/>
                    </a:lnTo>
                    <a:lnTo>
                      <a:pt x="1403" y="148"/>
                    </a:lnTo>
                    <a:lnTo>
                      <a:pt x="1395" y="147"/>
                    </a:lnTo>
                    <a:lnTo>
                      <a:pt x="1391" y="146"/>
                    </a:lnTo>
                    <a:lnTo>
                      <a:pt x="1387" y="145"/>
                    </a:lnTo>
                    <a:lnTo>
                      <a:pt x="1384" y="144"/>
                    </a:lnTo>
                    <a:lnTo>
                      <a:pt x="1383" y="142"/>
                    </a:lnTo>
                    <a:lnTo>
                      <a:pt x="1380" y="136"/>
                    </a:lnTo>
                    <a:lnTo>
                      <a:pt x="1374" y="127"/>
                    </a:lnTo>
                    <a:lnTo>
                      <a:pt x="1371" y="123"/>
                    </a:lnTo>
                    <a:lnTo>
                      <a:pt x="1366" y="120"/>
                    </a:lnTo>
                    <a:lnTo>
                      <a:pt x="1361" y="118"/>
                    </a:lnTo>
                    <a:lnTo>
                      <a:pt x="1356" y="117"/>
                    </a:lnTo>
                    <a:lnTo>
                      <a:pt x="1347" y="117"/>
                    </a:lnTo>
                    <a:lnTo>
                      <a:pt x="1341" y="116"/>
                    </a:lnTo>
                    <a:lnTo>
                      <a:pt x="1340" y="116"/>
                    </a:lnTo>
                    <a:lnTo>
                      <a:pt x="1339" y="116"/>
                    </a:lnTo>
                    <a:lnTo>
                      <a:pt x="1338" y="117"/>
                    </a:lnTo>
                    <a:lnTo>
                      <a:pt x="1337" y="119"/>
                    </a:lnTo>
                    <a:lnTo>
                      <a:pt x="1333" y="123"/>
                    </a:lnTo>
                    <a:lnTo>
                      <a:pt x="1330" y="125"/>
                    </a:lnTo>
                    <a:lnTo>
                      <a:pt x="1329" y="126"/>
                    </a:lnTo>
                    <a:lnTo>
                      <a:pt x="1328" y="127"/>
                    </a:lnTo>
                    <a:lnTo>
                      <a:pt x="1328" y="130"/>
                    </a:lnTo>
                    <a:lnTo>
                      <a:pt x="1330" y="132"/>
                    </a:lnTo>
                    <a:lnTo>
                      <a:pt x="1331" y="138"/>
                    </a:lnTo>
                    <a:lnTo>
                      <a:pt x="1332" y="143"/>
                    </a:lnTo>
                    <a:lnTo>
                      <a:pt x="1333" y="146"/>
                    </a:lnTo>
                    <a:lnTo>
                      <a:pt x="1334" y="149"/>
                    </a:lnTo>
                    <a:lnTo>
                      <a:pt x="1337" y="152"/>
                    </a:lnTo>
                    <a:lnTo>
                      <a:pt x="1340" y="154"/>
                    </a:lnTo>
                    <a:lnTo>
                      <a:pt x="1343" y="155"/>
                    </a:lnTo>
                    <a:lnTo>
                      <a:pt x="1347" y="155"/>
                    </a:lnTo>
                    <a:lnTo>
                      <a:pt x="1350" y="154"/>
                    </a:lnTo>
                    <a:lnTo>
                      <a:pt x="1353" y="153"/>
                    </a:lnTo>
                    <a:lnTo>
                      <a:pt x="1355" y="152"/>
                    </a:lnTo>
                    <a:lnTo>
                      <a:pt x="1357" y="152"/>
                    </a:lnTo>
                    <a:lnTo>
                      <a:pt x="1359" y="153"/>
                    </a:lnTo>
                    <a:lnTo>
                      <a:pt x="1359" y="155"/>
                    </a:lnTo>
                    <a:lnTo>
                      <a:pt x="1359" y="160"/>
                    </a:lnTo>
                    <a:lnTo>
                      <a:pt x="1359" y="163"/>
                    </a:lnTo>
                    <a:lnTo>
                      <a:pt x="1359" y="165"/>
                    </a:lnTo>
                    <a:lnTo>
                      <a:pt x="1361" y="167"/>
                    </a:lnTo>
                    <a:lnTo>
                      <a:pt x="1364" y="169"/>
                    </a:lnTo>
                    <a:lnTo>
                      <a:pt x="1370" y="171"/>
                    </a:lnTo>
                    <a:lnTo>
                      <a:pt x="1390" y="176"/>
                    </a:lnTo>
                    <a:lnTo>
                      <a:pt x="1400" y="178"/>
                    </a:lnTo>
                    <a:lnTo>
                      <a:pt x="1400" y="180"/>
                    </a:lnTo>
                    <a:lnTo>
                      <a:pt x="1399" y="182"/>
                    </a:lnTo>
                    <a:lnTo>
                      <a:pt x="1398" y="184"/>
                    </a:lnTo>
                    <a:lnTo>
                      <a:pt x="1396" y="186"/>
                    </a:lnTo>
                    <a:lnTo>
                      <a:pt x="1391" y="189"/>
                    </a:lnTo>
                    <a:lnTo>
                      <a:pt x="1383" y="191"/>
                    </a:lnTo>
                    <a:lnTo>
                      <a:pt x="1376" y="192"/>
                    </a:lnTo>
                    <a:lnTo>
                      <a:pt x="1368" y="194"/>
                    </a:lnTo>
                    <a:lnTo>
                      <a:pt x="1364" y="196"/>
                    </a:lnTo>
                    <a:lnTo>
                      <a:pt x="1360" y="197"/>
                    </a:lnTo>
                    <a:lnTo>
                      <a:pt x="1357" y="197"/>
                    </a:lnTo>
                    <a:lnTo>
                      <a:pt x="1355" y="196"/>
                    </a:lnTo>
                    <a:lnTo>
                      <a:pt x="1349" y="192"/>
                    </a:lnTo>
                    <a:lnTo>
                      <a:pt x="1342" y="190"/>
                    </a:lnTo>
                    <a:lnTo>
                      <a:pt x="1338" y="190"/>
                    </a:lnTo>
                    <a:lnTo>
                      <a:pt x="1334" y="190"/>
                    </a:lnTo>
                    <a:lnTo>
                      <a:pt x="1330" y="191"/>
                    </a:lnTo>
                    <a:lnTo>
                      <a:pt x="1326" y="193"/>
                    </a:lnTo>
                    <a:lnTo>
                      <a:pt x="1314" y="200"/>
                    </a:lnTo>
                    <a:lnTo>
                      <a:pt x="1301" y="207"/>
                    </a:lnTo>
                    <a:lnTo>
                      <a:pt x="1295" y="211"/>
                    </a:lnTo>
                    <a:lnTo>
                      <a:pt x="1291" y="214"/>
                    </a:lnTo>
                    <a:lnTo>
                      <a:pt x="1290" y="217"/>
                    </a:lnTo>
                    <a:lnTo>
                      <a:pt x="1289" y="218"/>
                    </a:lnTo>
                    <a:lnTo>
                      <a:pt x="1289" y="219"/>
                    </a:lnTo>
                    <a:lnTo>
                      <a:pt x="1289" y="220"/>
                    </a:lnTo>
                    <a:lnTo>
                      <a:pt x="1296" y="221"/>
                    </a:lnTo>
                    <a:lnTo>
                      <a:pt x="1307" y="221"/>
                    </a:lnTo>
                    <a:lnTo>
                      <a:pt x="1316" y="219"/>
                    </a:lnTo>
                    <a:lnTo>
                      <a:pt x="1321" y="218"/>
                    </a:lnTo>
                    <a:lnTo>
                      <a:pt x="1326" y="215"/>
                    </a:lnTo>
                    <a:lnTo>
                      <a:pt x="1333" y="212"/>
                    </a:lnTo>
                    <a:lnTo>
                      <a:pt x="1336" y="211"/>
                    </a:lnTo>
                    <a:lnTo>
                      <a:pt x="1338" y="211"/>
                    </a:lnTo>
                    <a:lnTo>
                      <a:pt x="1339" y="212"/>
                    </a:lnTo>
                    <a:lnTo>
                      <a:pt x="1338" y="214"/>
                    </a:lnTo>
                    <a:lnTo>
                      <a:pt x="1334" y="221"/>
                    </a:lnTo>
                    <a:lnTo>
                      <a:pt x="1329" y="226"/>
                    </a:lnTo>
                    <a:lnTo>
                      <a:pt x="1326" y="229"/>
                    </a:lnTo>
                    <a:lnTo>
                      <a:pt x="1325" y="231"/>
                    </a:lnTo>
                    <a:lnTo>
                      <a:pt x="1323" y="233"/>
                    </a:lnTo>
                    <a:lnTo>
                      <a:pt x="1325" y="236"/>
                    </a:lnTo>
                    <a:lnTo>
                      <a:pt x="1327" y="242"/>
                    </a:lnTo>
                    <a:lnTo>
                      <a:pt x="1330" y="247"/>
                    </a:lnTo>
                    <a:lnTo>
                      <a:pt x="1331" y="249"/>
                    </a:lnTo>
                    <a:lnTo>
                      <a:pt x="1333" y="250"/>
                    </a:lnTo>
                    <a:lnTo>
                      <a:pt x="1335" y="251"/>
                    </a:lnTo>
                    <a:lnTo>
                      <a:pt x="1338" y="251"/>
                    </a:lnTo>
                    <a:lnTo>
                      <a:pt x="1347" y="248"/>
                    </a:lnTo>
                    <a:lnTo>
                      <a:pt x="1359" y="243"/>
                    </a:lnTo>
                    <a:lnTo>
                      <a:pt x="1364" y="240"/>
                    </a:lnTo>
                    <a:lnTo>
                      <a:pt x="1370" y="239"/>
                    </a:lnTo>
                    <a:lnTo>
                      <a:pt x="1373" y="237"/>
                    </a:lnTo>
                    <a:lnTo>
                      <a:pt x="1374" y="239"/>
                    </a:lnTo>
                    <a:lnTo>
                      <a:pt x="1373" y="241"/>
                    </a:lnTo>
                    <a:lnTo>
                      <a:pt x="1372" y="243"/>
                    </a:lnTo>
                    <a:lnTo>
                      <a:pt x="1370" y="246"/>
                    </a:lnTo>
                    <a:lnTo>
                      <a:pt x="1366" y="249"/>
                    </a:lnTo>
                    <a:lnTo>
                      <a:pt x="1360" y="254"/>
                    </a:lnTo>
                    <a:lnTo>
                      <a:pt x="1355" y="257"/>
                    </a:lnTo>
                    <a:lnTo>
                      <a:pt x="1350" y="262"/>
                    </a:lnTo>
                    <a:lnTo>
                      <a:pt x="1344" y="267"/>
                    </a:lnTo>
                    <a:lnTo>
                      <a:pt x="1341" y="268"/>
                    </a:lnTo>
                    <a:lnTo>
                      <a:pt x="1337" y="269"/>
                    </a:lnTo>
                    <a:lnTo>
                      <a:pt x="1333" y="269"/>
                    </a:lnTo>
                    <a:lnTo>
                      <a:pt x="1328" y="268"/>
                    </a:lnTo>
                    <a:lnTo>
                      <a:pt x="1316" y="264"/>
                    </a:lnTo>
                    <a:lnTo>
                      <a:pt x="1306" y="259"/>
                    </a:lnTo>
                    <a:lnTo>
                      <a:pt x="1301" y="257"/>
                    </a:lnTo>
                    <a:lnTo>
                      <a:pt x="1298" y="255"/>
                    </a:lnTo>
                    <a:lnTo>
                      <a:pt x="1297" y="253"/>
                    </a:lnTo>
                    <a:lnTo>
                      <a:pt x="1296" y="251"/>
                    </a:lnTo>
                    <a:lnTo>
                      <a:pt x="1299" y="247"/>
                    </a:lnTo>
                    <a:lnTo>
                      <a:pt x="1303" y="242"/>
                    </a:lnTo>
                    <a:lnTo>
                      <a:pt x="1303" y="241"/>
                    </a:lnTo>
                    <a:lnTo>
                      <a:pt x="1301" y="239"/>
                    </a:lnTo>
                    <a:lnTo>
                      <a:pt x="1298" y="239"/>
                    </a:lnTo>
                    <a:lnTo>
                      <a:pt x="1294" y="240"/>
                    </a:lnTo>
                    <a:lnTo>
                      <a:pt x="1288" y="241"/>
                    </a:lnTo>
                    <a:lnTo>
                      <a:pt x="1284" y="241"/>
                    </a:lnTo>
                    <a:lnTo>
                      <a:pt x="1279" y="240"/>
                    </a:lnTo>
                    <a:lnTo>
                      <a:pt x="1276" y="239"/>
                    </a:lnTo>
                    <a:lnTo>
                      <a:pt x="1273" y="239"/>
                    </a:lnTo>
                    <a:lnTo>
                      <a:pt x="1272" y="240"/>
                    </a:lnTo>
                    <a:lnTo>
                      <a:pt x="1271" y="242"/>
                    </a:lnTo>
                    <a:lnTo>
                      <a:pt x="1271" y="247"/>
                    </a:lnTo>
                    <a:lnTo>
                      <a:pt x="1272" y="252"/>
                    </a:lnTo>
                    <a:lnTo>
                      <a:pt x="1273" y="255"/>
                    </a:lnTo>
                    <a:lnTo>
                      <a:pt x="1275" y="258"/>
                    </a:lnTo>
                    <a:lnTo>
                      <a:pt x="1277" y="261"/>
                    </a:lnTo>
                    <a:lnTo>
                      <a:pt x="1282" y="263"/>
                    </a:lnTo>
                    <a:lnTo>
                      <a:pt x="1287" y="266"/>
                    </a:lnTo>
                    <a:lnTo>
                      <a:pt x="1292" y="268"/>
                    </a:lnTo>
                    <a:lnTo>
                      <a:pt x="1296" y="270"/>
                    </a:lnTo>
                    <a:lnTo>
                      <a:pt x="1297" y="271"/>
                    </a:lnTo>
                    <a:lnTo>
                      <a:pt x="1297" y="272"/>
                    </a:lnTo>
                    <a:lnTo>
                      <a:pt x="1296" y="273"/>
                    </a:lnTo>
                    <a:lnTo>
                      <a:pt x="1295" y="275"/>
                    </a:lnTo>
                    <a:lnTo>
                      <a:pt x="1284" y="279"/>
                    </a:lnTo>
                    <a:lnTo>
                      <a:pt x="1271" y="284"/>
                    </a:lnTo>
                    <a:lnTo>
                      <a:pt x="1255" y="293"/>
                    </a:lnTo>
                    <a:lnTo>
                      <a:pt x="1241" y="301"/>
                    </a:lnTo>
                    <a:lnTo>
                      <a:pt x="1237" y="306"/>
                    </a:lnTo>
                    <a:lnTo>
                      <a:pt x="1230" y="310"/>
                    </a:lnTo>
                    <a:lnTo>
                      <a:pt x="1227" y="312"/>
                    </a:lnTo>
                    <a:lnTo>
                      <a:pt x="1224" y="313"/>
                    </a:lnTo>
                    <a:lnTo>
                      <a:pt x="1222" y="314"/>
                    </a:lnTo>
                    <a:lnTo>
                      <a:pt x="1220" y="313"/>
                    </a:lnTo>
                    <a:lnTo>
                      <a:pt x="1212" y="313"/>
                    </a:lnTo>
                    <a:lnTo>
                      <a:pt x="1199" y="315"/>
                    </a:lnTo>
                    <a:lnTo>
                      <a:pt x="1187" y="316"/>
                    </a:lnTo>
                    <a:lnTo>
                      <a:pt x="1182" y="317"/>
                    </a:lnTo>
                    <a:lnTo>
                      <a:pt x="1182" y="317"/>
                    </a:lnTo>
                    <a:lnTo>
                      <a:pt x="1183" y="316"/>
                    </a:lnTo>
                    <a:lnTo>
                      <a:pt x="1182" y="314"/>
                    </a:lnTo>
                    <a:lnTo>
                      <a:pt x="1178" y="310"/>
                    </a:lnTo>
                    <a:lnTo>
                      <a:pt x="1172" y="305"/>
                    </a:lnTo>
                    <a:lnTo>
                      <a:pt x="1166" y="300"/>
                    </a:lnTo>
                    <a:lnTo>
                      <a:pt x="1161" y="298"/>
                    </a:lnTo>
                    <a:lnTo>
                      <a:pt x="1156" y="298"/>
                    </a:lnTo>
                    <a:lnTo>
                      <a:pt x="1146" y="298"/>
                    </a:lnTo>
                    <a:lnTo>
                      <a:pt x="1141" y="298"/>
                    </a:lnTo>
                    <a:lnTo>
                      <a:pt x="1137" y="299"/>
                    </a:lnTo>
                    <a:lnTo>
                      <a:pt x="1133" y="299"/>
                    </a:lnTo>
                    <a:lnTo>
                      <a:pt x="1129" y="302"/>
                    </a:lnTo>
                    <a:lnTo>
                      <a:pt x="1127" y="303"/>
                    </a:lnTo>
                    <a:close/>
                    <a:moveTo>
                      <a:pt x="1227" y="268"/>
                    </a:moveTo>
                    <a:lnTo>
                      <a:pt x="1224" y="276"/>
                    </a:lnTo>
                    <a:lnTo>
                      <a:pt x="1219" y="283"/>
                    </a:lnTo>
                    <a:lnTo>
                      <a:pt x="1219" y="284"/>
                    </a:lnTo>
                    <a:lnTo>
                      <a:pt x="1220" y="287"/>
                    </a:lnTo>
                    <a:lnTo>
                      <a:pt x="1221" y="288"/>
                    </a:lnTo>
                    <a:lnTo>
                      <a:pt x="1222" y="288"/>
                    </a:lnTo>
                    <a:lnTo>
                      <a:pt x="1224" y="289"/>
                    </a:lnTo>
                    <a:lnTo>
                      <a:pt x="1226" y="288"/>
                    </a:lnTo>
                    <a:lnTo>
                      <a:pt x="1234" y="284"/>
                    </a:lnTo>
                    <a:lnTo>
                      <a:pt x="1242" y="278"/>
                    </a:lnTo>
                    <a:lnTo>
                      <a:pt x="1244" y="275"/>
                    </a:lnTo>
                    <a:lnTo>
                      <a:pt x="1243" y="271"/>
                    </a:lnTo>
                    <a:lnTo>
                      <a:pt x="1241" y="268"/>
                    </a:lnTo>
                    <a:lnTo>
                      <a:pt x="1240" y="266"/>
                    </a:lnTo>
                    <a:lnTo>
                      <a:pt x="1238" y="264"/>
                    </a:lnTo>
                    <a:lnTo>
                      <a:pt x="1234" y="262"/>
                    </a:lnTo>
                    <a:lnTo>
                      <a:pt x="1231" y="261"/>
                    </a:lnTo>
                    <a:lnTo>
                      <a:pt x="1229" y="262"/>
                    </a:lnTo>
                    <a:lnTo>
                      <a:pt x="1228" y="266"/>
                    </a:lnTo>
                    <a:lnTo>
                      <a:pt x="1227" y="268"/>
                    </a:lnTo>
                    <a:close/>
                    <a:moveTo>
                      <a:pt x="1143" y="274"/>
                    </a:moveTo>
                    <a:lnTo>
                      <a:pt x="1147" y="276"/>
                    </a:lnTo>
                    <a:lnTo>
                      <a:pt x="1156" y="277"/>
                    </a:lnTo>
                    <a:lnTo>
                      <a:pt x="1165" y="278"/>
                    </a:lnTo>
                    <a:lnTo>
                      <a:pt x="1172" y="277"/>
                    </a:lnTo>
                    <a:lnTo>
                      <a:pt x="1176" y="276"/>
                    </a:lnTo>
                    <a:lnTo>
                      <a:pt x="1181" y="276"/>
                    </a:lnTo>
                    <a:lnTo>
                      <a:pt x="1183" y="276"/>
                    </a:lnTo>
                    <a:lnTo>
                      <a:pt x="1185" y="274"/>
                    </a:lnTo>
                    <a:lnTo>
                      <a:pt x="1186" y="273"/>
                    </a:lnTo>
                    <a:lnTo>
                      <a:pt x="1186" y="270"/>
                    </a:lnTo>
                    <a:lnTo>
                      <a:pt x="1185" y="267"/>
                    </a:lnTo>
                    <a:lnTo>
                      <a:pt x="1183" y="265"/>
                    </a:lnTo>
                    <a:lnTo>
                      <a:pt x="1180" y="263"/>
                    </a:lnTo>
                    <a:lnTo>
                      <a:pt x="1177" y="263"/>
                    </a:lnTo>
                    <a:lnTo>
                      <a:pt x="1171" y="263"/>
                    </a:lnTo>
                    <a:lnTo>
                      <a:pt x="1166" y="263"/>
                    </a:lnTo>
                    <a:lnTo>
                      <a:pt x="1164" y="263"/>
                    </a:lnTo>
                    <a:lnTo>
                      <a:pt x="1160" y="263"/>
                    </a:lnTo>
                    <a:lnTo>
                      <a:pt x="1156" y="264"/>
                    </a:lnTo>
                    <a:lnTo>
                      <a:pt x="1152" y="266"/>
                    </a:lnTo>
                    <a:lnTo>
                      <a:pt x="1145" y="271"/>
                    </a:lnTo>
                    <a:lnTo>
                      <a:pt x="1143" y="274"/>
                    </a:lnTo>
                    <a:close/>
                    <a:moveTo>
                      <a:pt x="984" y="288"/>
                    </a:moveTo>
                    <a:lnTo>
                      <a:pt x="983" y="290"/>
                    </a:lnTo>
                    <a:lnTo>
                      <a:pt x="982" y="293"/>
                    </a:lnTo>
                    <a:lnTo>
                      <a:pt x="981" y="298"/>
                    </a:lnTo>
                    <a:lnTo>
                      <a:pt x="981" y="303"/>
                    </a:lnTo>
                    <a:lnTo>
                      <a:pt x="981" y="309"/>
                    </a:lnTo>
                    <a:lnTo>
                      <a:pt x="981" y="314"/>
                    </a:lnTo>
                    <a:lnTo>
                      <a:pt x="983" y="318"/>
                    </a:lnTo>
                    <a:lnTo>
                      <a:pt x="985" y="322"/>
                    </a:lnTo>
                    <a:lnTo>
                      <a:pt x="987" y="324"/>
                    </a:lnTo>
                    <a:lnTo>
                      <a:pt x="991" y="325"/>
                    </a:lnTo>
                    <a:lnTo>
                      <a:pt x="995" y="327"/>
                    </a:lnTo>
                    <a:lnTo>
                      <a:pt x="999" y="325"/>
                    </a:lnTo>
                    <a:lnTo>
                      <a:pt x="1003" y="324"/>
                    </a:lnTo>
                    <a:lnTo>
                      <a:pt x="1005" y="323"/>
                    </a:lnTo>
                    <a:lnTo>
                      <a:pt x="1007" y="320"/>
                    </a:lnTo>
                    <a:lnTo>
                      <a:pt x="1006" y="318"/>
                    </a:lnTo>
                    <a:lnTo>
                      <a:pt x="998" y="306"/>
                    </a:lnTo>
                    <a:lnTo>
                      <a:pt x="991" y="297"/>
                    </a:lnTo>
                    <a:lnTo>
                      <a:pt x="987" y="292"/>
                    </a:lnTo>
                    <a:lnTo>
                      <a:pt x="984" y="288"/>
                    </a:lnTo>
                    <a:close/>
                    <a:moveTo>
                      <a:pt x="1115" y="164"/>
                    </a:moveTo>
                    <a:lnTo>
                      <a:pt x="1114" y="167"/>
                    </a:lnTo>
                    <a:lnTo>
                      <a:pt x="1114" y="170"/>
                    </a:lnTo>
                    <a:lnTo>
                      <a:pt x="1115" y="174"/>
                    </a:lnTo>
                    <a:lnTo>
                      <a:pt x="1117" y="177"/>
                    </a:lnTo>
                    <a:lnTo>
                      <a:pt x="1119" y="179"/>
                    </a:lnTo>
                    <a:lnTo>
                      <a:pt x="1121" y="181"/>
                    </a:lnTo>
                    <a:lnTo>
                      <a:pt x="1123" y="181"/>
                    </a:lnTo>
                    <a:lnTo>
                      <a:pt x="1125" y="179"/>
                    </a:lnTo>
                    <a:lnTo>
                      <a:pt x="1131" y="174"/>
                    </a:lnTo>
                    <a:lnTo>
                      <a:pt x="1136" y="167"/>
                    </a:lnTo>
                    <a:lnTo>
                      <a:pt x="1138" y="165"/>
                    </a:lnTo>
                    <a:lnTo>
                      <a:pt x="1140" y="162"/>
                    </a:lnTo>
                    <a:lnTo>
                      <a:pt x="1140" y="160"/>
                    </a:lnTo>
                    <a:lnTo>
                      <a:pt x="1139" y="159"/>
                    </a:lnTo>
                    <a:lnTo>
                      <a:pt x="1136" y="157"/>
                    </a:lnTo>
                    <a:lnTo>
                      <a:pt x="1135" y="156"/>
                    </a:lnTo>
                    <a:lnTo>
                      <a:pt x="1133" y="156"/>
                    </a:lnTo>
                    <a:lnTo>
                      <a:pt x="1130" y="157"/>
                    </a:lnTo>
                    <a:lnTo>
                      <a:pt x="1120" y="161"/>
                    </a:lnTo>
                    <a:lnTo>
                      <a:pt x="1115" y="164"/>
                    </a:lnTo>
                    <a:close/>
                    <a:moveTo>
                      <a:pt x="1124" y="220"/>
                    </a:moveTo>
                    <a:lnTo>
                      <a:pt x="1123" y="223"/>
                    </a:lnTo>
                    <a:lnTo>
                      <a:pt x="1124" y="226"/>
                    </a:lnTo>
                    <a:lnTo>
                      <a:pt x="1125" y="229"/>
                    </a:lnTo>
                    <a:lnTo>
                      <a:pt x="1128" y="231"/>
                    </a:lnTo>
                    <a:lnTo>
                      <a:pt x="1131" y="236"/>
                    </a:lnTo>
                    <a:lnTo>
                      <a:pt x="1132" y="241"/>
                    </a:lnTo>
                    <a:lnTo>
                      <a:pt x="1128" y="245"/>
                    </a:lnTo>
                    <a:lnTo>
                      <a:pt x="1122" y="248"/>
                    </a:lnTo>
                    <a:lnTo>
                      <a:pt x="1121" y="249"/>
                    </a:lnTo>
                    <a:lnTo>
                      <a:pt x="1120" y="252"/>
                    </a:lnTo>
                    <a:lnTo>
                      <a:pt x="1122" y="254"/>
                    </a:lnTo>
                    <a:lnTo>
                      <a:pt x="1125" y="257"/>
                    </a:lnTo>
                    <a:lnTo>
                      <a:pt x="1131" y="261"/>
                    </a:lnTo>
                    <a:lnTo>
                      <a:pt x="1136" y="262"/>
                    </a:lnTo>
                    <a:lnTo>
                      <a:pt x="1139" y="262"/>
                    </a:lnTo>
                    <a:lnTo>
                      <a:pt x="1143" y="261"/>
                    </a:lnTo>
                    <a:lnTo>
                      <a:pt x="1149" y="258"/>
                    </a:lnTo>
                    <a:lnTo>
                      <a:pt x="1153" y="255"/>
                    </a:lnTo>
                    <a:lnTo>
                      <a:pt x="1160" y="252"/>
                    </a:lnTo>
                    <a:lnTo>
                      <a:pt x="1168" y="249"/>
                    </a:lnTo>
                    <a:lnTo>
                      <a:pt x="1173" y="246"/>
                    </a:lnTo>
                    <a:lnTo>
                      <a:pt x="1175" y="244"/>
                    </a:lnTo>
                    <a:lnTo>
                      <a:pt x="1176" y="243"/>
                    </a:lnTo>
                    <a:lnTo>
                      <a:pt x="1176" y="241"/>
                    </a:lnTo>
                    <a:lnTo>
                      <a:pt x="1176" y="240"/>
                    </a:lnTo>
                    <a:lnTo>
                      <a:pt x="1175" y="237"/>
                    </a:lnTo>
                    <a:lnTo>
                      <a:pt x="1172" y="231"/>
                    </a:lnTo>
                    <a:lnTo>
                      <a:pt x="1171" y="225"/>
                    </a:lnTo>
                    <a:lnTo>
                      <a:pt x="1168" y="223"/>
                    </a:lnTo>
                    <a:lnTo>
                      <a:pt x="1165" y="221"/>
                    </a:lnTo>
                    <a:lnTo>
                      <a:pt x="1160" y="219"/>
                    </a:lnTo>
                    <a:lnTo>
                      <a:pt x="1154" y="218"/>
                    </a:lnTo>
                    <a:lnTo>
                      <a:pt x="1139" y="218"/>
                    </a:lnTo>
                    <a:lnTo>
                      <a:pt x="1131" y="218"/>
                    </a:lnTo>
                    <a:lnTo>
                      <a:pt x="1125" y="220"/>
                    </a:lnTo>
                    <a:lnTo>
                      <a:pt x="1124" y="220"/>
                    </a:lnTo>
                    <a:close/>
                    <a:moveTo>
                      <a:pt x="1007" y="218"/>
                    </a:moveTo>
                    <a:lnTo>
                      <a:pt x="1006" y="220"/>
                    </a:lnTo>
                    <a:lnTo>
                      <a:pt x="1005" y="222"/>
                    </a:lnTo>
                    <a:lnTo>
                      <a:pt x="1005" y="223"/>
                    </a:lnTo>
                    <a:lnTo>
                      <a:pt x="1005" y="225"/>
                    </a:lnTo>
                    <a:lnTo>
                      <a:pt x="1007" y="227"/>
                    </a:lnTo>
                    <a:lnTo>
                      <a:pt x="1011" y="228"/>
                    </a:lnTo>
                    <a:lnTo>
                      <a:pt x="1019" y="231"/>
                    </a:lnTo>
                    <a:lnTo>
                      <a:pt x="1024" y="233"/>
                    </a:lnTo>
                    <a:lnTo>
                      <a:pt x="1029" y="235"/>
                    </a:lnTo>
                    <a:lnTo>
                      <a:pt x="1034" y="235"/>
                    </a:lnTo>
                    <a:lnTo>
                      <a:pt x="1036" y="236"/>
                    </a:lnTo>
                    <a:lnTo>
                      <a:pt x="1037" y="237"/>
                    </a:lnTo>
                    <a:lnTo>
                      <a:pt x="1036" y="239"/>
                    </a:lnTo>
                    <a:lnTo>
                      <a:pt x="1032" y="242"/>
                    </a:lnTo>
                    <a:lnTo>
                      <a:pt x="1023" y="247"/>
                    </a:lnTo>
                    <a:lnTo>
                      <a:pt x="1014" y="249"/>
                    </a:lnTo>
                    <a:lnTo>
                      <a:pt x="1012" y="250"/>
                    </a:lnTo>
                    <a:lnTo>
                      <a:pt x="1010" y="251"/>
                    </a:lnTo>
                    <a:lnTo>
                      <a:pt x="1010" y="252"/>
                    </a:lnTo>
                    <a:lnTo>
                      <a:pt x="1010" y="253"/>
                    </a:lnTo>
                    <a:lnTo>
                      <a:pt x="1011" y="255"/>
                    </a:lnTo>
                    <a:lnTo>
                      <a:pt x="1013" y="256"/>
                    </a:lnTo>
                    <a:lnTo>
                      <a:pt x="1015" y="258"/>
                    </a:lnTo>
                    <a:lnTo>
                      <a:pt x="1019" y="258"/>
                    </a:lnTo>
                    <a:lnTo>
                      <a:pt x="1024" y="259"/>
                    </a:lnTo>
                    <a:lnTo>
                      <a:pt x="1030" y="259"/>
                    </a:lnTo>
                    <a:lnTo>
                      <a:pt x="1043" y="254"/>
                    </a:lnTo>
                    <a:lnTo>
                      <a:pt x="1052" y="251"/>
                    </a:lnTo>
                    <a:lnTo>
                      <a:pt x="1056" y="253"/>
                    </a:lnTo>
                    <a:lnTo>
                      <a:pt x="1062" y="254"/>
                    </a:lnTo>
                    <a:lnTo>
                      <a:pt x="1065" y="254"/>
                    </a:lnTo>
                    <a:lnTo>
                      <a:pt x="1067" y="255"/>
                    </a:lnTo>
                    <a:lnTo>
                      <a:pt x="1068" y="256"/>
                    </a:lnTo>
                    <a:lnTo>
                      <a:pt x="1068" y="258"/>
                    </a:lnTo>
                    <a:lnTo>
                      <a:pt x="1067" y="262"/>
                    </a:lnTo>
                    <a:lnTo>
                      <a:pt x="1066" y="264"/>
                    </a:lnTo>
                    <a:lnTo>
                      <a:pt x="1066" y="266"/>
                    </a:lnTo>
                    <a:lnTo>
                      <a:pt x="1067" y="267"/>
                    </a:lnTo>
                    <a:lnTo>
                      <a:pt x="1070" y="268"/>
                    </a:lnTo>
                    <a:lnTo>
                      <a:pt x="1074" y="268"/>
                    </a:lnTo>
                    <a:lnTo>
                      <a:pt x="1081" y="270"/>
                    </a:lnTo>
                    <a:lnTo>
                      <a:pt x="1086" y="271"/>
                    </a:lnTo>
                    <a:lnTo>
                      <a:pt x="1088" y="270"/>
                    </a:lnTo>
                    <a:lnTo>
                      <a:pt x="1089" y="269"/>
                    </a:lnTo>
                    <a:lnTo>
                      <a:pt x="1091" y="267"/>
                    </a:lnTo>
                    <a:lnTo>
                      <a:pt x="1092" y="264"/>
                    </a:lnTo>
                    <a:lnTo>
                      <a:pt x="1094" y="261"/>
                    </a:lnTo>
                    <a:lnTo>
                      <a:pt x="1095" y="256"/>
                    </a:lnTo>
                    <a:lnTo>
                      <a:pt x="1095" y="253"/>
                    </a:lnTo>
                    <a:lnTo>
                      <a:pt x="1095" y="249"/>
                    </a:lnTo>
                    <a:lnTo>
                      <a:pt x="1095" y="243"/>
                    </a:lnTo>
                    <a:lnTo>
                      <a:pt x="1093" y="235"/>
                    </a:lnTo>
                    <a:lnTo>
                      <a:pt x="1092" y="232"/>
                    </a:lnTo>
                    <a:lnTo>
                      <a:pt x="1089" y="230"/>
                    </a:lnTo>
                    <a:lnTo>
                      <a:pt x="1084" y="227"/>
                    </a:lnTo>
                    <a:lnTo>
                      <a:pt x="1078" y="225"/>
                    </a:lnTo>
                    <a:lnTo>
                      <a:pt x="1066" y="222"/>
                    </a:lnTo>
                    <a:lnTo>
                      <a:pt x="1054" y="219"/>
                    </a:lnTo>
                    <a:lnTo>
                      <a:pt x="1043" y="212"/>
                    </a:lnTo>
                    <a:lnTo>
                      <a:pt x="1036" y="208"/>
                    </a:lnTo>
                    <a:lnTo>
                      <a:pt x="1033" y="208"/>
                    </a:lnTo>
                    <a:lnTo>
                      <a:pt x="1029" y="209"/>
                    </a:lnTo>
                    <a:lnTo>
                      <a:pt x="1023" y="210"/>
                    </a:lnTo>
                    <a:lnTo>
                      <a:pt x="1018" y="213"/>
                    </a:lnTo>
                    <a:lnTo>
                      <a:pt x="1009" y="218"/>
                    </a:lnTo>
                    <a:lnTo>
                      <a:pt x="1007" y="218"/>
                    </a:lnTo>
                    <a:close/>
                    <a:moveTo>
                      <a:pt x="875" y="290"/>
                    </a:moveTo>
                    <a:lnTo>
                      <a:pt x="877" y="291"/>
                    </a:lnTo>
                    <a:lnTo>
                      <a:pt x="880" y="292"/>
                    </a:lnTo>
                    <a:lnTo>
                      <a:pt x="884" y="291"/>
                    </a:lnTo>
                    <a:lnTo>
                      <a:pt x="889" y="291"/>
                    </a:lnTo>
                    <a:lnTo>
                      <a:pt x="897" y="289"/>
                    </a:lnTo>
                    <a:lnTo>
                      <a:pt x="901" y="288"/>
                    </a:lnTo>
                    <a:lnTo>
                      <a:pt x="905" y="288"/>
                    </a:lnTo>
                    <a:lnTo>
                      <a:pt x="915" y="287"/>
                    </a:lnTo>
                    <a:lnTo>
                      <a:pt x="919" y="286"/>
                    </a:lnTo>
                    <a:lnTo>
                      <a:pt x="924" y="284"/>
                    </a:lnTo>
                    <a:lnTo>
                      <a:pt x="927" y="283"/>
                    </a:lnTo>
                    <a:lnTo>
                      <a:pt x="930" y="280"/>
                    </a:lnTo>
                    <a:lnTo>
                      <a:pt x="931" y="275"/>
                    </a:lnTo>
                    <a:lnTo>
                      <a:pt x="931" y="269"/>
                    </a:lnTo>
                    <a:lnTo>
                      <a:pt x="930" y="266"/>
                    </a:lnTo>
                    <a:lnTo>
                      <a:pt x="928" y="264"/>
                    </a:lnTo>
                    <a:lnTo>
                      <a:pt x="926" y="262"/>
                    </a:lnTo>
                    <a:lnTo>
                      <a:pt x="923" y="262"/>
                    </a:lnTo>
                    <a:lnTo>
                      <a:pt x="918" y="265"/>
                    </a:lnTo>
                    <a:lnTo>
                      <a:pt x="908" y="272"/>
                    </a:lnTo>
                    <a:lnTo>
                      <a:pt x="897" y="278"/>
                    </a:lnTo>
                    <a:lnTo>
                      <a:pt x="887" y="284"/>
                    </a:lnTo>
                    <a:lnTo>
                      <a:pt x="878" y="289"/>
                    </a:lnTo>
                    <a:lnTo>
                      <a:pt x="875" y="290"/>
                    </a:lnTo>
                    <a:close/>
                    <a:moveTo>
                      <a:pt x="840" y="320"/>
                    </a:moveTo>
                    <a:lnTo>
                      <a:pt x="847" y="320"/>
                    </a:lnTo>
                    <a:lnTo>
                      <a:pt x="855" y="318"/>
                    </a:lnTo>
                    <a:lnTo>
                      <a:pt x="858" y="318"/>
                    </a:lnTo>
                    <a:lnTo>
                      <a:pt x="861" y="318"/>
                    </a:lnTo>
                    <a:lnTo>
                      <a:pt x="864" y="319"/>
                    </a:lnTo>
                    <a:lnTo>
                      <a:pt x="862" y="321"/>
                    </a:lnTo>
                    <a:lnTo>
                      <a:pt x="862" y="324"/>
                    </a:lnTo>
                    <a:lnTo>
                      <a:pt x="864" y="327"/>
                    </a:lnTo>
                    <a:lnTo>
                      <a:pt x="866" y="329"/>
                    </a:lnTo>
                    <a:lnTo>
                      <a:pt x="869" y="330"/>
                    </a:lnTo>
                    <a:lnTo>
                      <a:pt x="876" y="332"/>
                    </a:lnTo>
                    <a:lnTo>
                      <a:pt x="882" y="333"/>
                    </a:lnTo>
                    <a:lnTo>
                      <a:pt x="886" y="332"/>
                    </a:lnTo>
                    <a:lnTo>
                      <a:pt x="890" y="329"/>
                    </a:lnTo>
                    <a:lnTo>
                      <a:pt x="895" y="323"/>
                    </a:lnTo>
                    <a:lnTo>
                      <a:pt x="901" y="318"/>
                    </a:lnTo>
                    <a:lnTo>
                      <a:pt x="911" y="308"/>
                    </a:lnTo>
                    <a:lnTo>
                      <a:pt x="915" y="303"/>
                    </a:lnTo>
                    <a:lnTo>
                      <a:pt x="918" y="301"/>
                    </a:lnTo>
                    <a:lnTo>
                      <a:pt x="925" y="298"/>
                    </a:lnTo>
                    <a:lnTo>
                      <a:pt x="930" y="296"/>
                    </a:lnTo>
                    <a:lnTo>
                      <a:pt x="932" y="294"/>
                    </a:lnTo>
                    <a:lnTo>
                      <a:pt x="934" y="292"/>
                    </a:lnTo>
                    <a:lnTo>
                      <a:pt x="933" y="291"/>
                    </a:lnTo>
                    <a:lnTo>
                      <a:pt x="930" y="290"/>
                    </a:lnTo>
                    <a:lnTo>
                      <a:pt x="924" y="290"/>
                    </a:lnTo>
                    <a:lnTo>
                      <a:pt x="916" y="291"/>
                    </a:lnTo>
                    <a:lnTo>
                      <a:pt x="900" y="297"/>
                    </a:lnTo>
                    <a:lnTo>
                      <a:pt x="888" y="305"/>
                    </a:lnTo>
                    <a:lnTo>
                      <a:pt x="881" y="309"/>
                    </a:lnTo>
                    <a:lnTo>
                      <a:pt x="880" y="310"/>
                    </a:lnTo>
                    <a:lnTo>
                      <a:pt x="878" y="311"/>
                    </a:lnTo>
                    <a:lnTo>
                      <a:pt x="877" y="311"/>
                    </a:lnTo>
                    <a:lnTo>
                      <a:pt x="875" y="310"/>
                    </a:lnTo>
                    <a:lnTo>
                      <a:pt x="867" y="311"/>
                    </a:lnTo>
                    <a:lnTo>
                      <a:pt x="855" y="315"/>
                    </a:lnTo>
                    <a:lnTo>
                      <a:pt x="845" y="318"/>
                    </a:lnTo>
                    <a:lnTo>
                      <a:pt x="840" y="320"/>
                    </a:lnTo>
                    <a:close/>
                    <a:moveTo>
                      <a:pt x="718" y="439"/>
                    </a:moveTo>
                    <a:lnTo>
                      <a:pt x="714" y="441"/>
                    </a:lnTo>
                    <a:lnTo>
                      <a:pt x="707" y="444"/>
                    </a:lnTo>
                    <a:lnTo>
                      <a:pt x="704" y="446"/>
                    </a:lnTo>
                    <a:lnTo>
                      <a:pt x="702" y="447"/>
                    </a:lnTo>
                    <a:lnTo>
                      <a:pt x="699" y="448"/>
                    </a:lnTo>
                    <a:lnTo>
                      <a:pt x="698" y="447"/>
                    </a:lnTo>
                    <a:lnTo>
                      <a:pt x="697" y="446"/>
                    </a:lnTo>
                    <a:lnTo>
                      <a:pt x="696" y="443"/>
                    </a:lnTo>
                    <a:lnTo>
                      <a:pt x="697" y="439"/>
                    </a:lnTo>
                    <a:lnTo>
                      <a:pt x="698" y="434"/>
                    </a:lnTo>
                    <a:lnTo>
                      <a:pt x="701" y="427"/>
                    </a:lnTo>
                    <a:lnTo>
                      <a:pt x="705" y="423"/>
                    </a:lnTo>
                    <a:lnTo>
                      <a:pt x="718" y="413"/>
                    </a:lnTo>
                    <a:lnTo>
                      <a:pt x="742" y="395"/>
                    </a:lnTo>
                    <a:lnTo>
                      <a:pt x="766" y="375"/>
                    </a:lnTo>
                    <a:lnTo>
                      <a:pt x="781" y="363"/>
                    </a:lnTo>
                    <a:lnTo>
                      <a:pt x="787" y="358"/>
                    </a:lnTo>
                    <a:lnTo>
                      <a:pt x="798" y="351"/>
                    </a:lnTo>
                    <a:lnTo>
                      <a:pt x="808" y="344"/>
                    </a:lnTo>
                    <a:lnTo>
                      <a:pt x="816" y="339"/>
                    </a:lnTo>
                    <a:lnTo>
                      <a:pt x="822" y="335"/>
                    </a:lnTo>
                    <a:lnTo>
                      <a:pt x="826" y="332"/>
                    </a:lnTo>
                    <a:lnTo>
                      <a:pt x="828" y="330"/>
                    </a:lnTo>
                    <a:lnTo>
                      <a:pt x="829" y="330"/>
                    </a:lnTo>
                    <a:lnTo>
                      <a:pt x="829" y="331"/>
                    </a:lnTo>
                    <a:lnTo>
                      <a:pt x="829" y="333"/>
                    </a:lnTo>
                    <a:lnTo>
                      <a:pt x="828" y="338"/>
                    </a:lnTo>
                    <a:lnTo>
                      <a:pt x="826" y="344"/>
                    </a:lnTo>
                    <a:lnTo>
                      <a:pt x="824" y="349"/>
                    </a:lnTo>
                    <a:lnTo>
                      <a:pt x="822" y="352"/>
                    </a:lnTo>
                    <a:lnTo>
                      <a:pt x="812" y="360"/>
                    </a:lnTo>
                    <a:lnTo>
                      <a:pt x="804" y="371"/>
                    </a:lnTo>
                    <a:lnTo>
                      <a:pt x="803" y="375"/>
                    </a:lnTo>
                    <a:lnTo>
                      <a:pt x="802" y="380"/>
                    </a:lnTo>
                    <a:lnTo>
                      <a:pt x="800" y="386"/>
                    </a:lnTo>
                    <a:lnTo>
                      <a:pt x="793" y="393"/>
                    </a:lnTo>
                    <a:lnTo>
                      <a:pt x="787" y="400"/>
                    </a:lnTo>
                    <a:lnTo>
                      <a:pt x="782" y="406"/>
                    </a:lnTo>
                    <a:lnTo>
                      <a:pt x="779" y="408"/>
                    </a:lnTo>
                    <a:lnTo>
                      <a:pt x="777" y="410"/>
                    </a:lnTo>
                    <a:lnTo>
                      <a:pt x="774" y="410"/>
                    </a:lnTo>
                    <a:lnTo>
                      <a:pt x="773" y="410"/>
                    </a:lnTo>
                    <a:lnTo>
                      <a:pt x="772" y="405"/>
                    </a:lnTo>
                    <a:lnTo>
                      <a:pt x="773" y="397"/>
                    </a:lnTo>
                    <a:lnTo>
                      <a:pt x="773" y="394"/>
                    </a:lnTo>
                    <a:lnTo>
                      <a:pt x="772" y="393"/>
                    </a:lnTo>
                    <a:lnTo>
                      <a:pt x="771" y="393"/>
                    </a:lnTo>
                    <a:lnTo>
                      <a:pt x="768" y="395"/>
                    </a:lnTo>
                    <a:lnTo>
                      <a:pt x="757" y="407"/>
                    </a:lnTo>
                    <a:lnTo>
                      <a:pt x="744" y="423"/>
                    </a:lnTo>
                    <a:lnTo>
                      <a:pt x="738" y="431"/>
                    </a:lnTo>
                    <a:lnTo>
                      <a:pt x="732" y="440"/>
                    </a:lnTo>
                    <a:lnTo>
                      <a:pt x="726" y="445"/>
                    </a:lnTo>
                    <a:lnTo>
                      <a:pt x="722" y="448"/>
                    </a:lnTo>
                    <a:lnTo>
                      <a:pt x="720" y="448"/>
                    </a:lnTo>
                    <a:lnTo>
                      <a:pt x="720" y="446"/>
                    </a:lnTo>
                    <a:lnTo>
                      <a:pt x="721" y="444"/>
                    </a:lnTo>
                    <a:lnTo>
                      <a:pt x="721" y="442"/>
                    </a:lnTo>
                    <a:lnTo>
                      <a:pt x="724" y="437"/>
                    </a:lnTo>
                    <a:lnTo>
                      <a:pt x="725" y="434"/>
                    </a:lnTo>
                    <a:lnTo>
                      <a:pt x="722" y="437"/>
                    </a:lnTo>
                    <a:lnTo>
                      <a:pt x="718" y="439"/>
                    </a:lnTo>
                    <a:close/>
                    <a:moveTo>
                      <a:pt x="748" y="451"/>
                    </a:moveTo>
                    <a:lnTo>
                      <a:pt x="755" y="448"/>
                    </a:lnTo>
                    <a:lnTo>
                      <a:pt x="760" y="444"/>
                    </a:lnTo>
                    <a:lnTo>
                      <a:pt x="763" y="441"/>
                    </a:lnTo>
                    <a:lnTo>
                      <a:pt x="765" y="439"/>
                    </a:lnTo>
                    <a:lnTo>
                      <a:pt x="766" y="435"/>
                    </a:lnTo>
                    <a:lnTo>
                      <a:pt x="767" y="431"/>
                    </a:lnTo>
                    <a:lnTo>
                      <a:pt x="769" y="425"/>
                    </a:lnTo>
                    <a:lnTo>
                      <a:pt x="770" y="419"/>
                    </a:lnTo>
                    <a:lnTo>
                      <a:pt x="771" y="418"/>
                    </a:lnTo>
                    <a:lnTo>
                      <a:pt x="771" y="417"/>
                    </a:lnTo>
                    <a:lnTo>
                      <a:pt x="770" y="417"/>
                    </a:lnTo>
                    <a:lnTo>
                      <a:pt x="769" y="418"/>
                    </a:lnTo>
                    <a:lnTo>
                      <a:pt x="756" y="429"/>
                    </a:lnTo>
                    <a:lnTo>
                      <a:pt x="744" y="440"/>
                    </a:lnTo>
                    <a:lnTo>
                      <a:pt x="742" y="448"/>
                    </a:lnTo>
                    <a:lnTo>
                      <a:pt x="743" y="453"/>
                    </a:lnTo>
                    <a:lnTo>
                      <a:pt x="746" y="451"/>
                    </a:lnTo>
                    <a:lnTo>
                      <a:pt x="748" y="451"/>
                    </a:lnTo>
                    <a:close/>
                    <a:moveTo>
                      <a:pt x="766" y="454"/>
                    </a:moveTo>
                    <a:lnTo>
                      <a:pt x="768" y="456"/>
                    </a:lnTo>
                    <a:lnTo>
                      <a:pt x="771" y="457"/>
                    </a:lnTo>
                    <a:lnTo>
                      <a:pt x="776" y="459"/>
                    </a:lnTo>
                    <a:lnTo>
                      <a:pt x="782" y="460"/>
                    </a:lnTo>
                    <a:lnTo>
                      <a:pt x="787" y="461"/>
                    </a:lnTo>
                    <a:lnTo>
                      <a:pt x="792" y="461"/>
                    </a:lnTo>
                    <a:lnTo>
                      <a:pt x="798" y="460"/>
                    </a:lnTo>
                    <a:lnTo>
                      <a:pt x="801" y="459"/>
                    </a:lnTo>
                    <a:lnTo>
                      <a:pt x="806" y="453"/>
                    </a:lnTo>
                    <a:lnTo>
                      <a:pt x="815" y="446"/>
                    </a:lnTo>
                    <a:lnTo>
                      <a:pt x="820" y="442"/>
                    </a:lnTo>
                    <a:lnTo>
                      <a:pt x="823" y="440"/>
                    </a:lnTo>
                    <a:lnTo>
                      <a:pt x="826" y="439"/>
                    </a:lnTo>
                    <a:lnTo>
                      <a:pt x="827" y="439"/>
                    </a:lnTo>
                    <a:lnTo>
                      <a:pt x="828" y="440"/>
                    </a:lnTo>
                    <a:lnTo>
                      <a:pt x="830" y="441"/>
                    </a:lnTo>
                    <a:lnTo>
                      <a:pt x="833" y="441"/>
                    </a:lnTo>
                    <a:lnTo>
                      <a:pt x="836" y="441"/>
                    </a:lnTo>
                    <a:lnTo>
                      <a:pt x="844" y="441"/>
                    </a:lnTo>
                    <a:lnTo>
                      <a:pt x="849" y="441"/>
                    </a:lnTo>
                    <a:lnTo>
                      <a:pt x="854" y="440"/>
                    </a:lnTo>
                    <a:lnTo>
                      <a:pt x="860" y="440"/>
                    </a:lnTo>
                    <a:lnTo>
                      <a:pt x="862" y="440"/>
                    </a:lnTo>
                    <a:lnTo>
                      <a:pt x="865" y="440"/>
                    </a:lnTo>
                    <a:lnTo>
                      <a:pt x="866" y="440"/>
                    </a:lnTo>
                    <a:lnTo>
                      <a:pt x="865" y="442"/>
                    </a:lnTo>
                    <a:lnTo>
                      <a:pt x="857" y="445"/>
                    </a:lnTo>
                    <a:lnTo>
                      <a:pt x="848" y="447"/>
                    </a:lnTo>
                    <a:lnTo>
                      <a:pt x="843" y="449"/>
                    </a:lnTo>
                    <a:lnTo>
                      <a:pt x="838" y="451"/>
                    </a:lnTo>
                    <a:lnTo>
                      <a:pt x="834" y="453"/>
                    </a:lnTo>
                    <a:lnTo>
                      <a:pt x="831" y="456"/>
                    </a:lnTo>
                    <a:lnTo>
                      <a:pt x="824" y="463"/>
                    </a:lnTo>
                    <a:lnTo>
                      <a:pt x="812" y="469"/>
                    </a:lnTo>
                    <a:lnTo>
                      <a:pt x="803" y="475"/>
                    </a:lnTo>
                    <a:lnTo>
                      <a:pt x="800" y="479"/>
                    </a:lnTo>
                    <a:lnTo>
                      <a:pt x="801" y="481"/>
                    </a:lnTo>
                    <a:lnTo>
                      <a:pt x="803" y="482"/>
                    </a:lnTo>
                    <a:lnTo>
                      <a:pt x="805" y="483"/>
                    </a:lnTo>
                    <a:lnTo>
                      <a:pt x="809" y="483"/>
                    </a:lnTo>
                    <a:lnTo>
                      <a:pt x="816" y="484"/>
                    </a:lnTo>
                    <a:lnTo>
                      <a:pt x="825" y="482"/>
                    </a:lnTo>
                    <a:lnTo>
                      <a:pt x="831" y="482"/>
                    </a:lnTo>
                    <a:lnTo>
                      <a:pt x="838" y="481"/>
                    </a:lnTo>
                    <a:lnTo>
                      <a:pt x="842" y="479"/>
                    </a:lnTo>
                    <a:lnTo>
                      <a:pt x="846" y="477"/>
                    </a:lnTo>
                    <a:lnTo>
                      <a:pt x="852" y="473"/>
                    </a:lnTo>
                    <a:lnTo>
                      <a:pt x="858" y="468"/>
                    </a:lnTo>
                    <a:lnTo>
                      <a:pt x="872" y="455"/>
                    </a:lnTo>
                    <a:lnTo>
                      <a:pt x="883" y="444"/>
                    </a:lnTo>
                    <a:lnTo>
                      <a:pt x="889" y="441"/>
                    </a:lnTo>
                    <a:lnTo>
                      <a:pt x="893" y="438"/>
                    </a:lnTo>
                    <a:lnTo>
                      <a:pt x="896" y="437"/>
                    </a:lnTo>
                    <a:lnTo>
                      <a:pt x="899" y="437"/>
                    </a:lnTo>
                    <a:lnTo>
                      <a:pt x="903" y="440"/>
                    </a:lnTo>
                    <a:lnTo>
                      <a:pt x="904" y="444"/>
                    </a:lnTo>
                    <a:lnTo>
                      <a:pt x="905" y="445"/>
                    </a:lnTo>
                    <a:lnTo>
                      <a:pt x="908" y="445"/>
                    </a:lnTo>
                    <a:lnTo>
                      <a:pt x="909" y="445"/>
                    </a:lnTo>
                    <a:lnTo>
                      <a:pt x="912" y="444"/>
                    </a:lnTo>
                    <a:lnTo>
                      <a:pt x="918" y="441"/>
                    </a:lnTo>
                    <a:lnTo>
                      <a:pt x="924" y="440"/>
                    </a:lnTo>
                    <a:lnTo>
                      <a:pt x="930" y="440"/>
                    </a:lnTo>
                    <a:lnTo>
                      <a:pt x="932" y="440"/>
                    </a:lnTo>
                    <a:lnTo>
                      <a:pt x="932" y="441"/>
                    </a:lnTo>
                    <a:lnTo>
                      <a:pt x="934" y="442"/>
                    </a:lnTo>
                    <a:lnTo>
                      <a:pt x="935" y="443"/>
                    </a:lnTo>
                    <a:lnTo>
                      <a:pt x="936" y="442"/>
                    </a:lnTo>
                    <a:lnTo>
                      <a:pt x="938" y="441"/>
                    </a:lnTo>
                    <a:lnTo>
                      <a:pt x="940" y="438"/>
                    </a:lnTo>
                    <a:lnTo>
                      <a:pt x="949" y="424"/>
                    </a:lnTo>
                    <a:lnTo>
                      <a:pt x="954" y="418"/>
                    </a:lnTo>
                    <a:lnTo>
                      <a:pt x="956" y="416"/>
                    </a:lnTo>
                    <a:lnTo>
                      <a:pt x="961" y="410"/>
                    </a:lnTo>
                    <a:lnTo>
                      <a:pt x="963" y="407"/>
                    </a:lnTo>
                    <a:lnTo>
                      <a:pt x="965" y="403"/>
                    </a:lnTo>
                    <a:lnTo>
                      <a:pt x="966" y="399"/>
                    </a:lnTo>
                    <a:lnTo>
                      <a:pt x="965" y="395"/>
                    </a:lnTo>
                    <a:lnTo>
                      <a:pt x="964" y="386"/>
                    </a:lnTo>
                    <a:lnTo>
                      <a:pt x="962" y="378"/>
                    </a:lnTo>
                    <a:lnTo>
                      <a:pt x="961" y="376"/>
                    </a:lnTo>
                    <a:lnTo>
                      <a:pt x="958" y="375"/>
                    </a:lnTo>
                    <a:lnTo>
                      <a:pt x="955" y="377"/>
                    </a:lnTo>
                    <a:lnTo>
                      <a:pt x="949" y="380"/>
                    </a:lnTo>
                    <a:lnTo>
                      <a:pt x="941" y="388"/>
                    </a:lnTo>
                    <a:lnTo>
                      <a:pt x="937" y="391"/>
                    </a:lnTo>
                    <a:lnTo>
                      <a:pt x="934" y="391"/>
                    </a:lnTo>
                    <a:lnTo>
                      <a:pt x="932" y="388"/>
                    </a:lnTo>
                    <a:lnTo>
                      <a:pt x="928" y="384"/>
                    </a:lnTo>
                    <a:lnTo>
                      <a:pt x="924" y="379"/>
                    </a:lnTo>
                    <a:lnTo>
                      <a:pt x="923" y="377"/>
                    </a:lnTo>
                    <a:lnTo>
                      <a:pt x="922" y="374"/>
                    </a:lnTo>
                    <a:lnTo>
                      <a:pt x="921" y="372"/>
                    </a:lnTo>
                    <a:lnTo>
                      <a:pt x="922" y="371"/>
                    </a:lnTo>
                    <a:lnTo>
                      <a:pt x="925" y="365"/>
                    </a:lnTo>
                    <a:lnTo>
                      <a:pt x="928" y="361"/>
                    </a:lnTo>
                    <a:lnTo>
                      <a:pt x="930" y="358"/>
                    </a:lnTo>
                    <a:lnTo>
                      <a:pt x="930" y="356"/>
                    </a:lnTo>
                    <a:lnTo>
                      <a:pt x="930" y="354"/>
                    </a:lnTo>
                    <a:lnTo>
                      <a:pt x="927" y="352"/>
                    </a:lnTo>
                    <a:lnTo>
                      <a:pt x="925" y="351"/>
                    </a:lnTo>
                    <a:lnTo>
                      <a:pt x="924" y="350"/>
                    </a:lnTo>
                    <a:lnTo>
                      <a:pt x="922" y="350"/>
                    </a:lnTo>
                    <a:lnTo>
                      <a:pt x="920" y="351"/>
                    </a:lnTo>
                    <a:lnTo>
                      <a:pt x="915" y="354"/>
                    </a:lnTo>
                    <a:lnTo>
                      <a:pt x="906" y="359"/>
                    </a:lnTo>
                    <a:lnTo>
                      <a:pt x="902" y="361"/>
                    </a:lnTo>
                    <a:lnTo>
                      <a:pt x="899" y="364"/>
                    </a:lnTo>
                    <a:lnTo>
                      <a:pt x="897" y="367"/>
                    </a:lnTo>
                    <a:lnTo>
                      <a:pt x="895" y="371"/>
                    </a:lnTo>
                    <a:lnTo>
                      <a:pt x="894" y="374"/>
                    </a:lnTo>
                    <a:lnTo>
                      <a:pt x="894" y="376"/>
                    </a:lnTo>
                    <a:lnTo>
                      <a:pt x="897" y="381"/>
                    </a:lnTo>
                    <a:lnTo>
                      <a:pt x="900" y="390"/>
                    </a:lnTo>
                    <a:lnTo>
                      <a:pt x="898" y="394"/>
                    </a:lnTo>
                    <a:lnTo>
                      <a:pt x="895" y="397"/>
                    </a:lnTo>
                    <a:lnTo>
                      <a:pt x="893" y="398"/>
                    </a:lnTo>
                    <a:lnTo>
                      <a:pt x="892" y="399"/>
                    </a:lnTo>
                    <a:lnTo>
                      <a:pt x="892" y="400"/>
                    </a:lnTo>
                    <a:lnTo>
                      <a:pt x="893" y="401"/>
                    </a:lnTo>
                    <a:lnTo>
                      <a:pt x="896" y="402"/>
                    </a:lnTo>
                    <a:lnTo>
                      <a:pt x="900" y="402"/>
                    </a:lnTo>
                    <a:lnTo>
                      <a:pt x="902" y="402"/>
                    </a:lnTo>
                    <a:lnTo>
                      <a:pt x="903" y="403"/>
                    </a:lnTo>
                    <a:lnTo>
                      <a:pt x="903" y="404"/>
                    </a:lnTo>
                    <a:lnTo>
                      <a:pt x="902" y="406"/>
                    </a:lnTo>
                    <a:lnTo>
                      <a:pt x="899" y="412"/>
                    </a:lnTo>
                    <a:lnTo>
                      <a:pt x="895" y="420"/>
                    </a:lnTo>
                    <a:lnTo>
                      <a:pt x="892" y="422"/>
                    </a:lnTo>
                    <a:lnTo>
                      <a:pt x="890" y="424"/>
                    </a:lnTo>
                    <a:lnTo>
                      <a:pt x="888" y="425"/>
                    </a:lnTo>
                    <a:lnTo>
                      <a:pt x="886" y="425"/>
                    </a:lnTo>
                    <a:lnTo>
                      <a:pt x="872" y="419"/>
                    </a:lnTo>
                    <a:lnTo>
                      <a:pt x="861" y="413"/>
                    </a:lnTo>
                    <a:lnTo>
                      <a:pt x="860" y="409"/>
                    </a:lnTo>
                    <a:lnTo>
                      <a:pt x="859" y="403"/>
                    </a:lnTo>
                    <a:lnTo>
                      <a:pt x="858" y="400"/>
                    </a:lnTo>
                    <a:lnTo>
                      <a:pt x="856" y="398"/>
                    </a:lnTo>
                    <a:lnTo>
                      <a:pt x="854" y="395"/>
                    </a:lnTo>
                    <a:lnTo>
                      <a:pt x="851" y="394"/>
                    </a:lnTo>
                    <a:lnTo>
                      <a:pt x="844" y="389"/>
                    </a:lnTo>
                    <a:lnTo>
                      <a:pt x="838" y="384"/>
                    </a:lnTo>
                    <a:lnTo>
                      <a:pt x="835" y="382"/>
                    </a:lnTo>
                    <a:lnTo>
                      <a:pt x="832" y="382"/>
                    </a:lnTo>
                    <a:lnTo>
                      <a:pt x="829" y="383"/>
                    </a:lnTo>
                    <a:lnTo>
                      <a:pt x="825" y="386"/>
                    </a:lnTo>
                    <a:lnTo>
                      <a:pt x="809" y="399"/>
                    </a:lnTo>
                    <a:lnTo>
                      <a:pt x="803" y="406"/>
                    </a:lnTo>
                    <a:lnTo>
                      <a:pt x="799" y="409"/>
                    </a:lnTo>
                    <a:lnTo>
                      <a:pt x="792" y="411"/>
                    </a:lnTo>
                    <a:lnTo>
                      <a:pt x="789" y="412"/>
                    </a:lnTo>
                    <a:lnTo>
                      <a:pt x="787" y="415"/>
                    </a:lnTo>
                    <a:lnTo>
                      <a:pt x="786" y="417"/>
                    </a:lnTo>
                    <a:lnTo>
                      <a:pt x="787" y="420"/>
                    </a:lnTo>
                    <a:lnTo>
                      <a:pt x="790" y="423"/>
                    </a:lnTo>
                    <a:lnTo>
                      <a:pt x="793" y="425"/>
                    </a:lnTo>
                    <a:lnTo>
                      <a:pt x="796" y="426"/>
                    </a:lnTo>
                    <a:lnTo>
                      <a:pt x="800" y="427"/>
                    </a:lnTo>
                    <a:lnTo>
                      <a:pt x="803" y="428"/>
                    </a:lnTo>
                    <a:lnTo>
                      <a:pt x="804" y="429"/>
                    </a:lnTo>
                    <a:lnTo>
                      <a:pt x="804" y="429"/>
                    </a:lnTo>
                    <a:lnTo>
                      <a:pt x="802" y="431"/>
                    </a:lnTo>
                    <a:lnTo>
                      <a:pt x="789" y="438"/>
                    </a:lnTo>
                    <a:lnTo>
                      <a:pt x="779" y="443"/>
                    </a:lnTo>
                    <a:lnTo>
                      <a:pt x="770" y="450"/>
                    </a:lnTo>
                    <a:lnTo>
                      <a:pt x="766" y="454"/>
                    </a:lnTo>
                    <a:close/>
                    <a:moveTo>
                      <a:pt x="986" y="531"/>
                    </a:moveTo>
                    <a:lnTo>
                      <a:pt x="988" y="536"/>
                    </a:lnTo>
                    <a:lnTo>
                      <a:pt x="993" y="542"/>
                    </a:lnTo>
                    <a:lnTo>
                      <a:pt x="1002" y="549"/>
                    </a:lnTo>
                    <a:lnTo>
                      <a:pt x="1010" y="556"/>
                    </a:lnTo>
                    <a:lnTo>
                      <a:pt x="1019" y="562"/>
                    </a:lnTo>
                    <a:lnTo>
                      <a:pt x="1026" y="570"/>
                    </a:lnTo>
                    <a:lnTo>
                      <a:pt x="1032" y="575"/>
                    </a:lnTo>
                    <a:lnTo>
                      <a:pt x="1035" y="580"/>
                    </a:lnTo>
                    <a:lnTo>
                      <a:pt x="1036" y="588"/>
                    </a:lnTo>
                    <a:lnTo>
                      <a:pt x="1037" y="597"/>
                    </a:lnTo>
                    <a:lnTo>
                      <a:pt x="1037" y="600"/>
                    </a:lnTo>
                    <a:lnTo>
                      <a:pt x="1039" y="603"/>
                    </a:lnTo>
                    <a:lnTo>
                      <a:pt x="1041" y="604"/>
                    </a:lnTo>
                    <a:lnTo>
                      <a:pt x="1043" y="604"/>
                    </a:lnTo>
                    <a:lnTo>
                      <a:pt x="1050" y="601"/>
                    </a:lnTo>
                    <a:lnTo>
                      <a:pt x="1059" y="595"/>
                    </a:lnTo>
                    <a:lnTo>
                      <a:pt x="1069" y="586"/>
                    </a:lnTo>
                    <a:lnTo>
                      <a:pt x="1074" y="581"/>
                    </a:lnTo>
                    <a:lnTo>
                      <a:pt x="1079" y="574"/>
                    </a:lnTo>
                    <a:lnTo>
                      <a:pt x="1086" y="561"/>
                    </a:lnTo>
                    <a:lnTo>
                      <a:pt x="1089" y="554"/>
                    </a:lnTo>
                    <a:lnTo>
                      <a:pt x="1091" y="548"/>
                    </a:lnTo>
                    <a:lnTo>
                      <a:pt x="1091" y="541"/>
                    </a:lnTo>
                    <a:lnTo>
                      <a:pt x="1090" y="536"/>
                    </a:lnTo>
                    <a:lnTo>
                      <a:pt x="1086" y="532"/>
                    </a:lnTo>
                    <a:lnTo>
                      <a:pt x="1081" y="529"/>
                    </a:lnTo>
                    <a:lnTo>
                      <a:pt x="1076" y="526"/>
                    </a:lnTo>
                    <a:lnTo>
                      <a:pt x="1071" y="523"/>
                    </a:lnTo>
                    <a:lnTo>
                      <a:pt x="1067" y="520"/>
                    </a:lnTo>
                    <a:lnTo>
                      <a:pt x="1065" y="518"/>
                    </a:lnTo>
                    <a:lnTo>
                      <a:pt x="1064" y="516"/>
                    </a:lnTo>
                    <a:lnTo>
                      <a:pt x="1064" y="515"/>
                    </a:lnTo>
                    <a:lnTo>
                      <a:pt x="1064" y="514"/>
                    </a:lnTo>
                    <a:lnTo>
                      <a:pt x="1065" y="512"/>
                    </a:lnTo>
                    <a:lnTo>
                      <a:pt x="1071" y="504"/>
                    </a:lnTo>
                    <a:lnTo>
                      <a:pt x="1077" y="492"/>
                    </a:lnTo>
                    <a:lnTo>
                      <a:pt x="1083" y="483"/>
                    </a:lnTo>
                    <a:lnTo>
                      <a:pt x="1084" y="476"/>
                    </a:lnTo>
                    <a:lnTo>
                      <a:pt x="1085" y="471"/>
                    </a:lnTo>
                    <a:lnTo>
                      <a:pt x="1086" y="464"/>
                    </a:lnTo>
                    <a:lnTo>
                      <a:pt x="1085" y="461"/>
                    </a:lnTo>
                    <a:lnTo>
                      <a:pt x="1084" y="459"/>
                    </a:lnTo>
                    <a:lnTo>
                      <a:pt x="1083" y="457"/>
                    </a:lnTo>
                    <a:lnTo>
                      <a:pt x="1078" y="459"/>
                    </a:lnTo>
                    <a:lnTo>
                      <a:pt x="1074" y="463"/>
                    </a:lnTo>
                    <a:lnTo>
                      <a:pt x="1071" y="467"/>
                    </a:lnTo>
                    <a:lnTo>
                      <a:pt x="1068" y="473"/>
                    </a:lnTo>
                    <a:lnTo>
                      <a:pt x="1065" y="478"/>
                    </a:lnTo>
                    <a:lnTo>
                      <a:pt x="1062" y="484"/>
                    </a:lnTo>
                    <a:lnTo>
                      <a:pt x="1058" y="488"/>
                    </a:lnTo>
                    <a:lnTo>
                      <a:pt x="1056" y="489"/>
                    </a:lnTo>
                    <a:lnTo>
                      <a:pt x="1055" y="489"/>
                    </a:lnTo>
                    <a:lnTo>
                      <a:pt x="1053" y="489"/>
                    </a:lnTo>
                    <a:lnTo>
                      <a:pt x="1052" y="488"/>
                    </a:lnTo>
                    <a:lnTo>
                      <a:pt x="1047" y="482"/>
                    </a:lnTo>
                    <a:lnTo>
                      <a:pt x="1043" y="475"/>
                    </a:lnTo>
                    <a:lnTo>
                      <a:pt x="1042" y="474"/>
                    </a:lnTo>
                    <a:lnTo>
                      <a:pt x="1040" y="474"/>
                    </a:lnTo>
                    <a:lnTo>
                      <a:pt x="1037" y="475"/>
                    </a:lnTo>
                    <a:lnTo>
                      <a:pt x="1034" y="478"/>
                    </a:lnTo>
                    <a:lnTo>
                      <a:pt x="1028" y="486"/>
                    </a:lnTo>
                    <a:lnTo>
                      <a:pt x="1022" y="490"/>
                    </a:lnTo>
                    <a:lnTo>
                      <a:pt x="1019" y="492"/>
                    </a:lnTo>
                    <a:lnTo>
                      <a:pt x="1017" y="493"/>
                    </a:lnTo>
                    <a:lnTo>
                      <a:pt x="1015" y="495"/>
                    </a:lnTo>
                    <a:lnTo>
                      <a:pt x="1015" y="497"/>
                    </a:lnTo>
                    <a:lnTo>
                      <a:pt x="1017" y="500"/>
                    </a:lnTo>
                    <a:lnTo>
                      <a:pt x="1018" y="505"/>
                    </a:lnTo>
                    <a:lnTo>
                      <a:pt x="1020" y="508"/>
                    </a:lnTo>
                    <a:lnTo>
                      <a:pt x="1023" y="512"/>
                    </a:lnTo>
                    <a:lnTo>
                      <a:pt x="1027" y="518"/>
                    </a:lnTo>
                    <a:lnTo>
                      <a:pt x="1030" y="522"/>
                    </a:lnTo>
                    <a:lnTo>
                      <a:pt x="1028" y="527"/>
                    </a:lnTo>
                    <a:lnTo>
                      <a:pt x="1023" y="533"/>
                    </a:lnTo>
                    <a:lnTo>
                      <a:pt x="1021" y="535"/>
                    </a:lnTo>
                    <a:lnTo>
                      <a:pt x="1018" y="537"/>
                    </a:lnTo>
                    <a:lnTo>
                      <a:pt x="1015" y="537"/>
                    </a:lnTo>
                    <a:lnTo>
                      <a:pt x="1013" y="536"/>
                    </a:lnTo>
                    <a:lnTo>
                      <a:pt x="998" y="530"/>
                    </a:lnTo>
                    <a:lnTo>
                      <a:pt x="988" y="527"/>
                    </a:lnTo>
                    <a:lnTo>
                      <a:pt x="986" y="529"/>
                    </a:lnTo>
                    <a:lnTo>
                      <a:pt x="986" y="531"/>
                    </a:lnTo>
                    <a:close/>
                    <a:moveTo>
                      <a:pt x="705" y="596"/>
                    </a:moveTo>
                    <a:lnTo>
                      <a:pt x="719" y="585"/>
                    </a:lnTo>
                    <a:lnTo>
                      <a:pt x="740" y="570"/>
                    </a:lnTo>
                    <a:lnTo>
                      <a:pt x="751" y="561"/>
                    </a:lnTo>
                    <a:lnTo>
                      <a:pt x="761" y="554"/>
                    </a:lnTo>
                    <a:lnTo>
                      <a:pt x="768" y="548"/>
                    </a:lnTo>
                    <a:lnTo>
                      <a:pt x="771" y="543"/>
                    </a:lnTo>
                    <a:lnTo>
                      <a:pt x="772" y="539"/>
                    </a:lnTo>
                    <a:lnTo>
                      <a:pt x="773" y="536"/>
                    </a:lnTo>
                    <a:lnTo>
                      <a:pt x="773" y="533"/>
                    </a:lnTo>
                    <a:lnTo>
                      <a:pt x="772" y="530"/>
                    </a:lnTo>
                    <a:lnTo>
                      <a:pt x="770" y="526"/>
                    </a:lnTo>
                    <a:lnTo>
                      <a:pt x="767" y="522"/>
                    </a:lnTo>
                    <a:lnTo>
                      <a:pt x="762" y="519"/>
                    </a:lnTo>
                    <a:lnTo>
                      <a:pt x="755" y="516"/>
                    </a:lnTo>
                    <a:lnTo>
                      <a:pt x="745" y="511"/>
                    </a:lnTo>
                    <a:lnTo>
                      <a:pt x="742" y="509"/>
                    </a:lnTo>
                    <a:lnTo>
                      <a:pt x="740" y="509"/>
                    </a:lnTo>
                    <a:lnTo>
                      <a:pt x="733" y="514"/>
                    </a:lnTo>
                    <a:lnTo>
                      <a:pt x="724" y="520"/>
                    </a:lnTo>
                    <a:lnTo>
                      <a:pt x="717" y="523"/>
                    </a:lnTo>
                    <a:lnTo>
                      <a:pt x="713" y="526"/>
                    </a:lnTo>
                    <a:lnTo>
                      <a:pt x="712" y="526"/>
                    </a:lnTo>
                    <a:lnTo>
                      <a:pt x="711" y="521"/>
                    </a:lnTo>
                    <a:lnTo>
                      <a:pt x="708" y="514"/>
                    </a:lnTo>
                    <a:lnTo>
                      <a:pt x="706" y="510"/>
                    </a:lnTo>
                    <a:lnTo>
                      <a:pt x="704" y="507"/>
                    </a:lnTo>
                    <a:lnTo>
                      <a:pt x="702" y="506"/>
                    </a:lnTo>
                    <a:lnTo>
                      <a:pt x="699" y="506"/>
                    </a:lnTo>
                    <a:lnTo>
                      <a:pt x="697" y="506"/>
                    </a:lnTo>
                    <a:lnTo>
                      <a:pt x="694" y="506"/>
                    </a:lnTo>
                    <a:lnTo>
                      <a:pt x="679" y="512"/>
                    </a:lnTo>
                    <a:lnTo>
                      <a:pt x="672" y="515"/>
                    </a:lnTo>
                    <a:lnTo>
                      <a:pt x="667" y="517"/>
                    </a:lnTo>
                    <a:lnTo>
                      <a:pt x="657" y="519"/>
                    </a:lnTo>
                    <a:lnTo>
                      <a:pt x="653" y="521"/>
                    </a:lnTo>
                    <a:lnTo>
                      <a:pt x="649" y="523"/>
                    </a:lnTo>
                    <a:lnTo>
                      <a:pt x="646" y="527"/>
                    </a:lnTo>
                    <a:lnTo>
                      <a:pt x="644" y="530"/>
                    </a:lnTo>
                    <a:lnTo>
                      <a:pt x="644" y="533"/>
                    </a:lnTo>
                    <a:lnTo>
                      <a:pt x="646" y="534"/>
                    </a:lnTo>
                    <a:lnTo>
                      <a:pt x="649" y="535"/>
                    </a:lnTo>
                    <a:lnTo>
                      <a:pt x="651" y="536"/>
                    </a:lnTo>
                    <a:lnTo>
                      <a:pt x="654" y="536"/>
                    </a:lnTo>
                    <a:lnTo>
                      <a:pt x="655" y="538"/>
                    </a:lnTo>
                    <a:lnTo>
                      <a:pt x="655" y="540"/>
                    </a:lnTo>
                    <a:lnTo>
                      <a:pt x="653" y="545"/>
                    </a:lnTo>
                    <a:lnTo>
                      <a:pt x="638" y="562"/>
                    </a:lnTo>
                    <a:lnTo>
                      <a:pt x="632" y="572"/>
                    </a:lnTo>
                    <a:lnTo>
                      <a:pt x="631" y="577"/>
                    </a:lnTo>
                    <a:lnTo>
                      <a:pt x="631" y="583"/>
                    </a:lnTo>
                    <a:lnTo>
                      <a:pt x="630" y="586"/>
                    </a:lnTo>
                    <a:lnTo>
                      <a:pt x="629" y="590"/>
                    </a:lnTo>
                    <a:lnTo>
                      <a:pt x="628" y="593"/>
                    </a:lnTo>
                    <a:lnTo>
                      <a:pt x="625" y="596"/>
                    </a:lnTo>
                    <a:lnTo>
                      <a:pt x="617" y="604"/>
                    </a:lnTo>
                    <a:lnTo>
                      <a:pt x="610" y="614"/>
                    </a:lnTo>
                    <a:lnTo>
                      <a:pt x="607" y="619"/>
                    </a:lnTo>
                    <a:lnTo>
                      <a:pt x="604" y="623"/>
                    </a:lnTo>
                    <a:lnTo>
                      <a:pt x="603" y="626"/>
                    </a:lnTo>
                    <a:lnTo>
                      <a:pt x="602" y="629"/>
                    </a:lnTo>
                    <a:lnTo>
                      <a:pt x="602" y="634"/>
                    </a:lnTo>
                    <a:lnTo>
                      <a:pt x="601" y="639"/>
                    </a:lnTo>
                    <a:lnTo>
                      <a:pt x="602" y="642"/>
                    </a:lnTo>
                    <a:lnTo>
                      <a:pt x="603" y="645"/>
                    </a:lnTo>
                    <a:lnTo>
                      <a:pt x="605" y="647"/>
                    </a:lnTo>
                    <a:lnTo>
                      <a:pt x="608" y="650"/>
                    </a:lnTo>
                    <a:lnTo>
                      <a:pt x="616" y="654"/>
                    </a:lnTo>
                    <a:lnTo>
                      <a:pt x="623" y="658"/>
                    </a:lnTo>
                    <a:lnTo>
                      <a:pt x="626" y="660"/>
                    </a:lnTo>
                    <a:lnTo>
                      <a:pt x="627" y="662"/>
                    </a:lnTo>
                    <a:lnTo>
                      <a:pt x="628" y="664"/>
                    </a:lnTo>
                    <a:lnTo>
                      <a:pt x="628" y="666"/>
                    </a:lnTo>
                    <a:lnTo>
                      <a:pt x="627" y="671"/>
                    </a:lnTo>
                    <a:lnTo>
                      <a:pt x="628" y="676"/>
                    </a:lnTo>
                    <a:lnTo>
                      <a:pt x="628" y="679"/>
                    </a:lnTo>
                    <a:lnTo>
                      <a:pt x="629" y="680"/>
                    </a:lnTo>
                    <a:lnTo>
                      <a:pt x="630" y="681"/>
                    </a:lnTo>
                    <a:lnTo>
                      <a:pt x="632" y="681"/>
                    </a:lnTo>
                    <a:lnTo>
                      <a:pt x="647" y="665"/>
                    </a:lnTo>
                    <a:lnTo>
                      <a:pt x="657" y="651"/>
                    </a:lnTo>
                    <a:lnTo>
                      <a:pt x="659" y="651"/>
                    </a:lnTo>
                    <a:lnTo>
                      <a:pt x="663" y="650"/>
                    </a:lnTo>
                    <a:lnTo>
                      <a:pt x="667" y="650"/>
                    </a:lnTo>
                    <a:lnTo>
                      <a:pt x="669" y="649"/>
                    </a:lnTo>
                    <a:lnTo>
                      <a:pt x="671" y="647"/>
                    </a:lnTo>
                    <a:lnTo>
                      <a:pt x="672" y="645"/>
                    </a:lnTo>
                    <a:lnTo>
                      <a:pt x="678" y="629"/>
                    </a:lnTo>
                    <a:lnTo>
                      <a:pt x="685" y="615"/>
                    </a:lnTo>
                    <a:lnTo>
                      <a:pt x="697" y="603"/>
                    </a:lnTo>
                    <a:lnTo>
                      <a:pt x="705" y="596"/>
                    </a:lnTo>
                    <a:close/>
                    <a:moveTo>
                      <a:pt x="921" y="501"/>
                    </a:moveTo>
                    <a:lnTo>
                      <a:pt x="922" y="505"/>
                    </a:lnTo>
                    <a:lnTo>
                      <a:pt x="924" y="509"/>
                    </a:lnTo>
                    <a:lnTo>
                      <a:pt x="928" y="513"/>
                    </a:lnTo>
                    <a:lnTo>
                      <a:pt x="934" y="517"/>
                    </a:lnTo>
                    <a:lnTo>
                      <a:pt x="940" y="520"/>
                    </a:lnTo>
                    <a:lnTo>
                      <a:pt x="945" y="522"/>
                    </a:lnTo>
                    <a:lnTo>
                      <a:pt x="947" y="523"/>
                    </a:lnTo>
                    <a:lnTo>
                      <a:pt x="949" y="523"/>
                    </a:lnTo>
                    <a:lnTo>
                      <a:pt x="952" y="522"/>
                    </a:lnTo>
                    <a:lnTo>
                      <a:pt x="954" y="520"/>
                    </a:lnTo>
                    <a:lnTo>
                      <a:pt x="958" y="515"/>
                    </a:lnTo>
                    <a:lnTo>
                      <a:pt x="961" y="511"/>
                    </a:lnTo>
                    <a:lnTo>
                      <a:pt x="963" y="509"/>
                    </a:lnTo>
                    <a:lnTo>
                      <a:pt x="963" y="507"/>
                    </a:lnTo>
                    <a:lnTo>
                      <a:pt x="963" y="504"/>
                    </a:lnTo>
                    <a:lnTo>
                      <a:pt x="962" y="499"/>
                    </a:lnTo>
                    <a:lnTo>
                      <a:pt x="959" y="495"/>
                    </a:lnTo>
                    <a:lnTo>
                      <a:pt x="957" y="493"/>
                    </a:lnTo>
                    <a:lnTo>
                      <a:pt x="955" y="491"/>
                    </a:lnTo>
                    <a:lnTo>
                      <a:pt x="952" y="491"/>
                    </a:lnTo>
                    <a:lnTo>
                      <a:pt x="946" y="492"/>
                    </a:lnTo>
                    <a:lnTo>
                      <a:pt x="938" y="495"/>
                    </a:lnTo>
                    <a:lnTo>
                      <a:pt x="925" y="499"/>
                    </a:lnTo>
                    <a:lnTo>
                      <a:pt x="921" y="501"/>
                    </a:lnTo>
                    <a:close/>
                    <a:moveTo>
                      <a:pt x="968" y="715"/>
                    </a:moveTo>
                    <a:lnTo>
                      <a:pt x="962" y="708"/>
                    </a:lnTo>
                    <a:lnTo>
                      <a:pt x="955" y="700"/>
                    </a:lnTo>
                    <a:lnTo>
                      <a:pt x="952" y="696"/>
                    </a:lnTo>
                    <a:lnTo>
                      <a:pt x="949" y="692"/>
                    </a:lnTo>
                    <a:lnTo>
                      <a:pt x="949" y="691"/>
                    </a:lnTo>
                    <a:lnTo>
                      <a:pt x="949" y="689"/>
                    </a:lnTo>
                    <a:lnTo>
                      <a:pt x="950" y="688"/>
                    </a:lnTo>
                    <a:lnTo>
                      <a:pt x="952" y="687"/>
                    </a:lnTo>
                    <a:lnTo>
                      <a:pt x="962" y="683"/>
                    </a:lnTo>
                    <a:lnTo>
                      <a:pt x="976" y="681"/>
                    </a:lnTo>
                    <a:lnTo>
                      <a:pt x="983" y="679"/>
                    </a:lnTo>
                    <a:lnTo>
                      <a:pt x="988" y="678"/>
                    </a:lnTo>
                    <a:lnTo>
                      <a:pt x="990" y="676"/>
                    </a:lnTo>
                    <a:lnTo>
                      <a:pt x="991" y="675"/>
                    </a:lnTo>
                    <a:lnTo>
                      <a:pt x="992" y="673"/>
                    </a:lnTo>
                    <a:lnTo>
                      <a:pt x="992" y="672"/>
                    </a:lnTo>
                    <a:lnTo>
                      <a:pt x="989" y="668"/>
                    </a:lnTo>
                    <a:lnTo>
                      <a:pt x="984" y="661"/>
                    </a:lnTo>
                    <a:lnTo>
                      <a:pt x="976" y="652"/>
                    </a:lnTo>
                    <a:lnTo>
                      <a:pt x="966" y="644"/>
                    </a:lnTo>
                    <a:lnTo>
                      <a:pt x="958" y="635"/>
                    </a:lnTo>
                    <a:lnTo>
                      <a:pt x="949" y="626"/>
                    </a:lnTo>
                    <a:lnTo>
                      <a:pt x="944" y="620"/>
                    </a:lnTo>
                    <a:lnTo>
                      <a:pt x="942" y="615"/>
                    </a:lnTo>
                    <a:lnTo>
                      <a:pt x="940" y="602"/>
                    </a:lnTo>
                    <a:lnTo>
                      <a:pt x="938" y="585"/>
                    </a:lnTo>
                    <a:lnTo>
                      <a:pt x="935" y="570"/>
                    </a:lnTo>
                    <a:lnTo>
                      <a:pt x="933" y="561"/>
                    </a:lnTo>
                    <a:lnTo>
                      <a:pt x="933" y="547"/>
                    </a:lnTo>
                    <a:lnTo>
                      <a:pt x="934" y="534"/>
                    </a:lnTo>
                    <a:lnTo>
                      <a:pt x="928" y="533"/>
                    </a:lnTo>
                    <a:lnTo>
                      <a:pt x="917" y="530"/>
                    </a:lnTo>
                    <a:lnTo>
                      <a:pt x="910" y="529"/>
                    </a:lnTo>
                    <a:lnTo>
                      <a:pt x="904" y="529"/>
                    </a:lnTo>
                    <a:lnTo>
                      <a:pt x="901" y="529"/>
                    </a:lnTo>
                    <a:lnTo>
                      <a:pt x="899" y="530"/>
                    </a:lnTo>
                    <a:lnTo>
                      <a:pt x="898" y="531"/>
                    </a:lnTo>
                    <a:lnTo>
                      <a:pt x="897" y="533"/>
                    </a:lnTo>
                    <a:lnTo>
                      <a:pt x="895" y="541"/>
                    </a:lnTo>
                    <a:lnTo>
                      <a:pt x="892" y="550"/>
                    </a:lnTo>
                    <a:lnTo>
                      <a:pt x="891" y="554"/>
                    </a:lnTo>
                    <a:lnTo>
                      <a:pt x="891" y="558"/>
                    </a:lnTo>
                    <a:lnTo>
                      <a:pt x="892" y="562"/>
                    </a:lnTo>
                    <a:lnTo>
                      <a:pt x="894" y="565"/>
                    </a:lnTo>
                    <a:lnTo>
                      <a:pt x="898" y="572"/>
                    </a:lnTo>
                    <a:lnTo>
                      <a:pt x="902" y="579"/>
                    </a:lnTo>
                    <a:lnTo>
                      <a:pt x="904" y="582"/>
                    </a:lnTo>
                    <a:lnTo>
                      <a:pt x="904" y="585"/>
                    </a:lnTo>
                    <a:lnTo>
                      <a:pt x="904" y="588"/>
                    </a:lnTo>
                    <a:lnTo>
                      <a:pt x="902" y="591"/>
                    </a:lnTo>
                    <a:lnTo>
                      <a:pt x="895" y="596"/>
                    </a:lnTo>
                    <a:lnTo>
                      <a:pt x="883" y="602"/>
                    </a:lnTo>
                    <a:lnTo>
                      <a:pt x="878" y="604"/>
                    </a:lnTo>
                    <a:lnTo>
                      <a:pt x="874" y="605"/>
                    </a:lnTo>
                    <a:lnTo>
                      <a:pt x="872" y="604"/>
                    </a:lnTo>
                    <a:lnTo>
                      <a:pt x="871" y="604"/>
                    </a:lnTo>
                    <a:lnTo>
                      <a:pt x="870" y="603"/>
                    </a:lnTo>
                    <a:lnTo>
                      <a:pt x="869" y="601"/>
                    </a:lnTo>
                    <a:lnTo>
                      <a:pt x="871" y="590"/>
                    </a:lnTo>
                    <a:lnTo>
                      <a:pt x="874" y="574"/>
                    </a:lnTo>
                    <a:lnTo>
                      <a:pt x="875" y="567"/>
                    </a:lnTo>
                    <a:lnTo>
                      <a:pt x="875" y="561"/>
                    </a:lnTo>
                    <a:lnTo>
                      <a:pt x="874" y="559"/>
                    </a:lnTo>
                    <a:lnTo>
                      <a:pt x="873" y="557"/>
                    </a:lnTo>
                    <a:lnTo>
                      <a:pt x="872" y="557"/>
                    </a:lnTo>
                    <a:lnTo>
                      <a:pt x="870" y="557"/>
                    </a:lnTo>
                    <a:lnTo>
                      <a:pt x="865" y="559"/>
                    </a:lnTo>
                    <a:lnTo>
                      <a:pt x="859" y="563"/>
                    </a:lnTo>
                    <a:lnTo>
                      <a:pt x="853" y="570"/>
                    </a:lnTo>
                    <a:lnTo>
                      <a:pt x="847" y="576"/>
                    </a:lnTo>
                    <a:lnTo>
                      <a:pt x="842" y="582"/>
                    </a:lnTo>
                    <a:lnTo>
                      <a:pt x="836" y="586"/>
                    </a:lnTo>
                    <a:lnTo>
                      <a:pt x="834" y="587"/>
                    </a:lnTo>
                    <a:lnTo>
                      <a:pt x="832" y="588"/>
                    </a:lnTo>
                    <a:lnTo>
                      <a:pt x="830" y="588"/>
                    </a:lnTo>
                    <a:lnTo>
                      <a:pt x="828" y="586"/>
                    </a:lnTo>
                    <a:lnTo>
                      <a:pt x="826" y="583"/>
                    </a:lnTo>
                    <a:lnTo>
                      <a:pt x="825" y="578"/>
                    </a:lnTo>
                    <a:lnTo>
                      <a:pt x="825" y="573"/>
                    </a:lnTo>
                    <a:lnTo>
                      <a:pt x="826" y="567"/>
                    </a:lnTo>
                    <a:lnTo>
                      <a:pt x="826" y="562"/>
                    </a:lnTo>
                    <a:lnTo>
                      <a:pt x="826" y="557"/>
                    </a:lnTo>
                    <a:lnTo>
                      <a:pt x="826" y="554"/>
                    </a:lnTo>
                    <a:lnTo>
                      <a:pt x="824" y="552"/>
                    </a:lnTo>
                    <a:lnTo>
                      <a:pt x="822" y="552"/>
                    </a:lnTo>
                    <a:lnTo>
                      <a:pt x="816" y="555"/>
                    </a:lnTo>
                    <a:lnTo>
                      <a:pt x="810" y="560"/>
                    </a:lnTo>
                    <a:lnTo>
                      <a:pt x="804" y="565"/>
                    </a:lnTo>
                    <a:lnTo>
                      <a:pt x="796" y="571"/>
                    </a:lnTo>
                    <a:lnTo>
                      <a:pt x="791" y="575"/>
                    </a:lnTo>
                    <a:lnTo>
                      <a:pt x="789" y="576"/>
                    </a:lnTo>
                    <a:lnTo>
                      <a:pt x="787" y="577"/>
                    </a:lnTo>
                    <a:lnTo>
                      <a:pt x="786" y="577"/>
                    </a:lnTo>
                    <a:lnTo>
                      <a:pt x="785" y="576"/>
                    </a:lnTo>
                    <a:lnTo>
                      <a:pt x="786" y="566"/>
                    </a:lnTo>
                    <a:lnTo>
                      <a:pt x="788" y="556"/>
                    </a:lnTo>
                    <a:lnTo>
                      <a:pt x="789" y="552"/>
                    </a:lnTo>
                    <a:lnTo>
                      <a:pt x="789" y="549"/>
                    </a:lnTo>
                    <a:lnTo>
                      <a:pt x="789" y="547"/>
                    </a:lnTo>
                    <a:lnTo>
                      <a:pt x="789" y="547"/>
                    </a:lnTo>
                    <a:lnTo>
                      <a:pt x="788" y="547"/>
                    </a:lnTo>
                    <a:lnTo>
                      <a:pt x="787" y="547"/>
                    </a:lnTo>
                    <a:lnTo>
                      <a:pt x="773" y="554"/>
                    </a:lnTo>
                    <a:lnTo>
                      <a:pt x="754" y="564"/>
                    </a:lnTo>
                    <a:lnTo>
                      <a:pt x="743" y="571"/>
                    </a:lnTo>
                    <a:lnTo>
                      <a:pt x="735" y="577"/>
                    </a:lnTo>
                    <a:lnTo>
                      <a:pt x="728" y="582"/>
                    </a:lnTo>
                    <a:lnTo>
                      <a:pt x="726" y="586"/>
                    </a:lnTo>
                    <a:lnTo>
                      <a:pt x="723" y="600"/>
                    </a:lnTo>
                    <a:lnTo>
                      <a:pt x="722" y="606"/>
                    </a:lnTo>
                    <a:lnTo>
                      <a:pt x="717" y="608"/>
                    </a:lnTo>
                    <a:lnTo>
                      <a:pt x="707" y="613"/>
                    </a:lnTo>
                    <a:lnTo>
                      <a:pt x="702" y="616"/>
                    </a:lnTo>
                    <a:lnTo>
                      <a:pt x="698" y="619"/>
                    </a:lnTo>
                    <a:lnTo>
                      <a:pt x="696" y="621"/>
                    </a:lnTo>
                    <a:lnTo>
                      <a:pt x="695" y="623"/>
                    </a:lnTo>
                    <a:lnTo>
                      <a:pt x="695" y="624"/>
                    </a:lnTo>
                    <a:lnTo>
                      <a:pt x="695" y="626"/>
                    </a:lnTo>
                    <a:lnTo>
                      <a:pt x="697" y="629"/>
                    </a:lnTo>
                    <a:lnTo>
                      <a:pt x="700" y="634"/>
                    </a:lnTo>
                    <a:lnTo>
                      <a:pt x="704" y="637"/>
                    </a:lnTo>
                    <a:lnTo>
                      <a:pt x="708" y="640"/>
                    </a:lnTo>
                    <a:lnTo>
                      <a:pt x="714" y="642"/>
                    </a:lnTo>
                    <a:lnTo>
                      <a:pt x="719" y="644"/>
                    </a:lnTo>
                    <a:lnTo>
                      <a:pt x="723" y="645"/>
                    </a:lnTo>
                    <a:lnTo>
                      <a:pt x="726" y="645"/>
                    </a:lnTo>
                    <a:lnTo>
                      <a:pt x="735" y="639"/>
                    </a:lnTo>
                    <a:lnTo>
                      <a:pt x="743" y="630"/>
                    </a:lnTo>
                    <a:lnTo>
                      <a:pt x="747" y="626"/>
                    </a:lnTo>
                    <a:lnTo>
                      <a:pt x="750" y="624"/>
                    </a:lnTo>
                    <a:lnTo>
                      <a:pt x="752" y="623"/>
                    </a:lnTo>
                    <a:lnTo>
                      <a:pt x="752" y="623"/>
                    </a:lnTo>
                    <a:lnTo>
                      <a:pt x="754" y="623"/>
                    </a:lnTo>
                    <a:lnTo>
                      <a:pt x="754" y="625"/>
                    </a:lnTo>
                    <a:lnTo>
                      <a:pt x="752" y="628"/>
                    </a:lnTo>
                    <a:lnTo>
                      <a:pt x="750" y="632"/>
                    </a:lnTo>
                    <a:lnTo>
                      <a:pt x="747" y="638"/>
                    </a:lnTo>
                    <a:lnTo>
                      <a:pt x="743" y="642"/>
                    </a:lnTo>
                    <a:lnTo>
                      <a:pt x="735" y="649"/>
                    </a:lnTo>
                    <a:lnTo>
                      <a:pt x="732" y="652"/>
                    </a:lnTo>
                    <a:lnTo>
                      <a:pt x="727" y="651"/>
                    </a:lnTo>
                    <a:lnTo>
                      <a:pt x="719" y="649"/>
                    </a:lnTo>
                    <a:lnTo>
                      <a:pt x="714" y="649"/>
                    </a:lnTo>
                    <a:lnTo>
                      <a:pt x="710" y="650"/>
                    </a:lnTo>
                    <a:lnTo>
                      <a:pt x="707" y="652"/>
                    </a:lnTo>
                    <a:lnTo>
                      <a:pt x="705" y="653"/>
                    </a:lnTo>
                    <a:lnTo>
                      <a:pt x="704" y="657"/>
                    </a:lnTo>
                    <a:lnTo>
                      <a:pt x="703" y="660"/>
                    </a:lnTo>
                    <a:lnTo>
                      <a:pt x="703" y="666"/>
                    </a:lnTo>
                    <a:lnTo>
                      <a:pt x="704" y="671"/>
                    </a:lnTo>
                    <a:lnTo>
                      <a:pt x="706" y="676"/>
                    </a:lnTo>
                    <a:lnTo>
                      <a:pt x="710" y="681"/>
                    </a:lnTo>
                    <a:lnTo>
                      <a:pt x="713" y="683"/>
                    </a:lnTo>
                    <a:lnTo>
                      <a:pt x="717" y="685"/>
                    </a:lnTo>
                    <a:lnTo>
                      <a:pt x="720" y="686"/>
                    </a:lnTo>
                    <a:lnTo>
                      <a:pt x="723" y="685"/>
                    </a:lnTo>
                    <a:lnTo>
                      <a:pt x="734" y="681"/>
                    </a:lnTo>
                    <a:lnTo>
                      <a:pt x="750" y="674"/>
                    </a:lnTo>
                    <a:lnTo>
                      <a:pt x="760" y="670"/>
                    </a:lnTo>
                    <a:lnTo>
                      <a:pt x="769" y="667"/>
                    </a:lnTo>
                    <a:lnTo>
                      <a:pt x="780" y="665"/>
                    </a:lnTo>
                    <a:lnTo>
                      <a:pt x="788" y="665"/>
                    </a:lnTo>
                    <a:lnTo>
                      <a:pt x="802" y="666"/>
                    </a:lnTo>
                    <a:lnTo>
                      <a:pt x="810" y="668"/>
                    </a:lnTo>
                    <a:lnTo>
                      <a:pt x="812" y="669"/>
                    </a:lnTo>
                    <a:lnTo>
                      <a:pt x="812" y="671"/>
                    </a:lnTo>
                    <a:lnTo>
                      <a:pt x="811" y="673"/>
                    </a:lnTo>
                    <a:lnTo>
                      <a:pt x="808" y="676"/>
                    </a:lnTo>
                    <a:lnTo>
                      <a:pt x="805" y="680"/>
                    </a:lnTo>
                    <a:lnTo>
                      <a:pt x="801" y="681"/>
                    </a:lnTo>
                    <a:lnTo>
                      <a:pt x="796" y="681"/>
                    </a:lnTo>
                    <a:lnTo>
                      <a:pt x="791" y="681"/>
                    </a:lnTo>
                    <a:lnTo>
                      <a:pt x="786" y="681"/>
                    </a:lnTo>
                    <a:lnTo>
                      <a:pt x="780" y="681"/>
                    </a:lnTo>
                    <a:lnTo>
                      <a:pt x="772" y="682"/>
                    </a:lnTo>
                    <a:lnTo>
                      <a:pt x="764" y="685"/>
                    </a:lnTo>
                    <a:lnTo>
                      <a:pt x="746" y="690"/>
                    </a:lnTo>
                    <a:lnTo>
                      <a:pt x="727" y="693"/>
                    </a:lnTo>
                    <a:lnTo>
                      <a:pt x="720" y="694"/>
                    </a:lnTo>
                    <a:lnTo>
                      <a:pt x="714" y="696"/>
                    </a:lnTo>
                    <a:lnTo>
                      <a:pt x="711" y="698"/>
                    </a:lnTo>
                    <a:lnTo>
                      <a:pt x="710" y="700"/>
                    </a:lnTo>
                    <a:lnTo>
                      <a:pt x="708" y="702"/>
                    </a:lnTo>
                    <a:lnTo>
                      <a:pt x="708" y="703"/>
                    </a:lnTo>
                    <a:lnTo>
                      <a:pt x="710" y="711"/>
                    </a:lnTo>
                    <a:lnTo>
                      <a:pt x="713" y="719"/>
                    </a:lnTo>
                    <a:lnTo>
                      <a:pt x="715" y="723"/>
                    </a:lnTo>
                    <a:lnTo>
                      <a:pt x="717" y="726"/>
                    </a:lnTo>
                    <a:lnTo>
                      <a:pt x="720" y="728"/>
                    </a:lnTo>
                    <a:lnTo>
                      <a:pt x="723" y="730"/>
                    </a:lnTo>
                    <a:lnTo>
                      <a:pt x="728" y="730"/>
                    </a:lnTo>
                    <a:lnTo>
                      <a:pt x="735" y="730"/>
                    </a:lnTo>
                    <a:lnTo>
                      <a:pt x="743" y="728"/>
                    </a:lnTo>
                    <a:lnTo>
                      <a:pt x="751" y="727"/>
                    </a:lnTo>
                    <a:lnTo>
                      <a:pt x="759" y="725"/>
                    </a:lnTo>
                    <a:lnTo>
                      <a:pt x="765" y="725"/>
                    </a:lnTo>
                    <a:lnTo>
                      <a:pt x="768" y="725"/>
                    </a:lnTo>
                    <a:lnTo>
                      <a:pt x="770" y="726"/>
                    </a:lnTo>
                    <a:lnTo>
                      <a:pt x="771" y="727"/>
                    </a:lnTo>
                    <a:lnTo>
                      <a:pt x="771" y="729"/>
                    </a:lnTo>
                    <a:lnTo>
                      <a:pt x="771" y="749"/>
                    </a:lnTo>
                    <a:lnTo>
                      <a:pt x="771" y="759"/>
                    </a:lnTo>
                    <a:lnTo>
                      <a:pt x="778" y="759"/>
                    </a:lnTo>
                    <a:lnTo>
                      <a:pt x="791" y="757"/>
                    </a:lnTo>
                    <a:lnTo>
                      <a:pt x="808" y="754"/>
                    </a:lnTo>
                    <a:lnTo>
                      <a:pt x="820" y="751"/>
                    </a:lnTo>
                    <a:lnTo>
                      <a:pt x="830" y="747"/>
                    </a:lnTo>
                    <a:lnTo>
                      <a:pt x="843" y="741"/>
                    </a:lnTo>
                    <a:lnTo>
                      <a:pt x="850" y="738"/>
                    </a:lnTo>
                    <a:lnTo>
                      <a:pt x="856" y="735"/>
                    </a:lnTo>
                    <a:lnTo>
                      <a:pt x="862" y="731"/>
                    </a:lnTo>
                    <a:lnTo>
                      <a:pt x="868" y="727"/>
                    </a:lnTo>
                    <a:lnTo>
                      <a:pt x="878" y="717"/>
                    </a:lnTo>
                    <a:lnTo>
                      <a:pt x="886" y="709"/>
                    </a:lnTo>
                    <a:lnTo>
                      <a:pt x="890" y="707"/>
                    </a:lnTo>
                    <a:lnTo>
                      <a:pt x="894" y="707"/>
                    </a:lnTo>
                    <a:lnTo>
                      <a:pt x="899" y="707"/>
                    </a:lnTo>
                    <a:lnTo>
                      <a:pt x="904" y="710"/>
                    </a:lnTo>
                    <a:lnTo>
                      <a:pt x="911" y="714"/>
                    </a:lnTo>
                    <a:lnTo>
                      <a:pt x="918" y="717"/>
                    </a:lnTo>
                    <a:lnTo>
                      <a:pt x="924" y="719"/>
                    </a:lnTo>
                    <a:lnTo>
                      <a:pt x="932" y="722"/>
                    </a:lnTo>
                    <a:lnTo>
                      <a:pt x="944" y="723"/>
                    </a:lnTo>
                    <a:lnTo>
                      <a:pt x="952" y="724"/>
                    </a:lnTo>
                    <a:lnTo>
                      <a:pt x="962" y="719"/>
                    </a:lnTo>
                    <a:lnTo>
                      <a:pt x="968" y="715"/>
                    </a:lnTo>
                    <a:close/>
                    <a:moveTo>
                      <a:pt x="1545" y="2250"/>
                    </a:moveTo>
                    <a:lnTo>
                      <a:pt x="1533" y="2254"/>
                    </a:lnTo>
                    <a:lnTo>
                      <a:pt x="1516" y="2259"/>
                    </a:lnTo>
                    <a:lnTo>
                      <a:pt x="1509" y="2262"/>
                    </a:lnTo>
                    <a:lnTo>
                      <a:pt x="1504" y="2265"/>
                    </a:lnTo>
                    <a:lnTo>
                      <a:pt x="1502" y="2267"/>
                    </a:lnTo>
                    <a:lnTo>
                      <a:pt x="1501" y="2269"/>
                    </a:lnTo>
                    <a:lnTo>
                      <a:pt x="1502" y="2271"/>
                    </a:lnTo>
                    <a:lnTo>
                      <a:pt x="1503" y="2273"/>
                    </a:lnTo>
                    <a:lnTo>
                      <a:pt x="1508" y="2277"/>
                    </a:lnTo>
                    <a:lnTo>
                      <a:pt x="1513" y="2281"/>
                    </a:lnTo>
                    <a:lnTo>
                      <a:pt x="1517" y="2283"/>
                    </a:lnTo>
                    <a:lnTo>
                      <a:pt x="1523" y="2283"/>
                    </a:lnTo>
                    <a:lnTo>
                      <a:pt x="1533" y="2284"/>
                    </a:lnTo>
                    <a:lnTo>
                      <a:pt x="1541" y="2285"/>
                    </a:lnTo>
                    <a:lnTo>
                      <a:pt x="1552" y="2289"/>
                    </a:lnTo>
                    <a:lnTo>
                      <a:pt x="1563" y="2292"/>
                    </a:lnTo>
                    <a:lnTo>
                      <a:pt x="1569" y="2293"/>
                    </a:lnTo>
                    <a:lnTo>
                      <a:pt x="1573" y="2294"/>
                    </a:lnTo>
                    <a:lnTo>
                      <a:pt x="1576" y="2294"/>
                    </a:lnTo>
                    <a:lnTo>
                      <a:pt x="1577" y="2292"/>
                    </a:lnTo>
                    <a:lnTo>
                      <a:pt x="1578" y="2289"/>
                    </a:lnTo>
                    <a:lnTo>
                      <a:pt x="1579" y="2284"/>
                    </a:lnTo>
                    <a:lnTo>
                      <a:pt x="1581" y="2282"/>
                    </a:lnTo>
                    <a:lnTo>
                      <a:pt x="1582" y="2280"/>
                    </a:lnTo>
                    <a:lnTo>
                      <a:pt x="1585" y="2280"/>
                    </a:lnTo>
                    <a:lnTo>
                      <a:pt x="1589" y="2280"/>
                    </a:lnTo>
                    <a:lnTo>
                      <a:pt x="1600" y="2280"/>
                    </a:lnTo>
                    <a:lnTo>
                      <a:pt x="1616" y="2277"/>
                    </a:lnTo>
                    <a:lnTo>
                      <a:pt x="1623" y="2276"/>
                    </a:lnTo>
                    <a:lnTo>
                      <a:pt x="1629" y="2274"/>
                    </a:lnTo>
                    <a:lnTo>
                      <a:pt x="1634" y="2273"/>
                    </a:lnTo>
                    <a:lnTo>
                      <a:pt x="1634" y="2272"/>
                    </a:lnTo>
                    <a:lnTo>
                      <a:pt x="1627" y="2266"/>
                    </a:lnTo>
                    <a:lnTo>
                      <a:pt x="1615" y="2256"/>
                    </a:lnTo>
                    <a:lnTo>
                      <a:pt x="1606" y="2251"/>
                    </a:lnTo>
                    <a:lnTo>
                      <a:pt x="1599" y="2247"/>
                    </a:lnTo>
                    <a:lnTo>
                      <a:pt x="1592" y="2244"/>
                    </a:lnTo>
                    <a:lnTo>
                      <a:pt x="1584" y="2243"/>
                    </a:lnTo>
                    <a:lnTo>
                      <a:pt x="1575" y="2243"/>
                    </a:lnTo>
                    <a:lnTo>
                      <a:pt x="1569" y="2243"/>
                    </a:lnTo>
                    <a:lnTo>
                      <a:pt x="1567" y="2244"/>
                    </a:lnTo>
                    <a:lnTo>
                      <a:pt x="1564" y="2245"/>
                    </a:lnTo>
                    <a:lnTo>
                      <a:pt x="1562" y="2247"/>
                    </a:lnTo>
                    <a:lnTo>
                      <a:pt x="1560" y="2249"/>
                    </a:lnTo>
                    <a:lnTo>
                      <a:pt x="1557" y="2251"/>
                    </a:lnTo>
                    <a:lnTo>
                      <a:pt x="1555" y="2252"/>
                    </a:lnTo>
                    <a:lnTo>
                      <a:pt x="1553" y="2252"/>
                    </a:lnTo>
                    <a:lnTo>
                      <a:pt x="1550" y="2252"/>
                    </a:lnTo>
                    <a:lnTo>
                      <a:pt x="1547" y="2251"/>
                    </a:lnTo>
                    <a:lnTo>
                      <a:pt x="1545" y="2250"/>
                    </a:lnTo>
                    <a:close/>
                    <a:moveTo>
                      <a:pt x="1297" y="2187"/>
                    </a:moveTo>
                    <a:lnTo>
                      <a:pt x="1307" y="2180"/>
                    </a:lnTo>
                    <a:lnTo>
                      <a:pt x="1323" y="2170"/>
                    </a:lnTo>
                    <a:lnTo>
                      <a:pt x="1333" y="2164"/>
                    </a:lnTo>
                    <a:lnTo>
                      <a:pt x="1341" y="2161"/>
                    </a:lnTo>
                    <a:lnTo>
                      <a:pt x="1346" y="2161"/>
                    </a:lnTo>
                    <a:lnTo>
                      <a:pt x="1350" y="2161"/>
                    </a:lnTo>
                    <a:lnTo>
                      <a:pt x="1353" y="2162"/>
                    </a:lnTo>
                    <a:lnTo>
                      <a:pt x="1356" y="2164"/>
                    </a:lnTo>
                    <a:lnTo>
                      <a:pt x="1361" y="2167"/>
                    </a:lnTo>
                    <a:lnTo>
                      <a:pt x="1369" y="2171"/>
                    </a:lnTo>
                    <a:lnTo>
                      <a:pt x="1376" y="2173"/>
                    </a:lnTo>
                    <a:lnTo>
                      <a:pt x="1384" y="2174"/>
                    </a:lnTo>
                    <a:lnTo>
                      <a:pt x="1399" y="2175"/>
                    </a:lnTo>
                    <a:lnTo>
                      <a:pt x="1410" y="2176"/>
                    </a:lnTo>
                    <a:lnTo>
                      <a:pt x="1424" y="2181"/>
                    </a:lnTo>
                    <a:lnTo>
                      <a:pt x="1445" y="2190"/>
                    </a:lnTo>
                    <a:lnTo>
                      <a:pt x="1456" y="2196"/>
                    </a:lnTo>
                    <a:lnTo>
                      <a:pt x="1465" y="2201"/>
                    </a:lnTo>
                    <a:lnTo>
                      <a:pt x="1473" y="2206"/>
                    </a:lnTo>
                    <a:lnTo>
                      <a:pt x="1478" y="2211"/>
                    </a:lnTo>
                    <a:lnTo>
                      <a:pt x="1485" y="2220"/>
                    </a:lnTo>
                    <a:lnTo>
                      <a:pt x="1492" y="2228"/>
                    </a:lnTo>
                    <a:lnTo>
                      <a:pt x="1495" y="2231"/>
                    </a:lnTo>
                    <a:lnTo>
                      <a:pt x="1495" y="2234"/>
                    </a:lnTo>
                    <a:lnTo>
                      <a:pt x="1495" y="2236"/>
                    </a:lnTo>
                    <a:lnTo>
                      <a:pt x="1494" y="2238"/>
                    </a:lnTo>
                    <a:lnTo>
                      <a:pt x="1493" y="2239"/>
                    </a:lnTo>
                    <a:lnTo>
                      <a:pt x="1491" y="2240"/>
                    </a:lnTo>
                    <a:lnTo>
                      <a:pt x="1485" y="2242"/>
                    </a:lnTo>
                    <a:lnTo>
                      <a:pt x="1478" y="2244"/>
                    </a:lnTo>
                    <a:lnTo>
                      <a:pt x="1468" y="2244"/>
                    </a:lnTo>
                    <a:lnTo>
                      <a:pt x="1459" y="2245"/>
                    </a:lnTo>
                    <a:lnTo>
                      <a:pt x="1449" y="2244"/>
                    </a:lnTo>
                    <a:lnTo>
                      <a:pt x="1441" y="2242"/>
                    </a:lnTo>
                    <a:lnTo>
                      <a:pt x="1432" y="2239"/>
                    </a:lnTo>
                    <a:lnTo>
                      <a:pt x="1426" y="2234"/>
                    </a:lnTo>
                    <a:lnTo>
                      <a:pt x="1415" y="2224"/>
                    </a:lnTo>
                    <a:lnTo>
                      <a:pt x="1401" y="2214"/>
                    </a:lnTo>
                    <a:lnTo>
                      <a:pt x="1394" y="2209"/>
                    </a:lnTo>
                    <a:lnTo>
                      <a:pt x="1387" y="2206"/>
                    </a:lnTo>
                    <a:lnTo>
                      <a:pt x="1381" y="2204"/>
                    </a:lnTo>
                    <a:lnTo>
                      <a:pt x="1376" y="2203"/>
                    </a:lnTo>
                    <a:lnTo>
                      <a:pt x="1362" y="2201"/>
                    </a:lnTo>
                    <a:lnTo>
                      <a:pt x="1347" y="2199"/>
                    </a:lnTo>
                    <a:lnTo>
                      <a:pt x="1339" y="2197"/>
                    </a:lnTo>
                    <a:lnTo>
                      <a:pt x="1333" y="2197"/>
                    </a:lnTo>
                    <a:lnTo>
                      <a:pt x="1329" y="2197"/>
                    </a:lnTo>
                    <a:lnTo>
                      <a:pt x="1326" y="2198"/>
                    </a:lnTo>
                    <a:lnTo>
                      <a:pt x="1326" y="2201"/>
                    </a:lnTo>
                    <a:lnTo>
                      <a:pt x="1327" y="2204"/>
                    </a:lnTo>
                    <a:lnTo>
                      <a:pt x="1327" y="2205"/>
                    </a:lnTo>
                    <a:lnTo>
                      <a:pt x="1327" y="2206"/>
                    </a:lnTo>
                    <a:lnTo>
                      <a:pt x="1325" y="2206"/>
                    </a:lnTo>
                    <a:lnTo>
                      <a:pt x="1319" y="2206"/>
                    </a:lnTo>
                    <a:lnTo>
                      <a:pt x="1310" y="2204"/>
                    </a:lnTo>
                    <a:lnTo>
                      <a:pt x="1303" y="2201"/>
                    </a:lnTo>
                    <a:lnTo>
                      <a:pt x="1297" y="2199"/>
                    </a:lnTo>
                    <a:lnTo>
                      <a:pt x="1294" y="2198"/>
                    </a:lnTo>
                    <a:lnTo>
                      <a:pt x="1294" y="2193"/>
                    </a:lnTo>
                    <a:lnTo>
                      <a:pt x="1297" y="2187"/>
                    </a:lnTo>
                    <a:close/>
                    <a:moveTo>
                      <a:pt x="2970" y="1751"/>
                    </a:moveTo>
                    <a:lnTo>
                      <a:pt x="2962" y="1758"/>
                    </a:lnTo>
                    <a:lnTo>
                      <a:pt x="2954" y="1768"/>
                    </a:lnTo>
                    <a:lnTo>
                      <a:pt x="2954" y="1771"/>
                    </a:lnTo>
                    <a:lnTo>
                      <a:pt x="2955" y="1776"/>
                    </a:lnTo>
                    <a:lnTo>
                      <a:pt x="2956" y="1777"/>
                    </a:lnTo>
                    <a:lnTo>
                      <a:pt x="2956" y="1779"/>
                    </a:lnTo>
                    <a:lnTo>
                      <a:pt x="2957" y="1779"/>
                    </a:lnTo>
                    <a:lnTo>
                      <a:pt x="2958" y="1779"/>
                    </a:lnTo>
                    <a:lnTo>
                      <a:pt x="2963" y="1770"/>
                    </a:lnTo>
                    <a:lnTo>
                      <a:pt x="2967" y="1763"/>
                    </a:lnTo>
                    <a:lnTo>
                      <a:pt x="2970" y="1762"/>
                    </a:lnTo>
                    <a:lnTo>
                      <a:pt x="2972" y="1761"/>
                    </a:lnTo>
                    <a:lnTo>
                      <a:pt x="2975" y="1761"/>
                    </a:lnTo>
                    <a:lnTo>
                      <a:pt x="2979" y="1762"/>
                    </a:lnTo>
                    <a:lnTo>
                      <a:pt x="2981" y="1763"/>
                    </a:lnTo>
                    <a:lnTo>
                      <a:pt x="2982" y="1763"/>
                    </a:lnTo>
                    <a:lnTo>
                      <a:pt x="2984" y="1762"/>
                    </a:lnTo>
                    <a:lnTo>
                      <a:pt x="2985" y="1761"/>
                    </a:lnTo>
                    <a:lnTo>
                      <a:pt x="2987" y="1757"/>
                    </a:lnTo>
                    <a:lnTo>
                      <a:pt x="2989" y="1754"/>
                    </a:lnTo>
                    <a:lnTo>
                      <a:pt x="2994" y="1751"/>
                    </a:lnTo>
                    <a:lnTo>
                      <a:pt x="2998" y="1749"/>
                    </a:lnTo>
                    <a:lnTo>
                      <a:pt x="2999" y="1748"/>
                    </a:lnTo>
                    <a:lnTo>
                      <a:pt x="3000" y="1746"/>
                    </a:lnTo>
                    <a:lnTo>
                      <a:pt x="3000" y="1744"/>
                    </a:lnTo>
                    <a:lnTo>
                      <a:pt x="2998" y="1740"/>
                    </a:lnTo>
                    <a:lnTo>
                      <a:pt x="2993" y="1734"/>
                    </a:lnTo>
                    <a:lnTo>
                      <a:pt x="2988" y="1731"/>
                    </a:lnTo>
                    <a:lnTo>
                      <a:pt x="2986" y="1731"/>
                    </a:lnTo>
                    <a:lnTo>
                      <a:pt x="2984" y="1731"/>
                    </a:lnTo>
                    <a:lnTo>
                      <a:pt x="2983" y="1732"/>
                    </a:lnTo>
                    <a:lnTo>
                      <a:pt x="2982" y="1733"/>
                    </a:lnTo>
                    <a:lnTo>
                      <a:pt x="2976" y="1745"/>
                    </a:lnTo>
                    <a:lnTo>
                      <a:pt x="2973" y="1751"/>
                    </a:lnTo>
                    <a:lnTo>
                      <a:pt x="2971" y="1751"/>
                    </a:lnTo>
                    <a:lnTo>
                      <a:pt x="2970" y="1751"/>
                    </a:lnTo>
                    <a:close/>
                    <a:moveTo>
                      <a:pt x="3055" y="1671"/>
                    </a:moveTo>
                    <a:lnTo>
                      <a:pt x="3052" y="1678"/>
                    </a:lnTo>
                    <a:lnTo>
                      <a:pt x="3051" y="1684"/>
                    </a:lnTo>
                    <a:lnTo>
                      <a:pt x="3051" y="1691"/>
                    </a:lnTo>
                    <a:lnTo>
                      <a:pt x="3053" y="1696"/>
                    </a:lnTo>
                    <a:lnTo>
                      <a:pt x="3055" y="1702"/>
                    </a:lnTo>
                    <a:lnTo>
                      <a:pt x="3056" y="1707"/>
                    </a:lnTo>
                    <a:lnTo>
                      <a:pt x="3055" y="1713"/>
                    </a:lnTo>
                    <a:lnTo>
                      <a:pt x="3053" y="1716"/>
                    </a:lnTo>
                    <a:lnTo>
                      <a:pt x="3050" y="1718"/>
                    </a:lnTo>
                    <a:lnTo>
                      <a:pt x="3045" y="1719"/>
                    </a:lnTo>
                    <a:lnTo>
                      <a:pt x="3043" y="1720"/>
                    </a:lnTo>
                    <a:lnTo>
                      <a:pt x="3042" y="1721"/>
                    </a:lnTo>
                    <a:lnTo>
                      <a:pt x="3042" y="1723"/>
                    </a:lnTo>
                    <a:lnTo>
                      <a:pt x="3042" y="1725"/>
                    </a:lnTo>
                    <a:lnTo>
                      <a:pt x="3045" y="1732"/>
                    </a:lnTo>
                    <a:lnTo>
                      <a:pt x="3048" y="1737"/>
                    </a:lnTo>
                    <a:lnTo>
                      <a:pt x="3049" y="1740"/>
                    </a:lnTo>
                    <a:lnTo>
                      <a:pt x="3050" y="1742"/>
                    </a:lnTo>
                    <a:lnTo>
                      <a:pt x="3050" y="1745"/>
                    </a:lnTo>
                    <a:lnTo>
                      <a:pt x="3050" y="1748"/>
                    </a:lnTo>
                    <a:lnTo>
                      <a:pt x="3049" y="1756"/>
                    </a:lnTo>
                    <a:lnTo>
                      <a:pt x="3050" y="1762"/>
                    </a:lnTo>
                    <a:lnTo>
                      <a:pt x="3051" y="1767"/>
                    </a:lnTo>
                    <a:lnTo>
                      <a:pt x="3052" y="1769"/>
                    </a:lnTo>
                    <a:lnTo>
                      <a:pt x="3054" y="1771"/>
                    </a:lnTo>
                    <a:lnTo>
                      <a:pt x="3061" y="1773"/>
                    </a:lnTo>
                    <a:lnTo>
                      <a:pt x="3063" y="1773"/>
                    </a:lnTo>
                    <a:lnTo>
                      <a:pt x="3066" y="1772"/>
                    </a:lnTo>
                    <a:lnTo>
                      <a:pt x="3067" y="1769"/>
                    </a:lnTo>
                    <a:lnTo>
                      <a:pt x="3068" y="1764"/>
                    </a:lnTo>
                    <a:lnTo>
                      <a:pt x="3068" y="1751"/>
                    </a:lnTo>
                    <a:lnTo>
                      <a:pt x="3068" y="1739"/>
                    </a:lnTo>
                    <a:lnTo>
                      <a:pt x="3069" y="1729"/>
                    </a:lnTo>
                    <a:lnTo>
                      <a:pt x="3068" y="1724"/>
                    </a:lnTo>
                    <a:lnTo>
                      <a:pt x="3066" y="1722"/>
                    </a:lnTo>
                    <a:lnTo>
                      <a:pt x="3065" y="1718"/>
                    </a:lnTo>
                    <a:lnTo>
                      <a:pt x="3064" y="1713"/>
                    </a:lnTo>
                    <a:lnTo>
                      <a:pt x="3065" y="1704"/>
                    </a:lnTo>
                    <a:lnTo>
                      <a:pt x="3066" y="1694"/>
                    </a:lnTo>
                    <a:lnTo>
                      <a:pt x="3067" y="1685"/>
                    </a:lnTo>
                    <a:lnTo>
                      <a:pt x="3066" y="1679"/>
                    </a:lnTo>
                    <a:lnTo>
                      <a:pt x="3064" y="1675"/>
                    </a:lnTo>
                    <a:lnTo>
                      <a:pt x="3062" y="1672"/>
                    </a:lnTo>
                    <a:lnTo>
                      <a:pt x="3059" y="1671"/>
                    </a:lnTo>
                    <a:lnTo>
                      <a:pt x="3056" y="1671"/>
                    </a:lnTo>
                    <a:lnTo>
                      <a:pt x="3055" y="1671"/>
                    </a:lnTo>
                    <a:close/>
                    <a:moveTo>
                      <a:pt x="2133" y="1095"/>
                    </a:moveTo>
                    <a:lnTo>
                      <a:pt x="2137" y="1078"/>
                    </a:lnTo>
                    <a:lnTo>
                      <a:pt x="2143" y="1040"/>
                    </a:lnTo>
                    <a:lnTo>
                      <a:pt x="2148" y="1019"/>
                    </a:lnTo>
                    <a:lnTo>
                      <a:pt x="2152" y="999"/>
                    </a:lnTo>
                    <a:lnTo>
                      <a:pt x="2155" y="990"/>
                    </a:lnTo>
                    <a:lnTo>
                      <a:pt x="2158" y="982"/>
                    </a:lnTo>
                    <a:lnTo>
                      <a:pt x="2161" y="976"/>
                    </a:lnTo>
                    <a:lnTo>
                      <a:pt x="2164" y="972"/>
                    </a:lnTo>
                    <a:lnTo>
                      <a:pt x="2175" y="959"/>
                    </a:lnTo>
                    <a:lnTo>
                      <a:pt x="2188" y="946"/>
                    </a:lnTo>
                    <a:lnTo>
                      <a:pt x="2193" y="938"/>
                    </a:lnTo>
                    <a:lnTo>
                      <a:pt x="2197" y="932"/>
                    </a:lnTo>
                    <a:lnTo>
                      <a:pt x="2198" y="928"/>
                    </a:lnTo>
                    <a:lnTo>
                      <a:pt x="2199" y="925"/>
                    </a:lnTo>
                    <a:lnTo>
                      <a:pt x="2199" y="922"/>
                    </a:lnTo>
                    <a:lnTo>
                      <a:pt x="2199" y="918"/>
                    </a:lnTo>
                    <a:lnTo>
                      <a:pt x="2198" y="911"/>
                    </a:lnTo>
                    <a:lnTo>
                      <a:pt x="2198" y="903"/>
                    </a:lnTo>
                    <a:lnTo>
                      <a:pt x="2199" y="893"/>
                    </a:lnTo>
                    <a:lnTo>
                      <a:pt x="2202" y="885"/>
                    </a:lnTo>
                    <a:lnTo>
                      <a:pt x="2204" y="877"/>
                    </a:lnTo>
                    <a:lnTo>
                      <a:pt x="2208" y="870"/>
                    </a:lnTo>
                    <a:lnTo>
                      <a:pt x="2209" y="868"/>
                    </a:lnTo>
                    <a:lnTo>
                      <a:pt x="2211" y="866"/>
                    </a:lnTo>
                    <a:lnTo>
                      <a:pt x="2213" y="864"/>
                    </a:lnTo>
                    <a:lnTo>
                      <a:pt x="2215" y="864"/>
                    </a:lnTo>
                    <a:lnTo>
                      <a:pt x="2219" y="862"/>
                    </a:lnTo>
                    <a:lnTo>
                      <a:pt x="2226" y="857"/>
                    </a:lnTo>
                    <a:lnTo>
                      <a:pt x="2232" y="850"/>
                    </a:lnTo>
                    <a:lnTo>
                      <a:pt x="2239" y="843"/>
                    </a:lnTo>
                    <a:lnTo>
                      <a:pt x="2247" y="837"/>
                    </a:lnTo>
                    <a:lnTo>
                      <a:pt x="2254" y="834"/>
                    </a:lnTo>
                    <a:lnTo>
                      <a:pt x="2257" y="833"/>
                    </a:lnTo>
                    <a:lnTo>
                      <a:pt x="2260" y="833"/>
                    </a:lnTo>
                    <a:lnTo>
                      <a:pt x="2262" y="834"/>
                    </a:lnTo>
                    <a:lnTo>
                      <a:pt x="2265" y="836"/>
                    </a:lnTo>
                    <a:lnTo>
                      <a:pt x="2269" y="840"/>
                    </a:lnTo>
                    <a:lnTo>
                      <a:pt x="2271" y="842"/>
                    </a:lnTo>
                    <a:lnTo>
                      <a:pt x="2273" y="841"/>
                    </a:lnTo>
                    <a:lnTo>
                      <a:pt x="2275" y="839"/>
                    </a:lnTo>
                    <a:lnTo>
                      <a:pt x="2276" y="836"/>
                    </a:lnTo>
                    <a:lnTo>
                      <a:pt x="2278" y="832"/>
                    </a:lnTo>
                    <a:lnTo>
                      <a:pt x="2280" y="828"/>
                    </a:lnTo>
                    <a:lnTo>
                      <a:pt x="2283" y="825"/>
                    </a:lnTo>
                    <a:lnTo>
                      <a:pt x="2288" y="821"/>
                    </a:lnTo>
                    <a:lnTo>
                      <a:pt x="2297" y="814"/>
                    </a:lnTo>
                    <a:lnTo>
                      <a:pt x="2307" y="804"/>
                    </a:lnTo>
                    <a:lnTo>
                      <a:pt x="2317" y="793"/>
                    </a:lnTo>
                    <a:lnTo>
                      <a:pt x="2326" y="781"/>
                    </a:lnTo>
                    <a:lnTo>
                      <a:pt x="2334" y="770"/>
                    </a:lnTo>
                    <a:lnTo>
                      <a:pt x="2336" y="766"/>
                    </a:lnTo>
                    <a:lnTo>
                      <a:pt x="2338" y="760"/>
                    </a:lnTo>
                    <a:lnTo>
                      <a:pt x="2338" y="757"/>
                    </a:lnTo>
                    <a:lnTo>
                      <a:pt x="2337" y="754"/>
                    </a:lnTo>
                    <a:lnTo>
                      <a:pt x="2330" y="745"/>
                    </a:lnTo>
                    <a:lnTo>
                      <a:pt x="2327" y="735"/>
                    </a:lnTo>
                    <a:lnTo>
                      <a:pt x="2325" y="729"/>
                    </a:lnTo>
                    <a:lnTo>
                      <a:pt x="2325" y="727"/>
                    </a:lnTo>
                    <a:lnTo>
                      <a:pt x="2328" y="731"/>
                    </a:lnTo>
                    <a:lnTo>
                      <a:pt x="2338" y="741"/>
                    </a:lnTo>
                    <a:lnTo>
                      <a:pt x="2343" y="747"/>
                    </a:lnTo>
                    <a:lnTo>
                      <a:pt x="2349" y="751"/>
                    </a:lnTo>
                    <a:lnTo>
                      <a:pt x="2352" y="752"/>
                    </a:lnTo>
                    <a:lnTo>
                      <a:pt x="2357" y="753"/>
                    </a:lnTo>
                    <a:lnTo>
                      <a:pt x="2360" y="754"/>
                    </a:lnTo>
                    <a:lnTo>
                      <a:pt x="2363" y="754"/>
                    </a:lnTo>
                    <a:lnTo>
                      <a:pt x="2374" y="750"/>
                    </a:lnTo>
                    <a:lnTo>
                      <a:pt x="2391" y="742"/>
                    </a:lnTo>
                    <a:lnTo>
                      <a:pt x="2412" y="731"/>
                    </a:lnTo>
                    <a:lnTo>
                      <a:pt x="2435" y="718"/>
                    </a:lnTo>
                    <a:lnTo>
                      <a:pt x="2475" y="696"/>
                    </a:lnTo>
                    <a:lnTo>
                      <a:pt x="2493" y="686"/>
                    </a:lnTo>
                    <a:lnTo>
                      <a:pt x="2485" y="682"/>
                    </a:lnTo>
                    <a:lnTo>
                      <a:pt x="2470" y="673"/>
                    </a:lnTo>
                    <a:lnTo>
                      <a:pt x="2459" y="669"/>
                    </a:lnTo>
                    <a:lnTo>
                      <a:pt x="2450" y="665"/>
                    </a:lnTo>
                    <a:lnTo>
                      <a:pt x="2445" y="664"/>
                    </a:lnTo>
                    <a:lnTo>
                      <a:pt x="2440" y="663"/>
                    </a:lnTo>
                    <a:lnTo>
                      <a:pt x="2436" y="663"/>
                    </a:lnTo>
                    <a:lnTo>
                      <a:pt x="2432" y="664"/>
                    </a:lnTo>
                    <a:lnTo>
                      <a:pt x="2426" y="665"/>
                    </a:lnTo>
                    <a:lnTo>
                      <a:pt x="2420" y="664"/>
                    </a:lnTo>
                    <a:lnTo>
                      <a:pt x="2416" y="661"/>
                    </a:lnTo>
                    <a:lnTo>
                      <a:pt x="2413" y="658"/>
                    </a:lnTo>
                    <a:lnTo>
                      <a:pt x="2411" y="654"/>
                    </a:lnTo>
                    <a:lnTo>
                      <a:pt x="2410" y="651"/>
                    </a:lnTo>
                    <a:lnTo>
                      <a:pt x="2411" y="648"/>
                    </a:lnTo>
                    <a:lnTo>
                      <a:pt x="2413" y="646"/>
                    </a:lnTo>
                    <a:lnTo>
                      <a:pt x="2420" y="642"/>
                    </a:lnTo>
                    <a:lnTo>
                      <a:pt x="2430" y="640"/>
                    </a:lnTo>
                    <a:lnTo>
                      <a:pt x="2434" y="638"/>
                    </a:lnTo>
                    <a:lnTo>
                      <a:pt x="2437" y="636"/>
                    </a:lnTo>
                    <a:lnTo>
                      <a:pt x="2437" y="635"/>
                    </a:lnTo>
                    <a:lnTo>
                      <a:pt x="2437" y="634"/>
                    </a:lnTo>
                    <a:lnTo>
                      <a:pt x="2436" y="632"/>
                    </a:lnTo>
                    <a:lnTo>
                      <a:pt x="2435" y="631"/>
                    </a:lnTo>
                    <a:lnTo>
                      <a:pt x="2432" y="628"/>
                    </a:lnTo>
                    <a:lnTo>
                      <a:pt x="2430" y="625"/>
                    </a:lnTo>
                    <a:lnTo>
                      <a:pt x="2428" y="621"/>
                    </a:lnTo>
                    <a:lnTo>
                      <a:pt x="2427" y="618"/>
                    </a:lnTo>
                    <a:lnTo>
                      <a:pt x="2427" y="615"/>
                    </a:lnTo>
                    <a:lnTo>
                      <a:pt x="2428" y="613"/>
                    </a:lnTo>
                    <a:lnTo>
                      <a:pt x="2430" y="612"/>
                    </a:lnTo>
                    <a:lnTo>
                      <a:pt x="2434" y="613"/>
                    </a:lnTo>
                    <a:lnTo>
                      <a:pt x="2438" y="616"/>
                    </a:lnTo>
                    <a:lnTo>
                      <a:pt x="2444" y="621"/>
                    </a:lnTo>
                    <a:lnTo>
                      <a:pt x="2448" y="627"/>
                    </a:lnTo>
                    <a:lnTo>
                      <a:pt x="2453" y="635"/>
                    </a:lnTo>
                    <a:lnTo>
                      <a:pt x="2459" y="646"/>
                    </a:lnTo>
                    <a:lnTo>
                      <a:pt x="2462" y="651"/>
                    </a:lnTo>
                    <a:lnTo>
                      <a:pt x="2464" y="654"/>
                    </a:lnTo>
                    <a:lnTo>
                      <a:pt x="2471" y="663"/>
                    </a:lnTo>
                    <a:lnTo>
                      <a:pt x="2475" y="666"/>
                    </a:lnTo>
                    <a:lnTo>
                      <a:pt x="2479" y="669"/>
                    </a:lnTo>
                    <a:lnTo>
                      <a:pt x="2482" y="670"/>
                    </a:lnTo>
                    <a:lnTo>
                      <a:pt x="2487" y="670"/>
                    </a:lnTo>
                    <a:lnTo>
                      <a:pt x="2491" y="668"/>
                    </a:lnTo>
                    <a:lnTo>
                      <a:pt x="2495" y="665"/>
                    </a:lnTo>
                    <a:lnTo>
                      <a:pt x="2500" y="661"/>
                    </a:lnTo>
                    <a:lnTo>
                      <a:pt x="2504" y="656"/>
                    </a:lnTo>
                    <a:lnTo>
                      <a:pt x="2507" y="650"/>
                    </a:lnTo>
                    <a:lnTo>
                      <a:pt x="2509" y="645"/>
                    </a:lnTo>
                    <a:lnTo>
                      <a:pt x="2510" y="643"/>
                    </a:lnTo>
                    <a:lnTo>
                      <a:pt x="2509" y="640"/>
                    </a:lnTo>
                    <a:lnTo>
                      <a:pt x="2507" y="637"/>
                    </a:lnTo>
                    <a:lnTo>
                      <a:pt x="2506" y="635"/>
                    </a:lnTo>
                    <a:lnTo>
                      <a:pt x="2496" y="621"/>
                    </a:lnTo>
                    <a:lnTo>
                      <a:pt x="2483" y="605"/>
                    </a:lnTo>
                    <a:lnTo>
                      <a:pt x="2471" y="591"/>
                    </a:lnTo>
                    <a:lnTo>
                      <a:pt x="2460" y="579"/>
                    </a:lnTo>
                    <a:lnTo>
                      <a:pt x="2449" y="569"/>
                    </a:lnTo>
                    <a:lnTo>
                      <a:pt x="2434" y="556"/>
                    </a:lnTo>
                    <a:lnTo>
                      <a:pt x="2422" y="545"/>
                    </a:lnTo>
                    <a:lnTo>
                      <a:pt x="2416" y="541"/>
                    </a:lnTo>
                    <a:lnTo>
                      <a:pt x="2420" y="541"/>
                    </a:lnTo>
                    <a:lnTo>
                      <a:pt x="2432" y="541"/>
                    </a:lnTo>
                    <a:lnTo>
                      <a:pt x="2438" y="541"/>
                    </a:lnTo>
                    <a:lnTo>
                      <a:pt x="2445" y="542"/>
                    </a:lnTo>
                    <a:lnTo>
                      <a:pt x="2449" y="543"/>
                    </a:lnTo>
                    <a:lnTo>
                      <a:pt x="2452" y="547"/>
                    </a:lnTo>
                    <a:lnTo>
                      <a:pt x="2454" y="548"/>
                    </a:lnTo>
                    <a:lnTo>
                      <a:pt x="2456" y="548"/>
                    </a:lnTo>
                    <a:lnTo>
                      <a:pt x="2457" y="547"/>
                    </a:lnTo>
                    <a:lnTo>
                      <a:pt x="2458" y="544"/>
                    </a:lnTo>
                    <a:lnTo>
                      <a:pt x="2459" y="538"/>
                    </a:lnTo>
                    <a:lnTo>
                      <a:pt x="2459" y="536"/>
                    </a:lnTo>
                    <a:lnTo>
                      <a:pt x="2459" y="533"/>
                    </a:lnTo>
                    <a:lnTo>
                      <a:pt x="2458" y="526"/>
                    </a:lnTo>
                    <a:lnTo>
                      <a:pt x="2459" y="522"/>
                    </a:lnTo>
                    <a:lnTo>
                      <a:pt x="2460" y="520"/>
                    </a:lnTo>
                    <a:lnTo>
                      <a:pt x="2462" y="520"/>
                    </a:lnTo>
                    <a:lnTo>
                      <a:pt x="2464" y="522"/>
                    </a:lnTo>
                    <a:lnTo>
                      <a:pt x="2469" y="527"/>
                    </a:lnTo>
                    <a:lnTo>
                      <a:pt x="2474" y="529"/>
                    </a:lnTo>
                    <a:lnTo>
                      <a:pt x="2479" y="530"/>
                    </a:lnTo>
                    <a:lnTo>
                      <a:pt x="2484" y="531"/>
                    </a:lnTo>
                    <a:lnTo>
                      <a:pt x="2493" y="531"/>
                    </a:lnTo>
                    <a:lnTo>
                      <a:pt x="2497" y="531"/>
                    </a:lnTo>
                    <a:lnTo>
                      <a:pt x="2492" y="520"/>
                    </a:lnTo>
                    <a:lnTo>
                      <a:pt x="2487" y="510"/>
                    </a:lnTo>
                    <a:lnTo>
                      <a:pt x="2480" y="506"/>
                    </a:lnTo>
                    <a:lnTo>
                      <a:pt x="2469" y="497"/>
                    </a:lnTo>
                    <a:lnTo>
                      <a:pt x="2463" y="493"/>
                    </a:lnTo>
                    <a:lnTo>
                      <a:pt x="2459" y="489"/>
                    </a:lnTo>
                    <a:lnTo>
                      <a:pt x="2458" y="488"/>
                    </a:lnTo>
                    <a:lnTo>
                      <a:pt x="2458" y="486"/>
                    </a:lnTo>
                    <a:lnTo>
                      <a:pt x="2458" y="485"/>
                    </a:lnTo>
                    <a:lnTo>
                      <a:pt x="2459" y="484"/>
                    </a:lnTo>
                    <a:lnTo>
                      <a:pt x="2469" y="482"/>
                    </a:lnTo>
                    <a:lnTo>
                      <a:pt x="2480" y="479"/>
                    </a:lnTo>
                    <a:lnTo>
                      <a:pt x="2492" y="478"/>
                    </a:lnTo>
                    <a:lnTo>
                      <a:pt x="2497" y="478"/>
                    </a:lnTo>
                    <a:lnTo>
                      <a:pt x="2497" y="476"/>
                    </a:lnTo>
                    <a:lnTo>
                      <a:pt x="2492" y="470"/>
                    </a:lnTo>
                    <a:lnTo>
                      <a:pt x="2483" y="462"/>
                    </a:lnTo>
                    <a:lnTo>
                      <a:pt x="2475" y="453"/>
                    </a:lnTo>
                    <a:lnTo>
                      <a:pt x="2464" y="444"/>
                    </a:lnTo>
                    <a:lnTo>
                      <a:pt x="2455" y="432"/>
                    </a:lnTo>
                    <a:lnTo>
                      <a:pt x="2451" y="427"/>
                    </a:lnTo>
                    <a:lnTo>
                      <a:pt x="2449" y="423"/>
                    </a:lnTo>
                    <a:lnTo>
                      <a:pt x="2448" y="422"/>
                    </a:lnTo>
                    <a:lnTo>
                      <a:pt x="2448" y="421"/>
                    </a:lnTo>
                    <a:lnTo>
                      <a:pt x="2448" y="421"/>
                    </a:lnTo>
                    <a:lnTo>
                      <a:pt x="2449" y="421"/>
                    </a:lnTo>
                    <a:lnTo>
                      <a:pt x="2458" y="427"/>
                    </a:lnTo>
                    <a:lnTo>
                      <a:pt x="2472" y="435"/>
                    </a:lnTo>
                    <a:lnTo>
                      <a:pt x="2479" y="440"/>
                    </a:lnTo>
                    <a:lnTo>
                      <a:pt x="2484" y="442"/>
                    </a:lnTo>
                    <a:lnTo>
                      <a:pt x="2487" y="443"/>
                    </a:lnTo>
                    <a:lnTo>
                      <a:pt x="2489" y="443"/>
                    </a:lnTo>
                    <a:lnTo>
                      <a:pt x="2490" y="443"/>
                    </a:lnTo>
                    <a:lnTo>
                      <a:pt x="2490" y="442"/>
                    </a:lnTo>
                    <a:lnTo>
                      <a:pt x="2482" y="431"/>
                    </a:lnTo>
                    <a:lnTo>
                      <a:pt x="2469" y="413"/>
                    </a:lnTo>
                    <a:lnTo>
                      <a:pt x="2454" y="398"/>
                    </a:lnTo>
                    <a:lnTo>
                      <a:pt x="2447" y="389"/>
                    </a:lnTo>
                    <a:lnTo>
                      <a:pt x="2440" y="387"/>
                    </a:lnTo>
                    <a:lnTo>
                      <a:pt x="2433" y="383"/>
                    </a:lnTo>
                    <a:lnTo>
                      <a:pt x="2430" y="380"/>
                    </a:lnTo>
                    <a:lnTo>
                      <a:pt x="2427" y="378"/>
                    </a:lnTo>
                    <a:lnTo>
                      <a:pt x="2426" y="375"/>
                    </a:lnTo>
                    <a:lnTo>
                      <a:pt x="2427" y="371"/>
                    </a:lnTo>
                    <a:lnTo>
                      <a:pt x="2429" y="367"/>
                    </a:lnTo>
                    <a:lnTo>
                      <a:pt x="2432" y="364"/>
                    </a:lnTo>
                    <a:lnTo>
                      <a:pt x="2435" y="361"/>
                    </a:lnTo>
                    <a:lnTo>
                      <a:pt x="2438" y="359"/>
                    </a:lnTo>
                    <a:lnTo>
                      <a:pt x="2442" y="357"/>
                    </a:lnTo>
                    <a:lnTo>
                      <a:pt x="2447" y="357"/>
                    </a:lnTo>
                    <a:lnTo>
                      <a:pt x="2450" y="357"/>
                    </a:lnTo>
                    <a:lnTo>
                      <a:pt x="2454" y="359"/>
                    </a:lnTo>
                    <a:lnTo>
                      <a:pt x="2473" y="375"/>
                    </a:lnTo>
                    <a:lnTo>
                      <a:pt x="2482" y="381"/>
                    </a:lnTo>
                    <a:lnTo>
                      <a:pt x="2481" y="375"/>
                    </a:lnTo>
                    <a:lnTo>
                      <a:pt x="2478" y="362"/>
                    </a:lnTo>
                    <a:lnTo>
                      <a:pt x="2474" y="350"/>
                    </a:lnTo>
                    <a:lnTo>
                      <a:pt x="2472" y="344"/>
                    </a:lnTo>
                    <a:lnTo>
                      <a:pt x="2467" y="343"/>
                    </a:lnTo>
                    <a:lnTo>
                      <a:pt x="2460" y="343"/>
                    </a:lnTo>
                    <a:lnTo>
                      <a:pt x="2455" y="342"/>
                    </a:lnTo>
                    <a:lnTo>
                      <a:pt x="2448" y="340"/>
                    </a:lnTo>
                    <a:lnTo>
                      <a:pt x="2444" y="339"/>
                    </a:lnTo>
                    <a:lnTo>
                      <a:pt x="2440" y="337"/>
                    </a:lnTo>
                    <a:lnTo>
                      <a:pt x="2438" y="335"/>
                    </a:lnTo>
                    <a:lnTo>
                      <a:pt x="2438" y="334"/>
                    </a:lnTo>
                    <a:lnTo>
                      <a:pt x="2440" y="330"/>
                    </a:lnTo>
                    <a:lnTo>
                      <a:pt x="2444" y="325"/>
                    </a:lnTo>
                    <a:lnTo>
                      <a:pt x="2446" y="322"/>
                    </a:lnTo>
                    <a:lnTo>
                      <a:pt x="2446" y="319"/>
                    </a:lnTo>
                    <a:lnTo>
                      <a:pt x="2438" y="318"/>
                    </a:lnTo>
                    <a:lnTo>
                      <a:pt x="2428" y="319"/>
                    </a:lnTo>
                    <a:lnTo>
                      <a:pt x="2424" y="319"/>
                    </a:lnTo>
                    <a:lnTo>
                      <a:pt x="2419" y="317"/>
                    </a:lnTo>
                    <a:lnTo>
                      <a:pt x="2417" y="316"/>
                    </a:lnTo>
                    <a:lnTo>
                      <a:pt x="2415" y="315"/>
                    </a:lnTo>
                    <a:lnTo>
                      <a:pt x="2413" y="313"/>
                    </a:lnTo>
                    <a:lnTo>
                      <a:pt x="2412" y="311"/>
                    </a:lnTo>
                    <a:lnTo>
                      <a:pt x="2411" y="306"/>
                    </a:lnTo>
                    <a:lnTo>
                      <a:pt x="2410" y="301"/>
                    </a:lnTo>
                    <a:lnTo>
                      <a:pt x="2410" y="300"/>
                    </a:lnTo>
                    <a:lnTo>
                      <a:pt x="2410" y="299"/>
                    </a:lnTo>
                    <a:lnTo>
                      <a:pt x="2411" y="297"/>
                    </a:lnTo>
                    <a:lnTo>
                      <a:pt x="2413" y="297"/>
                    </a:lnTo>
                    <a:lnTo>
                      <a:pt x="2417" y="296"/>
                    </a:lnTo>
                    <a:lnTo>
                      <a:pt x="2422" y="296"/>
                    </a:lnTo>
                    <a:lnTo>
                      <a:pt x="2423" y="295"/>
                    </a:lnTo>
                    <a:lnTo>
                      <a:pt x="2423" y="293"/>
                    </a:lnTo>
                    <a:lnTo>
                      <a:pt x="2422" y="291"/>
                    </a:lnTo>
                    <a:lnTo>
                      <a:pt x="2418" y="287"/>
                    </a:lnTo>
                    <a:lnTo>
                      <a:pt x="2411" y="278"/>
                    </a:lnTo>
                    <a:lnTo>
                      <a:pt x="2406" y="272"/>
                    </a:lnTo>
                    <a:lnTo>
                      <a:pt x="2405" y="270"/>
                    </a:lnTo>
                    <a:lnTo>
                      <a:pt x="2404" y="268"/>
                    </a:lnTo>
                    <a:lnTo>
                      <a:pt x="2403" y="267"/>
                    </a:lnTo>
                    <a:lnTo>
                      <a:pt x="2404" y="266"/>
                    </a:lnTo>
                    <a:lnTo>
                      <a:pt x="2416" y="262"/>
                    </a:lnTo>
                    <a:lnTo>
                      <a:pt x="2426" y="258"/>
                    </a:lnTo>
                    <a:lnTo>
                      <a:pt x="2417" y="246"/>
                    </a:lnTo>
                    <a:lnTo>
                      <a:pt x="2410" y="235"/>
                    </a:lnTo>
                    <a:lnTo>
                      <a:pt x="2417" y="232"/>
                    </a:lnTo>
                    <a:lnTo>
                      <a:pt x="2424" y="228"/>
                    </a:lnTo>
                    <a:lnTo>
                      <a:pt x="2416" y="224"/>
                    </a:lnTo>
                    <a:lnTo>
                      <a:pt x="2410" y="221"/>
                    </a:lnTo>
                    <a:lnTo>
                      <a:pt x="2411" y="222"/>
                    </a:lnTo>
                    <a:lnTo>
                      <a:pt x="2412" y="225"/>
                    </a:lnTo>
                    <a:lnTo>
                      <a:pt x="2412" y="226"/>
                    </a:lnTo>
                    <a:lnTo>
                      <a:pt x="2411" y="226"/>
                    </a:lnTo>
                    <a:lnTo>
                      <a:pt x="2409" y="226"/>
                    </a:lnTo>
                    <a:lnTo>
                      <a:pt x="2406" y="225"/>
                    </a:lnTo>
                    <a:lnTo>
                      <a:pt x="2400" y="223"/>
                    </a:lnTo>
                    <a:lnTo>
                      <a:pt x="2395" y="222"/>
                    </a:lnTo>
                    <a:lnTo>
                      <a:pt x="2393" y="220"/>
                    </a:lnTo>
                    <a:lnTo>
                      <a:pt x="2392" y="217"/>
                    </a:lnTo>
                    <a:lnTo>
                      <a:pt x="2392" y="213"/>
                    </a:lnTo>
                    <a:lnTo>
                      <a:pt x="2392" y="211"/>
                    </a:lnTo>
                    <a:lnTo>
                      <a:pt x="2394" y="209"/>
                    </a:lnTo>
                    <a:lnTo>
                      <a:pt x="2396" y="207"/>
                    </a:lnTo>
                    <a:lnTo>
                      <a:pt x="2403" y="210"/>
                    </a:lnTo>
                    <a:lnTo>
                      <a:pt x="2412" y="217"/>
                    </a:lnTo>
                    <a:lnTo>
                      <a:pt x="2417" y="220"/>
                    </a:lnTo>
                    <a:lnTo>
                      <a:pt x="2423" y="222"/>
                    </a:lnTo>
                    <a:lnTo>
                      <a:pt x="2426" y="223"/>
                    </a:lnTo>
                    <a:lnTo>
                      <a:pt x="2429" y="222"/>
                    </a:lnTo>
                    <a:lnTo>
                      <a:pt x="2433" y="219"/>
                    </a:lnTo>
                    <a:lnTo>
                      <a:pt x="2436" y="218"/>
                    </a:lnTo>
                    <a:lnTo>
                      <a:pt x="2436" y="217"/>
                    </a:lnTo>
                    <a:lnTo>
                      <a:pt x="2436" y="215"/>
                    </a:lnTo>
                    <a:lnTo>
                      <a:pt x="2435" y="214"/>
                    </a:lnTo>
                    <a:lnTo>
                      <a:pt x="2433" y="213"/>
                    </a:lnTo>
                    <a:lnTo>
                      <a:pt x="2429" y="210"/>
                    </a:lnTo>
                    <a:lnTo>
                      <a:pt x="2425" y="207"/>
                    </a:lnTo>
                    <a:lnTo>
                      <a:pt x="2418" y="205"/>
                    </a:lnTo>
                    <a:lnTo>
                      <a:pt x="2409" y="202"/>
                    </a:lnTo>
                    <a:lnTo>
                      <a:pt x="2397" y="198"/>
                    </a:lnTo>
                    <a:lnTo>
                      <a:pt x="2389" y="193"/>
                    </a:lnTo>
                    <a:lnTo>
                      <a:pt x="2386" y="192"/>
                    </a:lnTo>
                    <a:lnTo>
                      <a:pt x="2384" y="191"/>
                    </a:lnTo>
                    <a:lnTo>
                      <a:pt x="2382" y="191"/>
                    </a:lnTo>
                    <a:lnTo>
                      <a:pt x="2380" y="191"/>
                    </a:lnTo>
                    <a:lnTo>
                      <a:pt x="2374" y="192"/>
                    </a:lnTo>
                    <a:lnTo>
                      <a:pt x="2369" y="191"/>
                    </a:lnTo>
                    <a:lnTo>
                      <a:pt x="2366" y="190"/>
                    </a:lnTo>
                    <a:lnTo>
                      <a:pt x="2366" y="189"/>
                    </a:lnTo>
                    <a:lnTo>
                      <a:pt x="2368" y="188"/>
                    </a:lnTo>
                    <a:lnTo>
                      <a:pt x="2371" y="186"/>
                    </a:lnTo>
                    <a:lnTo>
                      <a:pt x="2374" y="186"/>
                    </a:lnTo>
                    <a:lnTo>
                      <a:pt x="2379" y="187"/>
                    </a:lnTo>
                    <a:lnTo>
                      <a:pt x="2384" y="189"/>
                    </a:lnTo>
                    <a:lnTo>
                      <a:pt x="2390" y="192"/>
                    </a:lnTo>
                    <a:lnTo>
                      <a:pt x="2397" y="196"/>
                    </a:lnTo>
                    <a:lnTo>
                      <a:pt x="2404" y="196"/>
                    </a:lnTo>
                    <a:lnTo>
                      <a:pt x="2410" y="197"/>
                    </a:lnTo>
                    <a:lnTo>
                      <a:pt x="2418" y="199"/>
                    </a:lnTo>
                    <a:lnTo>
                      <a:pt x="2425" y="202"/>
                    </a:lnTo>
                    <a:lnTo>
                      <a:pt x="2427" y="203"/>
                    </a:lnTo>
                    <a:lnTo>
                      <a:pt x="2428" y="203"/>
                    </a:lnTo>
                    <a:lnTo>
                      <a:pt x="2431" y="204"/>
                    </a:lnTo>
                    <a:lnTo>
                      <a:pt x="2434" y="204"/>
                    </a:lnTo>
                    <a:lnTo>
                      <a:pt x="2437" y="202"/>
                    </a:lnTo>
                    <a:lnTo>
                      <a:pt x="2442" y="200"/>
                    </a:lnTo>
                    <a:lnTo>
                      <a:pt x="2449" y="199"/>
                    </a:lnTo>
                    <a:lnTo>
                      <a:pt x="2452" y="199"/>
                    </a:lnTo>
                    <a:lnTo>
                      <a:pt x="2454" y="198"/>
                    </a:lnTo>
                    <a:lnTo>
                      <a:pt x="2454" y="197"/>
                    </a:lnTo>
                    <a:lnTo>
                      <a:pt x="2452" y="196"/>
                    </a:lnTo>
                    <a:lnTo>
                      <a:pt x="2440" y="188"/>
                    </a:lnTo>
                    <a:lnTo>
                      <a:pt x="2422" y="177"/>
                    </a:lnTo>
                    <a:lnTo>
                      <a:pt x="2401" y="165"/>
                    </a:lnTo>
                    <a:lnTo>
                      <a:pt x="2384" y="159"/>
                    </a:lnTo>
                    <a:lnTo>
                      <a:pt x="2380" y="158"/>
                    </a:lnTo>
                    <a:lnTo>
                      <a:pt x="2379" y="159"/>
                    </a:lnTo>
                    <a:lnTo>
                      <a:pt x="2378" y="160"/>
                    </a:lnTo>
                    <a:lnTo>
                      <a:pt x="2379" y="162"/>
                    </a:lnTo>
                    <a:lnTo>
                      <a:pt x="2380" y="163"/>
                    </a:lnTo>
                    <a:lnTo>
                      <a:pt x="2380" y="164"/>
                    </a:lnTo>
                    <a:lnTo>
                      <a:pt x="2378" y="164"/>
                    </a:lnTo>
                    <a:lnTo>
                      <a:pt x="2373" y="161"/>
                    </a:lnTo>
                    <a:lnTo>
                      <a:pt x="2361" y="155"/>
                    </a:lnTo>
                    <a:lnTo>
                      <a:pt x="2360" y="155"/>
                    </a:lnTo>
                    <a:lnTo>
                      <a:pt x="2363" y="157"/>
                    </a:lnTo>
                    <a:lnTo>
                      <a:pt x="2371" y="161"/>
                    </a:lnTo>
                    <a:lnTo>
                      <a:pt x="2376" y="164"/>
                    </a:lnTo>
                    <a:lnTo>
                      <a:pt x="2376" y="164"/>
                    </a:lnTo>
                    <a:lnTo>
                      <a:pt x="2368" y="163"/>
                    </a:lnTo>
                    <a:lnTo>
                      <a:pt x="2358" y="159"/>
                    </a:lnTo>
                    <a:lnTo>
                      <a:pt x="2351" y="154"/>
                    </a:lnTo>
                    <a:lnTo>
                      <a:pt x="2346" y="150"/>
                    </a:lnTo>
                    <a:lnTo>
                      <a:pt x="2345" y="149"/>
                    </a:lnTo>
                    <a:lnTo>
                      <a:pt x="2343" y="148"/>
                    </a:lnTo>
                    <a:lnTo>
                      <a:pt x="2342" y="148"/>
                    </a:lnTo>
                    <a:lnTo>
                      <a:pt x="2342" y="149"/>
                    </a:lnTo>
                    <a:lnTo>
                      <a:pt x="2334" y="153"/>
                    </a:lnTo>
                    <a:lnTo>
                      <a:pt x="2329" y="156"/>
                    </a:lnTo>
                    <a:lnTo>
                      <a:pt x="2330" y="164"/>
                    </a:lnTo>
                    <a:lnTo>
                      <a:pt x="2330" y="170"/>
                    </a:lnTo>
                    <a:lnTo>
                      <a:pt x="2324" y="171"/>
                    </a:lnTo>
                    <a:lnTo>
                      <a:pt x="2316" y="170"/>
                    </a:lnTo>
                    <a:lnTo>
                      <a:pt x="2313" y="169"/>
                    </a:lnTo>
                    <a:lnTo>
                      <a:pt x="2310" y="167"/>
                    </a:lnTo>
                    <a:lnTo>
                      <a:pt x="2309" y="167"/>
                    </a:lnTo>
                    <a:lnTo>
                      <a:pt x="2309" y="166"/>
                    </a:lnTo>
                    <a:lnTo>
                      <a:pt x="2309" y="165"/>
                    </a:lnTo>
                    <a:lnTo>
                      <a:pt x="2310" y="165"/>
                    </a:lnTo>
                    <a:lnTo>
                      <a:pt x="2315" y="163"/>
                    </a:lnTo>
                    <a:lnTo>
                      <a:pt x="2318" y="161"/>
                    </a:lnTo>
                    <a:lnTo>
                      <a:pt x="2320" y="159"/>
                    </a:lnTo>
                    <a:lnTo>
                      <a:pt x="2320" y="156"/>
                    </a:lnTo>
                    <a:lnTo>
                      <a:pt x="2321" y="149"/>
                    </a:lnTo>
                    <a:lnTo>
                      <a:pt x="2320" y="143"/>
                    </a:lnTo>
                    <a:lnTo>
                      <a:pt x="2316" y="138"/>
                    </a:lnTo>
                    <a:lnTo>
                      <a:pt x="2309" y="132"/>
                    </a:lnTo>
                    <a:lnTo>
                      <a:pt x="2302" y="126"/>
                    </a:lnTo>
                    <a:lnTo>
                      <a:pt x="2297" y="124"/>
                    </a:lnTo>
                    <a:lnTo>
                      <a:pt x="2290" y="123"/>
                    </a:lnTo>
                    <a:lnTo>
                      <a:pt x="2283" y="122"/>
                    </a:lnTo>
                    <a:lnTo>
                      <a:pt x="2281" y="122"/>
                    </a:lnTo>
                    <a:lnTo>
                      <a:pt x="2279" y="122"/>
                    </a:lnTo>
                    <a:lnTo>
                      <a:pt x="2278" y="122"/>
                    </a:lnTo>
                    <a:lnTo>
                      <a:pt x="2278" y="123"/>
                    </a:lnTo>
                    <a:lnTo>
                      <a:pt x="2279" y="125"/>
                    </a:lnTo>
                    <a:lnTo>
                      <a:pt x="2278" y="126"/>
                    </a:lnTo>
                    <a:lnTo>
                      <a:pt x="2277" y="126"/>
                    </a:lnTo>
                    <a:lnTo>
                      <a:pt x="2275" y="127"/>
                    </a:lnTo>
                    <a:lnTo>
                      <a:pt x="2271" y="128"/>
                    </a:lnTo>
                    <a:lnTo>
                      <a:pt x="2265" y="128"/>
                    </a:lnTo>
                    <a:lnTo>
                      <a:pt x="2251" y="126"/>
                    </a:lnTo>
                    <a:lnTo>
                      <a:pt x="2241" y="125"/>
                    </a:lnTo>
                    <a:lnTo>
                      <a:pt x="2252" y="124"/>
                    </a:lnTo>
                    <a:lnTo>
                      <a:pt x="2263" y="124"/>
                    </a:lnTo>
                    <a:lnTo>
                      <a:pt x="2264" y="123"/>
                    </a:lnTo>
                    <a:lnTo>
                      <a:pt x="2266" y="123"/>
                    </a:lnTo>
                    <a:lnTo>
                      <a:pt x="2266" y="121"/>
                    </a:lnTo>
                    <a:lnTo>
                      <a:pt x="2265" y="120"/>
                    </a:lnTo>
                    <a:lnTo>
                      <a:pt x="2257" y="115"/>
                    </a:lnTo>
                    <a:lnTo>
                      <a:pt x="2247" y="111"/>
                    </a:lnTo>
                    <a:lnTo>
                      <a:pt x="2240" y="109"/>
                    </a:lnTo>
                    <a:lnTo>
                      <a:pt x="2230" y="106"/>
                    </a:lnTo>
                    <a:lnTo>
                      <a:pt x="2218" y="103"/>
                    </a:lnTo>
                    <a:lnTo>
                      <a:pt x="2207" y="101"/>
                    </a:lnTo>
                    <a:lnTo>
                      <a:pt x="2191" y="101"/>
                    </a:lnTo>
                    <a:lnTo>
                      <a:pt x="2176" y="100"/>
                    </a:lnTo>
                    <a:lnTo>
                      <a:pt x="2166" y="99"/>
                    </a:lnTo>
                    <a:lnTo>
                      <a:pt x="2158" y="98"/>
                    </a:lnTo>
                    <a:lnTo>
                      <a:pt x="2154" y="97"/>
                    </a:lnTo>
                    <a:lnTo>
                      <a:pt x="2152" y="96"/>
                    </a:lnTo>
                    <a:lnTo>
                      <a:pt x="2151" y="95"/>
                    </a:lnTo>
                    <a:lnTo>
                      <a:pt x="2152" y="94"/>
                    </a:lnTo>
                    <a:lnTo>
                      <a:pt x="2158" y="93"/>
                    </a:lnTo>
                    <a:lnTo>
                      <a:pt x="2164" y="92"/>
                    </a:lnTo>
                    <a:lnTo>
                      <a:pt x="2170" y="92"/>
                    </a:lnTo>
                    <a:lnTo>
                      <a:pt x="2177" y="93"/>
                    </a:lnTo>
                    <a:lnTo>
                      <a:pt x="2185" y="93"/>
                    </a:lnTo>
                    <a:lnTo>
                      <a:pt x="2195" y="95"/>
                    </a:lnTo>
                    <a:lnTo>
                      <a:pt x="2207" y="97"/>
                    </a:lnTo>
                    <a:lnTo>
                      <a:pt x="2218" y="99"/>
                    </a:lnTo>
                    <a:lnTo>
                      <a:pt x="2228" y="103"/>
                    </a:lnTo>
                    <a:lnTo>
                      <a:pt x="2238" y="106"/>
                    </a:lnTo>
                    <a:lnTo>
                      <a:pt x="2246" y="109"/>
                    </a:lnTo>
                    <a:lnTo>
                      <a:pt x="2251" y="110"/>
                    </a:lnTo>
                    <a:lnTo>
                      <a:pt x="2262" y="112"/>
                    </a:lnTo>
                    <a:lnTo>
                      <a:pt x="2280" y="115"/>
                    </a:lnTo>
                    <a:lnTo>
                      <a:pt x="2292" y="118"/>
                    </a:lnTo>
                    <a:lnTo>
                      <a:pt x="2296" y="118"/>
                    </a:lnTo>
                    <a:lnTo>
                      <a:pt x="2296" y="117"/>
                    </a:lnTo>
                    <a:lnTo>
                      <a:pt x="2288" y="113"/>
                    </a:lnTo>
                    <a:lnTo>
                      <a:pt x="2277" y="108"/>
                    </a:lnTo>
                    <a:lnTo>
                      <a:pt x="2262" y="102"/>
                    </a:lnTo>
                    <a:lnTo>
                      <a:pt x="2250" y="97"/>
                    </a:lnTo>
                    <a:lnTo>
                      <a:pt x="2243" y="95"/>
                    </a:lnTo>
                    <a:lnTo>
                      <a:pt x="2239" y="94"/>
                    </a:lnTo>
                    <a:lnTo>
                      <a:pt x="2233" y="92"/>
                    </a:lnTo>
                    <a:lnTo>
                      <a:pt x="2234" y="92"/>
                    </a:lnTo>
                    <a:lnTo>
                      <a:pt x="2233" y="90"/>
                    </a:lnTo>
                    <a:lnTo>
                      <a:pt x="2228" y="87"/>
                    </a:lnTo>
                    <a:lnTo>
                      <a:pt x="2218" y="83"/>
                    </a:lnTo>
                    <a:lnTo>
                      <a:pt x="2208" y="81"/>
                    </a:lnTo>
                    <a:lnTo>
                      <a:pt x="2193" y="77"/>
                    </a:lnTo>
                    <a:lnTo>
                      <a:pt x="2183" y="74"/>
                    </a:lnTo>
                    <a:lnTo>
                      <a:pt x="2172" y="70"/>
                    </a:lnTo>
                    <a:lnTo>
                      <a:pt x="2162" y="67"/>
                    </a:lnTo>
                    <a:lnTo>
                      <a:pt x="2153" y="65"/>
                    </a:lnTo>
                    <a:lnTo>
                      <a:pt x="2141" y="62"/>
                    </a:lnTo>
                    <a:lnTo>
                      <a:pt x="2125" y="59"/>
                    </a:lnTo>
                    <a:lnTo>
                      <a:pt x="2116" y="57"/>
                    </a:lnTo>
                    <a:lnTo>
                      <a:pt x="2104" y="55"/>
                    </a:lnTo>
                    <a:lnTo>
                      <a:pt x="2095" y="53"/>
                    </a:lnTo>
                    <a:lnTo>
                      <a:pt x="2093" y="52"/>
                    </a:lnTo>
                    <a:lnTo>
                      <a:pt x="2104" y="54"/>
                    </a:lnTo>
                    <a:lnTo>
                      <a:pt x="2124" y="57"/>
                    </a:lnTo>
                    <a:lnTo>
                      <a:pt x="2133" y="58"/>
                    </a:lnTo>
                    <a:lnTo>
                      <a:pt x="2142" y="60"/>
                    </a:lnTo>
                    <a:lnTo>
                      <a:pt x="2150" y="62"/>
                    </a:lnTo>
                    <a:lnTo>
                      <a:pt x="2155" y="64"/>
                    </a:lnTo>
                    <a:lnTo>
                      <a:pt x="2167" y="68"/>
                    </a:lnTo>
                    <a:lnTo>
                      <a:pt x="2183" y="72"/>
                    </a:lnTo>
                    <a:lnTo>
                      <a:pt x="2196" y="76"/>
                    </a:lnTo>
                    <a:lnTo>
                      <a:pt x="2204" y="78"/>
                    </a:lnTo>
                    <a:lnTo>
                      <a:pt x="2209" y="80"/>
                    </a:lnTo>
                    <a:lnTo>
                      <a:pt x="2214" y="81"/>
                    </a:lnTo>
                    <a:lnTo>
                      <a:pt x="2207" y="79"/>
                    </a:lnTo>
                    <a:lnTo>
                      <a:pt x="2193" y="74"/>
                    </a:lnTo>
                    <a:lnTo>
                      <a:pt x="2178" y="69"/>
                    </a:lnTo>
                    <a:lnTo>
                      <a:pt x="2166" y="66"/>
                    </a:lnTo>
                    <a:lnTo>
                      <a:pt x="2156" y="62"/>
                    </a:lnTo>
                    <a:lnTo>
                      <a:pt x="2144" y="58"/>
                    </a:lnTo>
                    <a:lnTo>
                      <a:pt x="2132" y="55"/>
                    </a:lnTo>
                    <a:lnTo>
                      <a:pt x="2122" y="52"/>
                    </a:lnTo>
                    <a:lnTo>
                      <a:pt x="2110" y="49"/>
                    </a:lnTo>
                    <a:lnTo>
                      <a:pt x="2096" y="45"/>
                    </a:lnTo>
                    <a:lnTo>
                      <a:pt x="2081" y="40"/>
                    </a:lnTo>
                    <a:lnTo>
                      <a:pt x="2068" y="37"/>
                    </a:lnTo>
                    <a:lnTo>
                      <a:pt x="2065" y="37"/>
                    </a:lnTo>
                    <a:lnTo>
                      <a:pt x="2064" y="37"/>
                    </a:lnTo>
                    <a:lnTo>
                      <a:pt x="2064" y="37"/>
                    </a:lnTo>
                    <a:lnTo>
                      <a:pt x="2066" y="38"/>
                    </a:lnTo>
                    <a:lnTo>
                      <a:pt x="2072" y="39"/>
                    </a:lnTo>
                    <a:lnTo>
                      <a:pt x="2072" y="40"/>
                    </a:lnTo>
                    <a:lnTo>
                      <a:pt x="2059" y="37"/>
                    </a:lnTo>
                    <a:lnTo>
                      <a:pt x="2052" y="35"/>
                    </a:lnTo>
                    <a:lnTo>
                      <a:pt x="2053" y="35"/>
                    </a:lnTo>
                    <a:lnTo>
                      <a:pt x="2055" y="36"/>
                    </a:lnTo>
                    <a:lnTo>
                      <a:pt x="2056" y="37"/>
                    </a:lnTo>
                    <a:lnTo>
                      <a:pt x="2051" y="36"/>
                    </a:lnTo>
                    <a:lnTo>
                      <a:pt x="2041" y="33"/>
                    </a:lnTo>
                    <a:lnTo>
                      <a:pt x="2039" y="33"/>
                    </a:lnTo>
                    <a:lnTo>
                      <a:pt x="2040" y="34"/>
                    </a:lnTo>
                    <a:lnTo>
                      <a:pt x="2045" y="36"/>
                    </a:lnTo>
                    <a:lnTo>
                      <a:pt x="2052" y="38"/>
                    </a:lnTo>
                    <a:lnTo>
                      <a:pt x="2059" y="39"/>
                    </a:lnTo>
                    <a:lnTo>
                      <a:pt x="2061" y="40"/>
                    </a:lnTo>
                    <a:lnTo>
                      <a:pt x="2063" y="42"/>
                    </a:lnTo>
                    <a:lnTo>
                      <a:pt x="2062" y="42"/>
                    </a:lnTo>
                    <a:lnTo>
                      <a:pt x="2060" y="42"/>
                    </a:lnTo>
                    <a:lnTo>
                      <a:pt x="2052" y="39"/>
                    </a:lnTo>
                    <a:lnTo>
                      <a:pt x="2042" y="37"/>
                    </a:lnTo>
                    <a:lnTo>
                      <a:pt x="2037" y="36"/>
                    </a:lnTo>
                    <a:lnTo>
                      <a:pt x="2038" y="37"/>
                    </a:lnTo>
                    <a:lnTo>
                      <a:pt x="2049" y="40"/>
                    </a:lnTo>
                    <a:lnTo>
                      <a:pt x="2050" y="42"/>
                    </a:lnTo>
                    <a:lnTo>
                      <a:pt x="2043" y="40"/>
                    </a:lnTo>
                    <a:lnTo>
                      <a:pt x="2043" y="40"/>
                    </a:lnTo>
                    <a:lnTo>
                      <a:pt x="2047" y="43"/>
                    </a:lnTo>
                    <a:lnTo>
                      <a:pt x="2053" y="45"/>
                    </a:lnTo>
                    <a:lnTo>
                      <a:pt x="2055" y="46"/>
                    </a:lnTo>
                    <a:lnTo>
                      <a:pt x="2056" y="46"/>
                    </a:lnTo>
                    <a:lnTo>
                      <a:pt x="2056" y="46"/>
                    </a:lnTo>
                    <a:lnTo>
                      <a:pt x="2053" y="46"/>
                    </a:lnTo>
                    <a:lnTo>
                      <a:pt x="2041" y="43"/>
                    </a:lnTo>
                    <a:lnTo>
                      <a:pt x="2029" y="38"/>
                    </a:lnTo>
                    <a:lnTo>
                      <a:pt x="2015" y="34"/>
                    </a:lnTo>
                    <a:lnTo>
                      <a:pt x="2005" y="31"/>
                    </a:lnTo>
                    <a:lnTo>
                      <a:pt x="1990" y="26"/>
                    </a:lnTo>
                    <a:lnTo>
                      <a:pt x="1981" y="24"/>
                    </a:lnTo>
                    <a:lnTo>
                      <a:pt x="1988" y="27"/>
                    </a:lnTo>
                    <a:lnTo>
                      <a:pt x="1990" y="28"/>
                    </a:lnTo>
                    <a:lnTo>
                      <a:pt x="1975" y="26"/>
                    </a:lnTo>
                    <a:lnTo>
                      <a:pt x="1968" y="25"/>
                    </a:lnTo>
                    <a:lnTo>
                      <a:pt x="1967" y="26"/>
                    </a:lnTo>
                    <a:lnTo>
                      <a:pt x="1967" y="27"/>
                    </a:lnTo>
                    <a:lnTo>
                      <a:pt x="1969" y="28"/>
                    </a:lnTo>
                    <a:lnTo>
                      <a:pt x="1975" y="30"/>
                    </a:lnTo>
                    <a:lnTo>
                      <a:pt x="1986" y="31"/>
                    </a:lnTo>
                    <a:lnTo>
                      <a:pt x="1996" y="33"/>
                    </a:lnTo>
                    <a:lnTo>
                      <a:pt x="2008" y="36"/>
                    </a:lnTo>
                    <a:lnTo>
                      <a:pt x="2018" y="39"/>
                    </a:lnTo>
                    <a:lnTo>
                      <a:pt x="2036" y="48"/>
                    </a:lnTo>
                    <a:lnTo>
                      <a:pt x="2042" y="51"/>
                    </a:lnTo>
                    <a:lnTo>
                      <a:pt x="2042" y="51"/>
                    </a:lnTo>
                    <a:lnTo>
                      <a:pt x="2042" y="52"/>
                    </a:lnTo>
                    <a:lnTo>
                      <a:pt x="2039" y="52"/>
                    </a:lnTo>
                    <a:lnTo>
                      <a:pt x="2032" y="49"/>
                    </a:lnTo>
                    <a:lnTo>
                      <a:pt x="2024" y="46"/>
                    </a:lnTo>
                    <a:lnTo>
                      <a:pt x="2018" y="43"/>
                    </a:lnTo>
                    <a:lnTo>
                      <a:pt x="2011" y="39"/>
                    </a:lnTo>
                    <a:lnTo>
                      <a:pt x="2000" y="36"/>
                    </a:lnTo>
                    <a:lnTo>
                      <a:pt x="1983" y="33"/>
                    </a:lnTo>
                    <a:lnTo>
                      <a:pt x="1961" y="29"/>
                    </a:lnTo>
                    <a:lnTo>
                      <a:pt x="1951" y="27"/>
                    </a:lnTo>
                    <a:lnTo>
                      <a:pt x="1946" y="27"/>
                    </a:lnTo>
                    <a:lnTo>
                      <a:pt x="1945" y="27"/>
                    </a:lnTo>
                    <a:lnTo>
                      <a:pt x="1945" y="27"/>
                    </a:lnTo>
                    <a:lnTo>
                      <a:pt x="1946" y="28"/>
                    </a:lnTo>
                    <a:lnTo>
                      <a:pt x="1949" y="29"/>
                    </a:lnTo>
                    <a:lnTo>
                      <a:pt x="1964" y="34"/>
                    </a:lnTo>
                    <a:lnTo>
                      <a:pt x="1974" y="37"/>
                    </a:lnTo>
                    <a:lnTo>
                      <a:pt x="1983" y="40"/>
                    </a:lnTo>
                    <a:lnTo>
                      <a:pt x="1988" y="44"/>
                    </a:lnTo>
                    <a:lnTo>
                      <a:pt x="1997" y="47"/>
                    </a:lnTo>
                    <a:lnTo>
                      <a:pt x="2011" y="51"/>
                    </a:lnTo>
                    <a:lnTo>
                      <a:pt x="2016" y="53"/>
                    </a:lnTo>
                    <a:lnTo>
                      <a:pt x="2019" y="54"/>
                    </a:lnTo>
                    <a:lnTo>
                      <a:pt x="2018" y="54"/>
                    </a:lnTo>
                    <a:lnTo>
                      <a:pt x="2012" y="53"/>
                    </a:lnTo>
                    <a:lnTo>
                      <a:pt x="1996" y="50"/>
                    </a:lnTo>
                    <a:lnTo>
                      <a:pt x="1986" y="47"/>
                    </a:lnTo>
                    <a:lnTo>
                      <a:pt x="1981" y="46"/>
                    </a:lnTo>
                    <a:lnTo>
                      <a:pt x="1979" y="45"/>
                    </a:lnTo>
                    <a:lnTo>
                      <a:pt x="1978" y="45"/>
                    </a:lnTo>
                    <a:lnTo>
                      <a:pt x="1977" y="46"/>
                    </a:lnTo>
                    <a:lnTo>
                      <a:pt x="1976" y="51"/>
                    </a:lnTo>
                    <a:lnTo>
                      <a:pt x="1977" y="54"/>
                    </a:lnTo>
                    <a:lnTo>
                      <a:pt x="1983" y="56"/>
                    </a:lnTo>
                    <a:lnTo>
                      <a:pt x="1990" y="58"/>
                    </a:lnTo>
                    <a:lnTo>
                      <a:pt x="1993" y="59"/>
                    </a:lnTo>
                    <a:lnTo>
                      <a:pt x="1995" y="60"/>
                    </a:lnTo>
                    <a:lnTo>
                      <a:pt x="1994" y="60"/>
                    </a:lnTo>
                    <a:lnTo>
                      <a:pt x="1992" y="60"/>
                    </a:lnTo>
                    <a:lnTo>
                      <a:pt x="1983" y="61"/>
                    </a:lnTo>
                    <a:lnTo>
                      <a:pt x="1977" y="61"/>
                    </a:lnTo>
                    <a:lnTo>
                      <a:pt x="1966" y="55"/>
                    </a:lnTo>
                    <a:lnTo>
                      <a:pt x="1954" y="49"/>
                    </a:lnTo>
                    <a:lnTo>
                      <a:pt x="1946" y="46"/>
                    </a:lnTo>
                    <a:lnTo>
                      <a:pt x="1933" y="42"/>
                    </a:lnTo>
                    <a:lnTo>
                      <a:pt x="1928" y="40"/>
                    </a:lnTo>
                    <a:lnTo>
                      <a:pt x="1924" y="38"/>
                    </a:lnTo>
                    <a:lnTo>
                      <a:pt x="1923" y="37"/>
                    </a:lnTo>
                    <a:lnTo>
                      <a:pt x="1923" y="37"/>
                    </a:lnTo>
                    <a:lnTo>
                      <a:pt x="1924" y="37"/>
                    </a:lnTo>
                    <a:lnTo>
                      <a:pt x="1926" y="36"/>
                    </a:lnTo>
                    <a:lnTo>
                      <a:pt x="1937" y="36"/>
                    </a:lnTo>
                    <a:lnTo>
                      <a:pt x="1940" y="36"/>
                    </a:lnTo>
                    <a:lnTo>
                      <a:pt x="1936" y="35"/>
                    </a:lnTo>
                    <a:lnTo>
                      <a:pt x="1928" y="33"/>
                    </a:lnTo>
                    <a:lnTo>
                      <a:pt x="1923" y="31"/>
                    </a:lnTo>
                    <a:lnTo>
                      <a:pt x="1920" y="29"/>
                    </a:lnTo>
                    <a:lnTo>
                      <a:pt x="1918" y="28"/>
                    </a:lnTo>
                    <a:lnTo>
                      <a:pt x="1913" y="28"/>
                    </a:lnTo>
                    <a:lnTo>
                      <a:pt x="1909" y="30"/>
                    </a:lnTo>
                    <a:lnTo>
                      <a:pt x="1908" y="30"/>
                    </a:lnTo>
                    <a:lnTo>
                      <a:pt x="1904" y="28"/>
                    </a:lnTo>
                    <a:lnTo>
                      <a:pt x="1900" y="27"/>
                    </a:lnTo>
                    <a:lnTo>
                      <a:pt x="1890" y="27"/>
                    </a:lnTo>
                    <a:lnTo>
                      <a:pt x="1884" y="28"/>
                    </a:lnTo>
                    <a:lnTo>
                      <a:pt x="1884" y="30"/>
                    </a:lnTo>
                    <a:lnTo>
                      <a:pt x="1887" y="32"/>
                    </a:lnTo>
                    <a:lnTo>
                      <a:pt x="1888" y="33"/>
                    </a:lnTo>
                    <a:lnTo>
                      <a:pt x="1888" y="35"/>
                    </a:lnTo>
                    <a:lnTo>
                      <a:pt x="1890" y="36"/>
                    </a:lnTo>
                    <a:lnTo>
                      <a:pt x="1896" y="39"/>
                    </a:lnTo>
                    <a:lnTo>
                      <a:pt x="1908" y="46"/>
                    </a:lnTo>
                    <a:lnTo>
                      <a:pt x="1911" y="49"/>
                    </a:lnTo>
                    <a:lnTo>
                      <a:pt x="1911" y="50"/>
                    </a:lnTo>
                    <a:lnTo>
                      <a:pt x="1910" y="51"/>
                    </a:lnTo>
                    <a:lnTo>
                      <a:pt x="1908" y="52"/>
                    </a:lnTo>
                    <a:lnTo>
                      <a:pt x="1904" y="51"/>
                    </a:lnTo>
                    <a:lnTo>
                      <a:pt x="1889" y="45"/>
                    </a:lnTo>
                    <a:lnTo>
                      <a:pt x="1881" y="39"/>
                    </a:lnTo>
                    <a:lnTo>
                      <a:pt x="1882" y="39"/>
                    </a:lnTo>
                    <a:lnTo>
                      <a:pt x="1882" y="38"/>
                    </a:lnTo>
                    <a:lnTo>
                      <a:pt x="1882" y="37"/>
                    </a:lnTo>
                    <a:lnTo>
                      <a:pt x="1881" y="36"/>
                    </a:lnTo>
                    <a:lnTo>
                      <a:pt x="1878" y="34"/>
                    </a:lnTo>
                    <a:lnTo>
                      <a:pt x="1874" y="32"/>
                    </a:lnTo>
                    <a:lnTo>
                      <a:pt x="1863" y="30"/>
                    </a:lnTo>
                    <a:lnTo>
                      <a:pt x="1858" y="30"/>
                    </a:lnTo>
                    <a:lnTo>
                      <a:pt x="1859" y="31"/>
                    </a:lnTo>
                    <a:lnTo>
                      <a:pt x="1861" y="33"/>
                    </a:lnTo>
                    <a:lnTo>
                      <a:pt x="1861" y="34"/>
                    </a:lnTo>
                    <a:lnTo>
                      <a:pt x="1861" y="34"/>
                    </a:lnTo>
                    <a:lnTo>
                      <a:pt x="1860" y="34"/>
                    </a:lnTo>
                    <a:lnTo>
                      <a:pt x="1858" y="34"/>
                    </a:lnTo>
                    <a:lnTo>
                      <a:pt x="1849" y="31"/>
                    </a:lnTo>
                    <a:lnTo>
                      <a:pt x="1843" y="28"/>
                    </a:lnTo>
                    <a:lnTo>
                      <a:pt x="1841" y="27"/>
                    </a:lnTo>
                    <a:lnTo>
                      <a:pt x="1839" y="26"/>
                    </a:lnTo>
                    <a:lnTo>
                      <a:pt x="1836" y="25"/>
                    </a:lnTo>
                    <a:lnTo>
                      <a:pt x="1827" y="26"/>
                    </a:lnTo>
                    <a:lnTo>
                      <a:pt x="1811" y="28"/>
                    </a:lnTo>
                    <a:lnTo>
                      <a:pt x="1802" y="30"/>
                    </a:lnTo>
                    <a:lnTo>
                      <a:pt x="1793" y="30"/>
                    </a:lnTo>
                    <a:lnTo>
                      <a:pt x="1780" y="31"/>
                    </a:lnTo>
                    <a:lnTo>
                      <a:pt x="1769" y="31"/>
                    </a:lnTo>
                    <a:lnTo>
                      <a:pt x="1763" y="32"/>
                    </a:lnTo>
                    <a:lnTo>
                      <a:pt x="1769" y="37"/>
                    </a:lnTo>
                    <a:lnTo>
                      <a:pt x="1785" y="46"/>
                    </a:lnTo>
                    <a:lnTo>
                      <a:pt x="1798" y="54"/>
                    </a:lnTo>
                    <a:lnTo>
                      <a:pt x="1801" y="56"/>
                    </a:lnTo>
                    <a:lnTo>
                      <a:pt x="1793" y="52"/>
                    </a:lnTo>
                    <a:lnTo>
                      <a:pt x="1778" y="46"/>
                    </a:lnTo>
                    <a:lnTo>
                      <a:pt x="1771" y="42"/>
                    </a:lnTo>
                    <a:lnTo>
                      <a:pt x="1764" y="39"/>
                    </a:lnTo>
                    <a:lnTo>
                      <a:pt x="1756" y="37"/>
                    </a:lnTo>
                    <a:lnTo>
                      <a:pt x="1751" y="36"/>
                    </a:lnTo>
                    <a:lnTo>
                      <a:pt x="1743" y="36"/>
                    </a:lnTo>
                    <a:lnTo>
                      <a:pt x="1737" y="37"/>
                    </a:lnTo>
                    <a:lnTo>
                      <a:pt x="1735" y="37"/>
                    </a:lnTo>
                    <a:lnTo>
                      <a:pt x="1735" y="38"/>
                    </a:lnTo>
                    <a:lnTo>
                      <a:pt x="1733" y="39"/>
                    </a:lnTo>
                    <a:lnTo>
                      <a:pt x="1727" y="39"/>
                    </a:lnTo>
                    <a:lnTo>
                      <a:pt x="1725" y="39"/>
                    </a:lnTo>
                    <a:lnTo>
                      <a:pt x="1723" y="39"/>
                    </a:lnTo>
                    <a:lnTo>
                      <a:pt x="1722" y="40"/>
                    </a:lnTo>
                    <a:lnTo>
                      <a:pt x="1723" y="42"/>
                    </a:lnTo>
                    <a:lnTo>
                      <a:pt x="1732" y="47"/>
                    </a:lnTo>
                    <a:lnTo>
                      <a:pt x="1742" y="50"/>
                    </a:lnTo>
                    <a:lnTo>
                      <a:pt x="1743" y="51"/>
                    </a:lnTo>
                    <a:lnTo>
                      <a:pt x="1743" y="52"/>
                    </a:lnTo>
                    <a:lnTo>
                      <a:pt x="1742" y="53"/>
                    </a:lnTo>
                    <a:lnTo>
                      <a:pt x="1741" y="53"/>
                    </a:lnTo>
                    <a:lnTo>
                      <a:pt x="1738" y="55"/>
                    </a:lnTo>
                    <a:lnTo>
                      <a:pt x="1736" y="56"/>
                    </a:lnTo>
                    <a:lnTo>
                      <a:pt x="1738" y="58"/>
                    </a:lnTo>
                    <a:lnTo>
                      <a:pt x="1744" y="61"/>
                    </a:lnTo>
                    <a:lnTo>
                      <a:pt x="1747" y="64"/>
                    </a:lnTo>
                    <a:lnTo>
                      <a:pt x="1748" y="66"/>
                    </a:lnTo>
                    <a:lnTo>
                      <a:pt x="1747" y="67"/>
                    </a:lnTo>
                    <a:lnTo>
                      <a:pt x="1744" y="67"/>
                    </a:lnTo>
                    <a:lnTo>
                      <a:pt x="1724" y="64"/>
                    </a:lnTo>
                    <a:lnTo>
                      <a:pt x="1713" y="62"/>
                    </a:lnTo>
                    <a:lnTo>
                      <a:pt x="1706" y="66"/>
                    </a:lnTo>
                    <a:lnTo>
                      <a:pt x="1689" y="72"/>
                    </a:lnTo>
                    <a:lnTo>
                      <a:pt x="1679" y="78"/>
                    </a:lnTo>
                    <a:lnTo>
                      <a:pt x="1668" y="84"/>
                    </a:lnTo>
                    <a:lnTo>
                      <a:pt x="1659" y="90"/>
                    </a:lnTo>
                    <a:lnTo>
                      <a:pt x="1654" y="92"/>
                    </a:lnTo>
                    <a:lnTo>
                      <a:pt x="1651" y="92"/>
                    </a:lnTo>
                    <a:lnTo>
                      <a:pt x="1650" y="90"/>
                    </a:lnTo>
                    <a:lnTo>
                      <a:pt x="1649" y="89"/>
                    </a:lnTo>
                    <a:lnTo>
                      <a:pt x="1647" y="89"/>
                    </a:lnTo>
                    <a:lnTo>
                      <a:pt x="1645" y="90"/>
                    </a:lnTo>
                    <a:lnTo>
                      <a:pt x="1641" y="92"/>
                    </a:lnTo>
                    <a:lnTo>
                      <a:pt x="1635" y="97"/>
                    </a:lnTo>
                    <a:lnTo>
                      <a:pt x="1632" y="101"/>
                    </a:lnTo>
                    <a:lnTo>
                      <a:pt x="1632" y="104"/>
                    </a:lnTo>
                    <a:lnTo>
                      <a:pt x="1633" y="106"/>
                    </a:lnTo>
                    <a:lnTo>
                      <a:pt x="1633" y="109"/>
                    </a:lnTo>
                    <a:lnTo>
                      <a:pt x="1633" y="111"/>
                    </a:lnTo>
                    <a:lnTo>
                      <a:pt x="1636" y="113"/>
                    </a:lnTo>
                    <a:lnTo>
                      <a:pt x="1642" y="116"/>
                    </a:lnTo>
                    <a:lnTo>
                      <a:pt x="1647" y="117"/>
                    </a:lnTo>
                    <a:lnTo>
                      <a:pt x="1654" y="118"/>
                    </a:lnTo>
                    <a:lnTo>
                      <a:pt x="1659" y="117"/>
                    </a:lnTo>
                    <a:lnTo>
                      <a:pt x="1665" y="116"/>
                    </a:lnTo>
                    <a:lnTo>
                      <a:pt x="1678" y="115"/>
                    </a:lnTo>
                    <a:lnTo>
                      <a:pt x="1690" y="115"/>
                    </a:lnTo>
                    <a:lnTo>
                      <a:pt x="1701" y="116"/>
                    </a:lnTo>
                    <a:lnTo>
                      <a:pt x="1706" y="116"/>
                    </a:lnTo>
                    <a:lnTo>
                      <a:pt x="1706" y="117"/>
                    </a:lnTo>
                    <a:lnTo>
                      <a:pt x="1703" y="119"/>
                    </a:lnTo>
                    <a:lnTo>
                      <a:pt x="1695" y="122"/>
                    </a:lnTo>
                    <a:lnTo>
                      <a:pt x="1688" y="122"/>
                    </a:lnTo>
                    <a:lnTo>
                      <a:pt x="1685" y="123"/>
                    </a:lnTo>
                    <a:lnTo>
                      <a:pt x="1683" y="124"/>
                    </a:lnTo>
                    <a:lnTo>
                      <a:pt x="1682" y="125"/>
                    </a:lnTo>
                    <a:lnTo>
                      <a:pt x="1683" y="127"/>
                    </a:lnTo>
                    <a:lnTo>
                      <a:pt x="1690" y="132"/>
                    </a:lnTo>
                    <a:lnTo>
                      <a:pt x="1696" y="136"/>
                    </a:lnTo>
                    <a:lnTo>
                      <a:pt x="1699" y="137"/>
                    </a:lnTo>
                    <a:lnTo>
                      <a:pt x="1700" y="139"/>
                    </a:lnTo>
                    <a:lnTo>
                      <a:pt x="1700" y="140"/>
                    </a:lnTo>
                    <a:lnTo>
                      <a:pt x="1698" y="142"/>
                    </a:lnTo>
                    <a:lnTo>
                      <a:pt x="1685" y="148"/>
                    </a:lnTo>
                    <a:lnTo>
                      <a:pt x="1673" y="156"/>
                    </a:lnTo>
                    <a:lnTo>
                      <a:pt x="1665" y="159"/>
                    </a:lnTo>
                    <a:lnTo>
                      <a:pt x="1654" y="161"/>
                    </a:lnTo>
                    <a:lnTo>
                      <a:pt x="1640" y="163"/>
                    </a:lnTo>
                    <a:lnTo>
                      <a:pt x="1627" y="163"/>
                    </a:lnTo>
                    <a:lnTo>
                      <a:pt x="1622" y="163"/>
                    </a:lnTo>
                    <a:lnTo>
                      <a:pt x="1618" y="164"/>
                    </a:lnTo>
                    <a:lnTo>
                      <a:pt x="1616" y="165"/>
                    </a:lnTo>
                    <a:lnTo>
                      <a:pt x="1615" y="167"/>
                    </a:lnTo>
                    <a:lnTo>
                      <a:pt x="1614" y="169"/>
                    </a:lnTo>
                    <a:lnTo>
                      <a:pt x="1613" y="170"/>
                    </a:lnTo>
                    <a:lnTo>
                      <a:pt x="1611" y="172"/>
                    </a:lnTo>
                    <a:lnTo>
                      <a:pt x="1607" y="174"/>
                    </a:lnTo>
                    <a:lnTo>
                      <a:pt x="1593" y="178"/>
                    </a:lnTo>
                    <a:lnTo>
                      <a:pt x="1573" y="185"/>
                    </a:lnTo>
                    <a:lnTo>
                      <a:pt x="1563" y="188"/>
                    </a:lnTo>
                    <a:lnTo>
                      <a:pt x="1556" y="193"/>
                    </a:lnTo>
                    <a:lnTo>
                      <a:pt x="1554" y="196"/>
                    </a:lnTo>
                    <a:lnTo>
                      <a:pt x="1552" y="198"/>
                    </a:lnTo>
                    <a:lnTo>
                      <a:pt x="1551" y="200"/>
                    </a:lnTo>
                    <a:lnTo>
                      <a:pt x="1552" y="202"/>
                    </a:lnTo>
                    <a:lnTo>
                      <a:pt x="1555" y="206"/>
                    </a:lnTo>
                    <a:lnTo>
                      <a:pt x="1559" y="210"/>
                    </a:lnTo>
                    <a:lnTo>
                      <a:pt x="1563" y="213"/>
                    </a:lnTo>
                    <a:lnTo>
                      <a:pt x="1570" y="215"/>
                    </a:lnTo>
                    <a:lnTo>
                      <a:pt x="1575" y="219"/>
                    </a:lnTo>
                    <a:lnTo>
                      <a:pt x="1581" y="222"/>
                    </a:lnTo>
                    <a:lnTo>
                      <a:pt x="1585" y="225"/>
                    </a:lnTo>
                    <a:lnTo>
                      <a:pt x="1590" y="230"/>
                    </a:lnTo>
                    <a:lnTo>
                      <a:pt x="1593" y="239"/>
                    </a:lnTo>
                    <a:lnTo>
                      <a:pt x="1594" y="243"/>
                    </a:lnTo>
                    <a:lnTo>
                      <a:pt x="1594" y="245"/>
                    </a:lnTo>
                    <a:lnTo>
                      <a:pt x="1593" y="246"/>
                    </a:lnTo>
                    <a:lnTo>
                      <a:pt x="1591" y="247"/>
                    </a:lnTo>
                    <a:lnTo>
                      <a:pt x="1586" y="248"/>
                    </a:lnTo>
                    <a:lnTo>
                      <a:pt x="1584" y="249"/>
                    </a:lnTo>
                    <a:lnTo>
                      <a:pt x="1583" y="250"/>
                    </a:lnTo>
                    <a:lnTo>
                      <a:pt x="1584" y="251"/>
                    </a:lnTo>
                    <a:lnTo>
                      <a:pt x="1586" y="253"/>
                    </a:lnTo>
                    <a:lnTo>
                      <a:pt x="1590" y="253"/>
                    </a:lnTo>
                    <a:lnTo>
                      <a:pt x="1593" y="254"/>
                    </a:lnTo>
                    <a:lnTo>
                      <a:pt x="1597" y="253"/>
                    </a:lnTo>
                    <a:lnTo>
                      <a:pt x="1602" y="253"/>
                    </a:lnTo>
                    <a:lnTo>
                      <a:pt x="1612" y="249"/>
                    </a:lnTo>
                    <a:lnTo>
                      <a:pt x="1623" y="244"/>
                    </a:lnTo>
                    <a:lnTo>
                      <a:pt x="1634" y="240"/>
                    </a:lnTo>
                    <a:lnTo>
                      <a:pt x="1640" y="240"/>
                    </a:lnTo>
                    <a:lnTo>
                      <a:pt x="1645" y="241"/>
                    </a:lnTo>
                    <a:lnTo>
                      <a:pt x="1654" y="242"/>
                    </a:lnTo>
                    <a:lnTo>
                      <a:pt x="1657" y="243"/>
                    </a:lnTo>
                    <a:lnTo>
                      <a:pt x="1659" y="244"/>
                    </a:lnTo>
                    <a:lnTo>
                      <a:pt x="1659" y="245"/>
                    </a:lnTo>
                    <a:lnTo>
                      <a:pt x="1656" y="247"/>
                    </a:lnTo>
                    <a:lnTo>
                      <a:pt x="1651" y="249"/>
                    </a:lnTo>
                    <a:lnTo>
                      <a:pt x="1646" y="249"/>
                    </a:lnTo>
                    <a:lnTo>
                      <a:pt x="1641" y="248"/>
                    </a:lnTo>
                    <a:lnTo>
                      <a:pt x="1636" y="248"/>
                    </a:lnTo>
                    <a:lnTo>
                      <a:pt x="1630" y="247"/>
                    </a:lnTo>
                    <a:lnTo>
                      <a:pt x="1625" y="247"/>
                    </a:lnTo>
                    <a:lnTo>
                      <a:pt x="1621" y="249"/>
                    </a:lnTo>
                    <a:lnTo>
                      <a:pt x="1618" y="252"/>
                    </a:lnTo>
                    <a:lnTo>
                      <a:pt x="1614" y="256"/>
                    </a:lnTo>
                    <a:lnTo>
                      <a:pt x="1611" y="258"/>
                    </a:lnTo>
                    <a:lnTo>
                      <a:pt x="1608" y="259"/>
                    </a:lnTo>
                    <a:lnTo>
                      <a:pt x="1605" y="259"/>
                    </a:lnTo>
                    <a:lnTo>
                      <a:pt x="1603" y="259"/>
                    </a:lnTo>
                    <a:lnTo>
                      <a:pt x="1601" y="259"/>
                    </a:lnTo>
                    <a:lnTo>
                      <a:pt x="1599" y="261"/>
                    </a:lnTo>
                    <a:lnTo>
                      <a:pt x="1598" y="262"/>
                    </a:lnTo>
                    <a:lnTo>
                      <a:pt x="1596" y="264"/>
                    </a:lnTo>
                    <a:lnTo>
                      <a:pt x="1593" y="265"/>
                    </a:lnTo>
                    <a:lnTo>
                      <a:pt x="1589" y="265"/>
                    </a:lnTo>
                    <a:lnTo>
                      <a:pt x="1583" y="265"/>
                    </a:lnTo>
                    <a:lnTo>
                      <a:pt x="1579" y="265"/>
                    </a:lnTo>
                    <a:lnTo>
                      <a:pt x="1575" y="265"/>
                    </a:lnTo>
                    <a:lnTo>
                      <a:pt x="1574" y="266"/>
                    </a:lnTo>
                    <a:lnTo>
                      <a:pt x="1573" y="267"/>
                    </a:lnTo>
                    <a:lnTo>
                      <a:pt x="1572" y="268"/>
                    </a:lnTo>
                    <a:lnTo>
                      <a:pt x="1572" y="269"/>
                    </a:lnTo>
                    <a:lnTo>
                      <a:pt x="1572" y="272"/>
                    </a:lnTo>
                    <a:lnTo>
                      <a:pt x="1574" y="275"/>
                    </a:lnTo>
                    <a:lnTo>
                      <a:pt x="1576" y="277"/>
                    </a:lnTo>
                    <a:lnTo>
                      <a:pt x="1579" y="278"/>
                    </a:lnTo>
                    <a:lnTo>
                      <a:pt x="1585" y="284"/>
                    </a:lnTo>
                    <a:lnTo>
                      <a:pt x="1593" y="291"/>
                    </a:lnTo>
                    <a:lnTo>
                      <a:pt x="1596" y="295"/>
                    </a:lnTo>
                    <a:lnTo>
                      <a:pt x="1597" y="298"/>
                    </a:lnTo>
                    <a:lnTo>
                      <a:pt x="1598" y="301"/>
                    </a:lnTo>
                    <a:lnTo>
                      <a:pt x="1598" y="302"/>
                    </a:lnTo>
                    <a:lnTo>
                      <a:pt x="1598" y="305"/>
                    </a:lnTo>
                    <a:lnTo>
                      <a:pt x="1599" y="307"/>
                    </a:lnTo>
                    <a:lnTo>
                      <a:pt x="1601" y="309"/>
                    </a:lnTo>
                    <a:lnTo>
                      <a:pt x="1604" y="312"/>
                    </a:lnTo>
                    <a:lnTo>
                      <a:pt x="1610" y="316"/>
                    </a:lnTo>
                    <a:lnTo>
                      <a:pt x="1615" y="319"/>
                    </a:lnTo>
                    <a:lnTo>
                      <a:pt x="1621" y="322"/>
                    </a:lnTo>
                    <a:lnTo>
                      <a:pt x="1628" y="324"/>
                    </a:lnTo>
                    <a:lnTo>
                      <a:pt x="1637" y="327"/>
                    </a:lnTo>
                    <a:lnTo>
                      <a:pt x="1646" y="329"/>
                    </a:lnTo>
                    <a:lnTo>
                      <a:pt x="1657" y="330"/>
                    </a:lnTo>
                    <a:lnTo>
                      <a:pt x="1668" y="330"/>
                    </a:lnTo>
                    <a:lnTo>
                      <a:pt x="1681" y="329"/>
                    </a:lnTo>
                    <a:lnTo>
                      <a:pt x="1691" y="327"/>
                    </a:lnTo>
                    <a:lnTo>
                      <a:pt x="1702" y="323"/>
                    </a:lnTo>
                    <a:lnTo>
                      <a:pt x="1710" y="320"/>
                    </a:lnTo>
                    <a:lnTo>
                      <a:pt x="1719" y="317"/>
                    </a:lnTo>
                    <a:lnTo>
                      <a:pt x="1725" y="315"/>
                    </a:lnTo>
                    <a:lnTo>
                      <a:pt x="1731" y="314"/>
                    </a:lnTo>
                    <a:lnTo>
                      <a:pt x="1736" y="315"/>
                    </a:lnTo>
                    <a:lnTo>
                      <a:pt x="1748" y="319"/>
                    </a:lnTo>
                    <a:lnTo>
                      <a:pt x="1764" y="324"/>
                    </a:lnTo>
                    <a:lnTo>
                      <a:pt x="1772" y="329"/>
                    </a:lnTo>
                    <a:lnTo>
                      <a:pt x="1781" y="332"/>
                    </a:lnTo>
                    <a:lnTo>
                      <a:pt x="1789" y="337"/>
                    </a:lnTo>
                    <a:lnTo>
                      <a:pt x="1796" y="341"/>
                    </a:lnTo>
                    <a:lnTo>
                      <a:pt x="1809" y="351"/>
                    </a:lnTo>
                    <a:lnTo>
                      <a:pt x="1820" y="356"/>
                    </a:lnTo>
                    <a:lnTo>
                      <a:pt x="1825" y="359"/>
                    </a:lnTo>
                    <a:lnTo>
                      <a:pt x="1829" y="362"/>
                    </a:lnTo>
                    <a:lnTo>
                      <a:pt x="1832" y="366"/>
                    </a:lnTo>
                    <a:lnTo>
                      <a:pt x="1833" y="372"/>
                    </a:lnTo>
                    <a:lnTo>
                      <a:pt x="1833" y="383"/>
                    </a:lnTo>
                    <a:lnTo>
                      <a:pt x="1834" y="394"/>
                    </a:lnTo>
                    <a:lnTo>
                      <a:pt x="1837" y="402"/>
                    </a:lnTo>
                    <a:lnTo>
                      <a:pt x="1840" y="408"/>
                    </a:lnTo>
                    <a:lnTo>
                      <a:pt x="1848" y="421"/>
                    </a:lnTo>
                    <a:lnTo>
                      <a:pt x="1855" y="432"/>
                    </a:lnTo>
                    <a:lnTo>
                      <a:pt x="1859" y="438"/>
                    </a:lnTo>
                    <a:lnTo>
                      <a:pt x="1865" y="446"/>
                    </a:lnTo>
                    <a:lnTo>
                      <a:pt x="1868" y="450"/>
                    </a:lnTo>
                    <a:lnTo>
                      <a:pt x="1869" y="454"/>
                    </a:lnTo>
                    <a:lnTo>
                      <a:pt x="1869" y="456"/>
                    </a:lnTo>
                    <a:lnTo>
                      <a:pt x="1869" y="459"/>
                    </a:lnTo>
                    <a:lnTo>
                      <a:pt x="1868" y="461"/>
                    </a:lnTo>
                    <a:lnTo>
                      <a:pt x="1866" y="463"/>
                    </a:lnTo>
                    <a:lnTo>
                      <a:pt x="1864" y="466"/>
                    </a:lnTo>
                    <a:lnTo>
                      <a:pt x="1864" y="468"/>
                    </a:lnTo>
                    <a:lnTo>
                      <a:pt x="1865" y="469"/>
                    </a:lnTo>
                    <a:lnTo>
                      <a:pt x="1868" y="470"/>
                    </a:lnTo>
                    <a:lnTo>
                      <a:pt x="1873" y="471"/>
                    </a:lnTo>
                    <a:lnTo>
                      <a:pt x="1877" y="473"/>
                    </a:lnTo>
                    <a:lnTo>
                      <a:pt x="1882" y="476"/>
                    </a:lnTo>
                    <a:lnTo>
                      <a:pt x="1887" y="482"/>
                    </a:lnTo>
                    <a:lnTo>
                      <a:pt x="1892" y="488"/>
                    </a:lnTo>
                    <a:lnTo>
                      <a:pt x="1897" y="492"/>
                    </a:lnTo>
                    <a:lnTo>
                      <a:pt x="1900" y="494"/>
                    </a:lnTo>
                    <a:lnTo>
                      <a:pt x="1903" y="496"/>
                    </a:lnTo>
                    <a:lnTo>
                      <a:pt x="1904" y="497"/>
                    </a:lnTo>
                    <a:lnTo>
                      <a:pt x="1905" y="498"/>
                    </a:lnTo>
                    <a:lnTo>
                      <a:pt x="1905" y="499"/>
                    </a:lnTo>
                    <a:lnTo>
                      <a:pt x="1903" y="503"/>
                    </a:lnTo>
                    <a:lnTo>
                      <a:pt x="1898" y="508"/>
                    </a:lnTo>
                    <a:lnTo>
                      <a:pt x="1892" y="510"/>
                    </a:lnTo>
                    <a:lnTo>
                      <a:pt x="1891" y="511"/>
                    </a:lnTo>
                    <a:lnTo>
                      <a:pt x="1890" y="513"/>
                    </a:lnTo>
                    <a:lnTo>
                      <a:pt x="1891" y="516"/>
                    </a:lnTo>
                    <a:lnTo>
                      <a:pt x="1895" y="519"/>
                    </a:lnTo>
                    <a:lnTo>
                      <a:pt x="1898" y="523"/>
                    </a:lnTo>
                    <a:lnTo>
                      <a:pt x="1898" y="527"/>
                    </a:lnTo>
                    <a:lnTo>
                      <a:pt x="1898" y="529"/>
                    </a:lnTo>
                    <a:lnTo>
                      <a:pt x="1896" y="530"/>
                    </a:lnTo>
                    <a:lnTo>
                      <a:pt x="1890" y="533"/>
                    </a:lnTo>
                    <a:lnTo>
                      <a:pt x="1885" y="536"/>
                    </a:lnTo>
                    <a:lnTo>
                      <a:pt x="1882" y="541"/>
                    </a:lnTo>
                    <a:lnTo>
                      <a:pt x="1880" y="545"/>
                    </a:lnTo>
                    <a:lnTo>
                      <a:pt x="1880" y="549"/>
                    </a:lnTo>
                    <a:lnTo>
                      <a:pt x="1880" y="551"/>
                    </a:lnTo>
                    <a:lnTo>
                      <a:pt x="1881" y="555"/>
                    </a:lnTo>
                    <a:lnTo>
                      <a:pt x="1883" y="559"/>
                    </a:lnTo>
                    <a:lnTo>
                      <a:pt x="1884" y="560"/>
                    </a:lnTo>
                    <a:lnTo>
                      <a:pt x="1885" y="562"/>
                    </a:lnTo>
                    <a:lnTo>
                      <a:pt x="1887" y="562"/>
                    </a:lnTo>
                    <a:lnTo>
                      <a:pt x="1889" y="563"/>
                    </a:lnTo>
                    <a:lnTo>
                      <a:pt x="1893" y="562"/>
                    </a:lnTo>
                    <a:lnTo>
                      <a:pt x="1898" y="560"/>
                    </a:lnTo>
                    <a:lnTo>
                      <a:pt x="1909" y="555"/>
                    </a:lnTo>
                    <a:lnTo>
                      <a:pt x="1920" y="551"/>
                    </a:lnTo>
                    <a:lnTo>
                      <a:pt x="1931" y="549"/>
                    </a:lnTo>
                    <a:lnTo>
                      <a:pt x="1942" y="545"/>
                    </a:lnTo>
                    <a:lnTo>
                      <a:pt x="1946" y="547"/>
                    </a:lnTo>
                    <a:lnTo>
                      <a:pt x="1950" y="548"/>
                    </a:lnTo>
                    <a:lnTo>
                      <a:pt x="1953" y="552"/>
                    </a:lnTo>
                    <a:lnTo>
                      <a:pt x="1954" y="559"/>
                    </a:lnTo>
                    <a:lnTo>
                      <a:pt x="1956" y="566"/>
                    </a:lnTo>
                    <a:lnTo>
                      <a:pt x="1958" y="574"/>
                    </a:lnTo>
                    <a:lnTo>
                      <a:pt x="1962" y="580"/>
                    </a:lnTo>
                    <a:lnTo>
                      <a:pt x="1965" y="585"/>
                    </a:lnTo>
                    <a:lnTo>
                      <a:pt x="1967" y="591"/>
                    </a:lnTo>
                    <a:lnTo>
                      <a:pt x="1970" y="596"/>
                    </a:lnTo>
                    <a:lnTo>
                      <a:pt x="1971" y="600"/>
                    </a:lnTo>
                    <a:lnTo>
                      <a:pt x="1972" y="605"/>
                    </a:lnTo>
                    <a:lnTo>
                      <a:pt x="1972" y="609"/>
                    </a:lnTo>
                    <a:lnTo>
                      <a:pt x="1971" y="613"/>
                    </a:lnTo>
                    <a:lnTo>
                      <a:pt x="1969" y="615"/>
                    </a:lnTo>
                    <a:lnTo>
                      <a:pt x="1965" y="616"/>
                    </a:lnTo>
                    <a:lnTo>
                      <a:pt x="1961" y="615"/>
                    </a:lnTo>
                    <a:lnTo>
                      <a:pt x="1955" y="613"/>
                    </a:lnTo>
                    <a:lnTo>
                      <a:pt x="1948" y="608"/>
                    </a:lnTo>
                    <a:lnTo>
                      <a:pt x="1941" y="602"/>
                    </a:lnTo>
                    <a:lnTo>
                      <a:pt x="1932" y="596"/>
                    </a:lnTo>
                    <a:lnTo>
                      <a:pt x="1925" y="593"/>
                    </a:lnTo>
                    <a:lnTo>
                      <a:pt x="1919" y="592"/>
                    </a:lnTo>
                    <a:lnTo>
                      <a:pt x="1913" y="593"/>
                    </a:lnTo>
                    <a:lnTo>
                      <a:pt x="1908" y="595"/>
                    </a:lnTo>
                    <a:lnTo>
                      <a:pt x="1905" y="597"/>
                    </a:lnTo>
                    <a:lnTo>
                      <a:pt x="1902" y="600"/>
                    </a:lnTo>
                    <a:lnTo>
                      <a:pt x="1899" y="603"/>
                    </a:lnTo>
                    <a:lnTo>
                      <a:pt x="1899" y="604"/>
                    </a:lnTo>
                    <a:lnTo>
                      <a:pt x="1899" y="605"/>
                    </a:lnTo>
                    <a:lnTo>
                      <a:pt x="1900" y="607"/>
                    </a:lnTo>
                    <a:lnTo>
                      <a:pt x="1902" y="608"/>
                    </a:lnTo>
                    <a:lnTo>
                      <a:pt x="1907" y="610"/>
                    </a:lnTo>
                    <a:lnTo>
                      <a:pt x="1913" y="613"/>
                    </a:lnTo>
                    <a:lnTo>
                      <a:pt x="1920" y="615"/>
                    </a:lnTo>
                    <a:lnTo>
                      <a:pt x="1926" y="617"/>
                    </a:lnTo>
                    <a:lnTo>
                      <a:pt x="1930" y="620"/>
                    </a:lnTo>
                    <a:lnTo>
                      <a:pt x="1932" y="623"/>
                    </a:lnTo>
                    <a:lnTo>
                      <a:pt x="1932" y="624"/>
                    </a:lnTo>
                    <a:lnTo>
                      <a:pt x="1932" y="625"/>
                    </a:lnTo>
                    <a:lnTo>
                      <a:pt x="1930" y="626"/>
                    </a:lnTo>
                    <a:lnTo>
                      <a:pt x="1928" y="627"/>
                    </a:lnTo>
                    <a:lnTo>
                      <a:pt x="1922" y="627"/>
                    </a:lnTo>
                    <a:lnTo>
                      <a:pt x="1915" y="627"/>
                    </a:lnTo>
                    <a:lnTo>
                      <a:pt x="1908" y="627"/>
                    </a:lnTo>
                    <a:lnTo>
                      <a:pt x="1902" y="627"/>
                    </a:lnTo>
                    <a:lnTo>
                      <a:pt x="1900" y="628"/>
                    </a:lnTo>
                    <a:lnTo>
                      <a:pt x="1898" y="629"/>
                    </a:lnTo>
                    <a:lnTo>
                      <a:pt x="1897" y="630"/>
                    </a:lnTo>
                    <a:lnTo>
                      <a:pt x="1897" y="632"/>
                    </a:lnTo>
                    <a:lnTo>
                      <a:pt x="1899" y="638"/>
                    </a:lnTo>
                    <a:lnTo>
                      <a:pt x="1904" y="645"/>
                    </a:lnTo>
                    <a:lnTo>
                      <a:pt x="1909" y="653"/>
                    </a:lnTo>
                    <a:lnTo>
                      <a:pt x="1917" y="662"/>
                    </a:lnTo>
                    <a:lnTo>
                      <a:pt x="1928" y="676"/>
                    </a:lnTo>
                    <a:lnTo>
                      <a:pt x="1934" y="683"/>
                    </a:lnTo>
                    <a:lnTo>
                      <a:pt x="1942" y="673"/>
                    </a:lnTo>
                    <a:lnTo>
                      <a:pt x="1947" y="667"/>
                    </a:lnTo>
                    <a:lnTo>
                      <a:pt x="1951" y="661"/>
                    </a:lnTo>
                    <a:lnTo>
                      <a:pt x="1958" y="650"/>
                    </a:lnTo>
                    <a:lnTo>
                      <a:pt x="1955" y="646"/>
                    </a:lnTo>
                    <a:lnTo>
                      <a:pt x="1950" y="637"/>
                    </a:lnTo>
                    <a:lnTo>
                      <a:pt x="1948" y="631"/>
                    </a:lnTo>
                    <a:lnTo>
                      <a:pt x="1949" y="628"/>
                    </a:lnTo>
                    <a:lnTo>
                      <a:pt x="1950" y="627"/>
                    </a:lnTo>
                    <a:lnTo>
                      <a:pt x="1951" y="626"/>
                    </a:lnTo>
                    <a:lnTo>
                      <a:pt x="1953" y="626"/>
                    </a:lnTo>
                    <a:lnTo>
                      <a:pt x="1957" y="627"/>
                    </a:lnTo>
                    <a:lnTo>
                      <a:pt x="1969" y="631"/>
                    </a:lnTo>
                    <a:lnTo>
                      <a:pt x="1976" y="635"/>
                    </a:lnTo>
                    <a:lnTo>
                      <a:pt x="1979" y="637"/>
                    </a:lnTo>
                    <a:lnTo>
                      <a:pt x="1980" y="639"/>
                    </a:lnTo>
                    <a:lnTo>
                      <a:pt x="1981" y="642"/>
                    </a:lnTo>
                    <a:lnTo>
                      <a:pt x="1981" y="646"/>
                    </a:lnTo>
                    <a:lnTo>
                      <a:pt x="1981" y="650"/>
                    </a:lnTo>
                    <a:lnTo>
                      <a:pt x="1980" y="653"/>
                    </a:lnTo>
                    <a:lnTo>
                      <a:pt x="1978" y="658"/>
                    </a:lnTo>
                    <a:lnTo>
                      <a:pt x="1976" y="661"/>
                    </a:lnTo>
                    <a:lnTo>
                      <a:pt x="1974" y="665"/>
                    </a:lnTo>
                    <a:lnTo>
                      <a:pt x="1972" y="669"/>
                    </a:lnTo>
                    <a:lnTo>
                      <a:pt x="1971" y="673"/>
                    </a:lnTo>
                    <a:lnTo>
                      <a:pt x="1971" y="680"/>
                    </a:lnTo>
                    <a:lnTo>
                      <a:pt x="1971" y="686"/>
                    </a:lnTo>
                    <a:lnTo>
                      <a:pt x="1969" y="692"/>
                    </a:lnTo>
                    <a:lnTo>
                      <a:pt x="1967" y="697"/>
                    </a:lnTo>
                    <a:lnTo>
                      <a:pt x="1964" y="702"/>
                    </a:lnTo>
                    <a:lnTo>
                      <a:pt x="1959" y="706"/>
                    </a:lnTo>
                    <a:lnTo>
                      <a:pt x="1955" y="710"/>
                    </a:lnTo>
                    <a:lnTo>
                      <a:pt x="1950" y="714"/>
                    </a:lnTo>
                    <a:lnTo>
                      <a:pt x="1945" y="717"/>
                    </a:lnTo>
                    <a:lnTo>
                      <a:pt x="1940" y="722"/>
                    </a:lnTo>
                    <a:lnTo>
                      <a:pt x="1935" y="727"/>
                    </a:lnTo>
                    <a:lnTo>
                      <a:pt x="1932" y="732"/>
                    </a:lnTo>
                    <a:lnTo>
                      <a:pt x="1929" y="738"/>
                    </a:lnTo>
                    <a:lnTo>
                      <a:pt x="1925" y="750"/>
                    </a:lnTo>
                    <a:lnTo>
                      <a:pt x="1923" y="759"/>
                    </a:lnTo>
                    <a:lnTo>
                      <a:pt x="1923" y="764"/>
                    </a:lnTo>
                    <a:lnTo>
                      <a:pt x="1924" y="772"/>
                    </a:lnTo>
                    <a:lnTo>
                      <a:pt x="1927" y="780"/>
                    </a:lnTo>
                    <a:lnTo>
                      <a:pt x="1931" y="791"/>
                    </a:lnTo>
                    <a:lnTo>
                      <a:pt x="1940" y="808"/>
                    </a:lnTo>
                    <a:lnTo>
                      <a:pt x="1944" y="821"/>
                    </a:lnTo>
                    <a:lnTo>
                      <a:pt x="1945" y="826"/>
                    </a:lnTo>
                    <a:lnTo>
                      <a:pt x="1948" y="832"/>
                    </a:lnTo>
                    <a:lnTo>
                      <a:pt x="1953" y="838"/>
                    </a:lnTo>
                    <a:lnTo>
                      <a:pt x="1958" y="845"/>
                    </a:lnTo>
                    <a:lnTo>
                      <a:pt x="1971" y="858"/>
                    </a:lnTo>
                    <a:lnTo>
                      <a:pt x="1979" y="867"/>
                    </a:lnTo>
                    <a:lnTo>
                      <a:pt x="1991" y="874"/>
                    </a:lnTo>
                    <a:lnTo>
                      <a:pt x="2008" y="882"/>
                    </a:lnTo>
                    <a:lnTo>
                      <a:pt x="2014" y="885"/>
                    </a:lnTo>
                    <a:lnTo>
                      <a:pt x="2016" y="888"/>
                    </a:lnTo>
                    <a:lnTo>
                      <a:pt x="2016" y="890"/>
                    </a:lnTo>
                    <a:lnTo>
                      <a:pt x="2014" y="891"/>
                    </a:lnTo>
                    <a:lnTo>
                      <a:pt x="2011" y="893"/>
                    </a:lnTo>
                    <a:lnTo>
                      <a:pt x="2005" y="894"/>
                    </a:lnTo>
                    <a:lnTo>
                      <a:pt x="1994" y="898"/>
                    </a:lnTo>
                    <a:lnTo>
                      <a:pt x="1985" y="900"/>
                    </a:lnTo>
                    <a:lnTo>
                      <a:pt x="1978" y="903"/>
                    </a:lnTo>
                    <a:lnTo>
                      <a:pt x="1975" y="906"/>
                    </a:lnTo>
                    <a:lnTo>
                      <a:pt x="1973" y="909"/>
                    </a:lnTo>
                    <a:lnTo>
                      <a:pt x="1973" y="913"/>
                    </a:lnTo>
                    <a:lnTo>
                      <a:pt x="1974" y="918"/>
                    </a:lnTo>
                    <a:lnTo>
                      <a:pt x="1977" y="924"/>
                    </a:lnTo>
                    <a:lnTo>
                      <a:pt x="1995" y="945"/>
                    </a:lnTo>
                    <a:lnTo>
                      <a:pt x="2024" y="977"/>
                    </a:lnTo>
                    <a:lnTo>
                      <a:pt x="2038" y="994"/>
                    </a:lnTo>
                    <a:lnTo>
                      <a:pt x="2051" y="1010"/>
                    </a:lnTo>
                    <a:lnTo>
                      <a:pt x="2055" y="1017"/>
                    </a:lnTo>
                    <a:lnTo>
                      <a:pt x="2058" y="1022"/>
                    </a:lnTo>
                    <a:lnTo>
                      <a:pt x="2060" y="1027"/>
                    </a:lnTo>
                    <a:lnTo>
                      <a:pt x="2060" y="1032"/>
                    </a:lnTo>
                    <a:lnTo>
                      <a:pt x="2058" y="1037"/>
                    </a:lnTo>
                    <a:lnTo>
                      <a:pt x="2056" y="1041"/>
                    </a:lnTo>
                    <a:lnTo>
                      <a:pt x="2053" y="1042"/>
                    </a:lnTo>
                    <a:lnTo>
                      <a:pt x="2050" y="1043"/>
                    </a:lnTo>
                    <a:lnTo>
                      <a:pt x="2047" y="1044"/>
                    </a:lnTo>
                    <a:lnTo>
                      <a:pt x="2045" y="1045"/>
                    </a:lnTo>
                    <a:lnTo>
                      <a:pt x="2045" y="1047"/>
                    </a:lnTo>
                    <a:lnTo>
                      <a:pt x="2046" y="1052"/>
                    </a:lnTo>
                    <a:lnTo>
                      <a:pt x="2047" y="1054"/>
                    </a:lnTo>
                    <a:lnTo>
                      <a:pt x="2050" y="1055"/>
                    </a:lnTo>
                    <a:lnTo>
                      <a:pt x="2052" y="1056"/>
                    </a:lnTo>
                    <a:lnTo>
                      <a:pt x="2054" y="1056"/>
                    </a:lnTo>
                    <a:lnTo>
                      <a:pt x="2059" y="1056"/>
                    </a:lnTo>
                    <a:lnTo>
                      <a:pt x="2065" y="1054"/>
                    </a:lnTo>
                    <a:lnTo>
                      <a:pt x="2072" y="1053"/>
                    </a:lnTo>
                    <a:lnTo>
                      <a:pt x="2078" y="1053"/>
                    </a:lnTo>
                    <a:lnTo>
                      <a:pt x="2080" y="1053"/>
                    </a:lnTo>
                    <a:lnTo>
                      <a:pt x="2082" y="1053"/>
                    </a:lnTo>
                    <a:lnTo>
                      <a:pt x="2084" y="1055"/>
                    </a:lnTo>
                    <a:lnTo>
                      <a:pt x="2086" y="1056"/>
                    </a:lnTo>
                    <a:lnTo>
                      <a:pt x="2088" y="1059"/>
                    </a:lnTo>
                    <a:lnTo>
                      <a:pt x="2090" y="1061"/>
                    </a:lnTo>
                    <a:lnTo>
                      <a:pt x="2094" y="1061"/>
                    </a:lnTo>
                    <a:lnTo>
                      <a:pt x="2096" y="1061"/>
                    </a:lnTo>
                    <a:lnTo>
                      <a:pt x="2099" y="1061"/>
                    </a:lnTo>
                    <a:lnTo>
                      <a:pt x="2101" y="1062"/>
                    </a:lnTo>
                    <a:lnTo>
                      <a:pt x="2104" y="1064"/>
                    </a:lnTo>
                    <a:lnTo>
                      <a:pt x="2106" y="1068"/>
                    </a:lnTo>
                    <a:lnTo>
                      <a:pt x="2111" y="1080"/>
                    </a:lnTo>
                    <a:lnTo>
                      <a:pt x="2117" y="1089"/>
                    </a:lnTo>
                    <a:lnTo>
                      <a:pt x="2122" y="1097"/>
                    </a:lnTo>
                    <a:lnTo>
                      <a:pt x="2124" y="1099"/>
                    </a:lnTo>
                    <a:lnTo>
                      <a:pt x="2129" y="1098"/>
                    </a:lnTo>
                    <a:lnTo>
                      <a:pt x="2133" y="1095"/>
                    </a:lnTo>
                    <a:close/>
                    <a:moveTo>
                      <a:pt x="2505" y="920"/>
                    </a:moveTo>
                    <a:lnTo>
                      <a:pt x="2511" y="922"/>
                    </a:lnTo>
                    <a:lnTo>
                      <a:pt x="2516" y="924"/>
                    </a:lnTo>
                    <a:lnTo>
                      <a:pt x="2521" y="925"/>
                    </a:lnTo>
                    <a:lnTo>
                      <a:pt x="2526" y="926"/>
                    </a:lnTo>
                    <a:lnTo>
                      <a:pt x="2531" y="927"/>
                    </a:lnTo>
                    <a:lnTo>
                      <a:pt x="2534" y="928"/>
                    </a:lnTo>
                    <a:lnTo>
                      <a:pt x="2535" y="930"/>
                    </a:lnTo>
                    <a:lnTo>
                      <a:pt x="2535" y="931"/>
                    </a:lnTo>
                    <a:lnTo>
                      <a:pt x="2535" y="933"/>
                    </a:lnTo>
                    <a:lnTo>
                      <a:pt x="2535" y="935"/>
                    </a:lnTo>
                    <a:lnTo>
                      <a:pt x="2531" y="942"/>
                    </a:lnTo>
                    <a:lnTo>
                      <a:pt x="2527" y="946"/>
                    </a:lnTo>
                    <a:lnTo>
                      <a:pt x="2526" y="948"/>
                    </a:lnTo>
                    <a:lnTo>
                      <a:pt x="2526" y="950"/>
                    </a:lnTo>
                    <a:lnTo>
                      <a:pt x="2527" y="952"/>
                    </a:lnTo>
                    <a:lnTo>
                      <a:pt x="2528" y="955"/>
                    </a:lnTo>
                    <a:lnTo>
                      <a:pt x="2543" y="959"/>
                    </a:lnTo>
                    <a:lnTo>
                      <a:pt x="2557" y="965"/>
                    </a:lnTo>
                    <a:lnTo>
                      <a:pt x="2558" y="967"/>
                    </a:lnTo>
                    <a:lnTo>
                      <a:pt x="2561" y="968"/>
                    </a:lnTo>
                    <a:lnTo>
                      <a:pt x="2564" y="970"/>
                    </a:lnTo>
                    <a:lnTo>
                      <a:pt x="2568" y="971"/>
                    </a:lnTo>
                    <a:lnTo>
                      <a:pt x="2578" y="973"/>
                    </a:lnTo>
                    <a:lnTo>
                      <a:pt x="2588" y="974"/>
                    </a:lnTo>
                    <a:lnTo>
                      <a:pt x="2608" y="976"/>
                    </a:lnTo>
                    <a:lnTo>
                      <a:pt x="2616" y="976"/>
                    </a:lnTo>
                    <a:lnTo>
                      <a:pt x="2624" y="972"/>
                    </a:lnTo>
                    <a:lnTo>
                      <a:pt x="2638" y="961"/>
                    </a:lnTo>
                    <a:lnTo>
                      <a:pt x="2655" y="949"/>
                    </a:lnTo>
                    <a:lnTo>
                      <a:pt x="2666" y="939"/>
                    </a:lnTo>
                    <a:lnTo>
                      <a:pt x="2670" y="932"/>
                    </a:lnTo>
                    <a:lnTo>
                      <a:pt x="2675" y="924"/>
                    </a:lnTo>
                    <a:lnTo>
                      <a:pt x="2676" y="918"/>
                    </a:lnTo>
                    <a:lnTo>
                      <a:pt x="2676" y="913"/>
                    </a:lnTo>
                    <a:lnTo>
                      <a:pt x="2673" y="907"/>
                    </a:lnTo>
                    <a:lnTo>
                      <a:pt x="2668" y="900"/>
                    </a:lnTo>
                    <a:lnTo>
                      <a:pt x="2654" y="884"/>
                    </a:lnTo>
                    <a:lnTo>
                      <a:pt x="2642" y="870"/>
                    </a:lnTo>
                    <a:lnTo>
                      <a:pt x="2635" y="864"/>
                    </a:lnTo>
                    <a:lnTo>
                      <a:pt x="2629" y="861"/>
                    </a:lnTo>
                    <a:lnTo>
                      <a:pt x="2626" y="860"/>
                    </a:lnTo>
                    <a:lnTo>
                      <a:pt x="2624" y="859"/>
                    </a:lnTo>
                    <a:lnTo>
                      <a:pt x="2621" y="859"/>
                    </a:lnTo>
                    <a:lnTo>
                      <a:pt x="2619" y="860"/>
                    </a:lnTo>
                    <a:lnTo>
                      <a:pt x="2608" y="865"/>
                    </a:lnTo>
                    <a:lnTo>
                      <a:pt x="2595" y="869"/>
                    </a:lnTo>
                    <a:lnTo>
                      <a:pt x="2589" y="872"/>
                    </a:lnTo>
                    <a:lnTo>
                      <a:pt x="2583" y="873"/>
                    </a:lnTo>
                    <a:lnTo>
                      <a:pt x="2577" y="874"/>
                    </a:lnTo>
                    <a:lnTo>
                      <a:pt x="2570" y="874"/>
                    </a:lnTo>
                    <a:lnTo>
                      <a:pt x="2565" y="874"/>
                    </a:lnTo>
                    <a:lnTo>
                      <a:pt x="2558" y="872"/>
                    </a:lnTo>
                    <a:lnTo>
                      <a:pt x="2551" y="869"/>
                    </a:lnTo>
                    <a:lnTo>
                      <a:pt x="2545" y="866"/>
                    </a:lnTo>
                    <a:lnTo>
                      <a:pt x="2536" y="861"/>
                    </a:lnTo>
                    <a:lnTo>
                      <a:pt x="2532" y="859"/>
                    </a:lnTo>
                    <a:lnTo>
                      <a:pt x="2532" y="855"/>
                    </a:lnTo>
                    <a:lnTo>
                      <a:pt x="2531" y="845"/>
                    </a:lnTo>
                    <a:lnTo>
                      <a:pt x="2528" y="842"/>
                    </a:lnTo>
                    <a:lnTo>
                      <a:pt x="2525" y="840"/>
                    </a:lnTo>
                    <a:lnTo>
                      <a:pt x="2523" y="840"/>
                    </a:lnTo>
                    <a:lnTo>
                      <a:pt x="2521" y="840"/>
                    </a:lnTo>
                    <a:lnTo>
                      <a:pt x="2519" y="841"/>
                    </a:lnTo>
                    <a:lnTo>
                      <a:pt x="2516" y="843"/>
                    </a:lnTo>
                    <a:lnTo>
                      <a:pt x="2510" y="849"/>
                    </a:lnTo>
                    <a:lnTo>
                      <a:pt x="2504" y="856"/>
                    </a:lnTo>
                    <a:lnTo>
                      <a:pt x="2499" y="862"/>
                    </a:lnTo>
                    <a:lnTo>
                      <a:pt x="2496" y="869"/>
                    </a:lnTo>
                    <a:lnTo>
                      <a:pt x="2494" y="876"/>
                    </a:lnTo>
                    <a:lnTo>
                      <a:pt x="2492" y="881"/>
                    </a:lnTo>
                    <a:lnTo>
                      <a:pt x="2492" y="886"/>
                    </a:lnTo>
                    <a:lnTo>
                      <a:pt x="2493" y="888"/>
                    </a:lnTo>
                    <a:lnTo>
                      <a:pt x="2499" y="893"/>
                    </a:lnTo>
                    <a:lnTo>
                      <a:pt x="2511" y="898"/>
                    </a:lnTo>
                    <a:lnTo>
                      <a:pt x="2520" y="901"/>
                    </a:lnTo>
                    <a:lnTo>
                      <a:pt x="2525" y="902"/>
                    </a:lnTo>
                    <a:lnTo>
                      <a:pt x="2519" y="903"/>
                    </a:lnTo>
                    <a:lnTo>
                      <a:pt x="2506" y="906"/>
                    </a:lnTo>
                    <a:lnTo>
                      <a:pt x="2500" y="908"/>
                    </a:lnTo>
                    <a:lnTo>
                      <a:pt x="2495" y="910"/>
                    </a:lnTo>
                    <a:lnTo>
                      <a:pt x="2493" y="911"/>
                    </a:lnTo>
                    <a:lnTo>
                      <a:pt x="2492" y="912"/>
                    </a:lnTo>
                    <a:lnTo>
                      <a:pt x="2491" y="914"/>
                    </a:lnTo>
                    <a:lnTo>
                      <a:pt x="2491" y="915"/>
                    </a:lnTo>
                    <a:lnTo>
                      <a:pt x="2493" y="918"/>
                    </a:lnTo>
                    <a:lnTo>
                      <a:pt x="2495" y="920"/>
                    </a:lnTo>
                    <a:lnTo>
                      <a:pt x="2498" y="921"/>
                    </a:lnTo>
                    <a:lnTo>
                      <a:pt x="2500" y="921"/>
                    </a:lnTo>
                    <a:lnTo>
                      <a:pt x="2504" y="920"/>
                    </a:lnTo>
                    <a:lnTo>
                      <a:pt x="2505" y="920"/>
                    </a:lnTo>
                    <a:close/>
                    <a:moveTo>
                      <a:pt x="2830" y="1398"/>
                    </a:moveTo>
                    <a:lnTo>
                      <a:pt x="2823" y="1407"/>
                    </a:lnTo>
                    <a:lnTo>
                      <a:pt x="2810" y="1417"/>
                    </a:lnTo>
                    <a:lnTo>
                      <a:pt x="2803" y="1422"/>
                    </a:lnTo>
                    <a:lnTo>
                      <a:pt x="2796" y="1426"/>
                    </a:lnTo>
                    <a:lnTo>
                      <a:pt x="2793" y="1427"/>
                    </a:lnTo>
                    <a:lnTo>
                      <a:pt x="2790" y="1428"/>
                    </a:lnTo>
                    <a:lnTo>
                      <a:pt x="2788" y="1427"/>
                    </a:lnTo>
                    <a:lnTo>
                      <a:pt x="2786" y="1426"/>
                    </a:lnTo>
                    <a:lnTo>
                      <a:pt x="2779" y="1418"/>
                    </a:lnTo>
                    <a:lnTo>
                      <a:pt x="2770" y="1409"/>
                    </a:lnTo>
                    <a:lnTo>
                      <a:pt x="2766" y="1405"/>
                    </a:lnTo>
                    <a:lnTo>
                      <a:pt x="2764" y="1402"/>
                    </a:lnTo>
                    <a:lnTo>
                      <a:pt x="2764" y="1400"/>
                    </a:lnTo>
                    <a:lnTo>
                      <a:pt x="2764" y="1398"/>
                    </a:lnTo>
                    <a:lnTo>
                      <a:pt x="2765" y="1397"/>
                    </a:lnTo>
                    <a:lnTo>
                      <a:pt x="2766" y="1397"/>
                    </a:lnTo>
                    <a:lnTo>
                      <a:pt x="2775" y="1394"/>
                    </a:lnTo>
                    <a:lnTo>
                      <a:pt x="2783" y="1390"/>
                    </a:lnTo>
                    <a:lnTo>
                      <a:pt x="2785" y="1387"/>
                    </a:lnTo>
                    <a:lnTo>
                      <a:pt x="2787" y="1384"/>
                    </a:lnTo>
                    <a:lnTo>
                      <a:pt x="2788" y="1380"/>
                    </a:lnTo>
                    <a:lnTo>
                      <a:pt x="2787" y="1375"/>
                    </a:lnTo>
                    <a:lnTo>
                      <a:pt x="2782" y="1365"/>
                    </a:lnTo>
                    <a:lnTo>
                      <a:pt x="2775" y="1355"/>
                    </a:lnTo>
                    <a:lnTo>
                      <a:pt x="2773" y="1350"/>
                    </a:lnTo>
                    <a:lnTo>
                      <a:pt x="2770" y="1346"/>
                    </a:lnTo>
                    <a:lnTo>
                      <a:pt x="2769" y="1343"/>
                    </a:lnTo>
                    <a:lnTo>
                      <a:pt x="2769" y="1340"/>
                    </a:lnTo>
                    <a:lnTo>
                      <a:pt x="2771" y="1337"/>
                    </a:lnTo>
                    <a:lnTo>
                      <a:pt x="2776" y="1332"/>
                    </a:lnTo>
                    <a:lnTo>
                      <a:pt x="2781" y="1329"/>
                    </a:lnTo>
                    <a:lnTo>
                      <a:pt x="2787" y="1326"/>
                    </a:lnTo>
                    <a:lnTo>
                      <a:pt x="2798" y="1321"/>
                    </a:lnTo>
                    <a:lnTo>
                      <a:pt x="2803" y="1319"/>
                    </a:lnTo>
                    <a:lnTo>
                      <a:pt x="2806" y="1316"/>
                    </a:lnTo>
                    <a:lnTo>
                      <a:pt x="2813" y="1310"/>
                    </a:lnTo>
                    <a:lnTo>
                      <a:pt x="2818" y="1308"/>
                    </a:lnTo>
                    <a:lnTo>
                      <a:pt x="2821" y="1307"/>
                    </a:lnTo>
                    <a:lnTo>
                      <a:pt x="2823" y="1306"/>
                    </a:lnTo>
                    <a:lnTo>
                      <a:pt x="2824" y="1306"/>
                    </a:lnTo>
                    <a:lnTo>
                      <a:pt x="2825" y="1307"/>
                    </a:lnTo>
                    <a:lnTo>
                      <a:pt x="2825" y="1308"/>
                    </a:lnTo>
                    <a:lnTo>
                      <a:pt x="2831" y="1317"/>
                    </a:lnTo>
                    <a:lnTo>
                      <a:pt x="2836" y="1326"/>
                    </a:lnTo>
                    <a:lnTo>
                      <a:pt x="2834" y="1345"/>
                    </a:lnTo>
                    <a:lnTo>
                      <a:pt x="2832" y="1356"/>
                    </a:lnTo>
                    <a:lnTo>
                      <a:pt x="2832" y="1366"/>
                    </a:lnTo>
                    <a:lnTo>
                      <a:pt x="2832" y="1383"/>
                    </a:lnTo>
                    <a:lnTo>
                      <a:pt x="2832" y="1389"/>
                    </a:lnTo>
                    <a:lnTo>
                      <a:pt x="2831" y="1394"/>
                    </a:lnTo>
                    <a:lnTo>
                      <a:pt x="2830" y="1397"/>
                    </a:lnTo>
                    <a:lnTo>
                      <a:pt x="2830" y="1398"/>
                    </a:lnTo>
                    <a:close/>
                    <a:moveTo>
                      <a:pt x="2863" y="1380"/>
                    </a:moveTo>
                    <a:lnTo>
                      <a:pt x="2863" y="1392"/>
                    </a:lnTo>
                    <a:lnTo>
                      <a:pt x="2862" y="1399"/>
                    </a:lnTo>
                    <a:lnTo>
                      <a:pt x="2861" y="1404"/>
                    </a:lnTo>
                    <a:lnTo>
                      <a:pt x="2858" y="1407"/>
                    </a:lnTo>
                    <a:lnTo>
                      <a:pt x="2856" y="1408"/>
                    </a:lnTo>
                    <a:lnTo>
                      <a:pt x="2856" y="1409"/>
                    </a:lnTo>
                    <a:lnTo>
                      <a:pt x="2856" y="1410"/>
                    </a:lnTo>
                    <a:lnTo>
                      <a:pt x="2856" y="1412"/>
                    </a:lnTo>
                    <a:lnTo>
                      <a:pt x="2858" y="1414"/>
                    </a:lnTo>
                    <a:lnTo>
                      <a:pt x="2861" y="1419"/>
                    </a:lnTo>
                    <a:lnTo>
                      <a:pt x="2864" y="1422"/>
                    </a:lnTo>
                    <a:lnTo>
                      <a:pt x="2869" y="1425"/>
                    </a:lnTo>
                    <a:lnTo>
                      <a:pt x="2870" y="1426"/>
                    </a:lnTo>
                    <a:lnTo>
                      <a:pt x="2871" y="1427"/>
                    </a:lnTo>
                    <a:lnTo>
                      <a:pt x="2871" y="1429"/>
                    </a:lnTo>
                    <a:lnTo>
                      <a:pt x="2869" y="1432"/>
                    </a:lnTo>
                    <a:lnTo>
                      <a:pt x="2860" y="1440"/>
                    </a:lnTo>
                    <a:lnTo>
                      <a:pt x="2848" y="1451"/>
                    </a:lnTo>
                    <a:lnTo>
                      <a:pt x="2843" y="1455"/>
                    </a:lnTo>
                    <a:lnTo>
                      <a:pt x="2840" y="1459"/>
                    </a:lnTo>
                    <a:lnTo>
                      <a:pt x="2839" y="1461"/>
                    </a:lnTo>
                    <a:lnTo>
                      <a:pt x="2839" y="1463"/>
                    </a:lnTo>
                    <a:lnTo>
                      <a:pt x="2840" y="1464"/>
                    </a:lnTo>
                    <a:lnTo>
                      <a:pt x="2842" y="1466"/>
                    </a:lnTo>
                    <a:lnTo>
                      <a:pt x="2848" y="1468"/>
                    </a:lnTo>
                    <a:lnTo>
                      <a:pt x="2856" y="1469"/>
                    </a:lnTo>
                    <a:lnTo>
                      <a:pt x="2866" y="1468"/>
                    </a:lnTo>
                    <a:lnTo>
                      <a:pt x="2876" y="1466"/>
                    </a:lnTo>
                    <a:lnTo>
                      <a:pt x="2894" y="1462"/>
                    </a:lnTo>
                    <a:lnTo>
                      <a:pt x="2901" y="1460"/>
                    </a:lnTo>
                    <a:lnTo>
                      <a:pt x="2908" y="1460"/>
                    </a:lnTo>
                    <a:lnTo>
                      <a:pt x="2921" y="1460"/>
                    </a:lnTo>
                    <a:lnTo>
                      <a:pt x="2929" y="1459"/>
                    </a:lnTo>
                    <a:lnTo>
                      <a:pt x="2936" y="1458"/>
                    </a:lnTo>
                    <a:lnTo>
                      <a:pt x="2941" y="1456"/>
                    </a:lnTo>
                    <a:lnTo>
                      <a:pt x="2944" y="1454"/>
                    </a:lnTo>
                    <a:lnTo>
                      <a:pt x="2943" y="1438"/>
                    </a:lnTo>
                    <a:lnTo>
                      <a:pt x="2943" y="1424"/>
                    </a:lnTo>
                    <a:lnTo>
                      <a:pt x="2946" y="1418"/>
                    </a:lnTo>
                    <a:lnTo>
                      <a:pt x="2950" y="1413"/>
                    </a:lnTo>
                    <a:lnTo>
                      <a:pt x="2951" y="1409"/>
                    </a:lnTo>
                    <a:lnTo>
                      <a:pt x="2951" y="1404"/>
                    </a:lnTo>
                    <a:lnTo>
                      <a:pt x="2949" y="1393"/>
                    </a:lnTo>
                    <a:lnTo>
                      <a:pt x="2944" y="1377"/>
                    </a:lnTo>
                    <a:lnTo>
                      <a:pt x="2941" y="1370"/>
                    </a:lnTo>
                    <a:lnTo>
                      <a:pt x="2938" y="1362"/>
                    </a:lnTo>
                    <a:lnTo>
                      <a:pt x="2934" y="1355"/>
                    </a:lnTo>
                    <a:lnTo>
                      <a:pt x="2930" y="1350"/>
                    </a:lnTo>
                    <a:lnTo>
                      <a:pt x="2923" y="1345"/>
                    </a:lnTo>
                    <a:lnTo>
                      <a:pt x="2915" y="1334"/>
                    </a:lnTo>
                    <a:lnTo>
                      <a:pt x="2906" y="1322"/>
                    </a:lnTo>
                    <a:lnTo>
                      <a:pt x="2895" y="1307"/>
                    </a:lnTo>
                    <a:lnTo>
                      <a:pt x="2886" y="1294"/>
                    </a:lnTo>
                    <a:lnTo>
                      <a:pt x="2878" y="1282"/>
                    </a:lnTo>
                    <a:lnTo>
                      <a:pt x="2874" y="1274"/>
                    </a:lnTo>
                    <a:lnTo>
                      <a:pt x="2873" y="1271"/>
                    </a:lnTo>
                    <a:lnTo>
                      <a:pt x="2879" y="1266"/>
                    </a:lnTo>
                    <a:lnTo>
                      <a:pt x="2889" y="1259"/>
                    </a:lnTo>
                    <a:lnTo>
                      <a:pt x="2892" y="1255"/>
                    </a:lnTo>
                    <a:lnTo>
                      <a:pt x="2895" y="1250"/>
                    </a:lnTo>
                    <a:lnTo>
                      <a:pt x="2895" y="1247"/>
                    </a:lnTo>
                    <a:lnTo>
                      <a:pt x="2895" y="1244"/>
                    </a:lnTo>
                    <a:lnTo>
                      <a:pt x="2894" y="1242"/>
                    </a:lnTo>
                    <a:lnTo>
                      <a:pt x="2892" y="1239"/>
                    </a:lnTo>
                    <a:lnTo>
                      <a:pt x="2887" y="1235"/>
                    </a:lnTo>
                    <a:lnTo>
                      <a:pt x="2880" y="1232"/>
                    </a:lnTo>
                    <a:lnTo>
                      <a:pt x="2875" y="1229"/>
                    </a:lnTo>
                    <a:lnTo>
                      <a:pt x="2870" y="1225"/>
                    </a:lnTo>
                    <a:lnTo>
                      <a:pt x="2865" y="1223"/>
                    </a:lnTo>
                    <a:lnTo>
                      <a:pt x="2862" y="1221"/>
                    </a:lnTo>
                    <a:lnTo>
                      <a:pt x="2860" y="1219"/>
                    </a:lnTo>
                    <a:lnTo>
                      <a:pt x="2858" y="1217"/>
                    </a:lnTo>
                    <a:lnTo>
                      <a:pt x="2864" y="1205"/>
                    </a:lnTo>
                    <a:lnTo>
                      <a:pt x="2868" y="1197"/>
                    </a:lnTo>
                    <a:lnTo>
                      <a:pt x="2861" y="1193"/>
                    </a:lnTo>
                    <a:lnTo>
                      <a:pt x="2852" y="1188"/>
                    </a:lnTo>
                    <a:lnTo>
                      <a:pt x="2845" y="1191"/>
                    </a:lnTo>
                    <a:lnTo>
                      <a:pt x="2834" y="1196"/>
                    </a:lnTo>
                    <a:lnTo>
                      <a:pt x="2831" y="1199"/>
                    </a:lnTo>
                    <a:lnTo>
                      <a:pt x="2827" y="1201"/>
                    </a:lnTo>
                    <a:lnTo>
                      <a:pt x="2824" y="1202"/>
                    </a:lnTo>
                    <a:lnTo>
                      <a:pt x="2820" y="1201"/>
                    </a:lnTo>
                    <a:lnTo>
                      <a:pt x="2813" y="1200"/>
                    </a:lnTo>
                    <a:lnTo>
                      <a:pt x="2808" y="1201"/>
                    </a:lnTo>
                    <a:lnTo>
                      <a:pt x="2803" y="1203"/>
                    </a:lnTo>
                    <a:lnTo>
                      <a:pt x="2801" y="1205"/>
                    </a:lnTo>
                    <a:lnTo>
                      <a:pt x="2804" y="1208"/>
                    </a:lnTo>
                    <a:lnTo>
                      <a:pt x="2810" y="1214"/>
                    </a:lnTo>
                    <a:lnTo>
                      <a:pt x="2813" y="1218"/>
                    </a:lnTo>
                    <a:lnTo>
                      <a:pt x="2817" y="1222"/>
                    </a:lnTo>
                    <a:lnTo>
                      <a:pt x="2819" y="1225"/>
                    </a:lnTo>
                    <a:lnTo>
                      <a:pt x="2819" y="1228"/>
                    </a:lnTo>
                    <a:lnTo>
                      <a:pt x="2810" y="1238"/>
                    </a:lnTo>
                    <a:lnTo>
                      <a:pt x="2803" y="1246"/>
                    </a:lnTo>
                    <a:lnTo>
                      <a:pt x="2810" y="1251"/>
                    </a:lnTo>
                    <a:lnTo>
                      <a:pt x="2818" y="1255"/>
                    </a:lnTo>
                    <a:lnTo>
                      <a:pt x="2817" y="1260"/>
                    </a:lnTo>
                    <a:lnTo>
                      <a:pt x="2815" y="1265"/>
                    </a:lnTo>
                    <a:lnTo>
                      <a:pt x="2819" y="1264"/>
                    </a:lnTo>
                    <a:lnTo>
                      <a:pt x="2825" y="1262"/>
                    </a:lnTo>
                    <a:lnTo>
                      <a:pt x="2828" y="1262"/>
                    </a:lnTo>
                    <a:lnTo>
                      <a:pt x="2830" y="1263"/>
                    </a:lnTo>
                    <a:lnTo>
                      <a:pt x="2831" y="1264"/>
                    </a:lnTo>
                    <a:lnTo>
                      <a:pt x="2831" y="1267"/>
                    </a:lnTo>
                    <a:lnTo>
                      <a:pt x="2829" y="1271"/>
                    </a:lnTo>
                    <a:lnTo>
                      <a:pt x="2827" y="1273"/>
                    </a:lnTo>
                    <a:lnTo>
                      <a:pt x="2825" y="1273"/>
                    </a:lnTo>
                    <a:lnTo>
                      <a:pt x="2824" y="1274"/>
                    </a:lnTo>
                    <a:lnTo>
                      <a:pt x="2822" y="1274"/>
                    </a:lnTo>
                    <a:lnTo>
                      <a:pt x="2821" y="1274"/>
                    </a:lnTo>
                    <a:lnTo>
                      <a:pt x="2821" y="1276"/>
                    </a:lnTo>
                    <a:lnTo>
                      <a:pt x="2821" y="1278"/>
                    </a:lnTo>
                    <a:lnTo>
                      <a:pt x="2825" y="1287"/>
                    </a:lnTo>
                    <a:lnTo>
                      <a:pt x="2827" y="1293"/>
                    </a:lnTo>
                    <a:lnTo>
                      <a:pt x="2835" y="1297"/>
                    </a:lnTo>
                    <a:lnTo>
                      <a:pt x="2846" y="1303"/>
                    </a:lnTo>
                    <a:lnTo>
                      <a:pt x="2847" y="1305"/>
                    </a:lnTo>
                    <a:lnTo>
                      <a:pt x="2848" y="1305"/>
                    </a:lnTo>
                    <a:lnTo>
                      <a:pt x="2849" y="1306"/>
                    </a:lnTo>
                    <a:lnTo>
                      <a:pt x="2851" y="1305"/>
                    </a:lnTo>
                    <a:lnTo>
                      <a:pt x="2853" y="1306"/>
                    </a:lnTo>
                    <a:lnTo>
                      <a:pt x="2854" y="1306"/>
                    </a:lnTo>
                    <a:lnTo>
                      <a:pt x="2855" y="1309"/>
                    </a:lnTo>
                    <a:lnTo>
                      <a:pt x="2855" y="1313"/>
                    </a:lnTo>
                    <a:lnTo>
                      <a:pt x="2853" y="1322"/>
                    </a:lnTo>
                    <a:lnTo>
                      <a:pt x="2852" y="1329"/>
                    </a:lnTo>
                    <a:lnTo>
                      <a:pt x="2852" y="1332"/>
                    </a:lnTo>
                    <a:lnTo>
                      <a:pt x="2852" y="1334"/>
                    </a:lnTo>
                    <a:lnTo>
                      <a:pt x="2852" y="1337"/>
                    </a:lnTo>
                    <a:lnTo>
                      <a:pt x="2854" y="1338"/>
                    </a:lnTo>
                    <a:lnTo>
                      <a:pt x="2860" y="1338"/>
                    </a:lnTo>
                    <a:lnTo>
                      <a:pt x="2868" y="1338"/>
                    </a:lnTo>
                    <a:lnTo>
                      <a:pt x="2872" y="1338"/>
                    </a:lnTo>
                    <a:lnTo>
                      <a:pt x="2875" y="1338"/>
                    </a:lnTo>
                    <a:lnTo>
                      <a:pt x="2878" y="1340"/>
                    </a:lnTo>
                    <a:lnTo>
                      <a:pt x="2879" y="1342"/>
                    </a:lnTo>
                    <a:lnTo>
                      <a:pt x="2879" y="1345"/>
                    </a:lnTo>
                    <a:lnTo>
                      <a:pt x="2878" y="1349"/>
                    </a:lnTo>
                    <a:lnTo>
                      <a:pt x="2875" y="1354"/>
                    </a:lnTo>
                    <a:lnTo>
                      <a:pt x="2873" y="1359"/>
                    </a:lnTo>
                    <a:lnTo>
                      <a:pt x="2868" y="1366"/>
                    </a:lnTo>
                    <a:lnTo>
                      <a:pt x="2865" y="1368"/>
                    </a:lnTo>
                    <a:lnTo>
                      <a:pt x="2864" y="1374"/>
                    </a:lnTo>
                    <a:lnTo>
                      <a:pt x="2863" y="1380"/>
                    </a:lnTo>
                    <a:close/>
                  </a:path>
                </a:pathLst>
              </a:custGeom>
              <a:solidFill>
                <a:schemeClr val="bg1">
                  <a:lumMod val="85000"/>
                </a:schemeClr>
              </a:solidFill>
              <a:ln w="9525">
                <a:noFill/>
                <a:miter lim="800000"/>
                <a:headEnd/>
                <a:tailEnd/>
              </a:ln>
              <a:effectLst/>
            </p:spPr>
            <p:txBody>
              <a:bodyPr anchor="ctr"/>
              <a:lstStyle/>
              <a:p>
                <a:pPr algn="ctr">
                  <a:defRPr/>
                </a:pPr>
                <a:endParaRPr lang="en-US" u="sng">
                  <a:solidFill>
                    <a:srgbClr val="FFFFFF"/>
                  </a:solidFill>
                  <a:latin typeface="Calibri" charset="0"/>
                  <a:ea typeface="ＭＳ Ｐゴシック" charset="-128"/>
                  <a:cs typeface="+mn-cs"/>
                </a:endParaRPr>
              </a:p>
            </p:txBody>
          </p:sp>
        </p:grpSp>
      </p:grpSp>
      <p:sp>
        <p:nvSpPr>
          <p:cNvPr id="102" name="Oval 101"/>
          <p:cNvSpPr/>
          <p:nvPr/>
        </p:nvSpPr>
        <p:spPr>
          <a:xfrm>
            <a:off x="3533775" y="4294188"/>
            <a:ext cx="2117725" cy="150812"/>
          </a:xfrm>
          <a:prstGeom prst="ellipse">
            <a:avLst/>
          </a:prstGeom>
          <a:gradFill flip="none" rotWithShape="1">
            <a:gsLst>
              <a:gs pos="0">
                <a:schemeClr val="bg1">
                  <a:lumMod val="76000"/>
                </a:schemeClr>
              </a:gs>
              <a:gs pos="100000">
                <a:schemeClr val="bg1">
                  <a:alpha val="0"/>
                  <a:lumMod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d-ID">
              <a:solidFill>
                <a:srgbClr val="FFFFFF"/>
              </a:solidFill>
              <a:ea typeface="MS PGothic" pitchFamily="34" charset="-128"/>
            </a:endParaRPr>
          </a:p>
        </p:txBody>
      </p:sp>
      <p:sp>
        <p:nvSpPr>
          <p:cNvPr id="103" name="Rektangel 23"/>
          <p:cNvSpPr>
            <a:spLocks noChangeArrowheads="1"/>
          </p:cNvSpPr>
          <p:nvPr/>
        </p:nvSpPr>
        <p:spPr bwMode="auto">
          <a:xfrm>
            <a:off x="1266825" y="4494213"/>
            <a:ext cx="6651625" cy="115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801688">
              <a:spcBef>
                <a:spcPct val="20000"/>
              </a:spcBef>
            </a:pPr>
            <a:r>
              <a:rPr sz="1600" b="1" noProof="1">
                <a:solidFill>
                  <a:schemeClr val="tx2">
                    <a:lumMod val="75000"/>
                  </a:schemeClr>
                </a:solidFill>
                <a:latin typeface="Calibri" charset="0"/>
                <a:cs typeface="Arial" charset="0"/>
              </a:rPr>
              <a:t>Website</a:t>
            </a:r>
          </a:p>
          <a:p>
            <a:pPr algn="ctr" defTabSz="801688">
              <a:spcBef>
                <a:spcPct val="20000"/>
              </a:spcBef>
            </a:pPr>
            <a:r>
              <a:rPr sz="1200" noProof="1">
                <a:solidFill>
                  <a:srgbClr val="404040"/>
                </a:solidFill>
                <a:latin typeface="Calibri" charset="0"/>
                <a:cs typeface="Arial" charset="0"/>
              </a:rPr>
              <a:t>This is an example text. Go ahead an replace it with your own text. This is an example text. Go ahead an replace it with your own text. This is an example text. Go ahead an replace it with your own text. This is an example text. Go ahead an replace it with your own text</a:t>
            </a:r>
          </a:p>
          <a:p>
            <a:pPr algn="ctr" defTabSz="801688">
              <a:spcBef>
                <a:spcPct val="20000"/>
              </a:spcBef>
            </a:pPr>
            <a:endParaRPr sz="1200" noProof="1">
              <a:solidFill>
                <a:srgbClr val="404040"/>
              </a:solidFill>
              <a:latin typeface="Calibri" charset="0"/>
              <a:cs typeface="Arial" charset="0"/>
            </a:endParaRPr>
          </a:p>
        </p:txBody>
      </p:sp>
      <p:grpSp>
        <p:nvGrpSpPr>
          <p:cNvPr id="104" name="Group 65"/>
          <p:cNvGrpSpPr>
            <a:grpSpLocks/>
          </p:cNvGrpSpPr>
          <p:nvPr/>
        </p:nvGrpSpPr>
        <p:grpSpPr bwMode="auto">
          <a:xfrm>
            <a:off x="485775" y="2654300"/>
            <a:ext cx="2992438" cy="1217613"/>
            <a:chOff x="585541" y="4422205"/>
            <a:chExt cx="2846887" cy="1218354"/>
          </a:xfrm>
        </p:grpSpPr>
        <p:sp>
          <p:nvSpPr>
            <p:cNvPr id="105" name="Rektangel 23"/>
            <p:cNvSpPr>
              <a:spLocks noChangeArrowheads="1"/>
            </p:cNvSpPr>
            <p:nvPr/>
          </p:nvSpPr>
          <p:spPr bwMode="auto">
            <a:xfrm>
              <a:off x="585541" y="4809791"/>
              <a:ext cx="2186892" cy="8307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defTabSz="801688">
                <a:spcBef>
                  <a:spcPct val="20000"/>
                </a:spcBef>
                <a:defRPr/>
              </a:pPr>
              <a:r>
                <a:rPr lang="en-US" sz="1200" noProof="1">
                  <a:solidFill>
                    <a:schemeClr val="tx1">
                      <a:lumMod val="75000"/>
                      <a:lumOff val="25000"/>
                    </a:schemeClr>
                  </a:solidFill>
                  <a:latin typeface="+mj-lt"/>
                  <a:ea typeface="MS PGothic" pitchFamily="34" charset="-128"/>
                  <a:cs typeface="Arial" charset="0"/>
                </a:rPr>
                <a:t>This is an example text.Go ahead an replace it with your own text. This is an example text.Go ahead an replace it with your own text</a:t>
              </a:r>
            </a:p>
          </p:txBody>
        </p:sp>
        <p:sp>
          <p:nvSpPr>
            <p:cNvPr id="106" name="TextBox 98"/>
            <p:cNvSpPr txBox="1">
              <a:spLocks noChangeArrowheads="1"/>
            </p:cNvSpPr>
            <p:nvPr/>
          </p:nvSpPr>
          <p:spPr bwMode="auto">
            <a:xfrm>
              <a:off x="1018993" y="4428559"/>
              <a:ext cx="2413435" cy="3685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r>
                <a:rPr lang="en-US" b="1" dirty="0" smtClean="0">
                  <a:solidFill>
                    <a:schemeClr val="tx2">
                      <a:lumMod val="75000"/>
                    </a:schemeClr>
                  </a:solidFill>
                  <a:latin typeface="+mj-lt"/>
                  <a:cs typeface="+mn-cs"/>
                </a:rPr>
                <a:t>Benefits</a:t>
              </a:r>
            </a:p>
          </p:txBody>
        </p:sp>
        <p:sp>
          <p:nvSpPr>
            <p:cNvPr id="107" name="Isosceles Triangle 106"/>
            <p:cNvSpPr/>
            <p:nvPr/>
          </p:nvSpPr>
          <p:spPr>
            <a:xfrm rot="5400000">
              <a:off x="653665" y="4449229"/>
              <a:ext cx="392352" cy="338304"/>
            </a:xfrm>
            <a:prstGeom prst="triangle">
              <a:avLst/>
            </a:prstGeom>
            <a:solidFill>
              <a:srgbClr val="1B8A0A"/>
            </a:solidFill>
            <a:ln>
              <a:noFill/>
            </a:ln>
            <a:effectLst/>
          </p:spPr>
          <p:style>
            <a:lnRef idx="1">
              <a:schemeClr val="accent1"/>
            </a:lnRef>
            <a:fillRef idx="3">
              <a:schemeClr val="accent1"/>
            </a:fillRef>
            <a:effectRef idx="2">
              <a:schemeClr val="accent1"/>
            </a:effectRef>
            <a:fontRef idx="minor">
              <a:schemeClr val="lt1"/>
            </a:fontRef>
          </p:style>
          <p:txBody>
            <a:bodyPr lIns="0" tIns="374400" rIns="0" bIns="0" anchor="b"/>
            <a:lstStyle/>
            <a:p>
              <a:pPr algn="ctr">
                <a:defRPr/>
              </a:pPr>
              <a:endParaRPr lang="id-ID" sz="3200" b="1">
                <a:solidFill>
                  <a:srgbClr val="D9D9D9"/>
                </a:solidFill>
                <a:ea typeface="MS PGothic" pitchFamily="34" charset="-128"/>
              </a:endParaRPr>
            </a:p>
          </p:txBody>
        </p:sp>
        <p:sp>
          <p:nvSpPr>
            <p:cNvPr id="108" name="Rectangle 58"/>
            <p:cNvSpPr>
              <a:spLocks noChangeArrowheads="1"/>
            </p:cNvSpPr>
            <p:nvPr/>
          </p:nvSpPr>
          <p:spPr bwMode="auto">
            <a:xfrm>
              <a:off x="630850" y="4434009"/>
              <a:ext cx="30384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b="1" dirty="0">
                  <a:solidFill>
                    <a:schemeClr val="bg1"/>
                  </a:solidFill>
                </a:rPr>
                <a:t>+</a:t>
              </a:r>
            </a:p>
          </p:txBody>
        </p:sp>
      </p:grpSp>
      <p:grpSp>
        <p:nvGrpSpPr>
          <p:cNvPr id="109" name="Group 66"/>
          <p:cNvGrpSpPr>
            <a:grpSpLocks/>
          </p:cNvGrpSpPr>
          <p:nvPr/>
        </p:nvGrpSpPr>
        <p:grpSpPr bwMode="auto">
          <a:xfrm>
            <a:off x="6272213" y="2654300"/>
            <a:ext cx="2833687" cy="1246188"/>
            <a:chOff x="4332651" y="4382013"/>
            <a:chExt cx="2833715" cy="1246241"/>
          </a:xfrm>
        </p:grpSpPr>
        <p:sp>
          <p:nvSpPr>
            <p:cNvPr id="110" name="Rektangel 23"/>
            <p:cNvSpPr>
              <a:spLocks noChangeArrowheads="1"/>
            </p:cNvSpPr>
            <p:nvPr/>
          </p:nvSpPr>
          <p:spPr bwMode="auto">
            <a:xfrm>
              <a:off x="4332651" y="4797956"/>
              <a:ext cx="2351110" cy="8302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801688">
                <a:spcBef>
                  <a:spcPct val="20000"/>
                </a:spcBef>
                <a:defRPr/>
              </a:pPr>
              <a:r>
                <a:rPr lang="en-US" sz="1200" noProof="1">
                  <a:solidFill>
                    <a:schemeClr val="tx1">
                      <a:lumMod val="75000"/>
                      <a:lumOff val="25000"/>
                    </a:schemeClr>
                  </a:solidFill>
                  <a:latin typeface="+mj-lt"/>
                  <a:ea typeface="MS PGothic" pitchFamily="34" charset="-128"/>
                  <a:cs typeface="Arial" charset="0"/>
                </a:rPr>
                <a:t>This is an example text.Go ahead an replace it with your ow</a:t>
              </a:r>
              <a:r>
                <a:rPr lang="id-ID" sz="1200" noProof="1">
                  <a:solidFill>
                    <a:schemeClr val="tx1">
                      <a:lumMod val="75000"/>
                      <a:lumOff val="25000"/>
                    </a:schemeClr>
                  </a:solidFill>
                  <a:latin typeface="+mj-lt"/>
                  <a:ea typeface="MS PGothic" pitchFamily="34" charset="-128"/>
                  <a:cs typeface="Arial" charset="0"/>
                </a:rPr>
                <a:t>\</a:t>
              </a:r>
              <a:r>
                <a:rPr lang="en-US" sz="1200" noProof="1">
                  <a:solidFill>
                    <a:schemeClr val="tx1">
                      <a:lumMod val="75000"/>
                      <a:lumOff val="25000"/>
                    </a:schemeClr>
                  </a:solidFill>
                  <a:latin typeface="+mj-lt"/>
                  <a:ea typeface="MS PGothic" pitchFamily="34" charset="-128"/>
                  <a:cs typeface="Arial" charset="0"/>
                </a:rPr>
                <a:t>n text. This is an example text.Go ahead an replace it with your own text</a:t>
              </a:r>
            </a:p>
          </p:txBody>
        </p:sp>
        <p:sp>
          <p:nvSpPr>
            <p:cNvPr id="111" name="TextBox 98"/>
            <p:cNvSpPr txBox="1">
              <a:spLocks noChangeArrowheads="1"/>
            </p:cNvSpPr>
            <p:nvPr/>
          </p:nvSpPr>
          <p:spPr bwMode="auto">
            <a:xfrm>
              <a:off x="4751755" y="4428053"/>
              <a:ext cx="2414611" cy="3683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defRPr/>
              </a:pPr>
              <a:r>
                <a:rPr lang="en-US" b="1" dirty="0" smtClean="0">
                  <a:solidFill>
                    <a:schemeClr val="tx2">
                      <a:lumMod val="75000"/>
                    </a:schemeClr>
                  </a:solidFill>
                  <a:latin typeface="+mj-lt"/>
                  <a:cs typeface="+mn-cs"/>
                </a:rPr>
                <a:t>Limitations</a:t>
              </a:r>
            </a:p>
          </p:txBody>
        </p:sp>
        <p:grpSp>
          <p:nvGrpSpPr>
            <p:cNvPr id="112" name="Group 64"/>
            <p:cNvGrpSpPr>
              <a:grpSpLocks/>
            </p:cNvGrpSpPr>
            <p:nvPr/>
          </p:nvGrpSpPr>
          <p:grpSpPr bwMode="auto">
            <a:xfrm>
              <a:off x="4385039" y="4382013"/>
              <a:ext cx="376243" cy="403242"/>
              <a:chOff x="-1286386" y="5457685"/>
              <a:chExt cx="376243" cy="403242"/>
            </a:xfrm>
          </p:grpSpPr>
          <p:sp>
            <p:nvSpPr>
              <p:cNvPr id="113" name="Isosceles Triangle 112"/>
              <p:cNvSpPr/>
              <p:nvPr/>
            </p:nvSpPr>
            <p:spPr>
              <a:xfrm rot="5400000">
                <a:off x="-1276073" y="5494998"/>
                <a:ext cx="393717" cy="338142"/>
              </a:xfrm>
              <a:prstGeom prst="triangle">
                <a:avLst/>
              </a:prstGeom>
              <a:solidFill>
                <a:srgbClr val="DB131E"/>
              </a:solidFill>
              <a:ln>
                <a:noFill/>
              </a:ln>
              <a:effectLst/>
            </p:spPr>
            <p:style>
              <a:lnRef idx="1">
                <a:schemeClr val="accent1"/>
              </a:lnRef>
              <a:fillRef idx="3">
                <a:schemeClr val="accent1"/>
              </a:fillRef>
              <a:effectRef idx="2">
                <a:schemeClr val="accent1"/>
              </a:effectRef>
              <a:fontRef idx="minor">
                <a:schemeClr val="lt1"/>
              </a:fontRef>
            </p:style>
            <p:txBody>
              <a:bodyPr lIns="0" tIns="374400" rIns="0" bIns="0" anchor="b"/>
              <a:lstStyle/>
              <a:p>
                <a:pPr algn="ctr">
                  <a:defRPr/>
                </a:pPr>
                <a:endParaRPr lang="id-ID" sz="3200" b="1">
                  <a:solidFill>
                    <a:srgbClr val="D9D9D9"/>
                  </a:solidFill>
                  <a:ea typeface="MS PGothic" pitchFamily="34" charset="-128"/>
                </a:endParaRPr>
              </a:p>
            </p:txBody>
          </p:sp>
          <p:sp>
            <p:nvSpPr>
              <p:cNvPr id="114" name="Rectangle 63"/>
              <p:cNvSpPr>
                <a:spLocks noChangeArrowheads="1"/>
              </p:cNvSpPr>
              <p:nvPr/>
            </p:nvSpPr>
            <p:spPr bwMode="auto">
              <a:xfrm>
                <a:off x="-1286386" y="5457685"/>
                <a:ext cx="2616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id-ID" b="1">
                    <a:solidFill>
                      <a:schemeClr val="bg1"/>
                    </a:solidFill>
                  </a:rPr>
                  <a:t>-</a:t>
                </a:r>
                <a:endParaRPr lang="en-US" b="1">
                  <a:solidFill>
                    <a:schemeClr val="bg1"/>
                  </a:solidFill>
                </a:endParaRPr>
              </a:p>
            </p:txBody>
          </p:sp>
        </p:grpSp>
      </p:grpSp>
      <p:sp>
        <p:nvSpPr>
          <p:cNvPr id="28" name="Title 1"/>
          <p:cNvSpPr>
            <a:spLocks noGrp="1"/>
          </p:cNvSpPr>
          <p:nvPr>
            <p:ph type="title"/>
          </p:nvPr>
        </p:nvSpPr>
        <p:spPr/>
        <p:txBody>
          <a:bodyPr/>
          <a:lstStyle/>
          <a:p>
            <a:pPr>
              <a:lnSpc>
                <a:spcPct val="80000"/>
              </a:lnSpc>
            </a:pPr>
            <a:r>
              <a:rPr lang="en-US"/>
              <a:t>SALES METHOD</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5182877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62" name="Gruppe 83"/>
          <p:cNvGrpSpPr>
            <a:grpSpLocks/>
          </p:cNvGrpSpPr>
          <p:nvPr/>
        </p:nvGrpSpPr>
        <p:grpSpPr bwMode="auto">
          <a:xfrm rot="-8100000">
            <a:off x="4736306" y="1885157"/>
            <a:ext cx="1533525" cy="1566862"/>
            <a:chOff x="3717577" y="1040361"/>
            <a:chExt cx="1708847" cy="1742936"/>
          </a:xfrm>
        </p:grpSpPr>
        <p:sp>
          <p:nvSpPr>
            <p:cNvPr id="3" name="Tåre 105"/>
            <p:cNvSpPr/>
            <p:nvPr/>
          </p:nvSpPr>
          <p:spPr bwMode="auto">
            <a:xfrm rot="18900000">
              <a:off x="3717577" y="1067209"/>
              <a:ext cx="1708847" cy="1716088"/>
            </a:xfrm>
            <a:prstGeom prst="teardrop">
              <a:avLst/>
            </a:prstGeom>
            <a:gradFill flip="none" rotWithShape="1">
              <a:gsLst>
                <a:gs pos="0">
                  <a:schemeClr val="bg2"/>
                </a:gs>
                <a:gs pos="86000">
                  <a:srgbClr val="2A9B18"/>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4"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5"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grpSp>
        <p:nvGrpSpPr>
          <p:cNvPr id="15363" name="Gruppe 83"/>
          <p:cNvGrpSpPr>
            <a:grpSpLocks/>
          </p:cNvGrpSpPr>
          <p:nvPr/>
        </p:nvGrpSpPr>
        <p:grpSpPr bwMode="auto">
          <a:xfrm rot="8008569">
            <a:off x="3022600" y="1889125"/>
            <a:ext cx="1549400" cy="1581150"/>
            <a:chOff x="3717577" y="1040361"/>
            <a:chExt cx="1708847" cy="1742936"/>
          </a:xfrm>
        </p:grpSpPr>
        <p:sp>
          <p:nvSpPr>
            <p:cNvPr id="7" name="Tåre 105"/>
            <p:cNvSpPr/>
            <p:nvPr/>
          </p:nvSpPr>
          <p:spPr bwMode="auto">
            <a:xfrm rot="18900000">
              <a:off x="3717577" y="1067209"/>
              <a:ext cx="1708847" cy="1716088"/>
            </a:xfrm>
            <a:prstGeom prst="teardrop">
              <a:avLst/>
            </a:prstGeom>
            <a:gradFill flip="none" rotWithShape="1">
              <a:gsLst>
                <a:gs pos="31000">
                  <a:schemeClr val="bg2">
                    <a:alpha val="21000"/>
                  </a:schemeClr>
                </a:gs>
                <a:gs pos="100000">
                  <a:schemeClr val="accent1">
                    <a:lumMod val="75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0"/>
                <a:cs typeface="ＭＳ Ｐゴシック" charset="0"/>
              </a:endParaRPr>
            </a:p>
          </p:txBody>
        </p:sp>
        <p:sp>
          <p:nvSpPr>
            <p:cNvPr id="8"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9"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grpSp>
        <p:nvGrpSpPr>
          <p:cNvPr id="3080" name="Group 64"/>
          <p:cNvGrpSpPr>
            <a:grpSpLocks/>
          </p:cNvGrpSpPr>
          <p:nvPr/>
        </p:nvGrpSpPr>
        <p:grpSpPr bwMode="auto">
          <a:xfrm rot="-2700000">
            <a:off x="5106988" y="2232025"/>
            <a:ext cx="804862" cy="871538"/>
            <a:chOff x="3544548" y="2404084"/>
            <a:chExt cx="711551" cy="771054"/>
          </a:xfrm>
          <a:solidFill>
            <a:schemeClr val="bg1"/>
          </a:solidFill>
        </p:grpSpPr>
        <p:sp>
          <p:nvSpPr>
            <p:cNvPr id="16" name="L-Shape 15"/>
            <p:cNvSpPr/>
            <p:nvPr/>
          </p:nvSpPr>
          <p:spPr bwMode="auto">
            <a:xfrm rot="2700000">
              <a:off x="3487517" y="2680907"/>
              <a:ext cx="547743" cy="437878"/>
            </a:xfrm>
            <a:prstGeom prst="corner">
              <a:avLst>
                <a:gd name="adj1" fmla="val 74088"/>
                <a:gd name="adj2" fmla="val 3406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sp>
          <p:nvSpPr>
            <p:cNvPr id="17" name="Cloud 16"/>
            <p:cNvSpPr/>
            <p:nvPr/>
          </p:nvSpPr>
          <p:spPr bwMode="auto">
            <a:xfrm rot="5280872">
              <a:off x="3887016" y="2294715"/>
              <a:ext cx="259826" cy="474368"/>
            </a:xfrm>
            <a:prstGeom prst="cloud">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grpSp>
      <p:sp>
        <p:nvSpPr>
          <p:cNvPr id="18" name="&quot;No&quot; Symbol 17"/>
          <p:cNvSpPr/>
          <p:nvPr/>
        </p:nvSpPr>
        <p:spPr bwMode="auto">
          <a:xfrm rot="5594088">
            <a:off x="3301207" y="2185193"/>
            <a:ext cx="984250" cy="982663"/>
          </a:xfrm>
          <a:prstGeom prst="noSmoking">
            <a:avLst>
              <a:gd name="adj" fmla="val 1444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grpSp>
        <p:nvGrpSpPr>
          <p:cNvPr id="19" name="Gruppe 83"/>
          <p:cNvGrpSpPr>
            <a:grpSpLocks/>
          </p:cNvGrpSpPr>
          <p:nvPr/>
        </p:nvGrpSpPr>
        <p:grpSpPr bwMode="auto">
          <a:xfrm rot="8100000" flipV="1">
            <a:off x="4735720" y="3580089"/>
            <a:ext cx="1534156" cy="1567410"/>
            <a:chOff x="3717577" y="1040361"/>
            <a:chExt cx="1708847" cy="1742936"/>
          </a:xfrm>
          <a:effectLst>
            <a:reflection stA="25000" endPos="35000" dist="12700" dir="5400000" sy="-100000" algn="bl" rotWithShape="0"/>
          </a:effectLst>
        </p:grpSpPr>
        <p:sp>
          <p:nvSpPr>
            <p:cNvPr id="20" name="Tåre 105"/>
            <p:cNvSpPr/>
            <p:nvPr/>
          </p:nvSpPr>
          <p:spPr bwMode="auto">
            <a:xfrm rot="18900000">
              <a:off x="3717577" y="1067209"/>
              <a:ext cx="1708847" cy="1716088"/>
            </a:xfrm>
            <a:prstGeom prst="teardrop">
              <a:avLst/>
            </a:prstGeom>
            <a:gradFill flip="none" rotWithShape="1">
              <a:gsLst>
                <a:gs pos="0">
                  <a:schemeClr val="bg2"/>
                </a:gs>
                <a:gs pos="86000">
                  <a:srgbClr val="F0B71F"/>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21"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22"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nb-NO">
                <a:solidFill>
                  <a:srgbClr val="FFFFFF"/>
                </a:solidFill>
                <a:latin typeface="Calibri" charset="0"/>
                <a:ea typeface="ＭＳ Ｐゴシック" charset="-128"/>
                <a:cs typeface="ＭＳ Ｐゴシック" charset="-128"/>
              </a:endParaRPr>
            </a:p>
          </p:txBody>
        </p:sp>
      </p:grpSp>
      <p:grpSp>
        <p:nvGrpSpPr>
          <p:cNvPr id="15367" name="Gruppe 83"/>
          <p:cNvGrpSpPr>
            <a:grpSpLocks/>
          </p:cNvGrpSpPr>
          <p:nvPr/>
        </p:nvGrpSpPr>
        <p:grpSpPr bwMode="auto">
          <a:xfrm rot="13591431" flipV="1">
            <a:off x="3022600" y="3562350"/>
            <a:ext cx="1549400" cy="1581150"/>
            <a:chOff x="3717577" y="1040361"/>
            <a:chExt cx="1708847" cy="1742936"/>
          </a:xfrm>
        </p:grpSpPr>
        <p:sp>
          <p:nvSpPr>
            <p:cNvPr id="24" name="Tåre 105"/>
            <p:cNvSpPr/>
            <p:nvPr/>
          </p:nvSpPr>
          <p:spPr bwMode="auto">
            <a:xfrm rot="18900000">
              <a:off x="3717577" y="1067209"/>
              <a:ext cx="1708847" cy="1716088"/>
            </a:xfrm>
            <a:prstGeom prst="teardrop">
              <a:avLst/>
            </a:prstGeom>
            <a:gradFill flip="none" rotWithShape="1">
              <a:gsLst>
                <a:gs pos="0">
                  <a:schemeClr val="bg2"/>
                </a:gs>
                <a:gs pos="63000">
                  <a:srgbClr val="CE202A"/>
                </a:gs>
              </a:gsLst>
              <a:path path="shape">
                <a:fillToRect l="50000" t="50000" r="50000" b="50000"/>
              </a:path>
              <a:tileRect/>
            </a:gradFill>
            <a:ln w="9525" cap="flat" cmpd="sng" algn="ctr">
              <a:noFill/>
              <a:prstDash val="solid"/>
            </a:ln>
            <a:effectLst>
              <a:innerShdw blurRad="190500" dist="114300" dir="5640000">
                <a:srgbClr val="000000">
                  <a:alpha val="37000"/>
                </a:srgbClr>
              </a:innerShdw>
              <a:reflection stA="25000" endPos="35000" dist="12700" dir="5400000" sy="-100000" algn="bl" rotWithShape="0"/>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25"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26"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grpSp>
        <p:nvGrpSpPr>
          <p:cNvPr id="3086" name="Gruppe 46"/>
          <p:cNvGrpSpPr>
            <a:grpSpLocks/>
          </p:cNvGrpSpPr>
          <p:nvPr/>
        </p:nvGrpSpPr>
        <p:grpSpPr bwMode="auto">
          <a:xfrm>
            <a:off x="5022850" y="3940175"/>
            <a:ext cx="1085850" cy="806450"/>
            <a:chOff x="4821610" y="587829"/>
            <a:chExt cx="2393544" cy="1781593"/>
          </a:xfrm>
          <a:solidFill>
            <a:schemeClr val="bg1"/>
          </a:solidFill>
        </p:grpSpPr>
        <p:sp>
          <p:nvSpPr>
            <p:cNvPr id="3094" name="Freeform 528"/>
            <p:cNvSpPr>
              <a:spLocks/>
            </p:cNvSpPr>
            <p:nvPr/>
          </p:nvSpPr>
          <p:spPr bwMode="auto">
            <a:xfrm>
              <a:off x="4821610" y="587829"/>
              <a:ext cx="2393544" cy="1781593"/>
            </a:xfrm>
            <a:custGeom>
              <a:avLst/>
              <a:gdLst>
                <a:gd name="T0" fmla="*/ 2147483647 w 794"/>
                <a:gd name="T1" fmla="*/ 2147483647 h 591"/>
                <a:gd name="T2" fmla="*/ 2147483647 w 794"/>
                <a:gd name="T3" fmla="*/ 2147483647 h 591"/>
                <a:gd name="T4" fmla="*/ 2147483647 w 794"/>
                <a:gd name="T5" fmla="*/ 2147483647 h 591"/>
                <a:gd name="T6" fmla="*/ 2147483647 w 794"/>
                <a:gd name="T7" fmla="*/ 2147483647 h 591"/>
                <a:gd name="T8" fmla="*/ 2147483647 w 794"/>
                <a:gd name="T9" fmla="*/ 2147483647 h 591"/>
                <a:gd name="T10" fmla="*/ 2147483647 w 794"/>
                <a:gd name="T11" fmla="*/ 2147483647 h 591"/>
                <a:gd name="T12" fmla="*/ 2147483647 w 794"/>
                <a:gd name="T13" fmla="*/ 2147483647 h 591"/>
                <a:gd name="T14" fmla="*/ 2147483647 w 794"/>
                <a:gd name="T15" fmla="*/ 2147483647 h 591"/>
                <a:gd name="T16" fmla="*/ 2147483647 w 794"/>
                <a:gd name="T17" fmla="*/ 2147483647 h 591"/>
                <a:gd name="T18" fmla="*/ 2147483647 w 794"/>
                <a:gd name="T19" fmla="*/ 2147483647 h 591"/>
                <a:gd name="T20" fmla="*/ 2147483647 w 794"/>
                <a:gd name="T21" fmla="*/ 2147483647 h 591"/>
                <a:gd name="T22" fmla="*/ 2147483647 w 794"/>
                <a:gd name="T23" fmla="*/ 2147483647 h 591"/>
                <a:gd name="T24" fmla="*/ 2147483647 w 794"/>
                <a:gd name="T25" fmla="*/ 2147483647 h 591"/>
                <a:gd name="T26" fmla="*/ 2147483647 w 794"/>
                <a:gd name="T27" fmla="*/ 2147483647 h 591"/>
                <a:gd name="T28" fmla="*/ 2147483647 w 794"/>
                <a:gd name="T29" fmla="*/ 2147483647 h 591"/>
                <a:gd name="T30" fmla="*/ 2147483647 w 794"/>
                <a:gd name="T31" fmla="*/ 2147483647 h 591"/>
                <a:gd name="T32" fmla="*/ 2147483647 w 794"/>
                <a:gd name="T33" fmla="*/ 2147483647 h 591"/>
                <a:gd name="T34" fmla="*/ 2147483647 w 794"/>
                <a:gd name="T35" fmla="*/ 2147483647 h 591"/>
                <a:gd name="T36" fmla="*/ 2147483647 w 794"/>
                <a:gd name="T37" fmla="*/ 2147483647 h 591"/>
                <a:gd name="T38" fmla="*/ 2147483647 w 794"/>
                <a:gd name="T39" fmla="*/ 2147483647 h 591"/>
                <a:gd name="T40" fmla="*/ 2147483647 w 794"/>
                <a:gd name="T41" fmla="*/ 2147483647 h 591"/>
                <a:gd name="T42" fmla="*/ 2147483647 w 794"/>
                <a:gd name="T43" fmla="*/ 0 h 591"/>
                <a:gd name="T44" fmla="*/ 2147483647 w 794"/>
                <a:gd name="T45" fmla="*/ 2147483647 h 591"/>
                <a:gd name="T46" fmla="*/ 2147483647 w 794"/>
                <a:gd name="T47" fmla="*/ 2147483647 h 591"/>
                <a:gd name="T48" fmla="*/ 2147483647 w 794"/>
                <a:gd name="T49" fmla="*/ 2147483647 h 591"/>
                <a:gd name="T50" fmla="*/ 2147483647 w 794"/>
                <a:gd name="T51" fmla="*/ 2147483647 h 591"/>
                <a:gd name="T52" fmla="*/ 2147483647 w 794"/>
                <a:gd name="T53" fmla="*/ 2147483647 h 591"/>
                <a:gd name="T54" fmla="*/ 0 w 794"/>
                <a:gd name="T55" fmla="*/ 2147483647 h 591"/>
                <a:gd name="T56" fmla="*/ 2147483647 w 794"/>
                <a:gd name="T57" fmla="*/ 2147483647 h 591"/>
                <a:gd name="T58" fmla="*/ 2147483647 w 794"/>
                <a:gd name="T59" fmla="*/ 2147483647 h 591"/>
                <a:gd name="T60" fmla="*/ 2147483647 w 794"/>
                <a:gd name="T61" fmla="*/ 2147483647 h 591"/>
                <a:gd name="T62" fmla="*/ 2147483647 w 794"/>
                <a:gd name="T63" fmla="*/ 2147483647 h 591"/>
                <a:gd name="T64" fmla="*/ 2147483647 w 794"/>
                <a:gd name="T65" fmla="*/ 2147483647 h 591"/>
                <a:gd name="T66" fmla="*/ 2147483647 w 794"/>
                <a:gd name="T67" fmla="*/ 2147483647 h 591"/>
                <a:gd name="T68" fmla="*/ 2147483647 w 794"/>
                <a:gd name="T69" fmla="*/ 2147483647 h 591"/>
                <a:gd name="T70" fmla="*/ 2147483647 w 794"/>
                <a:gd name="T71" fmla="*/ 2147483647 h 591"/>
                <a:gd name="T72" fmla="*/ 2147483647 w 794"/>
                <a:gd name="T73" fmla="*/ 2147483647 h 591"/>
                <a:gd name="T74" fmla="*/ 2147483647 w 794"/>
                <a:gd name="T75" fmla="*/ 2147483647 h 591"/>
                <a:gd name="T76" fmla="*/ 2147483647 w 794"/>
                <a:gd name="T77" fmla="*/ 2147483647 h 591"/>
                <a:gd name="T78" fmla="*/ 2147483647 w 794"/>
                <a:gd name="T79" fmla="*/ 2147483647 h 591"/>
                <a:gd name="T80" fmla="*/ 2147483647 w 794"/>
                <a:gd name="T81" fmla="*/ 2147483647 h 591"/>
                <a:gd name="T82" fmla="*/ 2147483647 w 794"/>
                <a:gd name="T83" fmla="*/ 2147483647 h 591"/>
                <a:gd name="T84" fmla="*/ 2147483647 w 794"/>
                <a:gd name="T85" fmla="*/ 2147483647 h 591"/>
                <a:gd name="T86" fmla="*/ 2147483647 w 794"/>
                <a:gd name="T87" fmla="*/ 2147483647 h 591"/>
                <a:gd name="T88" fmla="*/ 2147483647 w 794"/>
                <a:gd name="T89" fmla="*/ 2147483647 h 591"/>
                <a:gd name="T90" fmla="*/ 2147483647 w 794"/>
                <a:gd name="T91" fmla="*/ 2147483647 h 591"/>
                <a:gd name="T92" fmla="*/ 2147483647 w 794"/>
                <a:gd name="T93" fmla="*/ 2147483647 h 591"/>
                <a:gd name="T94" fmla="*/ 2147483647 w 794"/>
                <a:gd name="T95" fmla="*/ 2147483647 h 591"/>
                <a:gd name="T96" fmla="*/ 2147483647 w 794"/>
                <a:gd name="T97" fmla="*/ 2147483647 h 591"/>
                <a:gd name="T98" fmla="*/ 2147483647 w 794"/>
                <a:gd name="T99" fmla="*/ 2147483647 h 591"/>
                <a:gd name="T100" fmla="*/ 2147483647 w 794"/>
                <a:gd name="T101" fmla="*/ 2147483647 h 5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94"/>
                <a:gd name="T154" fmla="*/ 0 h 591"/>
                <a:gd name="T155" fmla="*/ 794 w 794"/>
                <a:gd name="T156" fmla="*/ 591 h 5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94" h="591">
                  <a:moveTo>
                    <a:pt x="783" y="463"/>
                  </a:moveTo>
                  <a:lnTo>
                    <a:pt x="771" y="468"/>
                  </a:lnTo>
                  <a:lnTo>
                    <a:pt x="757" y="474"/>
                  </a:lnTo>
                  <a:lnTo>
                    <a:pt x="742" y="480"/>
                  </a:lnTo>
                  <a:lnTo>
                    <a:pt x="719" y="486"/>
                  </a:lnTo>
                  <a:lnTo>
                    <a:pt x="704" y="486"/>
                  </a:lnTo>
                  <a:lnTo>
                    <a:pt x="698" y="486"/>
                  </a:lnTo>
                  <a:lnTo>
                    <a:pt x="687" y="480"/>
                  </a:lnTo>
                  <a:lnTo>
                    <a:pt x="675" y="480"/>
                  </a:lnTo>
                  <a:lnTo>
                    <a:pt x="660" y="480"/>
                  </a:lnTo>
                  <a:lnTo>
                    <a:pt x="655" y="486"/>
                  </a:lnTo>
                  <a:lnTo>
                    <a:pt x="617" y="474"/>
                  </a:lnTo>
                  <a:lnTo>
                    <a:pt x="620" y="428"/>
                  </a:lnTo>
                  <a:lnTo>
                    <a:pt x="570" y="404"/>
                  </a:lnTo>
                  <a:lnTo>
                    <a:pt x="556" y="404"/>
                  </a:lnTo>
                  <a:lnTo>
                    <a:pt x="521" y="387"/>
                  </a:lnTo>
                  <a:lnTo>
                    <a:pt x="480" y="375"/>
                  </a:lnTo>
                  <a:lnTo>
                    <a:pt x="474" y="369"/>
                  </a:lnTo>
                  <a:lnTo>
                    <a:pt x="460" y="361"/>
                  </a:lnTo>
                  <a:lnTo>
                    <a:pt x="445" y="364"/>
                  </a:lnTo>
                  <a:lnTo>
                    <a:pt x="419" y="340"/>
                  </a:lnTo>
                  <a:lnTo>
                    <a:pt x="401" y="335"/>
                  </a:lnTo>
                  <a:lnTo>
                    <a:pt x="375" y="329"/>
                  </a:lnTo>
                  <a:lnTo>
                    <a:pt x="320" y="332"/>
                  </a:lnTo>
                  <a:lnTo>
                    <a:pt x="326" y="311"/>
                  </a:lnTo>
                  <a:lnTo>
                    <a:pt x="305" y="303"/>
                  </a:lnTo>
                  <a:lnTo>
                    <a:pt x="265" y="308"/>
                  </a:lnTo>
                  <a:lnTo>
                    <a:pt x="285" y="288"/>
                  </a:lnTo>
                  <a:lnTo>
                    <a:pt x="297" y="282"/>
                  </a:lnTo>
                  <a:lnTo>
                    <a:pt x="308" y="271"/>
                  </a:lnTo>
                  <a:lnTo>
                    <a:pt x="314" y="262"/>
                  </a:lnTo>
                  <a:lnTo>
                    <a:pt x="352" y="241"/>
                  </a:lnTo>
                  <a:lnTo>
                    <a:pt x="381" y="256"/>
                  </a:lnTo>
                  <a:lnTo>
                    <a:pt x="407" y="271"/>
                  </a:lnTo>
                  <a:lnTo>
                    <a:pt x="451" y="294"/>
                  </a:lnTo>
                  <a:lnTo>
                    <a:pt x="465" y="294"/>
                  </a:lnTo>
                  <a:lnTo>
                    <a:pt x="477" y="291"/>
                  </a:lnTo>
                  <a:lnTo>
                    <a:pt x="483" y="285"/>
                  </a:lnTo>
                  <a:lnTo>
                    <a:pt x="506" y="262"/>
                  </a:lnTo>
                  <a:lnTo>
                    <a:pt x="532" y="239"/>
                  </a:lnTo>
                  <a:lnTo>
                    <a:pt x="564" y="212"/>
                  </a:lnTo>
                  <a:lnTo>
                    <a:pt x="562" y="198"/>
                  </a:lnTo>
                  <a:lnTo>
                    <a:pt x="564" y="189"/>
                  </a:lnTo>
                  <a:lnTo>
                    <a:pt x="579" y="166"/>
                  </a:lnTo>
                  <a:lnTo>
                    <a:pt x="588" y="157"/>
                  </a:lnTo>
                  <a:lnTo>
                    <a:pt x="596" y="148"/>
                  </a:lnTo>
                  <a:lnTo>
                    <a:pt x="602" y="137"/>
                  </a:lnTo>
                  <a:lnTo>
                    <a:pt x="605" y="113"/>
                  </a:lnTo>
                  <a:lnTo>
                    <a:pt x="596" y="105"/>
                  </a:lnTo>
                  <a:lnTo>
                    <a:pt x="559" y="105"/>
                  </a:lnTo>
                  <a:lnTo>
                    <a:pt x="556" y="111"/>
                  </a:lnTo>
                  <a:lnTo>
                    <a:pt x="541" y="122"/>
                  </a:lnTo>
                  <a:lnTo>
                    <a:pt x="541" y="128"/>
                  </a:lnTo>
                  <a:lnTo>
                    <a:pt x="541" y="134"/>
                  </a:lnTo>
                  <a:lnTo>
                    <a:pt x="541" y="137"/>
                  </a:lnTo>
                  <a:lnTo>
                    <a:pt x="544" y="148"/>
                  </a:lnTo>
                  <a:lnTo>
                    <a:pt x="541" y="157"/>
                  </a:lnTo>
                  <a:lnTo>
                    <a:pt x="535" y="169"/>
                  </a:lnTo>
                  <a:lnTo>
                    <a:pt x="509" y="198"/>
                  </a:lnTo>
                  <a:lnTo>
                    <a:pt x="486" y="209"/>
                  </a:lnTo>
                  <a:lnTo>
                    <a:pt x="465" y="227"/>
                  </a:lnTo>
                  <a:lnTo>
                    <a:pt x="457" y="233"/>
                  </a:lnTo>
                  <a:lnTo>
                    <a:pt x="451" y="230"/>
                  </a:lnTo>
                  <a:lnTo>
                    <a:pt x="448" y="224"/>
                  </a:lnTo>
                  <a:lnTo>
                    <a:pt x="422" y="207"/>
                  </a:lnTo>
                  <a:lnTo>
                    <a:pt x="407" y="186"/>
                  </a:lnTo>
                  <a:lnTo>
                    <a:pt x="416" y="160"/>
                  </a:lnTo>
                  <a:lnTo>
                    <a:pt x="410" y="145"/>
                  </a:lnTo>
                  <a:lnTo>
                    <a:pt x="399" y="140"/>
                  </a:lnTo>
                  <a:lnTo>
                    <a:pt x="407" y="137"/>
                  </a:lnTo>
                  <a:lnTo>
                    <a:pt x="413" y="131"/>
                  </a:lnTo>
                  <a:lnTo>
                    <a:pt x="413" y="111"/>
                  </a:lnTo>
                  <a:lnTo>
                    <a:pt x="419" y="96"/>
                  </a:lnTo>
                  <a:lnTo>
                    <a:pt x="422" y="96"/>
                  </a:lnTo>
                  <a:lnTo>
                    <a:pt x="425" y="93"/>
                  </a:lnTo>
                  <a:lnTo>
                    <a:pt x="428" y="90"/>
                  </a:lnTo>
                  <a:lnTo>
                    <a:pt x="422" y="76"/>
                  </a:lnTo>
                  <a:lnTo>
                    <a:pt x="425" y="55"/>
                  </a:lnTo>
                  <a:lnTo>
                    <a:pt x="422" y="44"/>
                  </a:lnTo>
                  <a:lnTo>
                    <a:pt x="428" y="44"/>
                  </a:lnTo>
                  <a:lnTo>
                    <a:pt x="431" y="41"/>
                  </a:lnTo>
                  <a:lnTo>
                    <a:pt x="433" y="35"/>
                  </a:lnTo>
                  <a:lnTo>
                    <a:pt x="431" y="32"/>
                  </a:lnTo>
                  <a:lnTo>
                    <a:pt x="422" y="26"/>
                  </a:lnTo>
                  <a:lnTo>
                    <a:pt x="416" y="20"/>
                  </a:lnTo>
                  <a:lnTo>
                    <a:pt x="407" y="12"/>
                  </a:lnTo>
                  <a:lnTo>
                    <a:pt x="399" y="9"/>
                  </a:lnTo>
                  <a:lnTo>
                    <a:pt x="390" y="6"/>
                  </a:lnTo>
                  <a:lnTo>
                    <a:pt x="378" y="3"/>
                  </a:lnTo>
                  <a:lnTo>
                    <a:pt x="367" y="0"/>
                  </a:lnTo>
                  <a:lnTo>
                    <a:pt x="358" y="0"/>
                  </a:lnTo>
                  <a:lnTo>
                    <a:pt x="343" y="6"/>
                  </a:lnTo>
                  <a:lnTo>
                    <a:pt x="334" y="9"/>
                  </a:lnTo>
                  <a:lnTo>
                    <a:pt x="329" y="15"/>
                  </a:lnTo>
                  <a:lnTo>
                    <a:pt x="317" y="26"/>
                  </a:lnTo>
                  <a:lnTo>
                    <a:pt x="311" y="41"/>
                  </a:lnTo>
                  <a:lnTo>
                    <a:pt x="308" y="55"/>
                  </a:lnTo>
                  <a:lnTo>
                    <a:pt x="305" y="76"/>
                  </a:lnTo>
                  <a:lnTo>
                    <a:pt x="282" y="55"/>
                  </a:lnTo>
                  <a:lnTo>
                    <a:pt x="273" y="49"/>
                  </a:lnTo>
                  <a:lnTo>
                    <a:pt x="265" y="47"/>
                  </a:lnTo>
                  <a:lnTo>
                    <a:pt x="253" y="47"/>
                  </a:lnTo>
                  <a:lnTo>
                    <a:pt x="244" y="49"/>
                  </a:lnTo>
                  <a:lnTo>
                    <a:pt x="230" y="55"/>
                  </a:lnTo>
                  <a:lnTo>
                    <a:pt x="224" y="58"/>
                  </a:lnTo>
                  <a:lnTo>
                    <a:pt x="206" y="67"/>
                  </a:lnTo>
                  <a:lnTo>
                    <a:pt x="174" y="67"/>
                  </a:lnTo>
                  <a:lnTo>
                    <a:pt x="142" y="76"/>
                  </a:lnTo>
                  <a:lnTo>
                    <a:pt x="122" y="79"/>
                  </a:lnTo>
                  <a:lnTo>
                    <a:pt x="105" y="81"/>
                  </a:lnTo>
                  <a:lnTo>
                    <a:pt x="93" y="87"/>
                  </a:lnTo>
                  <a:lnTo>
                    <a:pt x="84" y="96"/>
                  </a:lnTo>
                  <a:lnTo>
                    <a:pt x="17" y="201"/>
                  </a:lnTo>
                  <a:lnTo>
                    <a:pt x="17" y="207"/>
                  </a:lnTo>
                  <a:lnTo>
                    <a:pt x="6" y="207"/>
                  </a:lnTo>
                  <a:lnTo>
                    <a:pt x="0" y="224"/>
                  </a:lnTo>
                  <a:lnTo>
                    <a:pt x="6" y="233"/>
                  </a:lnTo>
                  <a:lnTo>
                    <a:pt x="11" y="236"/>
                  </a:lnTo>
                  <a:lnTo>
                    <a:pt x="14" y="241"/>
                  </a:lnTo>
                  <a:lnTo>
                    <a:pt x="29" y="244"/>
                  </a:lnTo>
                  <a:lnTo>
                    <a:pt x="43" y="247"/>
                  </a:lnTo>
                  <a:lnTo>
                    <a:pt x="49" y="239"/>
                  </a:lnTo>
                  <a:lnTo>
                    <a:pt x="52" y="233"/>
                  </a:lnTo>
                  <a:lnTo>
                    <a:pt x="55" y="221"/>
                  </a:lnTo>
                  <a:lnTo>
                    <a:pt x="70" y="207"/>
                  </a:lnTo>
                  <a:lnTo>
                    <a:pt x="73" y="198"/>
                  </a:lnTo>
                  <a:lnTo>
                    <a:pt x="93" y="175"/>
                  </a:lnTo>
                  <a:lnTo>
                    <a:pt x="96" y="166"/>
                  </a:lnTo>
                  <a:lnTo>
                    <a:pt x="105" y="166"/>
                  </a:lnTo>
                  <a:lnTo>
                    <a:pt x="134" y="143"/>
                  </a:lnTo>
                  <a:lnTo>
                    <a:pt x="160" y="140"/>
                  </a:lnTo>
                  <a:lnTo>
                    <a:pt x="183" y="134"/>
                  </a:lnTo>
                  <a:lnTo>
                    <a:pt x="183" y="140"/>
                  </a:lnTo>
                  <a:lnTo>
                    <a:pt x="139" y="215"/>
                  </a:lnTo>
                  <a:lnTo>
                    <a:pt x="131" y="221"/>
                  </a:lnTo>
                  <a:lnTo>
                    <a:pt x="128" y="227"/>
                  </a:lnTo>
                  <a:lnTo>
                    <a:pt x="128" y="241"/>
                  </a:lnTo>
                  <a:lnTo>
                    <a:pt x="116" y="244"/>
                  </a:lnTo>
                  <a:lnTo>
                    <a:pt x="110" y="253"/>
                  </a:lnTo>
                  <a:lnTo>
                    <a:pt x="73" y="291"/>
                  </a:lnTo>
                  <a:lnTo>
                    <a:pt x="73" y="303"/>
                  </a:lnTo>
                  <a:lnTo>
                    <a:pt x="78" y="317"/>
                  </a:lnTo>
                  <a:lnTo>
                    <a:pt x="84" y="337"/>
                  </a:lnTo>
                  <a:lnTo>
                    <a:pt x="87" y="361"/>
                  </a:lnTo>
                  <a:lnTo>
                    <a:pt x="90" y="364"/>
                  </a:lnTo>
                  <a:lnTo>
                    <a:pt x="93" y="375"/>
                  </a:lnTo>
                  <a:lnTo>
                    <a:pt x="99" y="390"/>
                  </a:lnTo>
                  <a:lnTo>
                    <a:pt x="105" y="399"/>
                  </a:lnTo>
                  <a:lnTo>
                    <a:pt x="113" y="410"/>
                  </a:lnTo>
                  <a:lnTo>
                    <a:pt x="128" y="422"/>
                  </a:lnTo>
                  <a:lnTo>
                    <a:pt x="134" y="428"/>
                  </a:lnTo>
                  <a:lnTo>
                    <a:pt x="137" y="436"/>
                  </a:lnTo>
                  <a:lnTo>
                    <a:pt x="125" y="433"/>
                  </a:lnTo>
                  <a:lnTo>
                    <a:pt x="113" y="436"/>
                  </a:lnTo>
                  <a:lnTo>
                    <a:pt x="102" y="442"/>
                  </a:lnTo>
                  <a:lnTo>
                    <a:pt x="96" y="433"/>
                  </a:lnTo>
                  <a:lnTo>
                    <a:pt x="90" y="428"/>
                  </a:lnTo>
                  <a:lnTo>
                    <a:pt x="84" y="425"/>
                  </a:lnTo>
                  <a:lnTo>
                    <a:pt x="78" y="425"/>
                  </a:lnTo>
                  <a:lnTo>
                    <a:pt x="73" y="428"/>
                  </a:lnTo>
                  <a:lnTo>
                    <a:pt x="64" y="431"/>
                  </a:lnTo>
                  <a:lnTo>
                    <a:pt x="64" y="436"/>
                  </a:lnTo>
                  <a:lnTo>
                    <a:pt x="43" y="463"/>
                  </a:lnTo>
                  <a:lnTo>
                    <a:pt x="55" y="468"/>
                  </a:lnTo>
                  <a:lnTo>
                    <a:pt x="38" y="480"/>
                  </a:lnTo>
                  <a:lnTo>
                    <a:pt x="26" y="492"/>
                  </a:lnTo>
                  <a:lnTo>
                    <a:pt x="17" y="506"/>
                  </a:lnTo>
                  <a:lnTo>
                    <a:pt x="11" y="521"/>
                  </a:lnTo>
                  <a:lnTo>
                    <a:pt x="8" y="535"/>
                  </a:lnTo>
                  <a:lnTo>
                    <a:pt x="8" y="556"/>
                  </a:lnTo>
                  <a:lnTo>
                    <a:pt x="8" y="564"/>
                  </a:lnTo>
                  <a:lnTo>
                    <a:pt x="38" y="561"/>
                  </a:lnTo>
                  <a:lnTo>
                    <a:pt x="43" y="550"/>
                  </a:lnTo>
                  <a:lnTo>
                    <a:pt x="55" y="538"/>
                  </a:lnTo>
                  <a:lnTo>
                    <a:pt x="67" y="529"/>
                  </a:lnTo>
                  <a:lnTo>
                    <a:pt x="81" y="524"/>
                  </a:lnTo>
                  <a:lnTo>
                    <a:pt x="105" y="515"/>
                  </a:lnTo>
                  <a:lnTo>
                    <a:pt x="116" y="512"/>
                  </a:lnTo>
                  <a:lnTo>
                    <a:pt x="119" y="529"/>
                  </a:lnTo>
                  <a:lnTo>
                    <a:pt x="163" y="512"/>
                  </a:lnTo>
                  <a:lnTo>
                    <a:pt x="206" y="506"/>
                  </a:lnTo>
                  <a:lnTo>
                    <a:pt x="215" y="503"/>
                  </a:lnTo>
                  <a:lnTo>
                    <a:pt x="241" y="500"/>
                  </a:lnTo>
                  <a:lnTo>
                    <a:pt x="250" y="495"/>
                  </a:lnTo>
                  <a:lnTo>
                    <a:pt x="262" y="492"/>
                  </a:lnTo>
                  <a:lnTo>
                    <a:pt x="273" y="492"/>
                  </a:lnTo>
                  <a:lnTo>
                    <a:pt x="282" y="492"/>
                  </a:lnTo>
                  <a:lnTo>
                    <a:pt x="291" y="489"/>
                  </a:lnTo>
                  <a:lnTo>
                    <a:pt x="305" y="480"/>
                  </a:lnTo>
                  <a:lnTo>
                    <a:pt x="320" y="468"/>
                  </a:lnTo>
                  <a:lnTo>
                    <a:pt x="329" y="468"/>
                  </a:lnTo>
                  <a:lnTo>
                    <a:pt x="334" y="463"/>
                  </a:lnTo>
                  <a:lnTo>
                    <a:pt x="337" y="457"/>
                  </a:lnTo>
                  <a:lnTo>
                    <a:pt x="340" y="448"/>
                  </a:lnTo>
                  <a:lnTo>
                    <a:pt x="340" y="439"/>
                  </a:lnTo>
                  <a:lnTo>
                    <a:pt x="340" y="428"/>
                  </a:lnTo>
                  <a:lnTo>
                    <a:pt x="372" y="413"/>
                  </a:lnTo>
                  <a:lnTo>
                    <a:pt x="407" y="419"/>
                  </a:lnTo>
                  <a:lnTo>
                    <a:pt x="416" y="436"/>
                  </a:lnTo>
                  <a:lnTo>
                    <a:pt x="431" y="448"/>
                  </a:lnTo>
                  <a:lnTo>
                    <a:pt x="486" y="474"/>
                  </a:lnTo>
                  <a:lnTo>
                    <a:pt x="512" y="486"/>
                  </a:lnTo>
                  <a:lnTo>
                    <a:pt x="541" y="500"/>
                  </a:lnTo>
                  <a:lnTo>
                    <a:pt x="564" y="515"/>
                  </a:lnTo>
                  <a:lnTo>
                    <a:pt x="576" y="515"/>
                  </a:lnTo>
                  <a:lnTo>
                    <a:pt x="591" y="532"/>
                  </a:lnTo>
                  <a:lnTo>
                    <a:pt x="605" y="538"/>
                  </a:lnTo>
                  <a:lnTo>
                    <a:pt x="608" y="553"/>
                  </a:lnTo>
                  <a:lnTo>
                    <a:pt x="617" y="567"/>
                  </a:lnTo>
                  <a:lnTo>
                    <a:pt x="628" y="588"/>
                  </a:lnTo>
                  <a:lnTo>
                    <a:pt x="634" y="591"/>
                  </a:lnTo>
                  <a:lnTo>
                    <a:pt x="640" y="591"/>
                  </a:lnTo>
                  <a:lnTo>
                    <a:pt x="643" y="588"/>
                  </a:lnTo>
                  <a:lnTo>
                    <a:pt x="684" y="564"/>
                  </a:lnTo>
                  <a:lnTo>
                    <a:pt x="681" y="553"/>
                  </a:lnTo>
                  <a:lnTo>
                    <a:pt x="707" y="544"/>
                  </a:lnTo>
                  <a:lnTo>
                    <a:pt x="727" y="538"/>
                  </a:lnTo>
                  <a:lnTo>
                    <a:pt x="745" y="529"/>
                  </a:lnTo>
                  <a:lnTo>
                    <a:pt x="759" y="515"/>
                  </a:lnTo>
                  <a:lnTo>
                    <a:pt x="771" y="503"/>
                  </a:lnTo>
                  <a:lnTo>
                    <a:pt x="789" y="480"/>
                  </a:lnTo>
                  <a:lnTo>
                    <a:pt x="794" y="471"/>
                  </a:lnTo>
                  <a:lnTo>
                    <a:pt x="783" y="4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solidFill>
                  <a:srgbClr val="FFFFFF"/>
                </a:solidFill>
              </a:endParaRPr>
            </a:p>
          </p:txBody>
        </p:sp>
        <p:sp>
          <p:nvSpPr>
            <p:cNvPr id="31" name="Freeform 590"/>
            <p:cNvSpPr>
              <a:spLocks/>
            </p:cNvSpPr>
            <p:nvPr/>
          </p:nvSpPr>
          <p:spPr bwMode="auto">
            <a:xfrm>
              <a:off x="5451490" y="938536"/>
              <a:ext cx="423420" cy="112226"/>
            </a:xfrm>
            <a:custGeom>
              <a:avLst/>
              <a:gdLst/>
              <a:ahLst/>
              <a:cxnLst>
                <a:cxn ang="0">
                  <a:pos x="0" y="15"/>
                </a:cxn>
                <a:cxn ang="0">
                  <a:pos x="0" y="15"/>
                </a:cxn>
                <a:cxn ang="0">
                  <a:pos x="15" y="12"/>
                </a:cxn>
                <a:cxn ang="0">
                  <a:pos x="29" y="3"/>
                </a:cxn>
                <a:cxn ang="0">
                  <a:pos x="29" y="3"/>
                </a:cxn>
                <a:cxn ang="0">
                  <a:pos x="35" y="0"/>
                </a:cxn>
                <a:cxn ang="0">
                  <a:pos x="41" y="3"/>
                </a:cxn>
                <a:cxn ang="0">
                  <a:pos x="50" y="12"/>
                </a:cxn>
                <a:cxn ang="0">
                  <a:pos x="50" y="12"/>
                </a:cxn>
                <a:cxn ang="0">
                  <a:pos x="61" y="15"/>
                </a:cxn>
                <a:cxn ang="0">
                  <a:pos x="76" y="18"/>
                </a:cxn>
                <a:cxn ang="0">
                  <a:pos x="102" y="15"/>
                </a:cxn>
                <a:cxn ang="0">
                  <a:pos x="102" y="15"/>
                </a:cxn>
                <a:cxn ang="0">
                  <a:pos x="114" y="15"/>
                </a:cxn>
                <a:cxn ang="0">
                  <a:pos x="125" y="18"/>
                </a:cxn>
                <a:cxn ang="0">
                  <a:pos x="125" y="18"/>
                </a:cxn>
                <a:cxn ang="0">
                  <a:pos x="140" y="21"/>
                </a:cxn>
                <a:cxn ang="0">
                  <a:pos x="140" y="21"/>
                </a:cxn>
                <a:cxn ang="0">
                  <a:pos x="134" y="27"/>
                </a:cxn>
                <a:cxn ang="0">
                  <a:pos x="128" y="29"/>
                </a:cxn>
                <a:cxn ang="0">
                  <a:pos x="128" y="29"/>
                </a:cxn>
                <a:cxn ang="0">
                  <a:pos x="120" y="29"/>
                </a:cxn>
                <a:cxn ang="0">
                  <a:pos x="111" y="29"/>
                </a:cxn>
                <a:cxn ang="0">
                  <a:pos x="111" y="29"/>
                </a:cxn>
                <a:cxn ang="0">
                  <a:pos x="96" y="29"/>
                </a:cxn>
                <a:cxn ang="0">
                  <a:pos x="79" y="32"/>
                </a:cxn>
                <a:cxn ang="0">
                  <a:pos x="79" y="32"/>
                </a:cxn>
                <a:cxn ang="0">
                  <a:pos x="56" y="38"/>
                </a:cxn>
                <a:cxn ang="0">
                  <a:pos x="44" y="38"/>
                </a:cxn>
                <a:cxn ang="0">
                  <a:pos x="32" y="35"/>
                </a:cxn>
                <a:cxn ang="0">
                  <a:pos x="32" y="35"/>
                </a:cxn>
                <a:cxn ang="0">
                  <a:pos x="21" y="29"/>
                </a:cxn>
                <a:cxn ang="0">
                  <a:pos x="12" y="24"/>
                </a:cxn>
                <a:cxn ang="0">
                  <a:pos x="0" y="15"/>
                </a:cxn>
              </a:cxnLst>
              <a:rect l="0" t="0" r="r" b="b"/>
              <a:pathLst>
                <a:path w="140" h="38">
                  <a:moveTo>
                    <a:pt x="0" y="15"/>
                  </a:moveTo>
                  <a:lnTo>
                    <a:pt x="0" y="15"/>
                  </a:lnTo>
                  <a:lnTo>
                    <a:pt x="15" y="12"/>
                  </a:lnTo>
                  <a:lnTo>
                    <a:pt x="29" y="3"/>
                  </a:lnTo>
                  <a:lnTo>
                    <a:pt x="29" y="3"/>
                  </a:lnTo>
                  <a:lnTo>
                    <a:pt x="35" y="0"/>
                  </a:lnTo>
                  <a:lnTo>
                    <a:pt x="41" y="3"/>
                  </a:lnTo>
                  <a:lnTo>
                    <a:pt x="50" y="12"/>
                  </a:lnTo>
                  <a:lnTo>
                    <a:pt x="50" y="12"/>
                  </a:lnTo>
                  <a:lnTo>
                    <a:pt x="61" y="15"/>
                  </a:lnTo>
                  <a:lnTo>
                    <a:pt x="76" y="18"/>
                  </a:lnTo>
                  <a:lnTo>
                    <a:pt x="102" y="15"/>
                  </a:lnTo>
                  <a:lnTo>
                    <a:pt x="102" y="15"/>
                  </a:lnTo>
                  <a:lnTo>
                    <a:pt x="114" y="15"/>
                  </a:lnTo>
                  <a:lnTo>
                    <a:pt x="125" y="18"/>
                  </a:lnTo>
                  <a:lnTo>
                    <a:pt x="125" y="18"/>
                  </a:lnTo>
                  <a:lnTo>
                    <a:pt x="140" y="21"/>
                  </a:lnTo>
                  <a:lnTo>
                    <a:pt x="140" y="21"/>
                  </a:lnTo>
                  <a:lnTo>
                    <a:pt x="134" y="27"/>
                  </a:lnTo>
                  <a:lnTo>
                    <a:pt x="128" y="29"/>
                  </a:lnTo>
                  <a:lnTo>
                    <a:pt x="128" y="29"/>
                  </a:lnTo>
                  <a:lnTo>
                    <a:pt x="120" y="29"/>
                  </a:lnTo>
                  <a:lnTo>
                    <a:pt x="111" y="29"/>
                  </a:lnTo>
                  <a:lnTo>
                    <a:pt x="111" y="29"/>
                  </a:lnTo>
                  <a:lnTo>
                    <a:pt x="96" y="29"/>
                  </a:lnTo>
                  <a:lnTo>
                    <a:pt x="79" y="32"/>
                  </a:lnTo>
                  <a:lnTo>
                    <a:pt x="79" y="32"/>
                  </a:lnTo>
                  <a:lnTo>
                    <a:pt x="56" y="38"/>
                  </a:lnTo>
                  <a:lnTo>
                    <a:pt x="44" y="38"/>
                  </a:lnTo>
                  <a:lnTo>
                    <a:pt x="32" y="35"/>
                  </a:lnTo>
                  <a:lnTo>
                    <a:pt x="32" y="35"/>
                  </a:lnTo>
                  <a:lnTo>
                    <a:pt x="21" y="29"/>
                  </a:lnTo>
                  <a:lnTo>
                    <a:pt x="12" y="24"/>
                  </a:lnTo>
                  <a:lnTo>
                    <a:pt x="0" y="15"/>
                  </a:lnTo>
                  <a:close/>
                </a:path>
              </a:pathLst>
            </a:custGeom>
            <a:grpFill/>
            <a:ln w="9525">
              <a:noFill/>
              <a:round/>
              <a:headEnd/>
              <a:tailEnd/>
            </a:ln>
          </p:spPr>
          <p:txBody>
            <a:bodyPr/>
            <a:lstStyle/>
            <a:p>
              <a:pPr fontAlgn="auto">
                <a:spcBef>
                  <a:spcPts val="0"/>
                </a:spcBef>
                <a:spcAft>
                  <a:spcPts val="0"/>
                </a:spcAft>
                <a:defRPr/>
              </a:pPr>
              <a:endParaRPr lang="nb-NO">
                <a:solidFill>
                  <a:srgbClr val="FFFFFF"/>
                </a:solidFill>
                <a:latin typeface="Calibri" charset="0"/>
                <a:ea typeface="+mn-ea"/>
              </a:endParaRPr>
            </a:p>
          </p:txBody>
        </p:sp>
        <p:sp>
          <p:nvSpPr>
            <p:cNvPr id="3096" name="Freeform 591"/>
            <p:cNvSpPr>
              <a:spLocks noEditPoints="1"/>
            </p:cNvSpPr>
            <p:nvPr/>
          </p:nvSpPr>
          <p:spPr bwMode="auto">
            <a:xfrm>
              <a:off x="5689798" y="877225"/>
              <a:ext cx="298439" cy="340643"/>
            </a:xfrm>
            <a:custGeom>
              <a:avLst/>
              <a:gdLst>
                <a:gd name="T0" fmla="*/ 2147483647 w 99"/>
                <a:gd name="T1" fmla="*/ 2147483647 h 113"/>
                <a:gd name="T2" fmla="*/ 2147483647 w 99"/>
                <a:gd name="T3" fmla="*/ 2147483647 h 113"/>
                <a:gd name="T4" fmla="*/ 2147483647 w 99"/>
                <a:gd name="T5" fmla="*/ 2147483647 h 113"/>
                <a:gd name="T6" fmla="*/ 2147483647 w 99"/>
                <a:gd name="T7" fmla="*/ 0 h 113"/>
                <a:gd name="T8" fmla="*/ 2147483647 w 99"/>
                <a:gd name="T9" fmla="*/ 2147483647 h 113"/>
                <a:gd name="T10" fmla="*/ 2147483647 w 99"/>
                <a:gd name="T11" fmla="*/ 2147483647 h 113"/>
                <a:gd name="T12" fmla="*/ 2147483647 w 99"/>
                <a:gd name="T13" fmla="*/ 2147483647 h 113"/>
                <a:gd name="T14" fmla="*/ 2147483647 w 99"/>
                <a:gd name="T15" fmla="*/ 2147483647 h 113"/>
                <a:gd name="T16" fmla="*/ 0 w 99"/>
                <a:gd name="T17" fmla="*/ 2147483647 h 113"/>
                <a:gd name="T18" fmla="*/ 2147483647 w 99"/>
                <a:gd name="T19" fmla="*/ 2147483647 h 113"/>
                <a:gd name="T20" fmla="*/ 2147483647 w 99"/>
                <a:gd name="T21" fmla="*/ 2147483647 h 113"/>
                <a:gd name="T22" fmla="*/ 2147483647 w 99"/>
                <a:gd name="T23" fmla="*/ 2147483647 h 113"/>
                <a:gd name="T24" fmla="*/ 2147483647 w 99"/>
                <a:gd name="T25" fmla="*/ 2147483647 h 113"/>
                <a:gd name="T26" fmla="*/ 2147483647 w 99"/>
                <a:gd name="T27" fmla="*/ 2147483647 h 113"/>
                <a:gd name="T28" fmla="*/ 2147483647 w 99"/>
                <a:gd name="T29" fmla="*/ 2147483647 h 113"/>
                <a:gd name="T30" fmla="*/ 2147483647 w 99"/>
                <a:gd name="T31" fmla="*/ 2147483647 h 113"/>
                <a:gd name="T32" fmla="*/ 2147483647 w 99"/>
                <a:gd name="T33" fmla="*/ 2147483647 h 113"/>
                <a:gd name="T34" fmla="*/ 2147483647 w 99"/>
                <a:gd name="T35" fmla="*/ 2147483647 h 113"/>
                <a:gd name="T36" fmla="*/ 2147483647 w 99"/>
                <a:gd name="T37" fmla="*/ 2147483647 h 113"/>
                <a:gd name="T38" fmla="*/ 2147483647 w 99"/>
                <a:gd name="T39" fmla="*/ 2147483647 h 113"/>
                <a:gd name="T40" fmla="*/ 2147483647 w 99"/>
                <a:gd name="T41" fmla="*/ 2147483647 h 113"/>
                <a:gd name="T42" fmla="*/ 2147483647 w 99"/>
                <a:gd name="T43" fmla="*/ 2147483647 h 113"/>
                <a:gd name="T44" fmla="*/ 2147483647 w 99"/>
                <a:gd name="T45" fmla="*/ 2147483647 h 113"/>
                <a:gd name="T46" fmla="*/ 2147483647 w 99"/>
                <a:gd name="T47" fmla="*/ 2147483647 h 113"/>
                <a:gd name="T48" fmla="*/ 2147483647 w 99"/>
                <a:gd name="T49" fmla="*/ 2147483647 h 113"/>
                <a:gd name="T50" fmla="*/ 2147483647 w 99"/>
                <a:gd name="T51" fmla="*/ 2147483647 h 113"/>
                <a:gd name="T52" fmla="*/ 2147483647 w 99"/>
                <a:gd name="T53" fmla="*/ 2147483647 h 113"/>
                <a:gd name="T54" fmla="*/ 2147483647 w 99"/>
                <a:gd name="T55" fmla="*/ 2147483647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9"/>
                <a:gd name="T85" fmla="*/ 0 h 113"/>
                <a:gd name="T86" fmla="*/ 99 w 99"/>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9" h="113">
                  <a:moveTo>
                    <a:pt x="73" y="38"/>
                  </a:moveTo>
                  <a:lnTo>
                    <a:pt x="70" y="29"/>
                  </a:lnTo>
                  <a:lnTo>
                    <a:pt x="64" y="12"/>
                  </a:lnTo>
                  <a:lnTo>
                    <a:pt x="38" y="0"/>
                  </a:lnTo>
                  <a:lnTo>
                    <a:pt x="41" y="17"/>
                  </a:lnTo>
                  <a:lnTo>
                    <a:pt x="35" y="32"/>
                  </a:lnTo>
                  <a:lnTo>
                    <a:pt x="26" y="49"/>
                  </a:lnTo>
                  <a:lnTo>
                    <a:pt x="6" y="79"/>
                  </a:lnTo>
                  <a:lnTo>
                    <a:pt x="0" y="113"/>
                  </a:lnTo>
                  <a:lnTo>
                    <a:pt x="3" y="108"/>
                  </a:lnTo>
                  <a:lnTo>
                    <a:pt x="17" y="102"/>
                  </a:lnTo>
                  <a:lnTo>
                    <a:pt x="32" y="96"/>
                  </a:lnTo>
                  <a:lnTo>
                    <a:pt x="46" y="93"/>
                  </a:lnTo>
                  <a:lnTo>
                    <a:pt x="58" y="90"/>
                  </a:lnTo>
                  <a:lnTo>
                    <a:pt x="64" y="90"/>
                  </a:lnTo>
                  <a:lnTo>
                    <a:pt x="81" y="79"/>
                  </a:lnTo>
                  <a:lnTo>
                    <a:pt x="93" y="61"/>
                  </a:lnTo>
                  <a:lnTo>
                    <a:pt x="99" y="41"/>
                  </a:lnTo>
                  <a:lnTo>
                    <a:pt x="73" y="38"/>
                  </a:lnTo>
                  <a:close/>
                  <a:moveTo>
                    <a:pt x="79" y="47"/>
                  </a:moveTo>
                  <a:lnTo>
                    <a:pt x="79"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solidFill>
                  <a:srgbClr val="FFFFFF"/>
                </a:solidFill>
              </a:endParaRPr>
            </a:p>
          </p:txBody>
        </p:sp>
        <p:sp>
          <p:nvSpPr>
            <p:cNvPr id="3097" name="Freeform 592"/>
            <p:cNvSpPr>
              <a:spLocks/>
            </p:cNvSpPr>
            <p:nvPr/>
          </p:nvSpPr>
          <p:spPr bwMode="auto">
            <a:xfrm>
              <a:off x="5768176" y="982734"/>
              <a:ext cx="150727" cy="78378"/>
            </a:xfrm>
            <a:custGeom>
              <a:avLst/>
              <a:gdLst>
                <a:gd name="T0" fmla="*/ 2147483647 w 50"/>
                <a:gd name="T1" fmla="*/ 2147483647 h 26"/>
                <a:gd name="T2" fmla="*/ 2147483647 w 50"/>
                <a:gd name="T3" fmla="*/ 2147483647 h 26"/>
                <a:gd name="T4" fmla="*/ 2147483647 w 50"/>
                <a:gd name="T5" fmla="*/ 2147483647 h 26"/>
                <a:gd name="T6" fmla="*/ 2147483647 w 50"/>
                <a:gd name="T7" fmla="*/ 2147483647 h 26"/>
                <a:gd name="T8" fmla="*/ 2147483647 w 50"/>
                <a:gd name="T9" fmla="*/ 2147483647 h 26"/>
                <a:gd name="T10" fmla="*/ 2147483647 w 50"/>
                <a:gd name="T11" fmla="*/ 2147483647 h 26"/>
                <a:gd name="T12" fmla="*/ 2147483647 w 50"/>
                <a:gd name="T13" fmla="*/ 2147483647 h 26"/>
                <a:gd name="T14" fmla="*/ 2147483647 w 50"/>
                <a:gd name="T15" fmla="*/ 2147483647 h 26"/>
                <a:gd name="T16" fmla="*/ 2147483647 w 50"/>
                <a:gd name="T17" fmla="*/ 2147483647 h 26"/>
                <a:gd name="T18" fmla="*/ 2147483647 w 50"/>
                <a:gd name="T19" fmla="*/ 2147483647 h 26"/>
                <a:gd name="T20" fmla="*/ 2147483647 w 50"/>
                <a:gd name="T21" fmla="*/ 0 h 26"/>
                <a:gd name="T22" fmla="*/ 2147483647 w 50"/>
                <a:gd name="T23" fmla="*/ 0 h 26"/>
                <a:gd name="T24" fmla="*/ 2147483647 w 50"/>
                <a:gd name="T25" fmla="*/ 0 h 26"/>
                <a:gd name="T26" fmla="*/ 2147483647 w 50"/>
                <a:gd name="T27" fmla="*/ 0 h 26"/>
                <a:gd name="T28" fmla="*/ 2147483647 w 50"/>
                <a:gd name="T29" fmla="*/ 2147483647 h 26"/>
                <a:gd name="T30" fmla="*/ 2147483647 w 50"/>
                <a:gd name="T31" fmla="*/ 2147483647 h 26"/>
                <a:gd name="T32" fmla="*/ 2147483647 w 50"/>
                <a:gd name="T33" fmla="*/ 2147483647 h 26"/>
                <a:gd name="T34" fmla="*/ 2147483647 w 50"/>
                <a:gd name="T35" fmla="*/ 2147483647 h 26"/>
                <a:gd name="T36" fmla="*/ 2147483647 w 50"/>
                <a:gd name="T37" fmla="*/ 2147483647 h 26"/>
                <a:gd name="T38" fmla="*/ 2147483647 w 50"/>
                <a:gd name="T39" fmla="*/ 2147483647 h 26"/>
                <a:gd name="T40" fmla="*/ 2147483647 w 50"/>
                <a:gd name="T41" fmla="*/ 2147483647 h 26"/>
                <a:gd name="T42" fmla="*/ 2147483647 w 50"/>
                <a:gd name="T43" fmla="*/ 2147483647 h 26"/>
                <a:gd name="T44" fmla="*/ 2147483647 w 50"/>
                <a:gd name="T45" fmla="*/ 2147483647 h 26"/>
                <a:gd name="T46" fmla="*/ 2147483647 w 50"/>
                <a:gd name="T47" fmla="*/ 2147483647 h 26"/>
                <a:gd name="T48" fmla="*/ 2147483647 w 50"/>
                <a:gd name="T49" fmla="*/ 2147483647 h 26"/>
                <a:gd name="T50" fmla="*/ 0 w 50"/>
                <a:gd name="T51" fmla="*/ 2147483647 h 26"/>
                <a:gd name="T52" fmla="*/ 0 w 50"/>
                <a:gd name="T53" fmla="*/ 2147483647 h 26"/>
                <a:gd name="T54" fmla="*/ 2147483647 w 50"/>
                <a:gd name="T55" fmla="*/ 2147483647 h 26"/>
                <a:gd name="T56" fmla="*/ 2147483647 w 50"/>
                <a:gd name="T57" fmla="*/ 2147483647 h 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
                <a:gd name="T88" fmla="*/ 0 h 26"/>
                <a:gd name="T89" fmla="*/ 50 w 50"/>
                <a:gd name="T90" fmla="*/ 26 h 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 h="26">
                  <a:moveTo>
                    <a:pt x="9" y="14"/>
                  </a:moveTo>
                  <a:lnTo>
                    <a:pt x="9" y="14"/>
                  </a:lnTo>
                  <a:lnTo>
                    <a:pt x="18" y="17"/>
                  </a:lnTo>
                  <a:lnTo>
                    <a:pt x="29" y="23"/>
                  </a:lnTo>
                  <a:lnTo>
                    <a:pt x="38" y="26"/>
                  </a:lnTo>
                  <a:lnTo>
                    <a:pt x="44" y="26"/>
                  </a:lnTo>
                  <a:lnTo>
                    <a:pt x="47" y="23"/>
                  </a:lnTo>
                  <a:lnTo>
                    <a:pt x="50" y="14"/>
                  </a:lnTo>
                  <a:lnTo>
                    <a:pt x="50" y="6"/>
                  </a:lnTo>
                  <a:lnTo>
                    <a:pt x="47" y="0"/>
                  </a:lnTo>
                  <a:lnTo>
                    <a:pt x="44" y="0"/>
                  </a:lnTo>
                  <a:lnTo>
                    <a:pt x="41" y="0"/>
                  </a:lnTo>
                  <a:lnTo>
                    <a:pt x="38" y="6"/>
                  </a:lnTo>
                  <a:lnTo>
                    <a:pt x="35" y="9"/>
                  </a:lnTo>
                  <a:lnTo>
                    <a:pt x="32" y="12"/>
                  </a:lnTo>
                  <a:lnTo>
                    <a:pt x="23" y="9"/>
                  </a:lnTo>
                  <a:lnTo>
                    <a:pt x="15" y="3"/>
                  </a:lnTo>
                  <a:lnTo>
                    <a:pt x="6" y="3"/>
                  </a:lnTo>
                  <a:lnTo>
                    <a:pt x="3" y="6"/>
                  </a:lnTo>
                  <a:lnTo>
                    <a:pt x="0" y="17"/>
                  </a:lnTo>
                  <a:lnTo>
                    <a:pt x="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solidFill>
                  <a:srgbClr val="FFFFFF"/>
                </a:solidFill>
              </a:endParaRPr>
            </a:p>
          </p:txBody>
        </p:sp>
      </p:grpSp>
      <p:sp>
        <p:nvSpPr>
          <p:cNvPr id="15369" name="Freeform 6"/>
          <p:cNvSpPr>
            <a:spLocks noEditPoints="1"/>
          </p:cNvSpPr>
          <p:nvPr/>
        </p:nvSpPr>
        <p:spPr bwMode="auto">
          <a:xfrm>
            <a:off x="3532188" y="3875088"/>
            <a:ext cx="544512" cy="1071562"/>
          </a:xfrm>
          <a:custGeom>
            <a:avLst/>
            <a:gdLst>
              <a:gd name="T0" fmla="*/ 2147483647 w 1746"/>
              <a:gd name="T1" fmla="*/ 2147483647 h 3442"/>
              <a:gd name="T2" fmla="*/ 2147483647 w 1746"/>
              <a:gd name="T3" fmla="*/ 2147483647 h 3442"/>
              <a:gd name="T4" fmla="*/ 2147483647 w 1746"/>
              <a:gd name="T5" fmla="*/ 2147483647 h 3442"/>
              <a:gd name="T6" fmla="*/ 2147483647 w 1746"/>
              <a:gd name="T7" fmla="*/ 2147483647 h 3442"/>
              <a:gd name="T8" fmla="*/ 2147483647 w 1746"/>
              <a:gd name="T9" fmla="*/ 2147483647 h 3442"/>
              <a:gd name="T10" fmla="*/ 2147483647 w 1746"/>
              <a:gd name="T11" fmla="*/ 2147483647 h 3442"/>
              <a:gd name="T12" fmla="*/ 2147483647 w 1746"/>
              <a:gd name="T13" fmla="*/ 2147483647 h 3442"/>
              <a:gd name="T14" fmla="*/ 2147483647 w 1746"/>
              <a:gd name="T15" fmla="*/ 2147483647 h 3442"/>
              <a:gd name="T16" fmla="*/ 2147483647 w 1746"/>
              <a:gd name="T17" fmla="*/ 2147483647 h 3442"/>
              <a:gd name="T18" fmla="*/ 2147483647 w 1746"/>
              <a:gd name="T19" fmla="*/ 2147483647 h 3442"/>
              <a:gd name="T20" fmla="*/ 2147483647 w 1746"/>
              <a:gd name="T21" fmla="*/ 2147483647 h 3442"/>
              <a:gd name="T22" fmla="*/ 2147483647 w 1746"/>
              <a:gd name="T23" fmla="*/ 2147483647 h 3442"/>
              <a:gd name="T24" fmla="*/ 2147483647 w 1746"/>
              <a:gd name="T25" fmla="*/ 2147483647 h 3442"/>
              <a:gd name="T26" fmla="*/ 2147483647 w 1746"/>
              <a:gd name="T27" fmla="*/ 2147483647 h 3442"/>
              <a:gd name="T28" fmla="*/ 2147483647 w 1746"/>
              <a:gd name="T29" fmla="*/ 2147483647 h 3442"/>
              <a:gd name="T30" fmla="*/ 2147483647 w 1746"/>
              <a:gd name="T31" fmla="*/ 2147483647 h 3442"/>
              <a:gd name="T32" fmla="*/ 2147483647 w 1746"/>
              <a:gd name="T33" fmla="*/ 2147483647 h 3442"/>
              <a:gd name="T34" fmla="*/ 2147483647 w 1746"/>
              <a:gd name="T35" fmla="*/ 2147483647 h 3442"/>
              <a:gd name="T36" fmla="*/ 2147483647 w 1746"/>
              <a:gd name="T37" fmla="*/ 2147483647 h 3442"/>
              <a:gd name="T38" fmla="*/ 0 w 1746"/>
              <a:gd name="T39" fmla="*/ 2147483647 h 3442"/>
              <a:gd name="T40" fmla="*/ 2147483647 w 1746"/>
              <a:gd name="T41" fmla="*/ 2147483647 h 3442"/>
              <a:gd name="T42" fmla="*/ 2147483647 w 1746"/>
              <a:gd name="T43" fmla="*/ 2147483647 h 3442"/>
              <a:gd name="T44" fmla="*/ 2147483647 w 1746"/>
              <a:gd name="T45" fmla="*/ 2147483647 h 3442"/>
              <a:gd name="T46" fmla="*/ 2147483647 w 1746"/>
              <a:gd name="T47" fmla="*/ 2147483647 h 3442"/>
              <a:gd name="T48" fmla="*/ 2147483647 w 1746"/>
              <a:gd name="T49" fmla="*/ 2147483647 h 3442"/>
              <a:gd name="T50" fmla="*/ 2147483647 w 1746"/>
              <a:gd name="T51" fmla="*/ 2147483647 h 3442"/>
              <a:gd name="T52" fmla="*/ 2147483647 w 1746"/>
              <a:gd name="T53" fmla="*/ 2147483647 h 3442"/>
              <a:gd name="T54" fmla="*/ 2147483647 w 1746"/>
              <a:gd name="T55" fmla="*/ 2147483647 h 3442"/>
              <a:gd name="T56" fmla="*/ 2147483647 w 1746"/>
              <a:gd name="T57" fmla="*/ 2147483647 h 3442"/>
              <a:gd name="T58" fmla="*/ 2147483647 w 1746"/>
              <a:gd name="T59" fmla="*/ 2147483647 h 3442"/>
              <a:gd name="T60" fmla="*/ 2147483647 w 1746"/>
              <a:gd name="T61" fmla="*/ 2147483647 h 3442"/>
              <a:gd name="T62" fmla="*/ 2147483647 w 1746"/>
              <a:gd name="T63" fmla="*/ 2147483647 h 3442"/>
              <a:gd name="T64" fmla="*/ 2147483647 w 1746"/>
              <a:gd name="T65" fmla="*/ 2147483647 h 3442"/>
              <a:gd name="T66" fmla="*/ 2147483647 w 1746"/>
              <a:gd name="T67" fmla="*/ 2147483647 h 3442"/>
              <a:gd name="T68" fmla="*/ 2147483647 w 1746"/>
              <a:gd name="T69" fmla="*/ 2147483647 h 3442"/>
              <a:gd name="T70" fmla="*/ 2147483647 w 1746"/>
              <a:gd name="T71" fmla="*/ 2147483647 h 3442"/>
              <a:gd name="T72" fmla="*/ 2147483647 w 1746"/>
              <a:gd name="T73" fmla="*/ 2147483647 h 3442"/>
              <a:gd name="T74" fmla="*/ 2147483647 w 1746"/>
              <a:gd name="T75" fmla="*/ 2147483647 h 3442"/>
              <a:gd name="T76" fmla="*/ 2147483647 w 1746"/>
              <a:gd name="T77" fmla="*/ 2147483647 h 3442"/>
              <a:gd name="T78" fmla="*/ 2147483647 w 1746"/>
              <a:gd name="T79" fmla="*/ 2147483647 h 3442"/>
              <a:gd name="T80" fmla="*/ 2147483647 w 1746"/>
              <a:gd name="T81" fmla="*/ 2147483647 h 3442"/>
              <a:gd name="T82" fmla="*/ 2147483647 w 1746"/>
              <a:gd name="T83" fmla="*/ 2147483647 h 3442"/>
              <a:gd name="T84" fmla="*/ 2147483647 w 1746"/>
              <a:gd name="T85" fmla="*/ 2147483647 h 3442"/>
              <a:gd name="T86" fmla="*/ 2147483647 w 1746"/>
              <a:gd name="T87" fmla="*/ 2147483647 h 3442"/>
              <a:gd name="T88" fmla="*/ 2147483647 w 1746"/>
              <a:gd name="T89" fmla="*/ 2147483647 h 3442"/>
              <a:gd name="T90" fmla="*/ 2147483647 w 1746"/>
              <a:gd name="T91" fmla="*/ 2147483647 h 3442"/>
              <a:gd name="T92" fmla="*/ 2147483647 w 1746"/>
              <a:gd name="T93" fmla="*/ 2147483647 h 3442"/>
              <a:gd name="T94" fmla="*/ 2147483647 w 1746"/>
              <a:gd name="T95" fmla="*/ 2147483647 h 3442"/>
              <a:gd name="T96" fmla="*/ 2147483647 w 1746"/>
              <a:gd name="T97" fmla="*/ 2147483647 h 3442"/>
              <a:gd name="T98" fmla="*/ 2147483647 w 1746"/>
              <a:gd name="T99" fmla="*/ 2147483647 h 3442"/>
              <a:gd name="T100" fmla="*/ 2147483647 w 1746"/>
              <a:gd name="T101" fmla="*/ 2147483647 h 3442"/>
              <a:gd name="T102" fmla="*/ 2147483647 w 1746"/>
              <a:gd name="T103" fmla="*/ 2147483647 h 3442"/>
              <a:gd name="T104" fmla="*/ 2147483647 w 1746"/>
              <a:gd name="T105" fmla="*/ 2147483647 h 3442"/>
              <a:gd name="T106" fmla="*/ 2147483647 w 1746"/>
              <a:gd name="T107" fmla="*/ 2147483647 h 3442"/>
              <a:gd name="T108" fmla="*/ 2147483647 w 1746"/>
              <a:gd name="T109" fmla="*/ 2147483647 h 3442"/>
              <a:gd name="T110" fmla="*/ 2147483647 w 1746"/>
              <a:gd name="T111" fmla="*/ 2147483647 h 3442"/>
              <a:gd name="T112" fmla="*/ 2147483647 w 1746"/>
              <a:gd name="T113" fmla="*/ 2147483647 h 3442"/>
              <a:gd name="T114" fmla="*/ 2147483647 w 1746"/>
              <a:gd name="T115" fmla="*/ 2147483647 h 3442"/>
              <a:gd name="T116" fmla="*/ 2147483647 w 1746"/>
              <a:gd name="T117" fmla="*/ 2147483647 h 3442"/>
              <a:gd name="T118" fmla="*/ 2147483647 w 1746"/>
              <a:gd name="T119" fmla="*/ 2147483647 h 34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46"/>
              <a:gd name="T181" fmla="*/ 0 h 3442"/>
              <a:gd name="T182" fmla="*/ 1746 w 1746"/>
              <a:gd name="T183" fmla="*/ 3442 h 34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46" h="3442">
                <a:moveTo>
                  <a:pt x="1746" y="1446"/>
                </a:moveTo>
                <a:lnTo>
                  <a:pt x="1746" y="1446"/>
                </a:lnTo>
                <a:lnTo>
                  <a:pt x="1746" y="1392"/>
                </a:lnTo>
                <a:lnTo>
                  <a:pt x="1746" y="1266"/>
                </a:lnTo>
                <a:lnTo>
                  <a:pt x="1744" y="1240"/>
                </a:lnTo>
                <a:lnTo>
                  <a:pt x="1738" y="1214"/>
                </a:lnTo>
                <a:lnTo>
                  <a:pt x="1714" y="1146"/>
                </a:lnTo>
                <a:lnTo>
                  <a:pt x="1706" y="1120"/>
                </a:lnTo>
                <a:lnTo>
                  <a:pt x="1702" y="1094"/>
                </a:lnTo>
                <a:lnTo>
                  <a:pt x="1694" y="1002"/>
                </a:lnTo>
                <a:lnTo>
                  <a:pt x="1688" y="948"/>
                </a:lnTo>
                <a:lnTo>
                  <a:pt x="1670" y="822"/>
                </a:lnTo>
                <a:lnTo>
                  <a:pt x="1668" y="794"/>
                </a:lnTo>
                <a:lnTo>
                  <a:pt x="1666" y="766"/>
                </a:lnTo>
                <a:lnTo>
                  <a:pt x="1666" y="738"/>
                </a:lnTo>
                <a:lnTo>
                  <a:pt x="1664" y="714"/>
                </a:lnTo>
                <a:lnTo>
                  <a:pt x="1662" y="704"/>
                </a:lnTo>
                <a:lnTo>
                  <a:pt x="1658" y="696"/>
                </a:lnTo>
                <a:lnTo>
                  <a:pt x="1648" y="686"/>
                </a:lnTo>
                <a:lnTo>
                  <a:pt x="1636" y="678"/>
                </a:lnTo>
                <a:lnTo>
                  <a:pt x="1616" y="668"/>
                </a:lnTo>
                <a:lnTo>
                  <a:pt x="1602" y="660"/>
                </a:lnTo>
                <a:lnTo>
                  <a:pt x="1582" y="652"/>
                </a:lnTo>
                <a:lnTo>
                  <a:pt x="1426" y="588"/>
                </a:lnTo>
                <a:lnTo>
                  <a:pt x="1416" y="582"/>
                </a:lnTo>
                <a:lnTo>
                  <a:pt x="1406" y="574"/>
                </a:lnTo>
                <a:lnTo>
                  <a:pt x="1398" y="564"/>
                </a:lnTo>
                <a:lnTo>
                  <a:pt x="1394" y="554"/>
                </a:lnTo>
                <a:lnTo>
                  <a:pt x="1392" y="542"/>
                </a:lnTo>
                <a:lnTo>
                  <a:pt x="1394" y="532"/>
                </a:lnTo>
                <a:lnTo>
                  <a:pt x="1396" y="524"/>
                </a:lnTo>
                <a:lnTo>
                  <a:pt x="1402" y="516"/>
                </a:lnTo>
                <a:lnTo>
                  <a:pt x="1416" y="500"/>
                </a:lnTo>
                <a:lnTo>
                  <a:pt x="1430" y="480"/>
                </a:lnTo>
                <a:lnTo>
                  <a:pt x="1442" y="458"/>
                </a:lnTo>
                <a:lnTo>
                  <a:pt x="1448" y="446"/>
                </a:lnTo>
                <a:lnTo>
                  <a:pt x="1452" y="432"/>
                </a:lnTo>
                <a:lnTo>
                  <a:pt x="1456" y="418"/>
                </a:lnTo>
                <a:lnTo>
                  <a:pt x="1460" y="406"/>
                </a:lnTo>
                <a:lnTo>
                  <a:pt x="1468" y="340"/>
                </a:lnTo>
                <a:lnTo>
                  <a:pt x="1470" y="312"/>
                </a:lnTo>
                <a:lnTo>
                  <a:pt x="1472" y="286"/>
                </a:lnTo>
                <a:lnTo>
                  <a:pt x="1472" y="266"/>
                </a:lnTo>
                <a:lnTo>
                  <a:pt x="1470" y="244"/>
                </a:lnTo>
                <a:lnTo>
                  <a:pt x="1466" y="234"/>
                </a:lnTo>
                <a:lnTo>
                  <a:pt x="1464" y="228"/>
                </a:lnTo>
                <a:lnTo>
                  <a:pt x="1456" y="214"/>
                </a:lnTo>
                <a:lnTo>
                  <a:pt x="1448" y="198"/>
                </a:lnTo>
                <a:lnTo>
                  <a:pt x="1440" y="182"/>
                </a:lnTo>
                <a:lnTo>
                  <a:pt x="1430" y="168"/>
                </a:lnTo>
                <a:lnTo>
                  <a:pt x="1416" y="156"/>
                </a:lnTo>
                <a:lnTo>
                  <a:pt x="1402" y="148"/>
                </a:lnTo>
                <a:lnTo>
                  <a:pt x="1366" y="138"/>
                </a:lnTo>
                <a:lnTo>
                  <a:pt x="1356" y="136"/>
                </a:lnTo>
                <a:lnTo>
                  <a:pt x="1344" y="136"/>
                </a:lnTo>
                <a:lnTo>
                  <a:pt x="1332" y="140"/>
                </a:lnTo>
                <a:lnTo>
                  <a:pt x="1320" y="142"/>
                </a:lnTo>
                <a:lnTo>
                  <a:pt x="1316" y="144"/>
                </a:lnTo>
                <a:lnTo>
                  <a:pt x="1266" y="168"/>
                </a:lnTo>
                <a:lnTo>
                  <a:pt x="1246" y="178"/>
                </a:lnTo>
                <a:lnTo>
                  <a:pt x="1236" y="184"/>
                </a:lnTo>
                <a:lnTo>
                  <a:pt x="1226" y="192"/>
                </a:lnTo>
                <a:lnTo>
                  <a:pt x="1218" y="202"/>
                </a:lnTo>
                <a:lnTo>
                  <a:pt x="1214" y="210"/>
                </a:lnTo>
                <a:lnTo>
                  <a:pt x="1196" y="254"/>
                </a:lnTo>
                <a:lnTo>
                  <a:pt x="1188" y="274"/>
                </a:lnTo>
                <a:lnTo>
                  <a:pt x="1180" y="294"/>
                </a:lnTo>
                <a:lnTo>
                  <a:pt x="1176" y="298"/>
                </a:lnTo>
                <a:lnTo>
                  <a:pt x="1174" y="300"/>
                </a:lnTo>
                <a:lnTo>
                  <a:pt x="1168" y="302"/>
                </a:lnTo>
                <a:lnTo>
                  <a:pt x="1166" y="306"/>
                </a:lnTo>
                <a:lnTo>
                  <a:pt x="1164" y="316"/>
                </a:lnTo>
                <a:lnTo>
                  <a:pt x="1160" y="330"/>
                </a:lnTo>
                <a:lnTo>
                  <a:pt x="1156" y="340"/>
                </a:lnTo>
                <a:lnTo>
                  <a:pt x="1156" y="348"/>
                </a:lnTo>
                <a:lnTo>
                  <a:pt x="1156" y="358"/>
                </a:lnTo>
                <a:lnTo>
                  <a:pt x="1160" y="368"/>
                </a:lnTo>
                <a:lnTo>
                  <a:pt x="1164" y="382"/>
                </a:lnTo>
                <a:lnTo>
                  <a:pt x="1166" y="392"/>
                </a:lnTo>
                <a:lnTo>
                  <a:pt x="1168" y="392"/>
                </a:lnTo>
                <a:lnTo>
                  <a:pt x="1170" y="394"/>
                </a:lnTo>
                <a:lnTo>
                  <a:pt x="1180" y="392"/>
                </a:lnTo>
                <a:lnTo>
                  <a:pt x="1186" y="390"/>
                </a:lnTo>
                <a:lnTo>
                  <a:pt x="1190" y="396"/>
                </a:lnTo>
                <a:lnTo>
                  <a:pt x="1192" y="402"/>
                </a:lnTo>
                <a:lnTo>
                  <a:pt x="1194" y="412"/>
                </a:lnTo>
                <a:lnTo>
                  <a:pt x="1194" y="440"/>
                </a:lnTo>
                <a:lnTo>
                  <a:pt x="1192" y="452"/>
                </a:lnTo>
                <a:lnTo>
                  <a:pt x="1190" y="464"/>
                </a:lnTo>
                <a:lnTo>
                  <a:pt x="1186" y="476"/>
                </a:lnTo>
                <a:lnTo>
                  <a:pt x="1180" y="486"/>
                </a:lnTo>
                <a:lnTo>
                  <a:pt x="1152" y="522"/>
                </a:lnTo>
                <a:lnTo>
                  <a:pt x="1136" y="540"/>
                </a:lnTo>
                <a:lnTo>
                  <a:pt x="1114" y="556"/>
                </a:lnTo>
                <a:lnTo>
                  <a:pt x="1106" y="562"/>
                </a:lnTo>
                <a:lnTo>
                  <a:pt x="1082" y="576"/>
                </a:lnTo>
                <a:lnTo>
                  <a:pt x="1056" y="586"/>
                </a:lnTo>
                <a:lnTo>
                  <a:pt x="970" y="616"/>
                </a:lnTo>
                <a:lnTo>
                  <a:pt x="958" y="618"/>
                </a:lnTo>
                <a:lnTo>
                  <a:pt x="944" y="620"/>
                </a:lnTo>
                <a:lnTo>
                  <a:pt x="930" y="618"/>
                </a:lnTo>
                <a:lnTo>
                  <a:pt x="918" y="614"/>
                </a:lnTo>
                <a:lnTo>
                  <a:pt x="844" y="578"/>
                </a:lnTo>
                <a:lnTo>
                  <a:pt x="794" y="554"/>
                </a:lnTo>
                <a:lnTo>
                  <a:pt x="732" y="528"/>
                </a:lnTo>
                <a:lnTo>
                  <a:pt x="708" y="518"/>
                </a:lnTo>
                <a:lnTo>
                  <a:pt x="680" y="510"/>
                </a:lnTo>
                <a:lnTo>
                  <a:pt x="632" y="498"/>
                </a:lnTo>
                <a:lnTo>
                  <a:pt x="622" y="494"/>
                </a:lnTo>
                <a:lnTo>
                  <a:pt x="612" y="488"/>
                </a:lnTo>
                <a:lnTo>
                  <a:pt x="604" y="478"/>
                </a:lnTo>
                <a:lnTo>
                  <a:pt x="598" y="468"/>
                </a:lnTo>
                <a:lnTo>
                  <a:pt x="586" y="450"/>
                </a:lnTo>
                <a:lnTo>
                  <a:pt x="578" y="440"/>
                </a:lnTo>
                <a:lnTo>
                  <a:pt x="574" y="434"/>
                </a:lnTo>
                <a:lnTo>
                  <a:pt x="572" y="426"/>
                </a:lnTo>
                <a:lnTo>
                  <a:pt x="570" y="406"/>
                </a:lnTo>
                <a:lnTo>
                  <a:pt x="570" y="340"/>
                </a:lnTo>
                <a:lnTo>
                  <a:pt x="572" y="328"/>
                </a:lnTo>
                <a:lnTo>
                  <a:pt x="574" y="314"/>
                </a:lnTo>
                <a:lnTo>
                  <a:pt x="578" y="300"/>
                </a:lnTo>
                <a:lnTo>
                  <a:pt x="584" y="288"/>
                </a:lnTo>
                <a:lnTo>
                  <a:pt x="588" y="278"/>
                </a:lnTo>
                <a:lnTo>
                  <a:pt x="594" y="264"/>
                </a:lnTo>
                <a:lnTo>
                  <a:pt x="596" y="252"/>
                </a:lnTo>
                <a:lnTo>
                  <a:pt x="596" y="240"/>
                </a:lnTo>
                <a:lnTo>
                  <a:pt x="596" y="210"/>
                </a:lnTo>
                <a:lnTo>
                  <a:pt x="596" y="206"/>
                </a:lnTo>
                <a:lnTo>
                  <a:pt x="594" y="204"/>
                </a:lnTo>
                <a:lnTo>
                  <a:pt x="584" y="196"/>
                </a:lnTo>
                <a:lnTo>
                  <a:pt x="578" y="192"/>
                </a:lnTo>
                <a:lnTo>
                  <a:pt x="572" y="184"/>
                </a:lnTo>
                <a:lnTo>
                  <a:pt x="568" y="176"/>
                </a:lnTo>
                <a:lnTo>
                  <a:pt x="566" y="164"/>
                </a:lnTo>
                <a:lnTo>
                  <a:pt x="560" y="146"/>
                </a:lnTo>
                <a:lnTo>
                  <a:pt x="548" y="94"/>
                </a:lnTo>
                <a:lnTo>
                  <a:pt x="540" y="72"/>
                </a:lnTo>
                <a:lnTo>
                  <a:pt x="528" y="52"/>
                </a:lnTo>
                <a:lnTo>
                  <a:pt x="516" y="38"/>
                </a:lnTo>
                <a:lnTo>
                  <a:pt x="510" y="34"/>
                </a:lnTo>
                <a:lnTo>
                  <a:pt x="506" y="34"/>
                </a:lnTo>
                <a:lnTo>
                  <a:pt x="498" y="32"/>
                </a:lnTo>
                <a:lnTo>
                  <a:pt x="486" y="28"/>
                </a:lnTo>
                <a:lnTo>
                  <a:pt x="476" y="24"/>
                </a:lnTo>
                <a:lnTo>
                  <a:pt x="466" y="22"/>
                </a:lnTo>
                <a:lnTo>
                  <a:pt x="454" y="20"/>
                </a:lnTo>
                <a:lnTo>
                  <a:pt x="438" y="10"/>
                </a:lnTo>
                <a:lnTo>
                  <a:pt x="428" y="6"/>
                </a:lnTo>
                <a:lnTo>
                  <a:pt x="416" y="2"/>
                </a:lnTo>
                <a:lnTo>
                  <a:pt x="404" y="0"/>
                </a:lnTo>
                <a:lnTo>
                  <a:pt x="390" y="0"/>
                </a:lnTo>
                <a:lnTo>
                  <a:pt x="388" y="0"/>
                </a:lnTo>
                <a:lnTo>
                  <a:pt x="348" y="0"/>
                </a:lnTo>
                <a:lnTo>
                  <a:pt x="332" y="2"/>
                </a:lnTo>
                <a:lnTo>
                  <a:pt x="314" y="10"/>
                </a:lnTo>
                <a:lnTo>
                  <a:pt x="292" y="24"/>
                </a:lnTo>
                <a:lnTo>
                  <a:pt x="272" y="40"/>
                </a:lnTo>
                <a:lnTo>
                  <a:pt x="252" y="58"/>
                </a:lnTo>
                <a:lnTo>
                  <a:pt x="238" y="76"/>
                </a:lnTo>
                <a:lnTo>
                  <a:pt x="228" y="94"/>
                </a:lnTo>
                <a:lnTo>
                  <a:pt x="226" y="100"/>
                </a:lnTo>
                <a:lnTo>
                  <a:pt x="224" y="106"/>
                </a:lnTo>
                <a:lnTo>
                  <a:pt x="222" y="120"/>
                </a:lnTo>
                <a:lnTo>
                  <a:pt x="216" y="136"/>
                </a:lnTo>
                <a:lnTo>
                  <a:pt x="214" y="146"/>
                </a:lnTo>
                <a:lnTo>
                  <a:pt x="212" y="158"/>
                </a:lnTo>
                <a:lnTo>
                  <a:pt x="212" y="170"/>
                </a:lnTo>
                <a:lnTo>
                  <a:pt x="214" y="182"/>
                </a:lnTo>
                <a:lnTo>
                  <a:pt x="220" y="224"/>
                </a:lnTo>
                <a:lnTo>
                  <a:pt x="224" y="250"/>
                </a:lnTo>
                <a:lnTo>
                  <a:pt x="224" y="276"/>
                </a:lnTo>
                <a:lnTo>
                  <a:pt x="226" y="298"/>
                </a:lnTo>
                <a:lnTo>
                  <a:pt x="230" y="318"/>
                </a:lnTo>
                <a:lnTo>
                  <a:pt x="240" y="334"/>
                </a:lnTo>
                <a:lnTo>
                  <a:pt x="250" y="348"/>
                </a:lnTo>
                <a:lnTo>
                  <a:pt x="262" y="362"/>
                </a:lnTo>
                <a:lnTo>
                  <a:pt x="272" y="378"/>
                </a:lnTo>
                <a:lnTo>
                  <a:pt x="282" y="398"/>
                </a:lnTo>
                <a:lnTo>
                  <a:pt x="298" y="418"/>
                </a:lnTo>
                <a:lnTo>
                  <a:pt x="304" y="424"/>
                </a:lnTo>
                <a:lnTo>
                  <a:pt x="310" y="434"/>
                </a:lnTo>
                <a:lnTo>
                  <a:pt x="316" y="446"/>
                </a:lnTo>
                <a:lnTo>
                  <a:pt x="320" y="460"/>
                </a:lnTo>
                <a:lnTo>
                  <a:pt x="322" y="472"/>
                </a:lnTo>
                <a:lnTo>
                  <a:pt x="322" y="502"/>
                </a:lnTo>
                <a:lnTo>
                  <a:pt x="320" y="526"/>
                </a:lnTo>
                <a:lnTo>
                  <a:pt x="318" y="538"/>
                </a:lnTo>
                <a:lnTo>
                  <a:pt x="314" y="548"/>
                </a:lnTo>
                <a:lnTo>
                  <a:pt x="308" y="556"/>
                </a:lnTo>
                <a:lnTo>
                  <a:pt x="300" y="564"/>
                </a:lnTo>
                <a:lnTo>
                  <a:pt x="292" y="570"/>
                </a:lnTo>
                <a:lnTo>
                  <a:pt x="280" y="576"/>
                </a:lnTo>
                <a:lnTo>
                  <a:pt x="220" y="602"/>
                </a:lnTo>
                <a:lnTo>
                  <a:pt x="200" y="610"/>
                </a:lnTo>
                <a:lnTo>
                  <a:pt x="190" y="614"/>
                </a:lnTo>
                <a:lnTo>
                  <a:pt x="178" y="618"/>
                </a:lnTo>
                <a:lnTo>
                  <a:pt x="160" y="628"/>
                </a:lnTo>
                <a:lnTo>
                  <a:pt x="150" y="634"/>
                </a:lnTo>
                <a:lnTo>
                  <a:pt x="128" y="652"/>
                </a:lnTo>
                <a:lnTo>
                  <a:pt x="110" y="670"/>
                </a:lnTo>
                <a:lnTo>
                  <a:pt x="104" y="678"/>
                </a:lnTo>
                <a:lnTo>
                  <a:pt x="86" y="696"/>
                </a:lnTo>
                <a:lnTo>
                  <a:pt x="70" y="710"/>
                </a:lnTo>
                <a:lnTo>
                  <a:pt x="66" y="716"/>
                </a:lnTo>
                <a:lnTo>
                  <a:pt x="60" y="724"/>
                </a:lnTo>
                <a:lnTo>
                  <a:pt x="58" y="732"/>
                </a:lnTo>
                <a:lnTo>
                  <a:pt x="56" y="740"/>
                </a:lnTo>
                <a:lnTo>
                  <a:pt x="56" y="786"/>
                </a:lnTo>
                <a:lnTo>
                  <a:pt x="56" y="802"/>
                </a:lnTo>
                <a:lnTo>
                  <a:pt x="58" y="858"/>
                </a:lnTo>
                <a:lnTo>
                  <a:pt x="70" y="958"/>
                </a:lnTo>
                <a:lnTo>
                  <a:pt x="70" y="986"/>
                </a:lnTo>
                <a:lnTo>
                  <a:pt x="68" y="1014"/>
                </a:lnTo>
                <a:lnTo>
                  <a:pt x="48" y="1116"/>
                </a:lnTo>
                <a:lnTo>
                  <a:pt x="38" y="1170"/>
                </a:lnTo>
                <a:lnTo>
                  <a:pt x="6" y="1344"/>
                </a:lnTo>
                <a:lnTo>
                  <a:pt x="2" y="1370"/>
                </a:lnTo>
                <a:lnTo>
                  <a:pt x="0" y="1396"/>
                </a:lnTo>
                <a:lnTo>
                  <a:pt x="0" y="1444"/>
                </a:lnTo>
                <a:lnTo>
                  <a:pt x="2" y="1470"/>
                </a:lnTo>
                <a:lnTo>
                  <a:pt x="8" y="1494"/>
                </a:lnTo>
                <a:lnTo>
                  <a:pt x="16" y="1518"/>
                </a:lnTo>
                <a:lnTo>
                  <a:pt x="28" y="1542"/>
                </a:lnTo>
                <a:lnTo>
                  <a:pt x="30" y="1542"/>
                </a:lnTo>
                <a:lnTo>
                  <a:pt x="60" y="1588"/>
                </a:lnTo>
                <a:lnTo>
                  <a:pt x="70" y="1602"/>
                </a:lnTo>
                <a:lnTo>
                  <a:pt x="76" y="1614"/>
                </a:lnTo>
                <a:lnTo>
                  <a:pt x="82" y="1626"/>
                </a:lnTo>
                <a:lnTo>
                  <a:pt x="88" y="1640"/>
                </a:lnTo>
                <a:lnTo>
                  <a:pt x="90" y="1652"/>
                </a:lnTo>
                <a:lnTo>
                  <a:pt x="92" y="1660"/>
                </a:lnTo>
                <a:lnTo>
                  <a:pt x="96" y="1688"/>
                </a:lnTo>
                <a:lnTo>
                  <a:pt x="98" y="1714"/>
                </a:lnTo>
                <a:lnTo>
                  <a:pt x="98" y="1804"/>
                </a:lnTo>
                <a:lnTo>
                  <a:pt x="100" y="1830"/>
                </a:lnTo>
                <a:lnTo>
                  <a:pt x="104" y="1858"/>
                </a:lnTo>
                <a:lnTo>
                  <a:pt x="120" y="1924"/>
                </a:lnTo>
                <a:lnTo>
                  <a:pt x="132" y="1978"/>
                </a:lnTo>
                <a:lnTo>
                  <a:pt x="136" y="1996"/>
                </a:lnTo>
                <a:lnTo>
                  <a:pt x="138" y="2022"/>
                </a:lnTo>
                <a:lnTo>
                  <a:pt x="140" y="2050"/>
                </a:lnTo>
                <a:lnTo>
                  <a:pt x="140" y="2056"/>
                </a:lnTo>
                <a:lnTo>
                  <a:pt x="140" y="2102"/>
                </a:lnTo>
                <a:lnTo>
                  <a:pt x="142" y="2124"/>
                </a:lnTo>
                <a:lnTo>
                  <a:pt x="144" y="2148"/>
                </a:lnTo>
                <a:lnTo>
                  <a:pt x="164" y="2262"/>
                </a:lnTo>
                <a:lnTo>
                  <a:pt x="172" y="2318"/>
                </a:lnTo>
                <a:lnTo>
                  <a:pt x="180" y="2418"/>
                </a:lnTo>
                <a:lnTo>
                  <a:pt x="184" y="2472"/>
                </a:lnTo>
                <a:lnTo>
                  <a:pt x="194" y="2660"/>
                </a:lnTo>
                <a:lnTo>
                  <a:pt x="198" y="2686"/>
                </a:lnTo>
                <a:lnTo>
                  <a:pt x="206" y="2712"/>
                </a:lnTo>
                <a:lnTo>
                  <a:pt x="254" y="2842"/>
                </a:lnTo>
                <a:lnTo>
                  <a:pt x="256" y="2854"/>
                </a:lnTo>
                <a:lnTo>
                  <a:pt x="258" y="2868"/>
                </a:lnTo>
                <a:lnTo>
                  <a:pt x="256" y="2880"/>
                </a:lnTo>
                <a:lnTo>
                  <a:pt x="254" y="2892"/>
                </a:lnTo>
                <a:lnTo>
                  <a:pt x="234" y="2938"/>
                </a:lnTo>
                <a:lnTo>
                  <a:pt x="222" y="2962"/>
                </a:lnTo>
                <a:lnTo>
                  <a:pt x="206" y="2984"/>
                </a:lnTo>
                <a:lnTo>
                  <a:pt x="200" y="2990"/>
                </a:lnTo>
                <a:lnTo>
                  <a:pt x="194" y="3000"/>
                </a:lnTo>
                <a:lnTo>
                  <a:pt x="188" y="3014"/>
                </a:lnTo>
                <a:lnTo>
                  <a:pt x="184" y="3026"/>
                </a:lnTo>
                <a:lnTo>
                  <a:pt x="182" y="3038"/>
                </a:lnTo>
                <a:lnTo>
                  <a:pt x="182" y="3094"/>
                </a:lnTo>
                <a:lnTo>
                  <a:pt x="184" y="3104"/>
                </a:lnTo>
                <a:lnTo>
                  <a:pt x="190" y="3114"/>
                </a:lnTo>
                <a:lnTo>
                  <a:pt x="200" y="3120"/>
                </a:lnTo>
                <a:lnTo>
                  <a:pt x="210" y="3124"/>
                </a:lnTo>
                <a:lnTo>
                  <a:pt x="252" y="3128"/>
                </a:lnTo>
                <a:lnTo>
                  <a:pt x="264" y="3128"/>
                </a:lnTo>
                <a:lnTo>
                  <a:pt x="278" y="3126"/>
                </a:lnTo>
                <a:lnTo>
                  <a:pt x="290" y="3120"/>
                </a:lnTo>
                <a:lnTo>
                  <a:pt x="300" y="3114"/>
                </a:lnTo>
                <a:lnTo>
                  <a:pt x="314" y="3102"/>
                </a:lnTo>
                <a:lnTo>
                  <a:pt x="348" y="3072"/>
                </a:lnTo>
                <a:lnTo>
                  <a:pt x="360" y="3060"/>
                </a:lnTo>
                <a:lnTo>
                  <a:pt x="368" y="3048"/>
                </a:lnTo>
                <a:lnTo>
                  <a:pt x="372" y="3042"/>
                </a:lnTo>
                <a:lnTo>
                  <a:pt x="374" y="3034"/>
                </a:lnTo>
                <a:lnTo>
                  <a:pt x="376" y="3018"/>
                </a:lnTo>
                <a:lnTo>
                  <a:pt x="378" y="3000"/>
                </a:lnTo>
                <a:lnTo>
                  <a:pt x="384" y="2982"/>
                </a:lnTo>
                <a:lnTo>
                  <a:pt x="390" y="2968"/>
                </a:lnTo>
                <a:lnTo>
                  <a:pt x="394" y="2964"/>
                </a:lnTo>
                <a:lnTo>
                  <a:pt x="396" y="2964"/>
                </a:lnTo>
                <a:lnTo>
                  <a:pt x="406" y="2958"/>
                </a:lnTo>
                <a:lnTo>
                  <a:pt x="424" y="2946"/>
                </a:lnTo>
                <a:lnTo>
                  <a:pt x="424" y="2944"/>
                </a:lnTo>
                <a:lnTo>
                  <a:pt x="432" y="2936"/>
                </a:lnTo>
                <a:lnTo>
                  <a:pt x="440" y="2926"/>
                </a:lnTo>
                <a:lnTo>
                  <a:pt x="448" y="2914"/>
                </a:lnTo>
                <a:lnTo>
                  <a:pt x="452" y="2902"/>
                </a:lnTo>
                <a:lnTo>
                  <a:pt x="454" y="2892"/>
                </a:lnTo>
                <a:lnTo>
                  <a:pt x="452" y="2878"/>
                </a:lnTo>
                <a:lnTo>
                  <a:pt x="450" y="2866"/>
                </a:lnTo>
                <a:lnTo>
                  <a:pt x="446" y="2854"/>
                </a:lnTo>
                <a:lnTo>
                  <a:pt x="442" y="2844"/>
                </a:lnTo>
                <a:lnTo>
                  <a:pt x="438" y="2832"/>
                </a:lnTo>
                <a:lnTo>
                  <a:pt x="434" y="2818"/>
                </a:lnTo>
                <a:lnTo>
                  <a:pt x="432" y="2804"/>
                </a:lnTo>
                <a:lnTo>
                  <a:pt x="432" y="2792"/>
                </a:lnTo>
                <a:lnTo>
                  <a:pt x="432" y="2762"/>
                </a:lnTo>
                <a:lnTo>
                  <a:pt x="432" y="2708"/>
                </a:lnTo>
                <a:lnTo>
                  <a:pt x="432" y="2700"/>
                </a:lnTo>
                <a:lnTo>
                  <a:pt x="430" y="2674"/>
                </a:lnTo>
                <a:lnTo>
                  <a:pt x="424" y="2646"/>
                </a:lnTo>
                <a:lnTo>
                  <a:pt x="410" y="2592"/>
                </a:lnTo>
                <a:lnTo>
                  <a:pt x="404" y="2566"/>
                </a:lnTo>
                <a:lnTo>
                  <a:pt x="402" y="2538"/>
                </a:lnTo>
                <a:lnTo>
                  <a:pt x="402" y="2472"/>
                </a:lnTo>
                <a:lnTo>
                  <a:pt x="400" y="2418"/>
                </a:lnTo>
                <a:lnTo>
                  <a:pt x="392" y="2304"/>
                </a:lnTo>
                <a:lnTo>
                  <a:pt x="392" y="2276"/>
                </a:lnTo>
                <a:lnTo>
                  <a:pt x="396" y="2250"/>
                </a:lnTo>
                <a:lnTo>
                  <a:pt x="412" y="2160"/>
                </a:lnTo>
                <a:lnTo>
                  <a:pt x="416" y="2132"/>
                </a:lnTo>
                <a:lnTo>
                  <a:pt x="418" y="2104"/>
                </a:lnTo>
                <a:lnTo>
                  <a:pt x="418" y="2038"/>
                </a:lnTo>
                <a:lnTo>
                  <a:pt x="418" y="1984"/>
                </a:lnTo>
                <a:lnTo>
                  <a:pt x="418" y="1980"/>
                </a:lnTo>
                <a:lnTo>
                  <a:pt x="420" y="1956"/>
                </a:lnTo>
                <a:lnTo>
                  <a:pt x="422" y="1946"/>
                </a:lnTo>
                <a:lnTo>
                  <a:pt x="426" y="1938"/>
                </a:lnTo>
                <a:lnTo>
                  <a:pt x="428" y="1936"/>
                </a:lnTo>
                <a:lnTo>
                  <a:pt x="432" y="1934"/>
                </a:lnTo>
                <a:lnTo>
                  <a:pt x="436" y="1936"/>
                </a:lnTo>
                <a:lnTo>
                  <a:pt x="438" y="1938"/>
                </a:lnTo>
                <a:lnTo>
                  <a:pt x="446" y="1956"/>
                </a:lnTo>
                <a:lnTo>
                  <a:pt x="454" y="1978"/>
                </a:lnTo>
                <a:lnTo>
                  <a:pt x="492" y="2094"/>
                </a:lnTo>
                <a:lnTo>
                  <a:pt x="506" y="2144"/>
                </a:lnTo>
                <a:lnTo>
                  <a:pt x="512" y="2166"/>
                </a:lnTo>
                <a:lnTo>
                  <a:pt x="514" y="2186"/>
                </a:lnTo>
                <a:lnTo>
                  <a:pt x="514" y="2216"/>
                </a:lnTo>
                <a:lnTo>
                  <a:pt x="514" y="2256"/>
                </a:lnTo>
                <a:lnTo>
                  <a:pt x="514" y="2564"/>
                </a:lnTo>
                <a:lnTo>
                  <a:pt x="514" y="2618"/>
                </a:lnTo>
                <a:lnTo>
                  <a:pt x="514" y="2730"/>
                </a:lnTo>
                <a:lnTo>
                  <a:pt x="514" y="2758"/>
                </a:lnTo>
                <a:lnTo>
                  <a:pt x="518" y="2784"/>
                </a:lnTo>
                <a:lnTo>
                  <a:pt x="538" y="2924"/>
                </a:lnTo>
                <a:lnTo>
                  <a:pt x="546" y="2978"/>
                </a:lnTo>
                <a:lnTo>
                  <a:pt x="550" y="3010"/>
                </a:lnTo>
                <a:lnTo>
                  <a:pt x="556" y="3032"/>
                </a:lnTo>
                <a:lnTo>
                  <a:pt x="562" y="3048"/>
                </a:lnTo>
                <a:lnTo>
                  <a:pt x="578" y="3072"/>
                </a:lnTo>
                <a:lnTo>
                  <a:pt x="580" y="3076"/>
                </a:lnTo>
                <a:lnTo>
                  <a:pt x="580" y="3082"/>
                </a:lnTo>
                <a:lnTo>
                  <a:pt x="580" y="3086"/>
                </a:lnTo>
                <a:lnTo>
                  <a:pt x="578" y="3090"/>
                </a:lnTo>
                <a:lnTo>
                  <a:pt x="574" y="3094"/>
                </a:lnTo>
                <a:lnTo>
                  <a:pt x="572" y="3100"/>
                </a:lnTo>
                <a:lnTo>
                  <a:pt x="570" y="3114"/>
                </a:lnTo>
                <a:lnTo>
                  <a:pt x="570" y="3144"/>
                </a:lnTo>
                <a:lnTo>
                  <a:pt x="570" y="3168"/>
                </a:lnTo>
                <a:lnTo>
                  <a:pt x="572" y="3174"/>
                </a:lnTo>
                <a:lnTo>
                  <a:pt x="576" y="3182"/>
                </a:lnTo>
                <a:lnTo>
                  <a:pt x="588" y="3202"/>
                </a:lnTo>
                <a:lnTo>
                  <a:pt x="592" y="3206"/>
                </a:lnTo>
                <a:lnTo>
                  <a:pt x="600" y="3214"/>
                </a:lnTo>
                <a:lnTo>
                  <a:pt x="610" y="3222"/>
                </a:lnTo>
                <a:lnTo>
                  <a:pt x="618" y="3226"/>
                </a:lnTo>
                <a:lnTo>
                  <a:pt x="624" y="3228"/>
                </a:lnTo>
                <a:lnTo>
                  <a:pt x="630" y="3230"/>
                </a:lnTo>
                <a:lnTo>
                  <a:pt x="634" y="3236"/>
                </a:lnTo>
                <a:lnTo>
                  <a:pt x="638" y="3244"/>
                </a:lnTo>
                <a:lnTo>
                  <a:pt x="638" y="3256"/>
                </a:lnTo>
                <a:lnTo>
                  <a:pt x="638" y="3262"/>
                </a:lnTo>
                <a:lnTo>
                  <a:pt x="638" y="3308"/>
                </a:lnTo>
                <a:lnTo>
                  <a:pt x="640" y="3324"/>
                </a:lnTo>
                <a:lnTo>
                  <a:pt x="646" y="3338"/>
                </a:lnTo>
                <a:lnTo>
                  <a:pt x="666" y="3368"/>
                </a:lnTo>
                <a:lnTo>
                  <a:pt x="682" y="3386"/>
                </a:lnTo>
                <a:lnTo>
                  <a:pt x="702" y="3404"/>
                </a:lnTo>
                <a:lnTo>
                  <a:pt x="716" y="3416"/>
                </a:lnTo>
                <a:lnTo>
                  <a:pt x="742" y="3440"/>
                </a:lnTo>
                <a:lnTo>
                  <a:pt x="748" y="3442"/>
                </a:lnTo>
                <a:lnTo>
                  <a:pt x="756" y="3442"/>
                </a:lnTo>
                <a:lnTo>
                  <a:pt x="776" y="3442"/>
                </a:lnTo>
                <a:lnTo>
                  <a:pt x="848" y="3436"/>
                </a:lnTo>
                <a:lnTo>
                  <a:pt x="858" y="3434"/>
                </a:lnTo>
                <a:lnTo>
                  <a:pt x="868" y="3426"/>
                </a:lnTo>
                <a:lnTo>
                  <a:pt x="874" y="3418"/>
                </a:lnTo>
                <a:lnTo>
                  <a:pt x="876" y="3406"/>
                </a:lnTo>
                <a:lnTo>
                  <a:pt x="876" y="3354"/>
                </a:lnTo>
                <a:lnTo>
                  <a:pt x="874" y="3342"/>
                </a:lnTo>
                <a:lnTo>
                  <a:pt x="872" y="3328"/>
                </a:lnTo>
                <a:lnTo>
                  <a:pt x="866" y="3318"/>
                </a:lnTo>
                <a:lnTo>
                  <a:pt x="862" y="3308"/>
                </a:lnTo>
                <a:lnTo>
                  <a:pt x="848" y="3288"/>
                </a:lnTo>
                <a:lnTo>
                  <a:pt x="836" y="3264"/>
                </a:lnTo>
                <a:lnTo>
                  <a:pt x="802" y="3194"/>
                </a:lnTo>
                <a:lnTo>
                  <a:pt x="792" y="3170"/>
                </a:lnTo>
                <a:lnTo>
                  <a:pt x="784" y="3144"/>
                </a:lnTo>
                <a:lnTo>
                  <a:pt x="782" y="3134"/>
                </a:lnTo>
                <a:lnTo>
                  <a:pt x="782" y="3120"/>
                </a:lnTo>
                <a:lnTo>
                  <a:pt x="782" y="3106"/>
                </a:lnTo>
                <a:lnTo>
                  <a:pt x="782" y="3094"/>
                </a:lnTo>
                <a:lnTo>
                  <a:pt x="788" y="3064"/>
                </a:lnTo>
                <a:lnTo>
                  <a:pt x="790" y="3036"/>
                </a:lnTo>
                <a:lnTo>
                  <a:pt x="792" y="3010"/>
                </a:lnTo>
                <a:lnTo>
                  <a:pt x="792" y="2932"/>
                </a:lnTo>
                <a:lnTo>
                  <a:pt x="792" y="2904"/>
                </a:lnTo>
                <a:lnTo>
                  <a:pt x="796" y="2876"/>
                </a:lnTo>
                <a:lnTo>
                  <a:pt x="816" y="2750"/>
                </a:lnTo>
                <a:lnTo>
                  <a:pt x="818" y="2724"/>
                </a:lnTo>
                <a:lnTo>
                  <a:pt x="816" y="2696"/>
                </a:lnTo>
                <a:lnTo>
                  <a:pt x="796" y="2594"/>
                </a:lnTo>
                <a:lnTo>
                  <a:pt x="792" y="2566"/>
                </a:lnTo>
                <a:lnTo>
                  <a:pt x="792" y="2538"/>
                </a:lnTo>
                <a:lnTo>
                  <a:pt x="792" y="2462"/>
                </a:lnTo>
                <a:lnTo>
                  <a:pt x="790" y="2406"/>
                </a:lnTo>
                <a:lnTo>
                  <a:pt x="780" y="2280"/>
                </a:lnTo>
                <a:lnTo>
                  <a:pt x="780" y="2254"/>
                </a:lnTo>
                <a:lnTo>
                  <a:pt x="782" y="2226"/>
                </a:lnTo>
                <a:lnTo>
                  <a:pt x="788" y="2196"/>
                </a:lnTo>
                <a:lnTo>
                  <a:pt x="794" y="2142"/>
                </a:lnTo>
                <a:lnTo>
                  <a:pt x="800" y="2086"/>
                </a:lnTo>
                <a:lnTo>
                  <a:pt x="804" y="2060"/>
                </a:lnTo>
                <a:lnTo>
                  <a:pt x="804" y="2032"/>
                </a:lnTo>
                <a:lnTo>
                  <a:pt x="804" y="1894"/>
                </a:lnTo>
                <a:lnTo>
                  <a:pt x="804" y="1868"/>
                </a:lnTo>
                <a:lnTo>
                  <a:pt x="800" y="1840"/>
                </a:lnTo>
                <a:lnTo>
                  <a:pt x="794" y="1784"/>
                </a:lnTo>
                <a:lnTo>
                  <a:pt x="790" y="1758"/>
                </a:lnTo>
                <a:lnTo>
                  <a:pt x="782" y="1732"/>
                </a:lnTo>
                <a:lnTo>
                  <a:pt x="772" y="1700"/>
                </a:lnTo>
                <a:lnTo>
                  <a:pt x="764" y="1678"/>
                </a:lnTo>
                <a:lnTo>
                  <a:pt x="762" y="1662"/>
                </a:lnTo>
                <a:lnTo>
                  <a:pt x="764" y="1656"/>
                </a:lnTo>
                <a:lnTo>
                  <a:pt x="766" y="1650"/>
                </a:lnTo>
                <a:lnTo>
                  <a:pt x="772" y="1644"/>
                </a:lnTo>
                <a:lnTo>
                  <a:pt x="776" y="1638"/>
                </a:lnTo>
                <a:lnTo>
                  <a:pt x="784" y="1634"/>
                </a:lnTo>
                <a:lnTo>
                  <a:pt x="792" y="1630"/>
                </a:lnTo>
                <a:lnTo>
                  <a:pt x="800" y="1630"/>
                </a:lnTo>
                <a:lnTo>
                  <a:pt x="806" y="1632"/>
                </a:lnTo>
                <a:lnTo>
                  <a:pt x="812" y="1634"/>
                </a:lnTo>
                <a:lnTo>
                  <a:pt x="818" y="1634"/>
                </a:lnTo>
                <a:lnTo>
                  <a:pt x="822" y="1630"/>
                </a:lnTo>
                <a:lnTo>
                  <a:pt x="826" y="1626"/>
                </a:lnTo>
                <a:lnTo>
                  <a:pt x="836" y="1614"/>
                </a:lnTo>
                <a:lnTo>
                  <a:pt x="846" y="1602"/>
                </a:lnTo>
                <a:lnTo>
                  <a:pt x="852" y="1598"/>
                </a:lnTo>
                <a:lnTo>
                  <a:pt x="860" y="1600"/>
                </a:lnTo>
                <a:lnTo>
                  <a:pt x="868" y="1604"/>
                </a:lnTo>
                <a:lnTo>
                  <a:pt x="874" y="1612"/>
                </a:lnTo>
                <a:lnTo>
                  <a:pt x="902" y="1650"/>
                </a:lnTo>
                <a:lnTo>
                  <a:pt x="914" y="1666"/>
                </a:lnTo>
                <a:lnTo>
                  <a:pt x="920" y="1672"/>
                </a:lnTo>
                <a:lnTo>
                  <a:pt x="924" y="1674"/>
                </a:lnTo>
                <a:lnTo>
                  <a:pt x="926" y="1674"/>
                </a:lnTo>
                <a:lnTo>
                  <a:pt x="930" y="1678"/>
                </a:lnTo>
                <a:lnTo>
                  <a:pt x="936" y="1692"/>
                </a:lnTo>
                <a:lnTo>
                  <a:pt x="942" y="1712"/>
                </a:lnTo>
                <a:lnTo>
                  <a:pt x="944" y="1738"/>
                </a:lnTo>
                <a:lnTo>
                  <a:pt x="944" y="1744"/>
                </a:lnTo>
                <a:lnTo>
                  <a:pt x="944" y="1798"/>
                </a:lnTo>
                <a:lnTo>
                  <a:pt x="944" y="2068"/>
                </a:lnTo>
                <a:lnTo>
                  <a:pt x="940" y="2096"/>
                </a:lnTo>
                <a:lnTo>
                  <a:pt x="936" y="2122"/>
                </a:lnTo>
                <a:lnTo>
                  <a:pt x="926" y="2154"/>
                </a:lnTo>
                <a:lnTo>
                  <a:pt x="918" y="2180"/>
                </a:lnTo>
                <a:lnTo>
                  <a:pt x="912" y="2208"/>
                </a:lnTo>
                <a:lnTo>
                  <a:pt x="906" y="2238"/>
                </a:lnTo>
                <a:lnTo>
                  <a:pt x="902" y="2264"/>
                </a:lnTo>
                <a:lnTo>
                  <a:pt x="902" y="2292"/>
                </a:lnTo>
                <a:lnTo>
                  <a:pt x="902" y="2358"/>
                </a:lnTo>
                <a:lnTo>
                  <a:pt x="898" y="2386"/>
                </a:lnTo>
                <a:lnTo>
                  <a:pt x="892" y="2412"/>
                </a:lnTo>
                <a:lnTo>
                  <a:pt x="868" y="2480"/>
                </a:lnTo>
                <a:lnTo>
                  <a:pt x="862" y="2506"/>
                </a:lnTo>
                <a:lnTo>
                  <a:pt x="856" y="2534"/>
                </a:lnTo>
                <a:lnTo>
                  <a:pt x="850" y="2576"/>
                </a:lnTo>
                <a:lnTo>
                  <a:pt x="844" y="2630"/>
                </a:lnTo>
                <a:lnTo>
                  <a:pt x="836" y="2720"/>
                </a:lnTo>
                <a:lnTo>
                  <a:pt x="836" y="2732"/>
                </a:lnTo>
                <a:lnTo>
                  <a:pt x="838" y="2744"/>
                </a:lnTo>
                <a:lnTo>
                  <a:pt x="842" y="2756"/>
                </a:lnTo>
                <a:lnTo>
                  <a:pt x="846" y="2764"/>
                </a:lnTo>
                <a:lnTo>
                  <a:pt x="850" y="2774"/>
                </a:lnTo>
                <a:lnTo>
                  <a:pt x="852" y="2782"/>
                </a:lnTo>
                <a:lnTo>
                  <a:pt x="850" y="2792"/>
                </a:lnTo>
                <a:lnTo>
                  <a:pt x="846" y="2802"/>
                </a:lnTo>
                <a:lnTo>
                  <a:pt x="842" y="2810"/>
                </a:lnTo>
                <a:lnTo>
                  <a:pt x="842" y="2820"/>
                </a:lnTo>
                <a:lnTo>
                  <a:pt x="846" y="2830"/>
                </a:lnTo>
                <a:lnTo>
                  <a:pt x="852" y="2840"/>
                </a:lnTo>
                <a:lnTo>
                  <a:pt x="858" y="2846"/>
                </a:lnTo>
                <a:lnTo>
                  <a:pt x="864" y="2856"/>
                </a:lnTo>
                <a:lnTo>
                  <a:pt x="870" y="2870"/>
                </a:lnTo>
                <a:lnTo>
                  <a:pt x="874" y="2882"/>
                </a:lnTo>
                <a:lnTo>
                  <a:pt x="876" y="2894"/>
                </a:lnTo>
                <a:lnTo>
                  <a:pt x="876" y="3020"/>
                </a:lnTo>
                <a:lnTo>
                  <a:pt x="876" y="3054"/>
                </a:lnTo>
                <a:lnTo>
                  <a:pt x="878" y="3062"/>
                </a:lnTo>
                <a:lnTo>
                  <a:pt x="882" y="3072"/>
                </a:lnTo>
                <a:lnTo>
                  <a:pt x="892" y="3086"/>
                </a:lnTo>
                <a:lnTo>
                  <a:pt x="910" y="3102"/>
                </a:lnTo>
                <a:lnTo>
                  <a:pt x="920" y="3110"/>
                </a:lnTo>
                <a:lnTo>
                  <a:pt x="928" y="3116"/>
                </a:lnTo>
                <a:lnTo>
                  <a:pt x="936" y="3120"/>
                </a:lnTo>
                <a:lnTo>
                  <a:pt x="944" y="3120"/>
                </a:lnTo>
                <a:lnTo>
                  <a:pt x="978" y="3120"/>
                </a:lnTo>
                <a:lnTo>
                  <a:pt x="1014" y="3120"/>
                </a:lnTo>
                <a:lnTo>
                  <a:pt x="1028" y="3120"/>
                </a:lnTo>
                <a:lnTo>
                  <a:pt x="1040" y="3116"/>
                </a:lnTo>
                <a:lnTo>
                  <a:pt x="1046" y="3110"/>
                </a:lnTo>
                <a:lnTo>
                  <a:pt x="1052" y="3104"/>
                </a:lnTo>
                <a:lnTo>
                  <a:pt x="1058" y="3094"/>
                </a:lnTo>
                <a:lnTo>
                  <a:pt x="1062" y="3084"/>
                </a:lnTo>
                <a:lnTo>
                  <a:pt x="1068" y="3060"/>
                </a:lnTo>
                <a:lnTo>
                  <a:pt x="1070" y="3036"/>
                </a:lnTo>
                <a:lnTo>
                  <a:pt x="1068" y="3024"/>
                </a:lnTo>
                <a:lnTo>
                  <a:pt x="1066" y="3012"/>
                </a:lnTo>
                <a:lnTo>
                  <a:pt x="1062" y="2998"/>
                </a:lnTo>
                <a:lnTo>
                  <a:pt x="1058" y="2986"/>
                </a:lnTo>
                <a:lnTo>
                  <a:pt x="1052" y="2976"/>
                </a:lnTo>
                <a:lnTo>
                  <a:pt x="1028" y="2926"/>
                </a:lnTo>
                <a:lnTo>
                  <a:pt x="1024" y="2914"/>
                </a:lnTo>
                <a:lnTo>
                  <a:pt x="1020" y="2904"/>
                </a:lnTo>
                <a:lnTo>
                  <a:pt x="1020" y="2890"/>
                </a:lnTo>
                <a:lnTo>
                  <a:pt x="1022" y="2878"/>
                </a:lnTo>
                <a:lnTo>
                  <a:pt x="1028" y="2868"/>
                </a:lnTo>
                <a:lnTo>
                  <a:pt x="1038" y="2854"/>
                </a:lnTo>
                <a:lnTo>
                  <a:pt x="1044" y="2842"/>
                </a:lnTo>
                <a:lnTo>
                  <a:pt x="1050" y="2830"/>
                </a:lnTo>
                <a:lnTo>
                  <a:pt x="1052" y="2818"/>
                </a:lnTo>
                <a:lnTo>
                  <a:pt x="1054" y="2806"/>
                </a:lnTo>
                <a:lnTo>
                  <a:pt x="1054" y="2796"/>
                </a:lnTo>
                <a:lnTo>
                  <a:pt x="1058" y="2782"/>
                </a:lnTo>
                <a:lnTo>
                  <a:pt x="1062" y="2770"/>
                </a:lnTo>
                <a:lnTo>
                  <a:pt x="1066" y="2758"/>
                </a:lnTo>
                <a:lnTo>
                  <a:pt x="1084" y="2724"/>
                </a:lnTo>
                <a:lnTo>
                  <a:pt x="1094" y="2698"/>
                </a:lnTo>
                <a:lnTo>
                  <a:pt x="1102" y="2672"/>
                </a:lnTo>
                <a:lnTo>
                  <a:pt x="1144" y="2520"/>
                </a:lnTo>
                <a:lnTo>
                  <a:pt x="1156" y="2466"/>
                </a:lnTo>
                <a:lnTo>
                  <a:pt x="1188" y="2266"/>
                </a:lnTo>
                <a:lnTo>
                  <a:pt x="1200" y="2214"/>
                </a:lnTo>
                <a:lnTo>
                  <a:pt x="1228" y="2110"/>
                </a:lnTo>
                <a:lnTo>
                  <a:pt x="1240" y="2058"/>
                </a:lnTo>
                <a:lnTo>
                  <a:pt x="1256" y="1990"/>
                </a:lnTo>
                <a:lnTo>
                  <a:pt x="1258" y="1980"/>
                </a:lnTo>
                <a:lnTo>
                  <a:pt x="1262" y="1974"/>
                </a:lnTo>
                <a:lnTo>
                  <a:pt x="1266" y="1972"/>
                </a:lnTo>
                <a:lnTo>
                  <a:pt x="1268" y="1976"/>
                </a:lnTo>
                <a:lnTo>
                  <a:pt x="1272" y="1982"/>
                </a:lnTo>
                <a:lnTo>
                  <a:pt x="1274" y="1992"/>
                </a:lnTo>
                <a:lnTo>
                  <a:pt x="1276" y="2016"/>
                </a:lnTo>
                <a:lnTo>
                  <a:pt x="1276" y="2080"/>
                </a:lnTo>
                <a:lnTo>
                  <a:pt x="1278" y="2106"/>
                </a:lnTo>
                <a:lnTo>
                  <a:pt x="1282" y="2134"/>
                </a:lnTo>
                <a:lnTo>
                  <a:pt x="1284" y="2142"/>
                </a:lnTo>
                <a:lnTo>
                  <a:pt x="1286" y="2154"/>
                </a:lnTo>
                <a:lnTo>
                  <a:pt x="1286" y="2168"/>
                </a:lnTo>
                <a:lnTo>
                  <a:pt x="1282" y="2182"/>
                </a:lnTo>
                <a:lnTo>
                  <a:pt x="1278" y="2194"/>
                </a:lnTo>
                <a:lnTo>
                  <a:pt x="1274" y="2204"/>
                </a:lnTo>
                <a:lnTo>
                  <a:pt x="1268" y="2216"/>
                </a:lnTo>
                <a:lnTo>
                  <a:pt x="1264" y="2228"/>
                </a:lnTo>
                <a:lnTo>
                  <a:pt x="1262" y="2242"/>
                </a:lnTo>
                <a:lnTo>
                  <a:pt x="1262" y="2256"/>
                </a:lnTo>
                <a:lnTo>
                  <a:pt x="1262" y="2262"/>
                </a:lnTo>
                <a:lnTo>
                  <a:pt x="1262" y="2318"/>
                </a:lnTo>
                <a:lnTo>
                  <a:pt x="1262" y="2358"/>
                </a:lnTo>
                <a:lnTo>
                  <a:pt x="1258" y="2414"/>
                </a:lnTo>
                <a:lnTo>
                  <a:pt x="1252" y="2480"/>
                </a:lnTo>
                <a:lnTo>
                  <a:pt x="1246" y="2534"/>
                </a:lnTo>
                <a:lnTo>
                  <a:pt x="1238" y="2598"/>
                </a:lnTo>
                <a:lnTo>
                  <a:pt x="1234" y="2620"/>
                </a:lnTo>
                <a:lnTo>
                  <a:pt x="1228" y="2638"/>
                </a:lnTo>
                <a:lnTo>
                  <a:pt x="1222" y="2654"/>
                </a:lnTo>
                <a:lnTo>
                  <a:pt x="1214" y="2678"/>
                </a:lnTo>
                <a:lnTo>
                  <a:pt x="1212" y="2682"/>
                </a:lnTo>
                <a:lnTo>
                  <a:pt x="1212" y="2696"/>
                </a:lnTo>
                <a:lnTo>
                  <a:pt x="1212" y="2708"/>
                </a:lnTo>
                <a:lnTo>
                  <a:pt x="1216" y="2722"/>
                </a:lnTo>
                <a:lnTo>
                  <a:pt x="1220" y="2734"/>
                </a:lnTo>
                <a:lnTo>
                  <a:pt x="1226" y="2746"/>
                </a:lnTo>
                <a:lnTo>
                  <a:pt x="1230" y="2758"/>
                </a:lnTo>
                <a:lnTo>
                  <a:pt x="1234" y="2772"/>
                </a:lnTo>
                <a:lnTo>
                  <a:pt x="1234" y="2786"/>
                </a:lnTo>
                <a:lnTo>
                  <a:pt x="1234" y="2816"/>
                </a:lnTo>
                <a:lnTo>
                  <a:pt x="1236" y="2826"/>
                </a:lnTo>
                <a:lnTo>
                  <a:pt x="1242" y="2838"/>
                </a:lnTo>
                <a:lnTo>
                  <a:pt x="1250" y="2848"/>
                </a:lnTo>
                <a:lnTo>
                  <a:pt x="1260" y="2854"/>
                </a:lnTo>
                <a:lnTo>
                  <a:pt x="1266" y="2856"/>
                </a:lnTo>
                <a:lnTo>
                  <a:pt x="1284" y="2864"/>
                </a:lnTo>
                <a:lnTo>
                  <a:pt x="1296" y="2868"/>
                </a:lnTo>
                <a:lnTo>
                  <a:pt x="1300" y="2870"/>
                </a:lnTo>
                <a:lnTo>
                  <a:pt x="1306" y="2874"/>
                </a:lnTo>
                <a:lnTo>
                  <a:pt x="1318" y="2890"/>
                </a:lnTo>
                <a:lnTo>
                  <a:pt x="1330" y="2904"/>
                </a:lnTo>
                <a:lnTo>
                  <a:pt x="1344" y="2924"/>
                </a:lnTo>
                <a:lnTo>
                  <a:pt x="1360" y="2940"/>
                </a:lnTo>
                <a:lnTo>
                  <a:pt x="1374" y="2950"/>
                </a:lnTo>
                <a:lnTo>
                  <a:pt x="1388" y="2958"/>
                </a:lnTo>
                <a:lnTo>
                  <a:pt x="1414" y="2970"/>
                </a:lnTo>
                <a:lnTo>
                  <a:pt x="1456" y="2982"/>
                </a:lnTo>
                <a:lnTo>
                  <a:pt x="1458" y="2982"/>
                </a:lnTo>
                <a:lnTo>
                  <a:pt x="1470" y="2984"/>
                </a:lnTo>
                <a:lnTo>
                  <a:pt x="1484" y="2984"/>
                </a:lnTo>
                <a:lnTo>
                  <a:pt x="1498" y="2982"/>
                </a:lnTo>
                <a:lnTo>
                  <a:pt x="1510" y="2980"/>
                </a:lnTo>
                <a:lnTo>
                  <a:pt x="1526" y="2972"/>
                </a:lnTo>
                <a:lnTo>
                  <a:pt x="1538" y="2968"/>
                </a:lnTo>
                <a:lnTo>
                  <a:pt x="1548" y="2960"/>
                </a:lnTo>
                <a:lnTo>
                  <a:pt x="1556" y="2952"/>
                </a:lnTo>
                <a:lnTo>
                  <a:pt x="1560" y="2946"/>
                </a:lnTo>
                <a:lnTo>
                  <a:pt x="1562" y="2936"/>
                </a:lnTo>
                <a:lnTo>
                  <a:pt x="1560" y="2926"/>
                </a:lnTo>
                <a:lnTo>
                  <a:pt x="1556" y="2918"/>
                </a:lnTo>
                <a:lnTo>
                  <a:pt x="1548" y="2908"/>
                </a:lnTo>
                <a:lnTo>
                  <a:pt x="1534" y="2896"/>
                </a:lnTo>
                <a:lnTo>
                  <a:pt x="1494" y="2860"/>
                </a:lnTo>
                <a:lnTo>
                  <a:pt x="1474" y="2840"/>
                </a:lnTo>
                <a:lnTo>
                  <a:pt x="1458" y="2818"/>
                </a:lnTo>
                <a:lnTo>
                  <a:pt x="1442" y="2796"/>
                </a:lnTo>
                <a:lnTo>
                  <a:pt x="1438" y="2784"/>
                </a:lnTo>
                <a:lnTo>
                  <a:pt x="1434" y="2770"/>
                </a:lnTo>
                <a:lnTo>
                  <a:pt x="1430" y="2756"/>
                </a:lnTo>
                <a:lnTo>
                  <a:pt x="1430" y="2744"/>
                </a:lnTo>
                <a:lnTo>
                  <a:pt x="1430" y="2738"/>
                </a:lnTo>
                <a:lnTo>
                  <a:pt x="1432" y="2726"/>
                </a:lnTo>
                <a:lnTo>
                  <a:pt x="1436" y="2714"/>
                </a:lnTo>
                <a:lnTo>
                  <a:pt x="1442" y="2704"/>
                </a:lnTo>
                <a:lnTo>
                  <a:pt x="1450" y="2698"/>
                </a:lnTo>
                <a:lnTo>
                  <a:pt x="1458" y="2692"/>
                </a:lnTo>
                <a:lnTo>
                  <a:pt x="1466" y="2684"/>
                </a:lnTo>
                <a:lnTo>
                  <a:pt x="1470" y="2676"/>
                </a:lnTo>
                <a:lnTo>
                  <a:pt x="1472" y="2668"/>
                </a:lnTo>
                <a:lnTo>
                  <a:pt x="1474" y="2624"/>
                </a:lnTo>
                <a:lnTo>
                  <a:pt x="1480" y="2568"/>
                </a:lnTo>
                <a:lnTo>
                  <a:pt x="1486" y="2542"/>
                </a:lnTo>
                <a:lnTo>
                  <a:pt x="1492" y="2514"/>
                </a:lnTo>
                <a:lnTo>
                  <a:pt x="1506" y="2472"/>
                </a:lnTo>
                <a:lnTo>
                  <a:pt x="1512" y="2444"/>
                </a:lnTo>
                <a:lnTo>
                  <a:pt x="1516" y="2418"/>
                </a:lnTo>
                <a:lnTo>
                  <a:pt x="1524" y="2328"/>
                </a:lnTo>
                <a:lnTo>
                  <a:pt x="1528" y="2302"/>
                </a:lnTo>
                <a:lnTo>
                  <a:pt x="1536" y="2274"/>
                </a:lnTo>
                <a:lnTo>
                  <a:pt x="1572" y="2158"/>
                </a:lnTo>
                <a:lnTo>
                  <a:pt x="1588" y="2106"/>
                </a:lnTo>
                <a:lnTo>
                  <a:pt x="1616" y="1978"/>
                </a:lnTo>
                <a:lnTo>
                  <a:pt x="1630" y="1924"/>
                </a:lnTo>
                <a:lnTo>
                  <a:pt x="1660" y="1810"/>
                </a:lnTo>
                <a:lnTo>
                  <a:pt x="1664" y="1784"/>
                </a:lnTo>
                <a:lnTo>
                  <a:pt x="1666" y="1758"/>
                </a:lnTo>
                <a:lnTo>
                  <a:pt x="1668" y="1748"/>
                </a:lnTo>
                <a:lnTo>
                  <a:pt x="1672" y="1736"/>
                </a:lnTo>
                <a:lnTo>
                  <a:pt x="1678" y="1724"/>
                </a:lnTo>
                <a:lnTo>
                  <a:pt x="1684" y="1716"/>
                </a:lnTo>
                <a:lnTo>
                  <a:pt x="1728" y="1670"/>
                </a:lnTo>
                <a:lnTo>
                  <a:pt x="1734" y="1660"/>
                </a:lnTo>
                <a:lnTo>
                  <a:pt x="1740" y="1648"/>
                </a:lnTo>
                <a:lnTo>
                  <a:pt x="1744" y="1636"/>
                </a:lnTo>
                <a:lnTo>
                  <a:pt x="1746" y="1624"/>
                </a:lnTo>
                <a:lnTo>
                  <a:pt x="1746" y="1582"/>
                </a:lnTo>
                <a:lnTo>
                  <a:pt x="1746" y="1528"/>
                </a:lnTo>
                <a:lnTo>
                  <a:pt x="1746" y="1446"/>
                </a:lnTo>
                <a:close/>
                <a:moveTo>
                  <a:pt x="190" y="614"/>
                </a:moveTo>
                <a:lnTo>
                  <a:pt x="190" y="614"/>
                </a:lnTo>
                <a:lnTo>
                  <a:pt x="186" y="614"/>
                </a:lnTo>
                <a:lnTo>
                  <a:pt x="190" y="614"/>
                </a:lnTo>
                <a:lnTo>
                  <a:pt x="192" y="614"/>
                </a:lnTo>
                <a:lnTo>
                  <a:pt x="190"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FFFFFF"/>
              </a:solidFill>
            </a:endParaRPr>
          </a:p>
        </p:txBody>
      </p:sp>
      <p:sp>
        <p:nvSpPr>
          <p:cNvPr id="15370" name="TextBox 88"/>
          <p:cNvSpPr txBox="1">
            <a:spLocks noChangeArrowheads="1"/>
          </p:cNvSpPr>
          <p:nvPr/>
        </p:nvSpPr>
        <p:spPr bwMode="auto">
          <a:xfrm>
            <a:off x="952500" y="3848100"/>
            <a:ext cx="1955800" cy="1317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1100" b="1">
                <a:solidFill>
                  <a:srgbClr val="FFFFFF"/>
                </a:solidFill>
                <a:latin typeface="Arial" charset="0"/>
              </a:rPr>
              <a:t>Buyer power</a:t>
            </a:r>
          </a:p>
          <a:p>
            <a:pPr eaLnBrk="1" hangingPunct="1">
              <a:spcBef>
                <a:spcPct val="20000"/>
              </a:spcBef>
              <a:buFont typeface="Arial" charset="0"/>
              <a:buChar char="•"/>
            </a:pPr>
            <a:r>
              <a:rPr lang="en-GB" sz="1100" noProof="1">
                <a:solidFill>
                  <a:srgbClr val="FFFFFF"/>
                </a:solidFill>
                <a:cs typeface="Arial" charset="0"/>
              </a:rPr>
              <a:t>This is an example text</a:t>
            </a:r>
          </a:p>
          <a:p>
            <a:pPr eaLnBrk="1" hangingPunct="1">
              <a:spcBef>
                <a:spcPct val="20000"/>
              </a:spcBef>
              <a:buFont typeface="Arial" charset="0"/>
              <a:buChar char="•"/>
            </a:pPr>
            <a:r>
              <a:rPr lang="en-GB" sz="1100" noProof="1">
                <a:solidFill>
                  <a:srgbClr val="FFFFFF"/>
                </a:solidFill>
                <a:cs typeface="Arial" charset="0"/>
              </a:rPr>
              <a:t>Please replace with own text</a:t>
            </a:r>
          </a:p>
          <a:p>
            <a:pPr eaLnBrk="1" hangingPunct="1">
              <a:spcBef>
                <a:spcPct val="20000"/>
              </a:spcBef>
              <a:buFont typeface="Arial" charset="0"/>
              <a:buChar char="•"/>
            </a:pPr>
            <a:r>
              <a:rPr lang="en-GB" sz="1100" noProof="1">
                <a:solidFill>
                  <a:srgbClr val="FFFFFF"/>
                </a:solidFill>
                <a:cs typeface="Arial" charset="0"/>
              </a:rPr>
              <a:t>This is an example text. </a:t>
            </a:r>
          </a:p>
          <a:p>
            <a:pPr eaLnBrk="1" hangingPunct="1"/>
            <a:endParaRPr lang="nb-NO" sz="1100">
              <a:solidFill>
                <a:srgbClr val="FFFFFF"/>
              </a:solidFill>
              <a:latin typeface="Arial" charset="0"/>
            </a:endParaRPr>
          </a:p>
          <a:p>
            <a:pPr eaLnBrk="1" hangingPunct="1"/>
            <a:endParaRPr lang="nb-NO">
              <a:solidFill>
                <a:srgbClr val="FFFFFF"/>
              </a:solidFill>
              <a:latin typeface="Arial" charset="0"/>
            </a:endParaRPr>
          </a:p>
        </p:txBody>
      </p:sp>
      <p:sp>
        <p:nvSpPr>
          <p:cNvPr id="15371" name="TextBox 89"/>
          <p:cNvSpPr txBox="1">
            <a:spLocks noChangeArrowheads="1"/>
          </p:cNvSpPr>
          <p:nvPr/>
        </p:nvSpPr>
        <p:spPr bwMode="auto">
          <a:xfrm>
            <a:off x="6464300" y="3848100"/>
            <a:ext cx="1955800" cy="1317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1100" b="1">
                <a:solidFill>
                  <a:srgbClr val="FFFFFF"/>
                </a:solidFill>
                <a:latin typeface="Arial" charset="0"/>
              </a:rPr>
              <a:t>Threat of substitutes</a:t>
            </a:r>
          </a:p>
          <a:p>
            <a:pPr eaLnBrk="1" hangingPunct="1">
              <a:spcBef>
                <a:spcPct val="20000"/>
              </a:spcBef>
              <a:buFont typeface="Arial" charset="0"/>
              <a:buChar char="•"/>
            </a:pPr>
            <a:r>
              <a:rPr lang="en-GB" sz="1100" noProof="1">
                <a:solidFill>
                  <a:srgbClr val="FFFFFF"/>
                </a:solidFill>
                <a:cs typeface="Arial" charset="0"/>
              </a:rPr>
              <a:t>This is an example text</a:t>
            </a:r>
          </a:p>
          <a:p>
            <a:pPr eaLnBrk="1" hangingPunct="1">
              <a:spcBef>
                <a:spcPct val="20000"/>
              </a:spcBef>
              <a:buFont typeface="Arial" charset="0"/>
              <a:buChar char="•"/>
            </a:pPr>
            <a:r>
              <a:rPr lang="en-GB" sz="1100" noProof="1">
                <a:solidFill>
                  <a:srgbClr val="FFFFFF"/>
                </a:solidFill>
                <a:cs typeface="Arial" charset="0"/>
              </a:rPr>
              <a:t>Please replace with own text</a:t>
            </a:r>
          </a:p>
          <a:p>
            <a:pPr eaLnBrk="1" hangingPunct="1">
              <a:spcBef>
                <a:spcPct val="20000"/>
              </a:spcBef>
              <a:buFont typeface="Arial" charset="0"/>
              <a:buChar char="•"/>
            </a:pPr>
            <a:r>
              <a:rPr lang="en-GB" sz="1100" noProof="1">
                <a:solidFill>
                  <a:srgbClr val="FFFFFF"/>
                </a:solidFill>
                <a:cs typeface="Arial" charset="0"/>
              </a:rPr>
              <a:t>This is an example text. </a:t>
            </a:r>
          </a:p>
          <a:p>
            <a:pPr eaLnBrk="1" hangingPunct="1"/>
            <a:endParaRPr lang="nb-NO" sz="1100">
              <a:solidFill>
                <a:srgbClr val="FFFFFF"/>
              </a:solidFill>
              <a:latin typeface="Arial" charset="0"/>
            </a:endParaRPr>
          </a:p>
          <a:p>
            <a:pPr eaLnBrk="1" hangingPunct="1"/>
            <a:endParaRPr lang="nb-NO">
              <a:solidFill>
                <a:srgbClr val="FFFFFF"/>
              </a:solidFill>
              <a:latin typeface="Arial" charset="0"/>
            </a:endParaRPr>
          </a:p>
        </p:txBody>
      </p:sp>
      <p:sp>
        <p:nvSpPr>
          <p:cNvPr id="15372" name="TextBox 90"/>
          <p:cNvSpPr txBox="1">
            <a:spLocks noChangeArrowheads="1"/>
          </p:cNvSpPr>
          <p:nvPr/>
        </p:nvSpPr>
        <p:spPr bwMode="auto">
          <a:xfrm>
            <a:off x="952500" y="2254250"/>
            <a:ext cx="1955800" cy="1317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1100" b="1">
                <a:solidFill>
                  <a:srgbClr val="FFFFFF"/>
                </a:solidFill>
                <a:latin typeface="Arial" charset="0"/>
              </a:rPr>
              <a:t>Barriers to entry</a:t>
            </a:r>
          </a:p>
          <a:p>
            <a:pPr eaLnBrk="1" hangingPunct="1">
              <a:spcBef>
                <a:spcPct val="20000"/>
              </a:spcBef>
              <a:buFont typeface="Arial" charset="0"/>
              <a:buChar char="•"/>
            </a:pPr>
            <a:r>
              <a:rPr lang="en-GB" sz="1100" noProof="1">
                <a:solidFill>
                  <a:srgbClr val="FFFFFF"/>
                </a:solidFill>
                <a:cs typeface="Arial" charset="0"/>
              </a:rPr>
              <a:t>This is an example text</a:t>
            </a:r>
          </a:p>
          <a:p>
            <a:pPr eaLnBrk="1" hangingPunct="1">
              <a:spcBef>
                <a:spcPct val="20000"/>
              </a:spcBef>
              <a:buFont typeface="Arial" charset="0"/>
              <a:buChar char="•"/>
            </a:pPr>
            <a:r>
              <a:rPr lang="en-GB" sz="1100" noProof="1">
                <a:solidFill>
                  <a:srgbClr val="FFFFFF"/>
                </a:solidFill>
                <a:cs typeface="Arial" charset="0"/>
              </a:rPr>
              <a:t>Please replace with own text</a:t>
            </a:r>
          </a:p>
          <a:p>
            <a:pPr eaLnBrk="1" hangingPunct="1">
              <a:spcBef>
                <a:spcPct val="20000"/>
              </a:spcBef>
              <a:buFont typeface="Arial" charset="0"/>
              <a:buChar char="•"/>
            </a:pPr>
            <a:r>
              <a:rPr lang="en-GB" sz="1100" noProof="1">
                <a:solidFill>
                  <a:srgbClr val="FFFFFF"/>
                </a:solidFill>
                <a:cs typeface="Arial" charset="0"/>
              </a:rPr>
              <a:t>This is an example text. </a:t>
            </a:r>
          </a:p>
          <a:p>
            <a:pPr eaLnBrk="1" hangingPunct="1"/>
            <a:endParaRPr lang="nb-NO" sz="1100">
              <a:solidFill>
                <a:srgbClr val="FFFFFF"/>
              </a:solidFill>
              <a:latin typeface="Arial" charset="0"/>
            </a:endParaRPr>
          </a:p>
          <a:p>
            <a:pPr eaLnBrk="1" hangingPunct="1"/>
            <a:endParaRPr lang="nb-NO">
              <a:solidFill>
                <a:srgbClr val="FFFFFF"/>
              </a:solidFill>
              <a:latin typeface="Arial" charset="0"/>
            </a:endParaRPr>
          </a:p>
        </p:txBody>
      </p:sp>
      <p:sp>
        <p:nvSpPr>
          <p:cNvPr id="15373" name="TextBox 91"/>
          <p:cNvSpPr txBox="1">
            <a:spLocks noChangeArrowheads="1"/>
          </p:cNvSpPr>
          <p:nvPr/>
        </p:nvSpPr>
        <p:spPr bwMode="auto">
          <a:xfrm>
            <a:off x="6464300" y="2254250"/>
            <a:ext cx="1968500" cy="1317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1100" b="1">
                <a:solidFill>
                  <a:srgbClr val="FFFFFF"/>
                </a:solidFill>
                <a:latin typeface="Arial" charset="0"/>
              </a:rPr>
              <a:t>Supplier power</a:t>
            </a:r>
          </a:p>
          <a:p>
            <a:pPr eaLnBrk="1" hangingPunct="1">
              <a:spcBef>
                <a:spcPct val="20000"/>
              </a:spcBef>
              <a:buFont typeface="Arial" charset="0"/>
              <a:buChar char="•"/>
            </a:pPr>
            <a:r>
              <a:rPr lang="en-GB" sz="1100" noProof="1">
                <a:solidFill>
                  <a:srgbClr val="FFFFFF"/>
                </a:solidFill>
                <a:cs typeface="Arial" charset="0"/>
              </a:rPr>
              <a:t>This is an example text</a:t>
            </a:r>
          </a:p>
          <a:p>
            <a:pPr eaLnBrk="1" hangingPunct="1">
              <a:spcBef>
                <a:spcPct val="20000"/>
              </a:spcBef>
              <a:buFont typeface="Arial" charset="0"/>
              <a:buChar char="•"/>
            </a:pPr>
            <a:r>
              <a:rPr lang="en-GB" sz="1100" noProof="1">
                <a:solidFill>
                  <a:srgbClr val="FFFFFF"/>
                </a:solidFill>
                <a:cs typeface="Arial" charset="0"/>
              </a:rPr>
              <a:t>Please replace with own text</a:t>
            </a:r>
          </a:p>
          <a:p>
            <a:pPr eaLnBrk="1" hangingPunct="1">
              <a:spcBef>
                <a:spcPct val="20000"/>
              </a:spcBef>
              <a:buFont typeface="Arial" charset="0"/>
              <a:buChar char="•"/>
            </a:pPr>
            <a:r>
              <a:rPr lang="en-GB" sz="1100" noProof="1">
                <a:solidFill>
                  <a:srgbClr val="FFFFFF"/>
                </a:solidFill>
                <a:cs typeface="Arial" charset="0"/>
              </a:rPr>
              <a:t>This is an example text. </a:t>
            </a:r>
          </a:p>
          <a:p>
            <a:pPr eaLnBrk="1" hangingPunct="1"/>
            <a:endParaRPr lang="nb-NO" sz="1100">
              <a:solidFill>
                <a:srgbClr val="FFFFFF"/>
              </a:solidFill>
              <a:latin typeface="Arial" charset="0"/>
            </a:endParaRPr>
          </a:p>
          <a:p>
            <a:pPr eaLnBrk="1" hangingPunct="1"/>
            <a:endParaRPr lang="nb-NO">
              <a:solidFill>
                <a:srgbClr val="FFFFFF"/>
              </a:solidFill>
              <a:latin typeface="Arial" charset="0"/>
            </a:endParaRPr>
          </a:p>
        </p:txBody>
      </p:sp>
      <p:sp>
        <p:nvSpPr>
          <p:cNvPr id="15" name="Subtitle 14"/>
          <p:cNvSpPr>
            <a:spLocks noGrp="1"/>
          </p:cNvSpPr>
          <p:nvPr>
            <p:ph type="subTitle" idx="1"/>
          </p:nvPr>
        </p:nvSpPr>
        <p:spPr>
          <a:xfrm>
            <a:off x="628650" y="866381"/>
            <a:ext cx="7891272" cy="552972"/>
          </a:xfrm>
        </p:spPr>
        <p:txBody>
          <a:bodyPr/>
          <a:lstStyle/>
          <a:p>
            <a:r>
              <a:rPr lang="en-US" dirty="0"/>
              <a:t>Replace this text</a:t>
            </a:r>
          </a:p>
          <a:p>
            <a:endParaRPr lang="en-US" dirty="0"/>
          </a:p>
        </p:txBody>
      </p:sp>
      <p:sp>
        <p:nvSpPr>
          <p:cNvPr id="12" name="Date Placeholder 11"/>
          <p:cNvSpPr>
            <a:spLocks noGrp="1"/>
          </p:cNvSpPr>
          <p:nvPr>
            <p:ph type="dt" sz="half" idx="10"/>
          </p:nvPr>
        </p:nvSpPr>
        <p:spPr/>
        <p:txBody>
          <a:bodyPr/>
          <a:lstStyle/>
          <a:p>
            <a:r>
              <a:rPr lang="en-US" smtClean="0"/>
              <a:t>PRESENTER NAME</a:t>
            </a:r>
            <a:endParaRPr lang="en-US"/>
          </a:p>
        </p:txBody>
      </p:sp>
      <p:sp>
        <p:nvSpPr>
          <p:cNvPr id="13" name="Footer Placeholder 12"/>
          <p:cNvSpPr>
            <a:spLocks noGrp="1"/>
          </p:cNvSpPr>
          <p:nvPr>
            <p:ph type="ftr" sz="quarter" idx="11"/>
          </p:nvPr>
        </p:nvSpPr>
        <p:spPr/>
        <p:txBody>
          <a:bodyPr/>
          <a:lstStyle/>
          <a:p>
            <a:r>
              <a:rPr lang="en-US" smtClean="0"/>
              <a:t>COMPANY NAME</a:t>
            </a:r>
            <a:endParaRPr lang="en-US"/>
          </a:p>
        </p:txBody>
      </p:sp>
      <p:sp>
        <p:nvSpPr>
          <p:cNvPr id="14" name="Slide Number Placeholder 13"/>
          <p:cNvSpPr>
            <a:spLocks noGrp="1"/>
          </p:cNvSpPr>
          <p:nvPr>
            <p:ph type="sldNum" sz="quarter" idx="12"/>
          </p:nvPr>
        </p:nvSpPr>
        <p:spPr/>
        <p:txBody>
          <a:bodyPr/>
          <a:lstStyle/>
          <a:p>
            <a:fld id="{AACE8A1A-EF06-42BD-8183-7D22FECA910D}" type="slidenum">
              <a:rPr lang="en-US" smtClean="0"/>
              <a:pPr/>
              <a:t>51</a:t>
            </a:fld>
            <a:r>
              <a:rPr lang="en-US" smtClean="0"/>
              <a:t>|</a:t>
            </a:r>
            <a:endParaRPr lang="en-US" dirty="0"/>
          </a:p>
        </p:txBody>
      </p:sp>
      <p:sp>
        <p:nvSpPr>
          <p:cNvPr id="10" name="Title 9"/>
          <p:cNvSpPr>
            <a:spLocks noGrp="1"/>
          </p:cNvSpPr>
          <p:nvPr>
            <p:ph type="title"/>
          </p:nvPr>
        </p:nvSpPr>
        <p:spPr/>
        <p:txBody>
          <a:bodyPr/>
          <a:lstStyle/>
          <a:p>
            <a:r>
              <a:rPr lang="en-US" dirty="0"/>
              <a:t>PORTERS 5 FORCES</a:t>
            </a:r>
          </a:p>
        </p:txBody>
      </p:sp>
    </p:spTree>
    <p:extLst>
      <p:ext uri="{BB962C8B-B14F-4D97-AF65-F5344CB8AC3E}">
        <p14:creationId xmlns:p14="http://schemas.microsoft.com/office/powerpoint/2010/main" val="5393172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Gruppe 83"/>
          <p:cNvGrpSpPr>
            <a:grpSpLocks/>
          </p:cNvGrpSpPr>
          <p:nvPr/>
        </p:nvGrpSpPr>
        <p:grpSpPr bwMode="auto">
          <a:xfrm rot="-8100000">
            <a:off x="2691606" y="1885157"/>
            <a:ext cx="1533525" cy="1566862"/>
            <a:chOff x="3717577" y="1040361"/>
            <a:chExt cx="1708847" cy="1742936"/>
          </a:xfrm>
        </p:grpSpPr>
        <p:sp>
          <p:nvSpPr>
            <p:cNvPr id="3" name="Tåre 105"/>
            <p:cNvSpPr/>
            <p:nvPr/>
          </p:nvSpPr>
          <p:spPr bwMode="auto">
            <a:xfrm rot="18900000">
              <a:off x="3717577" y="1067209"/>
              <a:ext cx="1708847" cy="1716088"/>
            </a:xfrm>
            <a:prstGeom prst="teardrop">
              <a:avLst/>
            </a:prstGeom>
            <a:gradFill flip="none" rotWithShape="1">
              <a:gsLst>
                <a:gs pos="0">
                  <a:schemeClr val="bg2"/>
                </a:gs>
                <a:gs pos="86000">
                  <a:srgbClr val="2A9B18"/>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0"/>
                <a:cs typeface="ＭＳ Ｐゴシック" charset="0"/>
              </a:endParaRPr>
            </a:p>
          </p:txBody>
        </p:sp>
        <p:sp>
          <p:nvSpPr>
            <p:cNvPr id="4"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5"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grpSp>
        <p:nvGrpSpPr>
          <p:cNvPr id="16387" name="Gruppe 83"/>
          <p:cNvGrpSpPr>
            <a:grpSpLocks/>
          </p:cNvGrpSpPr>
          <p:nvPr/>
        </p:nvGrpSpPr>
        <p:grpSpPr bwMode="auto">
          <a:xfrm rot="8008569">
            <a:off x="5037138" y="1889125"/>
            <a:ext cx="1549400" cy="1581150"/>
            <a:chOff x="3717577" y="1040361"/>
            <a:chExt cx="1708847" cy="1742936"/>
          </a:xfrm>
        </p:grpSpPr>
        <p:sp>
          <p:nvSpPr>
            <p:cNvPr id="7" name="Tåre 105"/>
            <p:cNvSpPr/>
            <p:nvPr/>
          </p:nvSpPr>
          <p:spPr bwMode="auto">
            <a:xfrm rot="18900000">
              <a:off x="3717577" y="1067209"/>
              <a:ext cx="1708847" cy="1716088"/>
            </a:xfrm>
            <a:prstGeom prst="teardrop">
              <a:avLst/>
            </a:prstGeom>
            <a:gradFill flip="none" rotWithShape="1">
              <a:gsLst>
                <a:gs pos="31000">
                  <a:schemeClr val="bg2">
                    <a:alpha val="21000"/>
                  </a:schemeClr>
                </a:gs>
                <a:gs pos="100000">
                  <a:schemeClr val="accent1">
                    <a:lumMod val="75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0"/>
                <a:cs typeface="ＭＳ Ｐゴシック" charset="0"/>
              </a:endParaRPr>
            </a:p>
          </p:txBody>
        </p:sp>
        <p:sp>
          <p:nvSpPr>
            <p:cNvPr id="8"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9"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grpSp>
        <p:nvGrpSpPr>
          <p:cNvPr id="4103" name="Group 18"/>
          <p:cNvGrpSpPr>
            <a:grpSpLocks/>
          </p:cNvGrpSpPr>
          <p:nvPr/>
        </p:nvGrpSpPr>
        <p:grpSpPr bwMode="auto">
          <a:xfrm rot="18900000">
            <a:off x="3187834" y="2260763"/>
            <a:ext cx="696529" cy="754231"/>
            <a:chOff x="3544548" y="2404084"/>
            <a:chExt cx="711551" cy="771054"/>
          </a:xfrm>
          <a:solidFill>
            <a:schemeClr val="bg1"/>
          </a:solidFill>
        </p:grpSpPr>
        <p:sp>
          <p:nvSpPr>
            <p:cNvPr id="15" name="L-Shape 14"/>
            <p:cNvSpPr/>
            <p:nvPr/>
          </p:nvSpPr>
          <p:spPr bwMode="auto">
            <a:xfrm rot="2700000">
              <a:off x="3487517" y="2680907"/>
              <a:ext cx="547743" cy="437878"/>
            </a:xfrm>
            <a:prstGeom prst="corner">
              <a:avLst>
                <a:gd name="adj1" fmla="val 74088"/>
                <a:gd name="adj2" fmla="val 3406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sp>
          <p:nvSpPr>
            <p:cNvPr id="16" name="Cloud 15"/>
            <p:cNvSpPr/>
            <p:nvPr/>
          </p:nvSpPr>
          <p:spPr bwMode="auto">
            <a:xfrm rot="5280872">
              <a:off x="3887016" y="2294715"/>
              <a:ext cx="259826" cy="474368"/>
            </a:xfrm>
            <a:prstGeom prst="cloud">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grpSp>
      <p:sp>
        <p:nvSpPr>
          <p:cNvPr id="17" name="&quot;No&quot; Symbol 16"/>
          <p:cNvSpPr/>
          <p:nvPr/>
        </p:nvSpPr>
        <p:spPr bwMode="auto">
          <a:xfrm rot="5594088">
            <a:off x="5379244" y="2204244"/>
            <a:ext cx="850900" cy="849312"/>
          </a:xfrm>
          <a:prstGeom prst="noSmoking">
            <a:avLst>
              <a:gd name="adj" fmla="val 1444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chemeClr val="tx1"/>
              </a:solidFill>
              <a:ea typeface="ＭＳ Ｐゴシック" charset="0"/>
              <a:cs typeface="ＭＳ Ｐゴシック" charset="0"/>
            </a:endParaRPr>
          </a:p>
        </p:txBody>
      </p:sp>
      <p:grpSp>
        <p:nvGrpSpPr>
          <p:cNvPr id="16390" name="Gruppe 83"/>
          <p:cNvGrpSpPr>
            <a:grpSpLocks/>
          </p:cNvGrpSpPr>
          <p:nvPr/>
        </p:nvGrpSpPr>
        <p:grpSpPr bwMode="auto">
          <a:xfrm rot="8100000" flipV="1">
            <a:off x="6628606" y="3580607"/>
            <a:ext cx="1533525" cy="1566862"/>
            <a:chOff x="3717577" y="1040361"/>
            <a:chExt cx="1708847" cy="1742936"/>
          </a:xfrm>
        </p:grpSpPr>
        <p:sp>
          <p:nvSpPr>
            <p:cNvPr id="19" name="Tåre 105"/>
            <p:cNvSpPr/>
            <p:nvPr/>
          </p:nvSpPr>
          <p:spPr bwMode="auto">
            <a:xfrm rot="18900000">
              <a:off x="3717577" y="1067209"/>
              <a:ext cx="1708847" cy="1716088"/>
            </a:xfrm>
            <a:prstGeom prst="teardrop">
              <a:avLst/>
            </a:prstGeom>
            <a:gradFill flip="none" rotWithShape="1">
              <a:gsLst>
                <a:gs pos="0">
                  <a:schemeClr val="bg2"/>
                </a:gs>
                <a:gs pos="86000">
                  <a:srgbClr val="F0B71F"/>
                </a:gs>
              </a:gsLst>
              <a:path path="shape">
                <a:fillToRect l="50000" t="50000" r="50000" b="50000"/>
              </a:path>
              <a:tileRect/>
            </a:gradFill>
            <a:ln w="9525" cap="flat" cmpd="sng" algn="ctr">
              <a:noFill/>
              <a:prstDash val="solid"/>
            </a:ln>
            <a:effectLst>
              <a:innerShdw blurRad="190500" dist="114300" dir="5640000">
                <a:srgbClr val="000000">
                  <a:alpha val="37000"/>
                </a:srgbClr>
              </a:innerShdw>
              <a:reflection blurRad="6350" stA="52000" endA="300" endPos="35000" dir="5400000" sy="-100000" algn="bl" rotWithShape="0"/>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20"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21"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grpSp>
        <p:nvGrpSpPr>
          <p:cNvPr id="22" name="Gruppe 83"/>
          <p:cNvGrpSpPr>
            <a:grpSpLocks/>
          </p:cNvGrpSpPr>
          <p:nvPr/>
        </p:nvGrpSpPr>
        <p:grpSpPr bwMode="auto">
          <a:xfrm rot="13591431" flipV="1">
            <a:off x="1105191" y="3561832"/>
            <a:ext cx="1549705" cy="1581057"/>
            <a:chOff x="3717577" y="1040361"/>
            <a:chExt cx="1708847" cy="1742936"/>
          </a:xfrm>
          <a:effectLst>
            <a:reflection stA="25000" endPos="35000" dist="12700" dir="5400000" sy="-100000" algn="bl" rotWithShape="0"/>
          </a:effectLst>
        </p:grpSpPr>
        <p:sp>
          <p:nvSpPr>
            <p:cNvPr id="23" name="Tåre 105"/>
            <p:cNvSpPr/>
            <p:nvPr/>
          </p:nvSpPr>
          <p:spPr bwMode="auto">
            <a:xfrm rot="18900000">
              <a:off x="3717577" y="1067209"/>
              <a:ext cx="1708847" cy="1716088"/>
            </a:xfrm>
            <a:prstGeom prst="teardrop">
              <a:avLst/>
            </a:prstGeom>
            <a:gradFill flip="none" rotWithShape="1">
              <a:gsLst>
                <a:gs pos="0">
                  <a:schemeClr val="bg2"/>
                </a:gs>
                <a:gs pos="63000">
                  <a:srgbClr val="CE202A"/>
                </a:gs>
              </a:gsLst>
              <a:path path="shape">
                <a:fillToRect l="50000" t="50000" r="50000" b="50000"/>
              </a:path>
              <a:tileRect/>
            </a:gradFill>
            <a:ln w="9525" cap="flat" cmpd="sng" algn="ctr">
              <a:noFill/>
              <a:prstDash val="solid"/>
            </a:ln>
            <a:effectLst>
              <a:innerShdw blurRad="190500" dist="114300" dir="5640000">
                <a:srgbClr val="000000">
                  <a:alpha val="37000"/>
                </a:srgbClr>
              </a:innerShdw>
              <a:reflection stA="25000" endPos="35000" dist="12700" dir="5400000" sy="-100000" algn="bl" rotWithShape="0"/>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24"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25"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nb-NO">
                <a:solidFill>
                  <a:srgbClr val="FFFFFF"/>
                </a:solidFill>
                <a:latin typeface="Calibri" charset="0"/>
                <a:ea typeface="ＭＳ Ｐゴシック" charset="-128"/>
                <a:cs typeface="ＭＳ Ｐゴシック" charset="-128"/>
              </a:endParaRPr>
            </a:p>
          </p:txBody>
        </p:sp>
      </p:grpSp>
      <p:grpSp>
        <p:nvGrpSpPr>
          <p:cNvPr id="4109" name="Gruppe 46"/>
          <p:cNvGrpSpPr>
            <a:grpSpLocks/>
          </p:cNvGrpSpPr>
          <p:nvPr/>
        </p:nvGrpSpPr>
        <p:grpSpPr bwMode="auto">
          <a:xfrm>
            <a:off x="6983357" y="3939030"/>
            <a:ext cx="939696" cy="697903"/>
            <a:chOff x="4821610" y="587829"/>
            <a:chExt cx="2393544" cy="1781593"/>
          </a:xfrm>
          <a:solidFill>
            <a:schemeClr val="bg1"/>
          </a:solidFill>
        </p:grpSpPr>
        <p:sp>
          <p:nvSpPr>
            <p:cNvPr id="4118" name="Freeform 528"/>
            <p:cNvSpPr>
              <a:spLocks/>
            </p:cNvSpPr>
            <p:nvPr/>
          </p:nvSpPr>
          <p:spPr bwMode="auto">
            <a:xfrm>
              <a:off x="4821610" y="587829"/>
              <a:ext cx="2393544" cy="1781593"/>
            </a:xfrm>
            <a:custGeom>
              <a:avLst/>
              <a:gdLst>
                <a:gd name="T0" fmla="*/ 2147483647 w 794"/>
                <a:gd name="T1" fmla="*/ 2147483647 h 591"/>
                <a:gd name="T2" fmla="*/ 2147483647 w 794"/>
                <a:gd name="T3" fmla="*/ 2147483647 h 591"/>
                <a:gd name="T4" fmla="*/ 2147483647 w 794"/>
                <a:gd name="T5" fmla="*/ 2147483647 h 591"/>
                <a:gd name="T6" fmla="*/ 2147483647 w 794"/>
                <a:gd name="T7" fmla="*/ 2147483647 h 591"/>
                <a:gd name="T8" fmla="*/ 2147483647 w 794"/>
                <a:gd name="T9" fmla="*/ 2147483647 h 591"/>
                <a:gd name="T10" fmla="*/ 2147483647 w 794"/>
                <a:gd name="T11" fmla="*/ 2147483647 h 591"/>
                <a:gd name="T12" fmla="*/ 2147483647 w 794"/>
                <a:gd name="T13" fmla="*/ 2147483647 h 591"/>
                <a:gd name="T14" fmla="*/ 2147483647 w 794"/>
                <a:gd name="T15" fmla="*/ 2147483647 h 591"/>
                <a:gd name="T16" fmla="*/ 2147483647 w 794"/>
                <a:gd name="T17" fmla="*/ 2147483647 h 591"/>
                <a:gd name="T18" fmla="*/ 2147483647 w 794"/>
                <a:gd name="T19" fmla="*/ 2147483647 h 591"/>
                <a:gd name="T20" fmla="*/ 2147483647 w 794"/>
                <a:gd name="T21" fmla="*/ 2147483647 h 591"/>
                <a:gd name="T22" fmla="*/ 2147483647 w 794"/>
                <a:gd name="T23" fmla="*/ 2147483647 h 591"/>
                <a:gd name="T24" fmla="*/ 2147483647 w 794"/>
                <a:gd name="T25" fmla="*/ 2147483647 h 591"/>
                <a:gd name="T26" fmla="*/ 2147483647 w 794"/>
                <a:gd name="T27" fmla="*/ 2147483647 h 591"/>
                <a:gd name="T28" fmla="*/ 2147483647 w 794"/>
                <a:gd name="T29" fmla="*/ 2147483647 h 591"/>
                <a:gd name="T30" fmla="*/ 2147483647 w 794"/>
                <a:gd name="T31" fmla="*/ 2147483647 h 591"/>
                <a:gd name="T32" fmla="*/ 2147483647 w 794"/>
                <a:gd name="T33" fmla="*/ 2147483647 h 591"/>
                <a:gd name="T34" fmla="*/ 2147483647 w 794"/>
                <a:gd name="T35" fmla="*/ 2147483647 h 591"/>
                <a:gd name="T36" fmla="*/ 2147483647 w 794"/>
                <a:gd name="T37" fmla="*/ 2147483647 h 591"/>
                <a:gd name="T38" fmla="*/ 2147483647 w 794"/>
                <a:gd name="T39" fmla="*/ 2147483647 h 591"/>
                <a:gd name="T40" fmla="*/ 2147483647 w 794"/>
                <a:gd name="T41" fmla="*/ 2147483647 h 591"/>
                <a:gd name="T42" fmla="*/ 2147483647 w 794"/>
                <a:gd name="T43" fmla="*/ 0 h 591"/>
                <a:gd name="T44" fmla="*/ 2147483647 w 794"/>
                <a:gd name="T45" fmla="*/ 2147483647 h 591"/>
                <a:gd name="T46" fmla="*/ 2147483647 w 794"/>
                <a:gd name="T47" fmla="*/ 2147483647 h 591"/>
                <a:gd name="T48" fmla="*/ 2147483647 w 794"/>
                <a:gd name="T49" fmla="*/ 2147483647 h 591"/>
                <a:gd name="T50" fmla="*/ 2147483647 w 794"/>
                <a:gd name="T51" fmla="*/ 2147483647 h 591"/>
                <a:gd name="T52" fmla="*/ 2147483647 w 794"/>
                <a:gd name="T53" fmla="*/ 2147483647 h 591"/>
                <a:gd name="T54" fmla="*/ 0 w 794"/>
                <a:gd name="T55" fmla="*/ 2147483647 h 591"/>
                <a:gd name="T56" fmla="*/ 2147483647 w 794"/>
                <a:gd name="T57" fmla="*/ 2147483647 h 591"/>
                <a:gd name="T58" fmla="*/ 2147483647 w 794"/>
                <a:gd name="T59" fmla="*/ 2147483647 h 591"/>
                <a:gd name="T60" fmla="*/ 2147483647 w 794"/>
                <a:gd name="T61" fmla="*/ 2147483647 h 591"/>
                <a:gd name="T62" fmla="*/ 2147483647 w 794"/>
                <a:gd name="T63" fmla="*/ 2147483647 h 591"/>
                <a:gd name="T64" fmla="*/ 2147483647 w 794"/>
                <a:gd name="T65" fmla="*/ 2147483647 h 591"/>
                <a:gd name="T66" fmla="*/ 2147483647 w 794"/>
                <a:gd name="T67" fmla="*/ 2147483647 h 591"/>
                <a:gd name="T68" fmla="*/ 2147483647 w 794"/>
                <a:gd name="T69" fmla="*/ 2147483647 h 591"/>
                <a:gd name="T70" fmla="*/ 2147483647 w 794"/>
                <a:gd name="T71" fmla="*/ 2147483647 h 591"/>
                <a:gd name="T72" fmla="*/ 2147483647 w 794"/>
                <a:gd name="T73" fmla="*/ 2147483647 h 591"/>
                <a:gd name="T74" fmla="*/ 2147483647 w 794"/>
                <a:gd name="T75" fmla="*/ 2147483647 h 591"/>
                <a:gd name="T76" fmla="*/ 2147483647 w 794"/>
                <a:gd name="T77" fmla="*/ 2147483647 h 591"/>
                <a:gd name="T78" fmla="*/ 2147483647 w 794"/>
                <a:gd name="T79" fmla="*/ 2147483647 h 591"/>
                <a:gd name="T80" fmla="*/ 2147483647 w 794"/>
                <a:gd name="T81" fmla="*/ 2147483647 h 591"/>
                <a:gd name="T82" fmla="*/ 2147483647 w 794"/>
                <a:gd name="T83" fmla="*/ 2147483647 h 591"/>
                <a:gd name="T84" fmla="*/ 2147483647 w 794"/>
                <a:gd name="T85" fmla="*/ 2147483647 h 591"/>
                <a:gd name="T86" fmla="*/ 2147483647 w 794"/>
                <a:gd name="T87" fmla="*/ 2147483647 h 591"/>
                <a:gd name="T88" fmla="*/ 2147483647 w 794"/>
                <a:gd name="T89" fmla="*/ 2147483647 h 591"/>
                <a:gd name="T90" fmla="*/ 2147483647 w 794"/>
                <a:gd name="T91" fmla="*/ 2147483647 h 591"/>
                <a:gd name="T92" fmla="*/ 2147483647 w 794"/>
                <a:gd name="T93" fmla="*/ 2147483647 h 591"/>
                <a:gd name="T94" fmla="*/ 2147483647 w 794"/>
                <a:gd name="T95" fmla="*/ 2147483647 h 591"/>
                <a:gd name="T96" fmla="*/ 2147483647 w 794"/>
                <a:gd name="T97" fmla="*/ 2147483647 h 591"/>
                <a:gd name="T98" fmla="*/ 2147483647 w 794"/>
                <a:gd name="T99" fmla="*/ 2147483647 h 591"/>
                <a:gd name="T100" fmla="*/ 2147483647 w 794"/>
                <a:gd name="T101" fmla="*/ 2147483647 h 5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94"/>
                <a:gd name="T154" fmla="*/ 0 h 591"/>
                <a:gd name="T155" fmla="*/ 794 w 794"/>
                <a:gd name="T156" fmla="*/ 591 h 5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94" h="591">
                  <a:moveTo>
                    <a:pt x="783" y="463"/>
                  </a:moveTo>
                  <a:lnTo>
                    <a:pt x="771" y="468"/>
                  </a:lnTo>
                  <a:lnTo>
                    <a:pt x="757" y="474"/>
                  </a:lnTo>
                  <a:lnTo>
                    <a:pt x="742" y="480"/>
                  </a:lnTo>
                  <a:lnTo>
                    <a:pt x="719" y="486"/>
                  </a:lnTo>
                  <a:lnTo>
                    <a:pt x="704" y="486"/>
                  </a:lnTo>
                  <a:lnTo>
                    <a:pt x="698" y="486"/>
                  </a:lnTo>
                  <a:lnTo>
                    <a:pt x="687" y="480"/>
                  </a:lnTo>
                  <a:lnTo>
                    <a:pt x="675" y="480"/>
                  </a:lnTo>
                  <a:lnTo>
                    <a:pt x="660" y="480"/>
                  </a:lnTo>
                  <a:lnTo>
                    <a:pt x="655" y="486"/>
                  </a:lnTo>
                  <a:lnTo>
                    <a:pt x="617" y="474"/>
                  </a:lnTo>
                  <a:lnTo>
                    <a:pt x="620" y="428"/>
                  </a:lnTo>
                  <a:lnTo>
                    <a:pt x="570" y="404"/>
                  </a:lnTo>
                  <a:lnTo>
                    <a:pt x="556" y="404"/>
                  </a:lnTo>
                  <a:lnTo>
                    <a:pt x="521" y="387"/>
                  </a:lnTo>
                  <a:lnTo>
                    <a:pt x="480" y="375"/>
                  </a:lnTo>
                  <a:lnTo>
                    <a:pt x="474" y="369"/>
                  </a:lnTo>
                  <a:lnTo>
                    <a:pt x="460" y="361"/>
                  </a:lnTo>
                  <a:lnTo>
                    <a:pt x="445" y="364"/>
                  </a:lnTo>
                  <a:lnTo>
                    <a:pt x="419" y="340"/>
                  </a:lnTo>
                  <a:lnTo>
                    <a:pt x="401" y="335"/>
                  </a:lnTo>
                  <a:lnTo>
                    <a:pt x="375" y="329"/>
                  </a:lnTo>
                  <a:lnTo>
                    <a:pt x="320" y="332"/>
                  </a:lnTo>
                  <a:lnTo>
                    <a:pt x="326" y="311"/>
                  </a:lnTo>
                  <a:lnTo>
                    <a:pt x="305" y="303"/>
                  </a:lnTo>
                  <a:lnTo>
                    <a:pt x="265" y="308"/>
                  </a:lnTo>
                  <a:lnTo>
                    <a:pt x="285" y="288"/>
                  </a:lnTo>
                  <a:lnTo>
                    <a:pt x="297" y="282"/>
                  </a:lnTo>
                  <a:lnTo>
                    <a:pt x="308" y="271"/>
                  </a:lnTo>
                  <a:lnTo>
                    <a:pt x="314" y="262"/>
                  </a:lnTo>
                  <a:lnTo>
                    <a:pt x="352" y="241"/>
                  </a:lnTo>
                  <a:lnTo>
                    <a:pt x="381" y="256"/>
                  </a:lnTo>
                  <a:lnTo>
                    <a:pt x="407" y="271"/>
                  </a:lnTo>
                  <a:lnTo>
                    <a:pt x="451" y="294"/>
                  </a:lnTo>
                  <a:lnTo>
                    <a:pt x="465" y="294"/>
                  </a:lnTo>
                  <a:lnTo>
                    <a:pt x="477" y="291"/>
                  </a:lnTo>
                  <a:lnTo>
                    <a:pt x="483" y="285"/>
                  </a:lnTo>
                  <a:lnTo>
                    <a:pt x="506" y="262"/>
                  </a:lnTo>
                  <a:lnTo>
                    <a:pt x="532" y="239"/>
                  </a:lnTo>
                  <a:lnTo>
                    <a:pt x="564" y="212"/>
                  </a:lnTo>
                  <a:lnTo>
                    <a:pt x="562" y="198"/>
                  </a:lnTo>
                  <a:lnTo>
                    <a:pt x="564" y="189"/>
                  </a:lnTo>
                  <a:lnTo>
                    <a:pt x="579" y="166"/>
                  </a:lnTo>
                  <a:lnTo>
                    <a:pt x="588" y="157"/>
                  </a:lnTo>
                  <a:lnTo>
                    <a:pt x="596" y="148"/>
                  </a:lnTo>
                  <a:lnTo>
                    <a:pt x="602" y="137"/>
                  </a:lnTo>
                  <a:lnTo>
                    <a:pt x="605" y="113"/>
                  </a:lnTo>
                  <a:lnTo>
                    <a:pt x="596" y="105"/>
                  </a:lnTo>
                  <a:lnTo>
                    <a:pt x="559" y="105"/>
                  </a:lnTo>
                  <a:lnTo>
                    <a:pt x="556" y="111"/>
                  </a:lnTo>
                  <a:lnTo>
                    <a:pt x="541" y="122"/>
                  </a:lnTo>
                  <a:lnTo>
                    <a:pt x="541" y="128"/>
                  </a:lnTo>
                  <a:lnTo>
                    <a:pt x="541" y="134"/>
                  </a:lnTo>
                  <a:lnTo>
                    <a:pt x="541" y="137"/>
                  </a:lnTo>
                  <a:lnTo>
                    <a:pt x="544" y="148"/>
                  </a:lnTo>
                  <a:lnTo>
                    <a:pt x="541" y="157"/>
                  </a:lnTo>
                  <a:lnTo>
                    <a:pt x="535" y="169"/>
                  </a:lnTo>
                  <a:lnTo>
                    <a:pt x="509" y="198"/>
                  </a:lnTo>
                  <a:lnTo>
                    <a:pt x="486" y="209"/>
                  </a:lnTo>
                  <a:lnTo>
                    <a:pt x="465" y="227"/>
                  </a:lnTo>
                  <a:lnTo>
                    <a:pt x="457" y="233"/>
                  </a:lnTo>
                  <a:lnTo>
                    <a:pt x="451" y="230"/>
                  </a:lnTo>
                  <a:lnTo>
                    <a:pt x="448" y="224"/>
                  </a:lnTo>
                  <a:lnTo>
                    <a:pt x="422" y="207"/>
                  </a:lnTo>
                  <a:lnTo>
                    <a:pt x="407" y="186"/>
                  </a:lnTo>
                  <a:lnTo>
                    <a:pt x="416" y="160"/>
                  </a:lnTo>
                  <a:lnTo>
                    <a:pt x="410" y="145"/>
                  </a:lnTo>
                  <a:lnTo>
                    <a:pt x="399" y="140"/>
                  </a:lnTo>
                  <a:lnTo>
                    <a:pt x="407" y="137"/>
                  </a:lnTo>
                  <a:lnTo>
                    <a:pt x="413" y="131"/>
                  </a:lnTo>
                  <a:lnTo>
                    <a:pt x="413" y="111"/>
                  </a:lnTo>
                  <a:lnTo>
                    <a:pt x="419" y="96"/>
                  </a:lnTo>
                  <a:lnTo>
                    <a:pt x="422" y="96"/>
                  </a:lnTo>
                  <a:lnTo>
                    <a:pt x="425" y="93"/>
                  </a:lnTo>
                  <a:lnTo>
                    <a:pt x="428" y="90"/>
                  </a:lnTo>
                  <a:lnTo>
                    <a:pt x="422" y="76"/>
                  </a:lnTo>
                  <a:lnTo>
                    <a:pt x="425" y="55"/>
                  </a:lnTo>
                  <a:lnTo>
                    <a:pt x="422" y="44"/>
                  </a:lnTo>
                  <a:lnTo>
                    <a:pt x="428" y="44"/>
                  </a:lnTo>
                  <a:lnTo>
                    <a:pt x="431" y="41"/>
                  </a:lnTo>
                  <a:lnTo>
                    <a:pt x="433" y="35"/>
                  </a:lnTo>
                  <a:lnTo>
                    <a:pt x="431" y="32"/>
                  </a:lnTo>
                  <a:lnTo>
                    <a:pt x="422" y="26"/>
                  </a:lnTo>
                  <a:lnTo>
                    <a:pt x="416" y="20"/>
                  </a:lnTo>
                  <a:lnTo>
                    <a:pt x="407" y="12"/>
                  </a:lnTo>
                  <a:lnTo>
                    <a:pt x="399" y="9"/>
                  </a:lnTo>
                  <a:lnTo>
                    <a:pt x="390" y="6"/>
                  </a:lnTo>
                  <a:lnTo>
                    <a:pt x="378" y="3"/>
                  </a:lnTo>
                  <a:lnTo>
                    <a:pt x="367" y="0"/>
                  </a:lnTo>
                  <a:lnTo>
                    <a:pt x="358" y="0"/>
                  </a:lnTo>
                  <a:lnTo>
                    <a:pt x="343" y="6"/>
                  </a:lnTo>
                  <a:lnTo>
                    <a:pt x="334" y="9"/>
                  </a:lnTo>
                  <a:lnTo>
                    <a:pt x="329" y="15"/>
                  </a:lnTo>
                  <a:lnTo>
                    <a:pt x="317" y="26"/>
                  </a:lnTo>
                  <a:lnTo>
                    <a:pt x="311" y="41"/>
                  </a:lnTo>
                  <a:lnTo>
                    <a:pt x="308" y="55"/>
                  </a:lnTo>
                  <a:lnTo>
                    <a:pt x="305" y="76"/>
                  </a:lnTo>
                  <a:lnTo>
                    <a:pt x="282" y="55"/>
                  </a:lnTo>
                  <a:lnTo>
                    <a:pt x="273" y="49"/>
                  </a:lnTo>
                  <a:lnTo>
                    <a:pt x="265" y="47"/>
                  </a:lnTo>
                  <a:lnTo>
                    <a:pt x="253" y="47"/>
                  </a:lnTo>
                  <a:lnTo>
                    <a:pt x="244" y="49"/>
                  </a:lnTo>
                  <a:lnTo>
                    <a:pt x="230" y="55"/>
                  </a:lnTo>
                  <a:lnTo>
                    <a:pt x="224" y="58"/>
                  </a:lnTo>
                  <a:lnTo>
                    <a:pt x="206" y="67"/>
                  </a:lnTo>
                  <a:lnTo>
                    <a:pt x="174" y="67"/>
                  </a:lnTo>
                  <a:lnTo>
                    <a:pt x="142" y="76"/>
                  </a:lnTo>
                  <a:lnTo>
                    <a:pt x="122" y="79"/>
                  </a:lnTo>
                  <a:lnTo>
                    <a:pt x="105" y="81"/>
                  </a:lnTo>
                  <a:lnTo>
                    <a:pt x="93" y="87"/>
                  </a:lnTo>
                  <a:lnTo>
                    <a:pt x="84" y="96"/>
                  </a:lnTo>
                  <a:lnTo>
                    <a:pt x="17" y="201"/>
                  </a:lnTo>
                  <a:lnTo>
                    <a:pt x="17" y="207"/>
                  </a:lnTo>
                  <a:lnTo>
                    <a:pt x="6" y="207"/>
                  </a:lnTo>
                  <a:lnTo>
                    <a:pt x="0" y="224"/>
                  </a:lnTo>
                  <a:lnTo>
                    <a:pt x="6" y="233"/>
                  </a:lnTo>
                  <a:lnTo>
                    <a:pt x="11" y="236"/>
                  </a:lnTo>
                  <a:lnTo>
                    <a:pt x="14" y="241"/>
                  </a:lnTo>
                  <a:lnTo>
                    <a:pt x="29" y="244"/>
                  </a:lnTo>
                  <a:lnTo>
                    <a:pt x="43" y="247"/>
                  </a:lnTo>
                  <a:lnTo>
                    <a:pt x="49" y="239"/>
                  </a:lnTo>
                  <a:lnTo>
                    <a:pt x="52" y="233"/>
                  </a:lnTo>
                  <a:lnTo>
                    <a:pt x="55" y="221"/>
                  </a:lnTo>
                  <a:lnTo>
                    <a:pt x="70" y="207"/>
                  </a:lnTo>
                  <a:lnTo>
                    <a:pt x="73" y="198"/>
                  </a:lnTo>
                  <a:lnTo>
                    <a:pt x="93" y="175"/>
                  </a:lnTo>
                  <a:lnTo>
                    <a:pt x="96" y="166"/>
                  </a:lnTo>
                  <a:lnTo>
                    <a:pt x="105" y="166"/>
                  </a:lnTo>
                  <a:lnTo>
                    <a:pt x="134" y="143"/>
                  </a:lnTo>
                  <a:lnTo>
                    <a:pt x="160" y="140"/>
                  </a:lnTo>
                  <a:lnTo>
                    <a:pt x="183" y="134"/>
                  </a:lnTo>
                  <a:lnTo>
                    <a:pt x="183" y="140"/>
                  </a:lnTo>
                  <a:lnTo>
                    <a:pt x="139" y="215"/>
                  </a:lnTo>
                  <a:lnTo>
                    <a:pt x="131" y="221"/>
                  </a:lnTo>
                  <a:lnTo>
                    <a:pt x="128" y="227"/>
                  </a:lnTo>
                  <a:lnTo>
                    <a:pt x="128" y="241"/>
                  </a:lnTo>
                  <a:lnTo>
                    <a:pt x="116" y="244"/>
                  </a:lnTo>
                  <a:lnTo>
                    <a:pt x="110" y="253"/>
                  </a:lnTo>
                  <a:lnTo>
                    <a:pt x="73" y="291"/>
                  </a:lnTo>
                  <a:lnTo>
                    <a:pt x="73" y="303"/>
                  </a:lnTo>
                  <a:lnTo>
                    <a:pt x="78" y="317"/>
                  </a:lnTo>
                  <a:lnTo>
                    <a:pt x="84" y="337"/>
                  </a:lnTo>
                  <a:lnTo>
                    <a:pt x="87" y="361"/>
                  </a:lnTo>
                  <a:lnTo>
                    <a:pt x="90" y="364"/>
                  </a:lnTo>
                  <a:lnTo>
                    <a:pt x="93" y="375"/>
                  </a:lnTo>
                  <a:lnTo>
                    <a:pt x="99" y="390"/>
                  </a:lnTo>
                  <a:lnTo>
                    <a:pt x="105" y="399"/>
                  </a:lnTo>
                  <a:lnTo>
                    <a:pt x="113" y="410"/>
                  </a:lnTo>
                  <a:lnTo>
                    <a:pt x="128" y="422"/>
                  </a:lnTo>
                  <a:lnTo>
                    <a:pt x="134" y="428"/>
                  </a:lnTo>
                  <a:lnTo>
                    <a:pt x="137" y="436"/>
                  </a:lnTo>
                  <a:lnTo>
                    <a:pt x="125" y="433"/>
                  </a:lnTo>
                  <a:lnTo>
                    <a:pt x="113" y="436"/>
                  </a:lnTo>
                  <a:lnTo>
                    <a:pt x="102" y="442"/>
                  </a:lnTo>
                  <a:lnTo>
                    <a:pt x="96" y="433"/>
                  </a:lnTo>
                  <a:lnTo>
                    <a:pt x="90" y="428"/>
                  </a:lnTo>
                  <a:lnTo>
                    <a:pt x="84" y="425"/>
                  </a:lnTo>
                  <a:lnTo>
                    <a:pt x="78" y="425"/>
                  </a:lnTo>
                  <a:lnTo>
                    <a:pt x="73" y="428"/>
                  </a:lnTo>
                  <a:lnTo>
                    <a:pt x="64" y="431"/>
                  </a:lnTo>
                  <a:lnTo>
                    <a:pt x="64" y="436"/>
                  </a:lnTo>
                  <a:lnTo>
                    <a:pt x="43" y="463"/>
                  </a:lnTo>
                  <a:lnTo>
                    <a:pt x="55" y="468"/>
                  </a:lnTo>
                  <a:lnTo>
                    <a:pt x="38" y="480"/>
                  </a:lnTo>
                  <a:lnTo>
                    <a:pt x="26" y="492"/>
                  </a:lnTo>
                  <a:lnTo>
                    <a:pt x="17" y="506"/>
                  </a:lnTo>
                  <a:lnTo>
                    <a:pt x="11" y="521"/>
                  </a:lnTo>
                  <a:lnTo>
                    <a:pt x="8" y="535"/>
                  </a:lnTo>
                  <a:lnTo>
                    <a:pt x="8" y="556"/>
                  </a:lnTo>
                  <a:lnTo>
                    <a:pt x="8" y="564"/>
                  </a:lnTo>
                  <a:lnTo>
                    <a:pt x="38" y="561"/>
                  </a:lnTo>
                  <a:lnTo>
                    <a:pt x="43" y="550"/>
                  </a:lnTo>
                  <a:lnTo>
                    <a:pt x="55" y="538"/>
                  </a:lnTo>
                  <a:lnTo>
                    <a:pt x="67" y="529"/>
                  </a:lnTo>
                  <a:lnTo>
                    <a:pt x="81" y="524"/>
                  </a:lnTo>
                  <a:lnTo>
                    <a:pt x="105" y="515"/>
                  </a:lnTo>
                  <a:lnTo>
                    <a:pt x="116" y="512"/>
                  </a:lnTo>
                  <a:lnTo>
                    <a:pt x="119" y="529"/>
                  </a:lnTo>
                  <a:lnTo>
                    <a:pt x="163" y="512"/>
                  </a:lnTo>
                  <a:lnTo>
                    <a:pt x="206" y="506"/>
                  </a:lnTo>
                  <a:lnTo>
                    <a:pt x="215" y="503"/>
                  </a:lnTo>
                  <a:lnTo>
                    <a:pt x="241" y="500"/>
                  </a:lnTo>
                  <a:lnTo>
                    <a:pt x="250" y="495"/>
                  </a:lnTo>
                  <a:lnTo>
                    <a:pt x="262" y="492"/>
                  </a:lnTo>
                  <a:lnTo>
                    <a:pt x="273" y="492"/>
                  </a:lnTo>
                  <a:lnTo>
                    <a:pt x="282" y="492"/>
                  </a:lnTo>
                  <a:lnTo>
                    <a:pt x="291" y="489"/>
                  </a:lnTo>
                  <a:lnTo>
                    <a:pt x="305" y="480"/>
                  </a:lnTo>
                  <a:lnTo>
                    <a:pt x="320" y="468"/>
                  </a:lnTo>
                  <a:lnTo>
                    <a:pt x="329" y="468"/>
                  </a:lnTo>
                  <a:lnTo>
                    <a:pt x="334" y="463"/>
                  </a:lnTo>
                  <a:lnTo>
                    <a:pt x="337" y="457"/>
                  </a:lnTo>
                  <a:lnTo>
                    <a:pt x="340" y="448"/>
                  </a:lnTo>
                  <a:lnTo>
                    <a:pt x="340" y="439"/>
                  </a:lnTo>
                  <a:lnTo>
                    <a:pt x="340" y="428"/>
                  </a:lnTo>
                  <a:lnTo>
                    <a:pt x="372" y="413"/>
                  </a:lnTo>
                  <a:lnTo>
                    <a:pt x="407" y="419"/>
                  </a:lnTo>
                  <a:lnTo>
                    <a:pt x="416" y="436"/>
                  </a:lnTo>
                  <a:lnTo>
                    <a:pt x="431" y="448"/>
                  </a:lnTo>
                  <a:lnTo>
                    <a:pt x="486" y="474"/>
                  </a:lnTo>
                  <a:lnTo>
                    <a:pt x="512" y="486"/>
                  </a:lnTo>
                  <a:lnTo>
                    <a:pt x="541" y="500"/>
                  </a:lnTo>
                  <a:lnTo>
                    <a:pt x="564" y="515"/>
                  </a:lnTo>
                  <a:lnTo>
                    <a:pt x="576" y="515"/>
                  </a:lnTo>
                  <a:lnTo>
                    <a:pt x="591" y="532"/>
                  </a:lnTo>
                  <a:lnTo>
                    <a:pt x="605" y="538"/>
                  </a:lnTo>
                  <a:lnTo>
                    <a:pt x="608" y="553"/>
                  </a:lnTo>
                  <a:lnTo>
                    <a:pt x="617" y="567"/>
                  </a:lnTo>
                  <a:lnTo>
                    <a:pt x="628" y="588"/>
                  </a:lnTo>
                  <a:lnTo>
                    <a:pt x="634" y="591"/>
                  </a:lnTo>
                  <a:lnTo>
                    <a:pt x="640" y="591"/>
                  </a:lnTo>
                  <a:lnTo>
                    <a:pt x="643" y="588"/>
                  </a:lnTo>
                  <a:lnTo>
                    <a:pt x="684" y="564"/>
                  </a:lnTo>
                  <a:lnTo>
                    <a:pt x="681" y="553"/>
                  </a:lnTo>
                  <a:lnTo>
                    <a:pt x="707" y="544"/>
                  </a:lnTo>
                  <a:lnTo>
                    <a:pt x="727" y="538"/>
                  </a:lnTo>
                  <a:lnTo>
                    <a:pt x="745" y="529"/>
                  </a:lnTo>
                  <a:lnTo>
                    <a:pt x="759" y="515"/>
                  </a:lnTo>
                  <a:lnTo>
                    <a:pt x="771" y="503"/>
                  </a:lnTo>
                  <a:lnTo>
                    <a:pt x="789" y="480"/>
                  </a:lnTo>
                  <a:lnTo>
                    <a:pt x="794" y="471"/>
                  </a:lnTo>
                  <a:lnTo>
                    <a:pt x="783" y="4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p>
          </p:txBody>
        </p:sp>
        <p:sp>
          <p:nvSpPr>
            <p:cNvPr id="30" name="Freeform 590"/>
            <p:cNvSpPr>
              <a:spLocks/>
            </p:cNvSpPr>
            <p:nvPr/>
          </p:nvSpPr>
          <p:spPr bwMode="auto">
            <a:xfrm>
              <a:off x="5451490" y="938536"/>
              <a:ext cx="423420" cy="112226"/>
            </a:xfrm>
            <a:custGeom>
              <a:avLst/>
              <a:gdLst/>
              <a:ahLst/>
              <a:cxnLst>
                <a:cxn ang="0">
                  <a:pos x="0" y="15"/>
                </a:cxn>
                <a:cxn ang="0">
                  <a:pos x="0" y="15"/>
                </a:cxn>
                <a:cxn ang="0">
                  <a:pos x="15" y="12"/>
                </a:cxn>
                <a:cxn ang="0">
                  <a:pos x="29" y="3"/>
                </a:cxn>
                <a:cxn ang="0">
                  <a:pos x="29" y="3"/>
                </a:cxn>
                <a:cxn ang="0">
                  <a:pos x="35" y="0"/>
                </a:cxn>
                <a:cxn ang="0">
                  <a:pos x="41" y="3"/>
                </a:cxn>
                <a:cxn ang="0">
                  <a:pos x="50" y="12"/>
                </a:cxn>
                <a:cxn ang="0">
                  <a:pos x="50" y="12"/>
                </a:cxn>
                <a:cxn ang="0">
                  <a:pos x="61" y="15"/>
                </a:cxn>
                <a:cxn ang="0">
                  <a:pos x="76" y="18"/>
                </a:cxn>
                <a:cxn ang="0">
                  <a:pos x="102" y="15"/>
                </a:cxn>
                <a:cxn ang="0">
                  <a:pos x="102" y="15"/>
                </a:cxn>
                <a:cxn ang="0">
                  <a:pos x="114" y="15"/>
                </a:cxn>
                <a:cxn ang="0">
                  <a:pos x="125" y="18"/>
                </a:cxn>
                <a:cxn ang="0">
                  <a:pos x="125" y="18"/>
                </a:cxn>
                <a:cxn ang="0">
                  <a:pos x="140" y="21"/>
                </a:cxn>
                <a:cxn ang="0">
                  <a:pos x="140" y="21"/>
                </a:cxn>
                <a:cxn ang="0">
                  <a:pos x="134" y="27"/>
                </a:cxn>
                <a:cxn ang="0">
                  <a:pos x="128" y="29"/>
                </a:cxn>
                <a:cxn ang="0">
                  <a:pos x="128" y="29"/>
                </a:cxn>
                <a:cxn ang="0">
                  <a:pos x="120" y="29"/>
                </a:cxn>
                <a:cxn ang="0">
                  <a:pos x="111" y="29"/>
                </a:cxn>
                <a:cxn ang="0">
                  <a:pos x="111" y="29"/>
                </a:cxn>
                <a:cxn ang="0">
                  <a:pos x="96" y="29"/>
                </a:cxn>
                <a:cxn ang="0">
                  <a:pos x="79" y="32"/>
                </a:cxn>
                <a:cxn ang="0">
                  <a:pos x="79" y="32"/>
                </a:cxn>
                <a:cxn ang="0">
                  <a:pos x="56" y="38"/>
                </a:cxn>
                <a:cxn ang="0">
                  <a:pos x="44" y="38"/>
                </a:cxn>
                <a:cxn ang="0">
                  <a:pos x="32" y="35"/>
                </a:cxn>
                <a:cxn ang="0">
                  <a:pos x="32" y="35"/>
                </a:cxn>
                <a:cxn ang="0">
                  <a:pos x="21" y="29"/>
                </a:cxn>
                <a:cxn ang="0">
                  <a:pos x="12" y="24"/>
                </a:cxn>
                <a:cxn ang="0">
                  <a:pos x="0" y="15"/>
                </a:cxn>
              </a:cxnLst>
              <a:rect l="0" t="0" r="r" b="b"/>
              <a:pathLst>
                <a:path w="140" h="38">
                  <a:moveTo>
                    <a:pt x="0" y="15"/>
                  </a:moveTo>
                  <a:lnTo>
                    <a:pt x="0" y="15"/>
                  </a:lnTo>
                  <a:lnTo>
                    <a:pt x="15" y="12"/>
                  </a:lnTo>
                  <a:lnTo>
                    <a:pt x="29" y="3"/>
                  </a:lnTo>
                  <a:lnTo>
                    <a:pt x="29" y="3"/>
                  </a:lnTo>
                  <a:lnTo>
                    <a:pt x="35" y="0"/>
                  </a:lnTo>
                  <a:lnTo>
                    <a:pt x="41" y="3"/>
                  </a:lnTo>
                  <a:lnTo>
                    <a:pt x="50" y="12"/>
                  </a:lnTo>
                  <a:lnTo>
                    <a:pt x="50" y="12"/>
                  </a:lnTo>
                  <a:lnTo>
                    <a:pt x="61" y="15"/>
                  </a:lnTo>
                  <a:lnTo>
                    <a:pt x="76" y="18"/>
                  </a:lnTo>
                  <a:lnTo>
                    <a:pt x="102" y="15"/>
                  </a:lnTo>
                  <a:lnTo>
                    <a:pt x="102" y="15"/>
                  </a:lnTo>
                  <a:lnTo>
                    <a:pt x="114" y="15"/>
                  </a:lnTo>
                  <a:lnTo>
                    <a:pt x="125" y="18"/>
                  </a:lnTo>
                  <a:lnTo>
                    <a:pt x="125" y="18"/>
                  </a:lnTo>
                  <a:lnTo>
                    <a:pt x="140" y="21"/>
                  </a:lnTo>
                  <a:lnTo>
                    <a:pt x="140" y="21"/>
                  </a:lnTo>
                  <a:lnTo>
                    <a:pt x="134" y="27"/>
                  </a:lnTo>
                  <a:lnTo>
                    <a:pt x="128" y="29"/>
                  </a:lnTo>
                  <a:lnTo>
                    <a:pt x="128" y="29"/>
                  </a:lnTo>
                  <a:lnTo>
                    <a:pt x="120" y="29"/>
                  </a:lnTo>
                  <a:lnTo>
                    <a:pt x="111" y="29"/>
                  </a:lnTo>
                  <a:lnTo>
                    <a:pt x="111" y="29"/>
                  </a:lnTo>
                  <a:lnTo>
                    <a:pt x="96" y="29"/>
                  </a:lnTo>
                  <a:lnTo>
                    <a:pt x="79" y="32"/>
                  </a:lnTo>
                  <a:lnTo>
                    <a:pt x="79" y="32"/>
                  </a:lnTo>
                  <a:lnTo>
                    <a:pt x="56" y="38"/>
                  </a:lnTo>
                  <a:lnTo>
                    <a:pt x="44" y="38"/>
                  </a:lnTo>
                  <a:lnTo>
                    <a:pt x="32" y="35"/>
                  </a:lnTo>
                  <a:lnTo>
                    <a:pt x="32" y="35"/>
                  </a:lnTo>
                  <a:lnTo>
                    <a:pt x="21" y="29"/>
                  </a:lnTo>
                  <a:lnTo>
                    <a:pt x="12" y="24"/>
                  </a:lnTo>
                  <a:lnTo>
                    <a:pt x="0" y="15"/>
                  </a:lnTo>
                  <a:close/>
                </a:path>
              </a:pathLst>
            </a:custGeom>
            <a:grpFill/>
            <a:ln w="9525">
              <a:noFill/>
              <a:round/>
              <a:headEnd/>
              <a:tailEnd/>
            </a:ln>
          </p:spPr>
          <p:txBody>
            <a:bodyPr/>
            <a:lstStyle/>
            <a:p>
              <a:pPr fontAlgn="auto">
                <a:spcBef>
                  <a:spcPts val="0"/>
                </a:spcBef>
                <a:spcAft>
                  <a:spcPts val="0"/>
                </a:spcAft>
                <a:defRPr/>
              </a:pPr>
              <a:endParaRPr lang="nb-NO">
                <a:latin typeface="Calibri" charset="0"/>
                <a:ea typeface="+mn-ea"/>
              </a:endParaRPr>
            </a:p>
          </p:txBody>
        </p:sp>
        <p:sp>
          <p:nvSpPr>
            <p:cNvPr id="4120" name="Freeform 591"/>
            <p:cNvSpPr>
              <a:spLocks noEditPoints="1"/>
            </p:cNvSpPr>
            <p:nvPr/>
          </p:nvSpPr>
          <p:spPr bwMode="auto">
            <a:xfrm>
              <a:off x="5689798" y="877225"/>
              <a:ext cx="298439" cy="340643"/>
            </a:xfrm>
            <a:custGeom>
              <a:avLst/>
              <a:gdLst>
                <a:gd name="T0" fmla="*/ 2147483647 w 99"/>
                <a:gd name="T1" fmla="*/ 2147483647 h 113"/>
                <a:gd name="T2" fmla="*/ 2147483647 w 99"/>
                <a:gd name="T3" fmla="*/ 2147483647 h 113"/>
                <a:gd name="T4" fmla="*/ 2147483647 w 99"/>
                <a:gd name="T5" fmla="*/ 2147483647 h 113"/>
                <a:gd name="T6" fmla="*/ 2147483647 w 99"/>
                <a:gd name="T7" fmla="*/ 0 h 113"/>
                <a:gd name="T8" fmla="*/ 2147483647 w 99"/>
                <a:gd name="T9" fmla="*/ 2147483647 h 113"/>
                <a:gd name="T10" fmla="*/ 2147483647 w 99"/>
                <a:gd name="T11" fmla="*/ 2147483647 h 113"/>
                <a:gd name="T12" fmla="*/ 2147483647 w 99"/>
                <a:gd name="T13" fmla="*/ 2147483647 h 113"/>
                <a:gd name="T14" fmla="*/ 2147483647 w 99"/>
                <a:gd name="T15" fmla="*/ 2147483647 h 113"/>
                <a:gd name="T16" fmla="*/ 0 w 99"/>
                <a:gd name="T17" fmla="*/ 2147483647 h 113"/>
                <a:gd name="T18" fmla="*/ 2147483647 w 99"/>
                <a:gd name="T19" fmla="*/ 2147483647 h 113"/>
                <a:gd name="T20" fmla="*/ 2147483647 w 99"/>
                <a:gd name="T21" fmla="*/ 2147483647 h 113"/>
                <a:gd name="T22" fmla="*/ 2147483647 w 99"/>
                <a:gd name="T23" fmla="*/ 2147483647 h 113"/>
                <a:gd name="T24" fmla="*/ 2147483647 w 99"/>
                <a:gd name="T25" fmla="*/ 2147483647 h 113"/>
                <a:gd name="T26" fmla="*/ 2147483647 w 99"/>
                <a:gd name="T27" fmla="*/ 2147483647 h 113"/>
                <a:gd name="T28" fmla="*/ 2147483647 w 99"/>
                <a:gd name="T29" fmla="*/ 2147483647 h 113"/>
                <a:gd name="T30" fmla="*/ 2147483647 w 99"/>
                <a:gd name="T31" fmla="*/ 2147483647 h 113"/>
                <a:gd name="T32" fmla="*/ 2147483647 w 99"/>
                <a:gd name="T33" fmla="*/ 2147483647 h 113"/>
                <a:gd name="T34" fmla="*/ 2147483647 w 99"/>
                <a:gd name="T35" fmla="*/ 2147483647 h 113"/>
                <a:gd name="T36" fmla="*/ 2147483647 w 99"/>
                <a:gd name="T37" fmla="*/ 2147483647 h 113"/>
                <a:gd name="T38" fmla="*/ 2147483647 w 99"/>
                <a:gd name="T39" fmla="*/ 2147483647 h 113"/>
                <a:gd name="T40" fmla="*/ 2147483647 w 99"/>
                <a:gd name="T41" fmla="*/ 2147483647 h 113"/>
                <a:gd name="T42" fmla="*/ 2147483647 w 99"/>
                <a:gd name="T43" fmla="*/ 2147483647 h 113"/>
                <a:gd name="T44" fmla="*/ 2147483647 w 99"/>
                <a:gd name="T45" fmla="*/ 2147483647 h 113"/>
                <a:gd name="T46" fmla="*/ 2147483647 w 99"/>
                <a:gd name="T47" fmla="*/ 2147483647 h 113"/>
                <a:gd name="T48" fmla="*/ 2147483647 w 99"/>
                <a:gd name="T49" fmla="*/ 2147483647 h 113"/>
                <a:gd name="T50" fmla="*/ 2147483647 w 99"/>
                <a:gd name="T51" fmla="*/ 2147483647 h 113"/>
                <a:gd name="T52" fmla="*/ 2147483647 w 99"/>
                <a:gd name="T53" fmla="*/ 2147483647 h 113"/>
                <a:gd name="T54" fmla="*/ 2147483647 w 99"/>
                <a:gd name="T55" fmla="*/ 2147483647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9"/>
                <a:gd name="T85" fmla="*/ 0 h 113"/>
                <a:gd name="T86" fmla="*/ 99 w 99"/>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9" h="113">
                  <a:moveTo>
                    <a:pt x="73" y="38"/>
                  </a:moveTo>
                  <a:lnTo>
                    <a:pt x="70" y="29"/>
                  </a:lnTo>
                  <a:lnTo>
                    <a:pt x="64" y="12"/>
                  </a:lnTo>
                  <a:lnTo>
                    <a:pt x="38" y="0"/>
                  </a:lnTo>
                  <a:lnTo>
                    <a:pt x="41" y="17"/>
                  </a:lnTo>
                  <a:lnTo>
                    <a:pt x="35" y="32"/>
                  </a:lnTo>
                  <a:lnTo>
                    <a:pt x="26" y="49"/>
                  </a:lnTo>
                  <a:lnTo>
                    <a:pt x="6" y="79"/>
                  </a:lnTo>
                  <a:lnTo>
                    <a:pt x="0" y="113"/>
                  </a:lnTo>
                  <a:lnTo>
                    <a:pt x="3" y="108"/>
                  </a:lnTo>
                  <a:lnTo>
                    <a:pt x="17" y="102"/>
                  </a:lnTo>
                  <a:lnTo>
                    <a:pt x="32" y="96"/>
                  </a:lnTo>
                  <a:lnTo>
                    <a:pt x="46" y="93"/>
                  </a:lnTo>
                  <a:lnTo>
                    <a:pt x="58" y="90"/>
                  </a:lnTo>
                  <a:lnTo>
                    <a:pt x="64" y="90"/>
                  </a:lnTo>
                  <a:lnTo>
                    <a:pt x="81" y="79"/>
                  </a:lnTo>
                  <a:lnTo>
                    <a:pt x="93" y="61"/>
                  </a:lnTo>
                  <a:lnTo>
                    <a:pt x="99" y="41"/>
                  </a:lnTo>
                  <a:lnTo>
                    <a:pt x="73" y="38"/>
                  </a:lnTo>
                  <a:close/>
                  <a:moveTo>
                    <a:pt x="79" y="47"/>
                  </a:moveTo>
                  <a:lnTo>
                    <a:pt x="79"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p>
          </p:txBody>
        </p:sp>
        <p:sp>
          <p:nvSpPr>
            <p:cNvPr id="4121" name="Freeform 592"/>
            <p:cNvSpPr>
              <a:spLocks/>
            </p:cNvSpPr>
            <p:nvPr/>
          </p:nvSpPr>
          <p:spPr bwMode="auto">
            <a:xfrm>
              <a:off x="5768176" y="982734"/>
              <a:ext cx="150727" cy="78378"/>
            </a:xfrm>
            <a:custGeom>
              <a:avLst/>
              <a:gdLst>
                <a:gd name="T0" fmla="*/ 2147483647 w 50"/>
                <a:gd name="T1" fmla="*/ 2147483647 h 26"/>
                <a:gd name="T2" fmla="*/ 2147483647 w 50"/>
                <a:gd name="T3" fmla="*/ 2147483647 h 26"/>
                <a:gd name="T4" fmla="*/ 2147483647 w 50"/>
                <a:gd name="T5" fmla="*/ 2147483647 h 26"/>
                <a:gd name="T6" fmla="*/ 2147483647 w 50"/>
                <a:gd name="T7" fmla="*/ 2147483647 h 26"/>
                <a:gd name="T8" fmla="*/ 2147483647 w 50"/>
                <a:gd name="T9" fmla="*/ 2147483647 h 26"/>
                <a:gd name="T10" fmla="*/ 2147483647 w 50"/>
                <a:gd name="T11" fmla="*/ 2147483647 h 26"/>
                <a:gd name="T12" fmla="*/ 2147483647 w 50"/>
                <a:gd name="T13" fmla="*/ 2147483647 h 26"/>
                <a:gd name="T14" fmla="*/ 2147483647 w 50"/>
                <a:gd name="T15" fmla="*/ 2147483647 h 26"/>
                <a:gd name="T16" fmla="*/ 2147483647 w 50"/>
                <a:gd name="T17" fmla="*/ 2147483647 h 26"/>
                <a:gd name="T18" fmla="*/ 2147483647 w 50"/>
                <a:gd name="T19" fmla="*/ 2147483647 h 26"/>
                <a:gd name="T20" fmla="*/ 2147483647 w 50"/>
                <a:gd name="T21" fmla="*/ 0 h 26"/>
                <a:gd name="T22" fmla="*/ 2147483647 w 50"/>
                <a:gd name="T23" fmla="*/ 0 h 26"/>
                <a:gd name="T24" fmla="*/ 2147483647 w 50"/>
                <a:gd name="T25" fmla="*/ 0 h 26"/>
                <a:gd name="T26" fmla="*/ 2147483647 w 50"/>
                <a:gd name="T27" fmla="*/ 0 h 26"/>
                <a:gd name="T28" fmla="*/ 2147483647 w 50"/>
                <a:gd name="T29" fmla="*/ 2147483647 h 26"/>
                <a:gd name="T30" fmla="*/ 2147483647 w 50"/>
                <a:gd name="T31" fmla="*/ 2147483647 h 26"/>
                <a:gd name="T32" fmla="*/ 2147483647 w 50"/>
                <a:gd name="T33" fmla="*/ 2147483647 h 26"/>
                <a:gd name="T34" fmla="*/ 2147483647 w 50"/>
                <a:gd name="T35" fmla="*/ 2147483647 h 26"/>
                <a:gd name="T36" fmla="*/ 2147483647 w 50"/>
                <a:gd name="T37" fmla="*/ 2147483647 h 26"/>
                <a:gd name="T38" fmla="*/ 2147483647 w 50"/>
                <a:gd name="T39" fmla="*/ 2147483647 h 26"/>
                <a:gd name="T40" fmla="*/ 2147483647 w 50"/>
                <a:gd name="T41" fmla="*/ 2147483647 h 26"/>
                <a:gd name="T42" fmla="*/ 2147483647 w 50"/>
                <a:gd name="T43" fmla="*/ 2147483647 h 26"/>
                <a:gd name="T44" fmla="*/ 2147483647 w 50"/>
                <a:gd name="T45" fmla="*/ 2147483647 h 26"/>
                <a:gd name="T46" fmla="*/ 2147483647 w 50"/>
                <a:gd name="T47" fmla="*/ 2147483647 h 26"/>
                <a:gd name="T48" fmla="*/ 2147483647 w 50"/>
                <a:gd name="T49" fmla="*/ 2147483647 h 26"/>
                <a:gd name="T50" fmla="*/ 0 w 50"/>
                <a:gd name="T51" fmla="*/ 2147483647 h 26"/>
                <a:gd name="T52" fmla="*/ 0 w 50"/>
                <a:gd name="T53" fmla="*/ 2147483647 h 26"/>
                <a:gd name="T54" fmla="*/ 2147483647 w 50"/>
                <a:gd name="T55" fmla="*/ 2147483647 h 26"/>
                <a:gd name="T56" fmla="*/ 2147483647 w 50"/>
                <a:gd name="T57" fmla="*/ 2147483647 h 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
                <a:gd name="T88" fmla="*/ 0 h 26"/>
                <a:gd name="T89" fmla="*/ 50 w 50"/>
                <a:gd name="T90" fmla="*/ 26 h 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 h="26">
                  <a:moveTo>
                    <a:pt x="9" y="14"/>
                  </a:moveTo>
                  <a:lnTo>
                    <a:pt x="9" y="14"/>
                  </a:lnTo>
                  <a:lnTo>
                    <a:pt x="18" y="17"/>
                  </a:lnTo>
                  <a:lnTo>
                    <a:pt x="29" y="23"/>
                  </a:lnTo>
                  <a:lnTo>
                    <a:pt x="38" y="26"/>
                  </a:lnTo>
                  <a:lnTo>
                    <a:pt x="44" y="26"/>
                  </a:lnTo>
                  <a:lnTo>
                    <a:pt x="47" y="23"/>
                  </a:lnTo>
                  <a:lnTo>
                    <a:pt x="50" y="14"/>
                  </a:lnTo>
                  <a:lnTo>
                    <a:pt x="50" y="6"/>
                  </a:lnTo>
                  <a:lnTo>
                    <a:pt x="47" y="0"/>
                  </a:lnTo>
                  <a:lnTo>
                    <a:pt x="44" y="0"/>
                  </a:lnTo>
                  <a:lnTo>
                    <a:pt x="41" y="0"/>
                  </a:lnTo>
                  <a:lnTo>
                    <a:pt x="38" y="6"/>
                  </a:lnTo>
                  <a:lnTo>
                    <a:pt x="35" y="9"/>
                  </a:lnTo>
                  <a:lnTo>
                    <a:pt x="32" y="12"/>
                  </a:lnTo>
                  <a:lnTo>
                    <a:pt x="23" y="9"/>
                  </a:lnTo>
                  <a:lnTo>
                    <a:pt x="15" y="3"/>
                  </a:lnTo>
                  <a:lnTo>
                    <a:pt x="6" y="3"/>
                  </a:lnTo>
                  <a:lnTo>
                    <a:pt x="3" y="6"/>
                  </a:lnTo>
                  <a:lnTo>
                    <a:pt x="0" y="17"/>
                  </a:lnTo>
                  <a:lnTo>
                    <a:pt x="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p>
          </p:txBody>
        </p:sp>
      </p:grpSp>
      <p:sp>
        <p:nvSpPr>
          <p:cNvPr id="16393" name="Freeform 6"/>
          <p:cNvSpPr>
            <a:spLocks noEditPoints="1"/>
          </p:cNvSpPr>
          <p:nvPr/>
        </p:nvSpPr>
        <p:spPr bwMode="auto">
          <a:xfrm>
            <a:off x="1682750" y="3910013"/>
            <a:ext cx="471488" cy="927100"/>
          </a:xfrm>
          <a:custGeom>
            <a:avLst/>
            <a:gdLst>
              <a:gd name="T0" fmla="*/ 2147483647 w 1746"/>
              <a:gd name="T1" fmla="*/ 2147483647 h 3442"/>
              <a:gd name="T2" fmla="*/ 2147483647 w 1746"/>
              <a:gd name="T3" fmla="*/ 2147483647 h 3442"/>
              <a:gd name="T4" fmla="*/ 2147483647 w 1746"/>
              <a:gd name="T5" fmla="*/ 2147483647 h 3442"/>
              <a:gd name="T6" fmla="*/ 2147483647 w 1746"/>
              <a:gd name="T7" fmla="*/ 2147483647 h 3442"/>
              <a:gd name="T8" fmla="*/ 2147483647 w 1746"/>
              <a:gd name="T9" fmla="*/ 2147483647 h 3442"/>
              <a:gd name="T10" fmla="*/ 2147483647 w 1746"/>
              <a:gd name="T11" fmla="*/ 2147483647 h 3442"/>
              <a:gd name="T12" fmla="*/ 2147483647 w 1746"/>
              <a:gd name="T13" fmla="*/ 2147483647 h 3442"/>
              <a:gd name="T14" fmla="*/ 2147483647 w 1746"/>
              <a:gd name="T15" fmla="*/ 2147483647 h 3442"/>
              <a:gd name="T16" fmla="*/ 2147483647 w 1746"/>
              <a:gd name="T17" fmla="*/ 2147483647 h 3442"/>
              <a:gd name="T18" fmla="*/ 2147483647 w 1746"/>
              <a:gd name="T19" fmla="*/ 2147483647 h 3442"/>
              <a:gd name="T20" fmla="*/ 2147483647 w 1746"/>
              <a:gd name="T21" fmla="*/ 2147483647 h 3442"/>
              <a:gd name="T22" fmla="*/ 2147483647 w 1746"/>
              <a:gd name="T23" fmla="*/ 2147483647 h 3442"/>
              <a:gd name="T24" fmla="*/ 2147483647 w 1746"/>
              <a:gd name="T25" fmla="*/ 2147483647 h 3442"/>
              <a:gd name="T26" fmla="*/ 2147483647 w 1746"/>
              <a:gd name="T27" fmla="*/ 2147483647 h 3442"/>
              <a:gd name="T28" fmla="*/ 2147483647 w 1746"/>
              <a:gd name="T29" fmla="*/ 2147483647 h 3442"/>
              <a:gd name="T30" fmla="*/ 2147483647 w 1746"/>
              <a:gd name="T31" fmla="*/ 2147483647 h 3442"/>
              <a:gd name="T32" fmla="*/ 2147483647 w 1746"/>
              <a:gd name="T33" fmla="*/ 2147483647 h 3442"/>
              <a:gd name="T34" fmla="*/ 2147483647 w 1746"/>
              <a:gd name="T35" fmla="*/ 2147483647 h 3442"/>
              <a:gd name="T36" fmla="*/ 2147483647 w 1746"/>
              <a:gd name="T37" fmla="*/ 2147483647 h 3442"/>
              <a:gd name="T38" fmla="*/ 0 w 1746"/>
              <a:gd name="T39" fmla="*/ 2147483647 h 3442"/>
              <a:gd name="T40" fmla="*/ 2147483647 w 1746"/>
              <a:gd name="T41" fmla="*/ 2147483647 h 3442"/>
              <a:gd name="T42" fmla="*/ 2147483647 w 1746"/>
              <a:gd name="T43" fmla="*/ 2147483647 h 3442"/>
              <a:gd name="T44" fmla="*/ 2147483647 w 1746"/>
              <a:gd name="T45" fmla="*/ 2147483647 h 3442"/>
              <a:gd name="T46" fmla="*/ 2147483647 w 1746"/>
              <a:gd name="T47" fmla="*/ 2147483647 h 3442"/>
              <a:gd name="T48" fmla="*/ 2147483647 w 1746"/>
              <a:gd name="T49" fmla="*/ 2147483647 h 3442"/>
              <a:gd name="T50" fmla="*/ 2147483647 w 1746"/>
              <a:gd name="T51" fmla="*/ 2147483647 h 3442"/>
              <a:gd name="T52" fmla="*/ 2147483647 w 1746"/>
              <a:gd name="T53" fmla="*/ 2147483647 h 3442"/>
              <a:gd name="T54" fmla="*/ 2147483647 w 1746"/>
              <a:gd name="T55" fmla="*/ 2147483647 h 3442"/>
              <a:gd name="T56" fmla="*/ 2147483647 w 1746"/>
              <a:gd name="T57" fmla="*/ 2147483647 h 3442"/>
              <a:gd name="T58" fmla="*/ 2147483647 w 1746"/>
              <a:gd name="T59" fmla="*/ 2147483647 h 3442"/>
              <a:gd name="T60" fmla="*/ 2147483647 w 1746"/>
              <a:gd name="T61" fmla="*/ 2147483647 h 3442"/>
              <a:gd name="T62" fmla="*/ 2147483647 w 1746"/>
              <a:gd name="T63" fmla="*/ 2147483647 h 3442"/>
              <a:gd name="T64" fmla="*/ 2147483647 w 1746"/>
              <a:gd name="T65" fmla="*/ 2147483647 h 3442"/>
              <a:gd name="T66" fmla="*/ 2147483647 w 1746"/>
              <a:gd name="T67" fmla="*/ 2147483647 h 3442"/>
              <a:gd name="T68" fmla="*/ 2147483647 w 1746"/>
              <a:gd name="T69" fmla="*/ 2147483647 h 3442"/>
              <a:gd name="T70" fmla="*/ 2147483647 w 1746"/>
              <a:gd name="T71" fmla="*/ 2147483647 h 3442"/>
              <a:gd name="T72" fmla="*/ 2147483647 w 1746"/>
              <a:gd name="T73" fmla="*/ 2147483647 h 3442"/>
              <a:gd name="T74" fmla="*/ 2147483647 w 1746"/>
              <a:gd name="T75" fmla="*/ 2147483647 h 3442"/>
              <a:gd name="T76" fmla="*/ 2147483647 w 1746"/>
              <a:gd name="T77" fmla="*/ 2147483647 h 3442"/>
              <a:gd name="T78" fmla="*/ 2147483647 w 1746"/>
              <a:gd name="T79" fmla="*/ 2147483647 h 3442"/>
              <a:gd name="T80" fmla="*/ 2147483647 w 1746"/>
              <a:gd name="T81" fmla="*/ 2147483647 h 3442"/>
              <a:gd name="T82" fmla="*/ 2147483647 w 1746"/>
              <a:gd name="T83" fmla="*/ 2147483647 h 3442"/>
              <a:gd name="T84" fmla="*/ 2147483647 w 1746"/>
              <a:gd name="T85" fmla="*/ 2147483647 h 3442"/>
              <a:gd name="T86" fmla="*/ 2147483647 w 1746"/>
              <a:gd name="T87" fmla="*/ 2147483647 h 3442"/>
              <a:gd name="T88" fmla="*/ 2147483647 w 1746"/>
              <a:gd name="T89" fmla="*/ 2147483647 h 3442"/>
              <a:gd name="T90" fmla="*/ 2147483647 w 1746"/>
              <a:gd name="T91" fmla="*/ 2147483647 h 3442"/>
              <a:gd name="T92" fmla="*/ 2147483647 w 1746"/>
              <a:gd name="T93" fmla="*/ 2147483647 h 3442"/>
              <a:gd name="T94" fmla="*/ 2147483647 w 1746"/>
              <a:gd name="T95" fmla="*/ 2147483647 h 3442"/>
              <a:gd name="T96" fmla="*/ 2147483647 w 1746"/>
              <a:gd name="T97" fmla="*/ 2147483647 h 3442"/>
              <a:gd name="T98" fmla="*/ 2147483647 w 1746"/>
              <a:gd name="T99" fmla="*/ 2147483647 h 3442"/>
              <a:gd name="T100" fmla="*/ 2147483647 w 1746"/>
              <a:gd name="T101" fmla="*/ 2147483647 h 3442"/>
              <a:gd name="T102" fmla="*/ 2147483647 w 1746"/>
              <a:gd name="T103" fmla="*/ 2147483647 h 3442"/>
              <a:gd name="T104" fmla="*/ 2147483647 w 1746"/>
              <a:gd name="T105" fmla="*/ 2147483647 h 3442"/>
              <a:gd name="T106" fmla="*/ 2147483647 w 1746"/>
              <a:gd name="T107" fmla="*/ 2147483647 h 3442"/>
              <a:gd name="T108" fmla="*/ 2147483647 w 1746"/>
              <a:gd name="T109" fmla="*/ 2147483647 h 3442"/>
              <a:gd name="T110" fmla="*/ 2147483647 w 1746"/>
              <a:gd name="T111" fmla="*/ 2147483647 h 3442"/>
              <a:gd name="T112" fmla="*/ 2147483647 w 1746"/>
              <a:gd name="T113" fmla="*/ 2147483647 h 3442"/>
              <a:gd name="T114" fmla="*/ 2147483647 w 1746"/>
              <a:gd name="T115" fmla="*/ 2147483647 h 3442"/>
              <a:gd name="T116" fmla="*/ 2147483647 w 1746"/>
              <a:gd name="T117" fmla="*/ 2147483647 h 3442"/>
              <a:gd name="T118" fmla="*/ 2147483647 w 1746"/>
              <a:gd name="T119" fmla="*/ 2147483647 h 34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46"/>
              <a:gd name="T181" fmla="*/ 0 h 3442"/>
              <a:gd name="T182" fmla="*/ 1746 w 1746"/>
              <a:gd name="T183" fmla="*/ 3442 h 34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46" h="3442">
                <a:moveTo>
                  <a:pt x="1746" y="1446"/>
                </a:moveTo>
                <a:lnTo>
                  <a:pt x="1746" y="1446"/>
                </a:lnTo>
                <a:lnTo>
                  <a:pt x="1746" y="1392"/>
                </a:lnTo>
                <a:lnTo>
                  <a:pt x="1746" y="1266"/>
                </a:lnTo>
                <a:lnTo>
                  <a:pt x="1744" y="1240"/>
                </a:lnTo>
                <a:lnTo>
                  <a:pt x="1738" y="1214"/>
                </a:lnTo>
                <a:lnTo>
                  <a:pt x="1714" y="1146"/>
                </a:lnTo>
                <a:lnTo>
                  <a:pt x="1706" y="1120"/>
                </a:lnTo>
                <a:lnTo>
                  <a:pt x="1702" y="1094"/>
                </a:lnTo>
                <a:lnTo>
                  <a:pt x="1694" y="1002"/>
                </a:lnTo>
                <a:lnTo>
                  <a:pt x="1688" y="948"/>
                </a:lnTo>
                <a:lnTo>
                  <a:pt x="1670" y="822"/>
                </a:lnTo>
                <a:lnTo>
                  <a:pt x="1668" y="794"/>
                </a:lnTo>
                <a:lnTo>
                  <a:pt x="1666" y="766"/>
                </a:lnTo>
                <a:lnTo>
                  <a:pt x="1666" y="738"/>
                </a:lnTo>
                <a:lnTo>
                  <a:pt x="1664" y="714"/>
                </a:lnTo>
                <a:lnTo>
                  <a:pt x="1662" y="704"/>
                </a:lnTo>
                <a:lnTo>
                  <a:pt x="1658" y="696"/>
                </a:lnTo>
                <a:lnTo>
                  <a:pt x="1648" y="686"/>
                </a:lnTo>
                <a:lnTo>
                  <a:pt x="1636" y="678"/>
                </a:lnTo>
                <a:lnTo>
                  <a:pt x="1616" y="668"/>
                </a:lnTo>
                <a:lnTo>
                  <a:pt x="1602" y="660"/>
                </a:lnTo>
                <a:lnTo>
                  <a:pt x="1582" y="652"/>
                </a:lnTo>
                <a:lnTo>
                  <a:pt x="1426" y="588"/>
                </a:lnTo>
                <a:lnTo>
                  <a:pt x="1416" y="582"/>
                </a:lnTo>
                <a:lnTo>
                  <a:pt x="1406" y="574"/>
                </a:lnTo>
                <a:lnTo>
                  <a:pt x="1398" y="564"/>
                </a:lnTo>
                <a:lnTo>
                  <a:pt x="1394" y="554"/>
                </a:lnTo>
                <a:lnTo>
                  <a:pt x="1392" y="542"/>
                </a:lnTo>
                <a:lnTo>
                  <a:pt x="1394" y="532"/>
                </a:lnTo>
                <a:lnTo>
                  <a:pt x="1396" y="524"/>
                </a:lnTo>
                <a:lnTo>
                  <a:pt x="1402" y="516"/>
                </a:lnTo>
                <a:lnTo>
                  <a:pt x="1416" y="500"/>
                </a:lnTo>
                <a:lnTo>
                  <a:pt x="1430" y="480"/>
                </a:lnTo>
                <a:lnTo>
                  <a:pt x="1442" y="458"/>
                </a:lnTo>
                <a:lnTo>
                  <a:pt x="1448" y="446"/>
                </a:lnTo>
                <a:lnTo>
                  <a:pt x="1452" y="432"/>
                </a:lnTo>
                <a:lnTo>
                  <a:pt x="1456" y="418"/>
                </a:lnTo>
                <a:lnTo>
                  <a:pt x="1460" y="406"/>
                </a:lnTo>
                <a:lnTo>
                  <a:pt x="1468" y="340"/>
                </a:lnTo>
                <a:lnTo>
                  <a:pt x="1470" y="312"/>
                </a:lnTo>
                <a:lnTo>
                  <a:pt x="1472" y="286"/>
                </a:lnTo>
                <a:lnTo>
                  <a:pt x="1472" y="266"/>
                </a:lnTo>
                <a:lnTo>
                  <a:pt x="1470" y="244"/>
                </a:lnTo>
                <a:lnTo>
                  <a:pt x="1466" y="234"/>
                </a:lnTo>
                <a:lnTo>
                  <a:pt x="1464" y="228"/>
                </a:lnTo>
                <a:lnTo>
                  <a:pt x="1456" y="214"/>
                </a:lnTo>
                <a:lnTo>
                  <a:pt x="1448" y="198"/>
                </a:lnTo>
                <a:lnTo>
                  <a:pt x="1440" y="182"/>
                </a:lnTo>
                <a:lnTo>
                  <a:pt x="1430" y="168"/>
                </a:lnTo>
                <a:lnTo>
                  <a:pt x="1416" y="156"/>
                </a:lnTo>
                <a:lnTo>
                  <a:pt x="1402" y="148"/>
                </a:lnTo>
                <a:lnTo>
                  <a:pt x="1366" y="138"/>
                </a:lnTo>
                <a:lnTo>
                  <a:pt x="1356" y="136"/>
                </a:lnTo>
                <a:lnTo>
                  <a:pt x="1344" y="136"/>
                </a:lnTo>
                <a:lnTo>
                  <a:pt x="1332" y="140"/>
                </a:lnTo>
                <a:lnTo>
                  <a:pt x="1320" y="142"/>
                </a:lnTo>
                <a:lnTo>
                  <a:pt x="1316" y="144"/>
                </a:lnTo>
                <a:lnTo>
                  <a:pt x="1266" y="168"/>
                </a:lnTo>
                <a:lnTo>
                  <a:pt x="1246" y="178"/>
                </a:lnTo>
                <a:lnTo>
                  <a:pt x="1236" y="184"/>
                </a:lnTo>
                <a:lnTo>
                  <a:pt x="1226" y="192"/>
                </a:lnTo>
                <a:lnTo>
                  <a:pt x="1218" y="202"/>
                </a:lnTo>
                <a:lnTo>
                  <a:pt x="1214" y="210"/>
                </a:lnTo>
                <a:lnTo>
                  <a:pt x="1196" y="254"/>
                </a:lnTo>
                <a:lnTo>
                  <a:pt x="1188" y="274"/>
                </a:lnTo>
                <a:lnTo>
                  <a:pt x="1180" y="294"/>
                </a:lnTo>
                <a:lnTo>
                  <a:pt x="1176" y="298"/>
                </a:lnTo>
                <a:lnTo>
                  <a:pt x="1174" y="300"/>
                </a:lnTo>
                <a:lnTo>
                  <a:pt x="1168" y="302"/>
                </a:lnTo>
                <a:lnTo>
                  <a:pt x="1166" y="306"/>
                </a:lnTo>
                <a:lnTo>
                  <a:pt x="1164" y="316"/>
                </a:lnTo>
                <a:lnTo>
                  <a:pt x="1160" y="330"/>
                </a:lnTo>
                <a:lnTo>
                  <a:pt x="1156" y="340"/>
                </a:lnTo>
                <a:lnTo>
                  <a:pt x="1156" y="348"/>
                </a:lnTo>
                <a:lnTo>
                  <a:pt x="1156" y="358"/>
                </a:lnTo>
                <a:lnTo>
                  <a:pt x="1160" y="368"/>
                </a:lnTo>
                <a:lnTo>
                  <a:pt x="1164" y="382"/>
                </a:lnTo>
                <a:lnTo>
                  <a:pt x="1166" y="392"/>
                </a:lnTo>
                <a:lnTo>
                  <a:pt x="1168" y="392"/>
                </a:lnTo>
                <a:lnTo>
                  <a:pt x="1170" y="394"/>
                </a:lnTo>
                <a:lnTo>
                  <a:pt x="1180" y="392"/>
                </a:lnTo>
                <a:lnTo>
                  <a:pt x="1186" y="390"/>
                </a:lnTo>
                <a:lnTo>
                  <a:pt x="1190" y="396"/>
                </a:lnTo>
                <a:lnTo>
                  <a:pt x="1192" y="402"/>
                </a:lnTo>
                <a:lnTo>
                  <a:pt x="1194" y="412"/>
                </a:lnTo>
                <a:lnTo>
                  <a:pt x="1194" y="440"/>
                </a:lnTo>
                <a:lnTo>
                  <a:pt x="1192" y="452"/>
                </a:lnTo>
                <a:lnTo>
                  <a:pt x="1190" y="464"/>
                </a:lnTo>
                <a:lnTo>
                  <a:pt x="1186" y="476"/>
                </a:lnTo>
                <a:lnTo>
                  <a:pt x="1180" y="486"/>
                </a:lnTo>
                <a:lnTo>
                  <a:pt x="1152" y="522"/>
                </a:lnTo>
                <a:lnTo>
                  <a:pt x="1136" y="540"/>
                </a:lnTo>
                <a:lnTo>
                  <a:pt x="1114" y="556"/>
                </a:lnTo>
                <a:lnTo>
                  <a:pt x="1106" y="562"/>
                </a:lnTo>
                <a:lnTo>
                  <a:pt x="1082" y="576"/>
                </a:lnTo>
                <a:lnTo>
                  <a:pt x="1056" y="586"/>
                </a:lnTo>
                <a:lnTo>
                  <a:pt x="970" y="616"/>
                </a:lnTo>
                <a:lnTo>
                  <a:pt x="958" y="618"/>
                </a:lnTo>
                <a:lnTo>
                  <a:pt x="944" y="620"/>
                </a:lnTo>
                <a:lnTo>
                  <a:pt x="930" y="618"/>
                </a:lnTo>
                <a:lnTo>
                  <a:pt x="918" y="614"/>
                </a:lnTo>
                <a:lnTo>
                  <a:pt x="844" y="578"/>
                </a:lnTo>
                <a:lnTo>
                  <a:pt x="794" y="554"/>
                </a:lnTo>
                <a:lnTo>
                  <a:pt x="732" y="528"/>
                </a:lnTo>
                <a:lnTo>
                  <a:pt x="708" y="518"/>
                </a:lnTo>
                <a:lnTo>
                  <a:pt x="680" y="510"/>
                </a:lnTo>
                <a:lnTo>
                  <a:pt x="632" y="498"/>
                </a:lnTo>
                <a:lnTo>
                  <a:pt x="622" y="494"/>
                </a:lnTo>
                <a:lnTo>
                  <a:pt x="612" y="488"/>
                </a:lnTo>
                <a:lnTo>
                  <a:pt x="604" y="478"/>
                </a:lnTo>
                <a:lnTo>
                  <a:pt x="598" y="468"/>
                </a:lnTo>
                <a:lnTo>
                  <a:pt x="586" y="450"/>
                </a:lnTo>
                <a:lnTo>
                  <a:pt x="578" y="440"/>
                </a:lnTo>
                <a:lnTo>
                  <a:pt x="574" y="434"/>
                </a:lnTo>
                <a:lnTo>
                  <a:pt x="572" y="426"/>
                </a:lnTo>
                <a:lnTo>
                  <a:pt x="570" y="406"/>
                </a:lnTo>
                <a:lnTo>
                  <a:pt x="570" y="340"/>
                </a:lnTo>
                <a:lnTo>
                  <a:pt x="572" y="328"/>
                </a:lnTo>
                <a:lnTo>
                  <a:pt x="574" y="314"/>
                </a:lnTo>
                <a:lnTo>
                  <a:pt x="578" y="300"/>
                </a:lnTo>
                <a:lnTo>
                  <a:pt x="584" y="288"/>
                </a:lnTo>
                <a:lnTo>
                  <a:pt x="588" y="278"/>
                </a:lnTo>
                <a:lnTo>
                  <a:pt x="594" y="264"/>
                </a:lnTo>
                <a:lnTo>
                  <a:pt x="596" y="252"/>
                </a:lnTo>
                <a:lnTo>
                  <a:pt x="596" y="240"/>
                </a:lnTo>
                <a:lnTo>
                  <a:pt x="596" y="210"/>
                </a:lnTo>
                <a:lnTo>
                  <a:pt x="596" y="206"/>
                </a:lnTo>
                <a:lnTo>
                  <a:pt x="594" y="204"/>
                </a:lnTo>
                <a:lnTo>
                  <a:pt x="584" y="196"/>
                </a:lnTo>
                <a:lnTo>
                  <a:pt x="578" y="192"/>
                </a:lnTo>
                <a:lnTo>
                  <a:pt x="572" y="184"/>
                </a:lnTo>
                <a:lnTo>
                  <a:pt x="568" y="176"/>
                </a:lnTo>
                <a:lnTo>
                  <a:pt x="566" y="164"/>
                </a:lnTo>
                <a:lnTo>
                  <a:pt x="560" y="146"/>
                </a:lnTo>
                <a:lnTo>
                  <a:pt x="548" y="94"/>
                </a:lnTo>
                <a:lnTo>
                  <a:pt x="540" y="72"/>
                </a:lnTo>
                <a:lnTo>
                  <a:pt x="528" y="52"/>
                </a:lnTo>
                <a:lnTo>
                  <a:pt x="516" y="38"/>
                </a:lnTo>
                <a:lnTo>
                  <a:pt x="510" y="34"/>
                </a:lnTo>
                <a:lnTo>
                  <a:pt x="506" y="34"/>
                </a:lnTo>
                <a:lnTo>
                  <a:pt x="498" y="32"/>
                </a:lnTo>
                <a:lnTo>
                  <a:pt x="486" y="28"/>
                </a:lnTo>
                <a:lnTo>
                  <a:pt x="476" y="24"/>
                </a:lnTo>
                <a:lnTo>
                  <a:pt x="466" y="22"/>
                </a:lnTo>
                <a:lnTo>
                  <a:pt x="454" y="20"/>
                </a:lnTo>
                <a:lnTo>
                  <a:pt x="438" y="10"/>
                </a:lnTo>
                <a:lnTo>
                  <a:pt x="428" y="6"/>
                </a:lnTo>
                <a:lnTo>
                  <a:pt x="416" y="2"/>
                </a:lnTo>
                <a:lnTo>
                  <a:pt x="404" y="0"/>
                </a:lnTo>
                <a:lnTo>
                  <a:pt x="390" y="0"/>
                </a:lnTo>
                <a:lnTo>
                  <a:pt x="388" y="0"/>
                </a:lnTo>
                <a:lnTo>
                  <a:pt x="348" y="0"/>
                </a:lnTo>
                <a:lnTo>
                  <a:pt x="332" y="2"/>
                </a:lnTo>
                <a:lnTo>
                  <a:pt x="314" y="10"/>
                </a:lnTo>
                <a:lnTo>
                  <a:pt x="292" y="24"/>
                </a:lnTo>
                <a:lnTo>
                  <a:pt x="272" y="40"/>
                </a:lnTo>
                <a:lnTo>
                  <a:pt x="252" y="58"/>
                </a:lnTo>
                <a:lnTo>
                  <a:pt x="238" y="76"/>
                </a:lnTo>
                <a:lnTo>
                  <a:pt x="228" y="94"/>
                </a:lnTo>
                <a:lnTo>
                  <a:pt x="226" y="100"/>
                </a:lnTo>
                <a:lnTo>
                  <a:pt x="224" y="106"/>
                </a:lnTo>
                <a:lnTo>
                  <a:pt x="222" y="120"/>
                </a:lnTo>
                <a:lnTo>
                  <a:pt x="216" y="136"/>
                </a:lnTo>
                <a:lnTo>
                  <a:pt x="214" y="146"/>
                </a:lnTo>
                <a:lnTo>
                  <a:pt x="212" y="158"/>
                </a:lnTo>
                <a:lnTo>
                  <a:pt x="212" y="170"/>
                </a:lnTo>
                <a:lnTo>
                  <a:pt x="214" y="182"/>
                </a:lnTo>
                <a:lnTo>
                  <a:pt x="220" y="224"/>
                </a:lnTo>
                <a:lnTo>
                  <a:pt x="224" y="250"/>
                </a:lnTo>
                <a:lnTo>
                  <a:pt x="224" y="276"/>
                </a:lnTo>
                <a:lnTo>
                  <a:pt x="226" y="298"/>
                </a:lnTo>
                <a:lnTo>
                  <a:pt x="230" y="318"/>
                </a:lnTo>
                <a:lnTo>
                  <a:pt x="240" y="334"/>
                </a:lnTo>
                <a:lnTo>
                  <a:pt x="250" y="348"/>
                </a:lnTo>
                <a:lnTo>
                  <a:pt x="262" y="362"/>
                </a:lnTo>
                <a:lnTo>
                  <a:pt x="272" y="378"/>
                </a:lnTo>
                <a:lnTo>
                  <a:pt x="282" y="398"/>
                </a:lnTo>
                <a:lnTo>
                  <a:pt x="298" y="418"/>
                </a:lnTo>
                <a:lnTo>
                  <a:pt x="304" y="424"/>
                </a:lnTo>
                <a:lnTo>
                  <a:pt x="310" y="434"/>
                </a:lnTo>
                <a:lnTo>
                  <a:pt x="316" y="446"/>
                </a:lnTo>
                <a:lnTo>
                  <a:pt x="320" y="460"/>
                </a:lnTo>
                <a:lnTo>
                  <a:pt x="322" y="472"/>
                </a:lnTo>
                <a:lnTo>
                  <a:pt x="322" y="502"/>
                </a:lnTo>
                <a:lnTo>
                  <a:pt x="320" y="526"/>
                </a:lnTo>
                <a:lnTo>
                  <a:pt x="318" y="538"/>
                </a:lnTo>
                <a:lnTo>
                  <a:pt x="314" y="548"/>
                </a:lnTo>
                <a:lnTo>
                  <a:pt x="308" y="556"/>
                </a:lnTo>
                <a:lnTo>
                  <a:pt x="300" y="564"/>
                </a:lnTo>
                <a:lnTo>
                  <a:pt x="292" y="570"/>
                </a:lnTo>
                <a:lnTo>
                  <a:pt x="280" y="576"/>
                </a:lnTo>
                <a:lnTo>
                  <a:pt x="220" y="602"/>
                </a:lnTo>
                <a:lnTo>
                  <a:pt x="200" y="610"/>
                </a:lnTo>
                <a:lnTo>
                  <a:pt x="190" y="614"/>
                </a:lnTo>
                <a:lnTo>
                  <a:pt x="178" y="618"/>
                </a:lnTo>
                <a:lnTo>
                  <a:pt x="160" y="628"/>
                </a:lnTo>
                <a:lnTo>
                  <a:pt x="150" y="634"/>
                </a:lnTo>
                <a:lnTo>
                  <a:pt x="128" y="652"/>
                </a:lnTo>
                <a:lnTo>
                  <a:pt x="110" y="670"/>
                </a:lnTo>
                <a:lnTo>
                  <a:pt x="104" y="678"/>
                </a:lnTo>
                <a:lnTo>
                  <a:pt x="86" y="696"/>
                </a:lnTo>
                <a:lnTo>
                  <a:pt x="70" y="710"/>
                </a:lnTo>
                <a:lnTo>
                  <a:pt x="66" y="716"/>
                </a:lnTo>
                <a:lnTo>
                  <a:pt x="60" y="724"/>
                </a:lnTo>
                <a:lnTo>
                  <a:pt x="58" y="732"/>
                </a:lnTo>
                <a:lnTo>
                  <a:pt x="56" y="740"/>
                </a:lnTo>
                <a:lnTo>
                  <a:pt x="56" y="786"/>
                </a:lnTo>
                <a:lnTo>
                  <a:pt x="56" y="802"/>
                </a:lnTo>
                <a:lnTo>
                  <a:pt x="58" y="858"/>
                </a:lnTo>
                <a:lnTo>
                  <a:pt x="70" y="958"/>
                </a:lnTo>
                <a:lnTo>
                  <a:pt x="70" y="986"/>
                </a:lnTo>
                <a:lnTo>
                  <a:pt x="68" y="1014"/>
                </a:lnTo>
                <a:lnTo>
                  <a:pt x="48" y="1116"/>
                </a:lnTo>
                <a:lnTo>
                  <a:pt x="38" y="1170"/>
                </a:lnTo>
                <a:lnTo>
                  <a:pt x="6" y="1344"/>
                </a:lnTo>
                <a:lnTo>
                  <a:pt x="2" y="1370"/>
                </a:lnTo>
                <a:lnTo>
                  <a:pt x="0" y="1396"/>
                </a:lnTo>
                <a:lnTo>
                  <a:pt x="0" y="1444"/>
                </a:lnTo>
                <a:lnTo>
                  <a:pt x="2" y="1470"/>
                </a:lnTo>
                <a:lnTo>
                  <a:pt x="8" y="1494"/>
                </a:lnTo>
                <a:lnTo>
                  <a:pt x="16" y="1518"/>
                </a:lnTo>
                <a:lnTo>
                  <a:pt x="28" y="1542"/>
                </a:lnTo>
                <a:lnTo>
                  <a:pt x="30" y="1542"/>
                </a:lnTo>
                <a:lnTo>
                  <a:pt x="60" y="1588"/>
                </a:lnTo>
                <a:lnTo>
                  <a:pt x="70" y="1602"/>
                </a:lnTo>
                <a:lnTo>
                  <a:pt x="76" y="1614"/>
                </a:lnTo>
                <a:lnTo>
                  <a:pt x="82" y="1626"/>
                </a:lnTo>
                <a:lnTo>
                  <a:pt x="88" y="1640"/>
                </a:lnTo>
                <a:lnTo>
                  <a:pt x="90" y="1652"/>
                </a:lnTo>
                <a:lnTo>
                  <a:pt x="92" y="1660"/>
                </a:lnTo>
                <a:lnTo>
                  <a:pt x="96" y="1688"/>
                </a:lnTo>
                <a:lnTo>
                  <a:pt x="98" y="1714"/>
                </a:lnTo>
                <a:lnTo>
                  <a:pt x="98" y="1804"/>
                </a:lnTo>
                <a:lnTo>
                  <a:pt x="100" y="1830"/>
                </a:lnTo>
                <a:lnTo>
                  <a:pt x="104" y="1858"/>
                </a:lnTo>
                <a:lnTo>
                  <a:pt x="120" y="1924"/>
                </a:lnTo>
                <a:lnTo>
                  <a:pt x="132" y="1978"/>
                </a:lnTo>
                <a:lnTo>
                  <a:pt x="136" y="1996"/>
                </a:lnTo>
                <a:lnTo>
                  <a:pt x="138" y="2022"/>
                </a:lnTo>
                <a:lnTo>
                  <a:pt x="140" y="2050"/>
                </a:lnTo>
                <a:lnTo>
                  <a:pt x="140" y="2056"/>
                </a:lnTo>
                <a:lnTo>
                  <a:pt x="140" y="2102"/>
                </a:lnTo>
                <a:lnTo>
                  <a:pt x="142" y="2124"/>
                </a:lnTo>
                <a:lnTo>
                  <a:pt x="144" y="2148"/>
                </a:lnTo>
                <a:lnTo>
                  <a:pt x="164" y="2262"/>
                </a:lnTo>
                <a:lnTo>
                  <a:pt x="172" y="2318"/>
                </a:lnTo>
                <a:lnTo>
                  <a:pt x="180" y="2418"/>
                </a:lnTo>
                <a:lnTo>
                  <a:pt x="184" y="2472"/>
                </a:lnTo>
                <a:lnTo>
                  <a:pt x="194" y="2660"/>
                </a:lnTo>
                <a:lnTo>
                  <a:pt x="198" y="2686"/>
                </a:lnTo>
                <a:lnTo>
                  <a:pt x="206" y="2712"/>
                </a:lnTo>
                <a:lnTo>
                  <a:pt x="254" y="2842"/>
                </a:lnTo>
                <a:lnTo>
                  <a:pt x="256" y="2854"/>
                </a:lnTo>
                <a:lnTo>
                  <a:pt x="258" y="2868"/>
                </a:lnTo>
                <a:lnTo>
                  <a:pt x="256" y="2880"/>
                </a:lnTo>
                <a:lnTo>
                  <a:pt x="254" y="2892"/>
                </a:lnTo>
                <a:lnTo>
                  <a:pt x="234" y="2938"/>
                </a:lnTo>
                <a:lnTo>
                  <a:pt x="222" y="2962"/>
                </a:lnTo>
                <a:lnTo>
                  <a:pt x="206" y="2984"/>
                </a:lnTo>
                <a:lnTo>
                  <a:pt x="200" y="2990"/>
                </a:lnTo>
                <a:lnTo>
                  <a:pt x="194" y="3000"/>
                </a:lnTo>
                <a:lnTo>
                  <a:pt x="188" y="3014"/>
                </a:lnTo>
                <a:lnTo>
                  <a:pt x="184" y="3026"/>
                </a:lnTo>
                <a:lnTo>
                  <a:pt x="182" y="3038"/>
                </a:lnTo>
                <a:lnTo>
                  <a:pt x="182" y="3094"/>
                </a:lnTo>
                <a:lnTo>
                  <a:pt x="184" y="3104"/>
                </a:lnTo>
                <a:lnTo>
                  <a:pt x="190" y="3114"/>
                </a:lnTo>
                <a:lnTo>
                  <a:pt x="200" y="3120"/>
                </a:lnTo>
                <a:lnTo>
                  <a:pt x="210" y="3124"/>
                </a:lnTo>
                <a:lnTo>
                  <a:pt x="252" y="3128"/>
                </a:lnTo>
                <a:lnTo>
                  <a:pt x="264" y="3128"/>
                </a:lnTo>
                <a:lnTo>
                  <a:pt x="278" y="3126"/>
                </a:lnTo>
                <a:lnTo>
                  <a:pt x="290" y="3120"/>
                </a:lnTo>
                <a:lnTo>
                  <a:pt x="300" y="3114"/>
                </a:lnTo>
                <a:lnTo>
                  <a:pt x="314" y="3102"/>
                </a:lnTo>
                <a:lnTo>
                  <a:pt x="348" y="3072"/>
                </a:lnTo>
                <a:lnTo>
                  <a:pt x="360" y="3060"/>
                </a:lnTo>
                <a:lnTo>
                  <a:pt x="368" y="3048"/>
                </a:lnTo>
                <a:lnTo>
                  <a:pt x="372" y="3042"/>
                </a:lnTo>
                <a:lnTo>
                  <a:pt x="374" y="3034"/>
                </a:lnTo>
                <a:lnTo>
                  <a:pt x="376" y="3018"/>
                </a:lnTo>
                <a:lnTo>
                  <a:pt x="378" y="3000"/>
                </a:lnTo>
                <a:lnTo>
                  <a:pt x="384" y="2982"/>
                </a:lnTo>
                <a:lnTo>
                  <a:pt x="390" y="2968"/>
                </a:lnTo>
                <a:lnTo>
                  <a:pt x="394" y="2964"/>
                </a:lnTo>
                <a:lnTo>
                  <a:pt x="396" y="2964"/>
                </a:lnTo>
                <a:lnTo>
                  <a:pt x="406" y="2958"/>
                </a:lnTo>
                <a:lnTo>
                  <a:pt x="424" y="2946"/>
                </a:lnTo>
                <a:lnTo>
                  <a:pt x="424" y="2944"/>
                </a:lnTo>
                <a:lnTo>
                  <a:pt x="432" y="2936"/>
                </a:lnTo>
                <a:lnTo>
                  <a:pt x="440" y="2926"/>
                </a:lnTo>
                <a:lnTo>
                  <a:pt x="448" y="2914"/>
                </a:lnTo>
                <a:lnTo>
                  <a:pt x="452" y="2902"/>
                </a:lnTo>
                <a:lnTo>
                  <a:pt x="454" y="2892"/>
                </a:lnTo>
                <a:lnTo>
                  <a:pt x="452" y="2878"/>
                </a:lnTo>
                <a:lnTo>
                  <a:pt x="450" y="2866"/>
                </a:lnTo>
                <a:lnTo>
                  <a:pt x="446" y="2854"/>
                </a:lnTo>
                <a:lnTo>
                  <a:pt x="442" y="2844"/>
                </a:lnTo>
                <a:lnTo>
                  <a:pt x="438" y="2832"/>
                </a:lnTo>
                <a:lnTo>
                  <a:pt x="434" y="2818"/>
                </a:lnTo>
                <a:lnTo>
                  <a:pt x="432" y="2804"/>
                </a:lnTo>
                <a:lnTo>
                  <a:pt x="432" y="2792"/>
                </a:lnTo>
                <a:lnTo>
                  <a:pt x="432" y="2762"/>
                </a:lnTo>
                <a:lnTo>
                  <a:pt x="432" y="2708"/>
                </a:lnTo>
                <a:lnTo>
                  <a:pt x="432" y="2700"/>
                </a:lnTo>
                <a:lnTo>
                  <a:pt x="430" y="2674"/>
                </a:lnTo>
                <a:lnTo>
                  <a:pt x="424" y="2646"/>
                </a:lnTo>
                <a:lnTo>
                  <a:pt x="410" y="2592"/>
                </a:lnTo>
                <a:lnTo>
                  <a:pt x="404" y="2566"/>
                </a:lnTo>
                <a:lnTo>
                  <a:pt x="402" y="2538"/>
                </a:lnTo>
                <a:lnTo>
                  <a:pt x="402" y="2472"/>
                </a:lnTo>
                <a:lnTo>
                  <a:pt x="400" y="2418"/>
                </a:lnTo>
                <a:lnTo>
                  <a:pt x="392" y="2304"/>
                </a:lnTo>
                <a:lnTo>
                  <a:pt x="392" y="2276"/>
                </a:lnTo>
                <a:lnTo>
                  <a:pt x="396" y="2250"/>
                </a:lnTo>
                <a:lnTo>
                  <a:pt x="412" y="2160"/>
                </a:lnTo>
                <a:lnTo>
                  <a:pt x="416" y="2132"/>
                </a:lnTo>
                <a:lnTo>
                  <a:pt x="418" y="2104"/>
                </a:lnTo>
                <a:lnTo>
                  <a:pt x="418" y="2038"/>
                </a:lnTo>
                <a:lnTo>
                  <a:pt x="418" y="1984"/>
                </a:lnTo>
                <a:lnTo>
                  <a:pt x="418" y="1980"/>
                </a:lnTo>
                <a:lnTo>
                  <a:pt x="420" y="1956"/>
                </a:lnTo>
                <a:lnTo>
                  <a:pt x="422" y="1946"/>
                </a:lnTo>
                <a:lnTo>
                  <a:pt x="426" y="1938"/>
                </a:lnTo>
                <a:lnTo>
                  <a:pt x="428" y="1936"/>
                </a:lnTo>
                <a:lnTo>
                  <a:pt x="432" y="1934"/>
                </a:lnTo>
                <a:lnTo>
                  <a:pt x="436" y="1936"/>
                </a:lnTo>
                <a:lnTo>
                  <a:pt x="438" y="1938"/>
                </a:lnTo>
                <a:lnTo>
                  <a:pt x="446" y="1956"/>
                </a:lnTo>
                <a:lnTo>
                  <a:pt x="454" y="1978"/>
                </a:lnTo>
                <a:lnTo>
                  <a:pt x="492" y="2094"/>
                </a:lnTo>
                <a:lnTo>
                  <a:pt x="506" y="2144"/>
                </a:lnTo>
                <a:lnTo>
                  <a:pt x="512" y="2166"/>
                </a:lnTo>
                <a:lnTo>
                  <a:pt x="514" y="2186"/>
                </a:lnTo>
                <a:lnTo>
                  <a:pt x="514" y="2216"/>
                </a:lnTo>
                <a:lnTo>
                  <a:pt x="514" y="2256"/>
                </a:lnTo>
                <a:lnTo>
                  <a:pt x="514" y="2564"/>
                </a:lnTo>
                <a:lnTo>
                  <a:pt x="514" y="2618"/>
                </a:lnTo>
                <a:lnTo>
                  <a:pt x="514" y="2730"/>
                </a:lnTo>
                <a:lnTo>
                  <a:pt x="514" y="2758"/>
                </a:lnTo>
                <a:lnTo>
                  <a:pt x="518" y="2784"/>
                </a:lnTo>
                <a:lnTo>
                  <a:pt x="538" y="2924"/>
                </a:lnTo>
                <a:lnTo>
                  <a:pt x="546" y="2978"/>
                </a:lnTo>
                <a:lnTo>
                  <a:pt x="550" y="3010"/>
                </a:lnTo>
                <a:lnTo>
                  <a:pt x="556" y="3032"/>
                </a:lnTo>
                <a:lnTo>
                  <a:pt x="562" y="3048"/>
                </a:lnTo>
                <a:lnTo>
                  <a:pt x="578" y="3072"/>
                </a:lnTo>
                <a:lnTo>
                  <a:pt x="580" y="3076"/>
                </a:lnTo>
                <a:lnTo>
                  <a:pt x="580" y="3082"/>
                </a:lnTo>
                <a:lnTo>
                  <a:pt x="580" y="3086"/>
                </a:lnTo>
                <a:lnTo>
                  <a:pt x="578" y="3090"/>
                </a:lnTo>
                <a:lnTo>
                  <a:pt x="574" y="3094"/>
                </a:lnTo>
                <a:lnTo>
                  <a:pt x="572" y="3100"/>
                </a:lnTo>
                <a:lnTo>
                  <a:pt x="570" y="3114"/>
                </a:lnTo>
                <a:lnTo>
                  <a:pt x="570" y="3144"/>
                </a:lnTo>
                <a:lnTo>
                  <a:pt x="570" y="3168"/>
                </a:lnTo>
                <a:lnTo>
                  <a:pt x="572" y="3174"/>
                </a:lnTo>
                <a:lnTo>
                  <a:pt x="576" y="3182"/>
                </a:lnTo>
                <a:lnTo>
                  <a:pt x="588" y="3202"/>
                </a:lnTo>
                <a:lnTo>
                  <a:pt x="592" y="3206"/>
                </a:lnTo>
                <a:lnTo>
                  <a:pt x="600" y="3214"/>
                </a:lnTo>
                <a:lnTo>
                  <a:pt x="610" y="3222"/>
                </a:lnTo>
                <a:lnTo>
                  <a:pt x="618" y="3226"/>
                </a:lnTo>
                <a:lnTo>
                  <a:pt x="624" y="3228"/>
                </a:lnTo>
                <a:lnTo>
                  <a:pt x="630" y="3230"/>
                </a:lnTo>
                <a:lnTo>
                  <a:pt x="634" y="3236"/>
                </a:lnTo>
                <a:lnTo>
                  <a:pt x="638" y="3244"/>
                </a:lnTo>
                <a:lnTo>
                  <a:pt x="638" y="3256"/>
                </a:lnTo>
                <a:lnTo>
                  <a:pt x="638" y="3262"/>
                </a:lnTo>
                <a:lnTo>
                  <a:pt x="638" y="3308"/>
                </a:lnTo>
                <a:lnTo>
                  <a:pt x="640" y="3324"/>
                </a:lnTo>
                <a:lnTo>
                  <a:pt x="646" y="3338"/>
                </a:lnTo>
                <a:lnTo>
                  <a:pt x="666" y="3368"/>
                </a:lnTo>
                <a:lnTo>
                  <a:pt x="682" y="3386"/>
                </a:lnTo>
                <a:lnTo>
                  <a:pt x="702" y="3404"/>
                </a:lnTo>
                <a:lnTo>
                  <a:pt x="716" y="3416"/>
                </a:lnTo>
                <a:lnTo>
                  <a:pt x="742" y="3440"/>
                </a:lnTo>
                <a:lnTo>
                  <a:pt x="748" y="3442"/>
                </a:lnTo>
                <a:lnTo>
                  <a:pt x="756" y="3442"/>
                </a:lnTo>
                <a:lnTo>
                  <a:pt x="776" y="3442"/>
                </a:lnTo>
                <a:lnTo>
                  <a:pt x="848" y="3436"/>
                </a:lnTo>
                <a:lnTo>
                  <a:pt x="858" y="3434"/>
                </a:lnTo>
                <a:lnTo>
                  <a:pt x="868" y="3426"/>
                </a:lnTo>
                <a:lnTo>
                  <a:pt x="874" y="3418"/>
                </a:lnTo>
                <a:lnTo>
                  <a:pt x="876" y="3406"/>
                </a:lnTo>
                <a:lnTo>
                  <a:pt x="876" y="3354"/>
                </a:lnTo>
                <a:lnTo>
                  <a:pt x="874" y="3342"/>
                </a:lnTo>
                <a:lnTo>
                  <a:pt x="872" y="3328"/>
                </a:lnTo>
                <a:lnTo>
                  <a:pt x="866" y="3318"/>
                </a:lnTo>
                <a:lnTo>
                  <a:pt x="862" y="3308"/>
                </a:lnTo>
                <a:lnTo>
                  <a:pt x="848" y="3288"/>
                </a:lnTo>
                <a:lnTo>
                  <a:pt x="836" y="3264"/>
                </a:lnTo>
                <a:lnTo>
                  <a:pt x="802" y="3194"/>
                </a:lnTo>
                <a:lnTo>
                  <a:pt x="792" y="3170"/>
                </a:lnTo>
                <a:lnTo>
                  <a:pt x="784" y="3144"/>
                </a:lnTo>
                <a:lnTo>
                  <a:pt x="782" y="3134"/>
                </a:lnTo>
                <a:lnTo>
                  <a:pt x="782" y="3120"/>
                </a:lnTo>
                <a:lnTo>
                  <a:pt x="782" y="3106"/>
                </a:lnTo>
                <a:lnTo>
                  <a:pt x="782" y="3094"/>
                </a:lnTo>
                <a:lnTo>
                  <a:pt x="788" y="3064"/>
                </a:lnTo>
                <a:lnTo>
                  <a:pt x="790" y="3036"/>
                </a:lnTo>
                <a:lnTo>
                  <a:pt x="792" y="3010"/>
                </a:lnTo>
                <a:lnTo>
                  <a:pt x="792" y="2932"/>
                </a:lnTo>
                <a:lnTo>
                  <a:pt x="792" y="2904"/>
                </a:lnTo>
                <a:lnTo>
                  <a:pt x="796" y="2876"/>
                </a:lnTo>
                <a:lnTo>
                  <a:pt x="816" y="2750"/>
                </a:lnTo>
                <a:lnTo>
                  <a:pt x="818" y="2724"/>
                </a:lnTo>
                <a:lnTo>
                  <a:pt x="816" y="2696"/>
                </a:lnTo>
                <a:lnTo>
                  <a:pt x="796" y="2594"/>
                </a:lnTo>
                <a:lnTo>
                  <a:pt x="792" y="2566"/>
                </a:lnTo>
                <a:lnTo>
                  <a:pt x="792" y="2538"/>
                </a:lnTo>
                <a:lnTo>
                  <a:pt x="792" y="2462"/>
                </a:lnTo>
                <a:lnTo>
                  <a:pt x="790" y="2406"/>
                </a:lnTo>
                <a:lnTo>
                  <a:pt x="780" y="2280"/>
                </a:lnTo>
                <a:lnTo>
                  <a:pt x="780" y="2254"/>
                </a:lnTo>
                <a:lnTo>
                  <a:pt x="782" y="2226"/>
                </a:lnTo>
                <a:lnTo>
                  <a:pt x="788" y="2196"/>
                </a:lnTo>
                <a:lnTo>
                  <a:pt x="794" y="2142"/>
                </a:lnTo>
                <a:lnTo>
                  <a:pt x="800" y="2086"/>
                </a:lnTo>
                <a:lnTo>
                  <a:pt x="804" y="2060"/>
                </a:lnTo>
                <a:lnTo>
                  <a:pt x="804" y="2032"/>
                </a:lnTo>
                <a:lnTo>
                  <a:pt x="804" y="1894"/>
                </a:lnTo>
                <a:lnTo>
                  <a:pt x="804" y="1868"/>
                </a:lnTo>
                <a:lnTo>
                  <a:pt x="800" y="1840"/>
                </a:lnTo>
                <a:lnTo>
                  <a:pt x="794" y="1784"/>
                </a:lnTo>
                <a:lnTo>
                  <a:pt x="790" y="1758"/>
                </a:lnTo>
                <a:lnTo>
                  <a:pt x="782" y="1732"/>
                </a:lnTo>
                <a:lnTo>
                  <a:pt x="772" y="1700"/>
                </a:lnTo>
                <a:lnTo>
                  <a:pt x="764" y="1678"/>
                </a:lnTo>
                <a:lnTo>
                  <a:pt x="762" y="1662"/>
                </a:lnTo>
                <a:lnTo>
                  <a:pt x="764" y="1656"/>
                </a:lnTo>
                <a:lnTo>
                  <a:pt x="766" y="1650"/>
                </a:lnTo>
                <a:lnTo>
                  <a:pt x="772" y="1644"/>
                </a:lnTo>
                <a:lnTo>
                  <a:pt x="776" y="1638"/>
                </a:lnTo>
                <a:lnTo>
                  <a:pt x="784" y="1634"/>
                </a:lnTo>
                <a:lnTo>
                  <a:pt x="792" y="1630"/>
                </a:lnTo>
                <a:lnTo>
                  <a:pt x="800" y="1630"/>
                </a:lnTo>
                <a:lnTo>
                  <a:pt x="806" y="1632"/>
                </a:lnTo>
                <a:lnTo>
                  <a:pt x="812" y="1634"/>
                </a:lnTo>
                <a:lnTo>
                  <a:pt x="818" y="1634"/>
                </a:lnTo>
                <a:lnTo>
                  <a:pt x="822" y="1630"/>
                </a:lnTo>
                <a:lnTo>
                  <a:pt x="826" y="1626"/>
                </a:lnTo>
                <a:lnTo>
                  <a:pt x="836" y="1614"/>
                </a:lnTo>
                <a:lnTo>
                  <a:pt x="846" y="1602"/>
                </a:lnTo>
                <a:lnTo>
                  <a:pt x="852" y="1598"/>
                </a:lnTo>
                <a:lnTo>
                  <a:pt x="860" y="1600"/>
                </a:lnTo>
                <a:lnTo>
                  <a:pt x="868" y="1604"/>
                </a:lnTo>
                <a:lnTo>
                  <a:pt x="874" y="1612"/>
                </a:lnTo>
                <a:lnTo>
                  <a:pt x="902" y="1650"/>
                </a:lnTo>
                <a:lnTo>
                  <a:pt x="914" y="1666"/>
                </a:lnTo>
                <a:lnTo>
                  <a:pt x="920" y="1672"/>
                </a:lnTo>
                <a:lnTo>
                  <a:pt x="924" y="1674"/>
                </a:lnTo>
                <a:lnTo>
                  <a:pt x="926" y="1674"/>
                </a:lnTo>
                <a:lnTo>
                  <a:pt x="930" y="1678"/>
                </a:lnTo>
                <a:lnTo>
                  <a:pt x="936" y="1692"/>
                </a:lnTo>
                <a:lnTo>
                  <a:pt x="942" y="1712"/>
                </a:lnTo>
                <a:lnTo>
                  <a:pt x="944" y="1738"/>
                </a:lnTo>
                <a:lnTo>
                  <a:pt x="944" y="1744"/>
                </a:lnTo>
                <a:lnTo>
                  <a:pt x="944" y="1798"/>
                </a:lnTo>
                <a:lnTo>
                  <a:pt x="944" y="2068"/>
                </a:lnTo>
                <a:lnTo>
                  <a:pt x="940" y="2096"/>
                </a:lnTo>
                <a:lnTo>
                  <a:pt x="936" y="2122"/>
                </a:lnTo>
                <a:lnTo>
                  <a:pt x="926" y="2154"/>
                </a:lnTo>
                <a:lnTo>
                  <a:pt x="918" y="2180"/>
                </a:lnTo>
                <a:lnTo>
                  <a:pt x="912" y="2208"/>
                </a:lnTo>
                <a:lnTo>
                  <a:pt x="906" y="2238"/>
                </a:lnTo>
                <a:lnTo>
                  <a:pt x="902" y="2264"/>
                </a:lnTo>
                <a:lnTo>
                  <a:pt x="902" y="2292"/>
                </a:lnTo>
                <a:lnTo>
                  <a:pt x="902" y="2358"/>
                </a:lnTo>
                <a:lnTo>
                  <a:pt x="898" y="2386"/>
                </a:lnTo>
                <a:lnTo>
                  <a:pt x="892" y="2412"/>
                </a:lnTo>
                <a:lnTo>
                  <a:pt x="868" y="2480"/>
                </a:lnTo>
                <a:lnTo>
                  <a:pt x="862" y="2506"/>
                </a:lnTo>
                <a:lnTo>
                  <a:pt x="856" y="2534"/>
                </a:lnTo>
                <a:lnTo>
                  <a:pt x="850" y="2576"/>
                </a:lnTo>
                <a:lnTo>
                  <a:pt x="844" y="2630"/>
                </a:lnTo>
                <a:lnTo>
                  <a:pt x="836" y="2720"/>
                </a:lnTo>
                <a:lnTo>
                  <a:pt x="836" y="2732"/>
                </a:lnTo>
                <a:lnTo>
                  <a:pt x="838" y="2744"/>
                </a:lnTo>
                <a:lnTo>
                  <a:pt x="842" y="2756"/>
                </a:lnTo>
                <a:lnTo>
                  <a:pt x="846" y="2764"/>
                </a:lnTo>
                <a:lnTo>
                  <a:pt x="850" y="2774"/>
                </a:lnTo>
                <a:lnTo>
                  <a:pt x="852" y="2782"/>
                </a:lnTo>
                <a:lnTo>
                  <a:pt x="850" y="2792"/>
                </a:lnTo>
                <a:lnTo>
                  <a:pt x="846" y="2802"/>
                </a:lnTo>
                <a:lnTo>
                  <a:pt x="842" y="2810"/>
                </a:lnTo>
                <a:lnTo>
                  <a:pt x="842" y="2820"/>
                </a:lnTo>
                <a:lnTo>
                  <a:pt x="846" y="2830"/>
                </a:lnTo>
                <a:lnTo>
                  <a:pt x="852" y="2840"/>
                </a:lnTo>
                <a:lnTo>
                  <a:pt x="858" y="2846"/>
                </a:lnTo>
                <a:lnTo>
                  <a:pt x="864" y="2856"/>
                </a:lnTo>
                <a:lnTo>
                  <a:pt x="870" y="2870"/>
                </a:lnTo>
                <a:lnTo>
                  <a:pt x="874" y="2882"/>
                </a:lnTo>
                <a:lnTo>
                  <a:pt x="876" y="2894"/>
                </a:lnTo>
                <a:lnTo>
                  <a:pt x="876" y="3020"/>
                </a:lnTo>
                <a:lnTo>
                  <a:pt x="876" y="3054"/>
                </a:lnTo>
                <a:lnTo>
                  <a:pt x="878" y="3062"/>
                </a:lnTo>
                <a:lnTo>
                  <a:pt x="882" y="3072"/>
                </a:lnTo>
                <a:lnTo>
                  <a:pt x="892" y="3086"/>
                </a:lnTo>
                <a:lnTo>
                  <a:pt x="910" y="3102"/>
                </a:lnTo>
                <a:lnTo>
                  <a:pt x="920" y="3110"/>
                </a:lnTo>
                <a:lnTo>
                  <a:pt x="928" y="3116"/>
                </a:lnTo>
                <a:lnTo>
                  <a:pt x="936" y="3120"/>
                </a:lnTo>
                <a:lnTo>
                  <a:pt x="944" y="3120"/>
                </a:lnTo>
                <a:lnTo>
                  <a:pt x="978" y="3120"/>
                </a:lnTo>
                <a:lnTo>
                  <a:pt x="1014" y="3120"/>
                </a:lnTo>
                <a:lnTo>
                  <a:pt x="1028" y="3120"/>
                </a:lnTo>
                <a:lnTo>
                  <a:pt x="1040" y="3116"/>
                </a:lnTo>
                <a:lnTo>
                  <a:pt x="1046" y="3110"/>
                </a:lnTo>
                <a:lnTo>
                  <a:pt x="1052" y="3104"/>
                </a:lnTo>
                <a:lnTo>
                  <a:pt x="1058" y="3094"/>
                </a:lnTo>
                <a:lnTo>
                  <a:pt x="1062" y="3084"/>
                </a:lnTo>
                <a:lnTo>
                  <a:pt x="1068" y="3060"/>
                </a:lnTo>
                <a:lnTo>
                  <a:pt x="1070" y="3036"/>
                </a:lnTo>
                <a:lnTo>
                  <a:pt x="1068" y="3024"/>
                </a:lnTo>
                <a:lnTo>
                  <a:pt x="1066" y="3012"/>
                </a:lnTo>
                <a:lnTo>
                  <a:pt x="1062" y="2998"/>
                </a:lnTo>
                <a:lnTo>
                  <a:pt x="1058" y="2986"/>
                </a:lnTo>
                <a:lnTo>
                  <a:pt x="1052" y="2976"/>
                </a:lnTo>
                <a:lnTo>
                  <a:pt x="1028" y="2926"/>
                </a:lnTo>
                <a:lnTo>
                  <a:pt x="1024" y="2914"/>
                </a:lnTo>
                <a:lnTo>
                  <a:pt x="1020" y="2904"/>
                </a:lnTo>
                <a:lnTo>
                  <a:pt x="1020" y="2890"/>
                </a:lnTo>
                <a:lnTo>
                  <a:pt x="1022" y="2878"/>
                </a:lnTo>
                <a:lnTo>
                  <a:pt x="1028" y="2868"/>
                </a:lnTo>
                <a:lnTo>
                  <a:pt x="1038" y="2854"/>
                </a:lnTo>
                <a:lnTo>
                  <a:pt x="1044" y="2842"/>
                </a:lnTo>
                <a:lnTo>
                  <a:pt x="1050" y="2830"/>
                </a:lnTo>
                <a:lnTo>
                  <a:pt x="1052" y="2818"/>
                </a:lnTo>
                <a:lnTo>
                  <a:pt x="1054" y="2806"/>
                </a:lnTo>
                <a:lnTo>
                  <a:pt x="1054" y="2796"/>
                </a:lnTo>
                <a:lnTo>
                  <a:pt x="1058" y="2782"/>
                </a:lnTo>
                <a:lnTo>
                  <a:pt x="1062" y="2770"/>
                </a:lnTo>
                <a:lnTo>
                  <a:pt x="1066" y="2758"/>
                </a:lnTo>
                <a:lnTo>
                  <a:pt x="1084" y="2724"/>
                </a:lnTo>
                <a:lnTo>
                  <a:pt x="1094" y="2698"/>
                </a:lnTo>
                <a:lnTo>
                  <a:pt x="1102" y="2672"/>
                </a:lnTo>
                <a:lnTo>
                  <a:pt x="1144" y="2520"/>
                </a:lnTo>
                <a:lnTo>
                  <a:pt x="1156" y="2466"/>
                </a:lnTo>
                <a:lnTo>
                  <a:pt x="1188" y="2266"/>
                </a:lnTo>
                <a:lnTo>
                  <a:pt x="1200" y="2214"/>
                </a:lnTo>
                <a:lnTo>
                  <a:pt x="1228" y="2110"/>
                </a:lnTo>
                <a:lnTo>
                  <a:pt x="1240" y="2058"/>
                </a:lnTo>
                <a:lnTo>
                  <a:pt x="1256" y="1990"/>
                </a:lnTo>
                <a:lnTo>
                  <a:pt x="1258" y="1980"/>
                </a:lnTo>
                <a:lnTo>
                  <a:pt x="1262" y="1974"/>
                </a:lnTo>
                <a:lnTo>
                  <a:pt x="1266" y="1972"/>
                </a:lnTo>
                <a:lnTo>
                  <a:pt x="1268" y="1976"/>
                </a:lnTo>
                <a:lnTo>
                  <a:pt x="1272" y="1982"/>
                </a:lnTo>
                <a:lnTo>
                  <a:pt x="1274" y="1992"/>
                </a:lnTo>
                <a:lnTo>
                  <a:pt x="1276" y="2016"/>
                </a:lnTo>
                <a:lnTo>
                  <a:pt x="1276" y="2080"/>
                </a:lnTo>
                <a:lnTo>
                  <a:pt x="1278" y="2106"/>
                </a:lnTo>
                <a:lnTo>
                  <a:pt x="1282" y="2134"/>
                </a:lnTo>
                <a:lnTo>
                  <a:pt x="1284" y="2142"/>
                </a:lnTo>
                <a:lnTo>
                  <a:pt x="1286" y="2154"/>
                </a:lnTo>
                <a:lnTo>
                  <a:pt x="1286" y="2168"/>
                </a:lnTo>
                <a:lnTo>
                  <a:pt x="1282" y="2182"/>
                </a:lnTo>
                <a:lnTo>
                  <a:pt x="1278" y="2194"/>
                </a:lnTo>
                <a:lnTo>
                  <a:pt x="1274" y="2204"/>
                </a:lnTo>
                <a:lnTo>
                  <a:pt x="1268" y="2216"/>
                </a:lnTo>
                <a:lnTo>
                  <a:pt x="1264" y="2228"/>
                </a:lnTo>
                <a:lnTo>
                  <a:pt x="1262" y="2242"/>
                </a:lnTo>
                <a:lnTo>
                  <a:pt x="1262" y="2256"/>
                </a:lnTo>
                <a:lnTo>
                  <a:pt x="1262" y="2262"/>
                </a:lnTo>
                <a:lnTo>
                  <a:pt x="1262" y="2318"/>
                </a:lnTo>
                <a:lnTo>
                  <a:pt x="1262" y="2358"/>
                </a:lnTo>
                <a:lnTo>
                  <a:pt x="1258" y="2414"/>
                </a:lnTo>
                <a:lnTo>
                  <a:pt x="1252" y="2480"/>
                </a:lnTo>
                <a:lnTo>
                  <a:pt x="1246" y="2534"/>
                </a:lnTo>
                <a:lnTo>
                  <a:pt x="1238" y="2598"/>
                </a:lnTo>
                <a:lnTo>
                  <a:pt x="1234" y="2620"/>
                </a:lnTo>
                <a:lnTo>
                  <a:pt x="1228" y="2638"/>
                </a:lnTo>
                <a:lnTo>
                  <a:pt x="1222" y="2654"/>
                </a:lnTo>
                <a:lnTo>
                  <a:pt x="1214" y="2678"/>
                </a:lnTo>
                <a:lnTo>
                  <a:pt x="1212" y="2682"/>
                </a:lnTo>
                <a:lnTo>
                  <a:pt x="1212" y="2696"/>
                </a:lnTo>
                <a:lnTo>
                  <a:pt x="1212" y="2708"/>
                </a:lnTo>
                <a:lnTo>
                  <a:pt x="1216" y="2722"/>
                </a:lnTo>
                <a:lnTo>
                  <a:pt x="1220" y="2734"/>
                </a:lnTo>
                <a:lnTo>
                  <a:pt x="1226" y="2746"/>
                </a:lnTo>
                <a:lnTo>
                  <a:pt x="1230" y="2758"/>
                </a:lnTo>
                <a:lnTo>
                  <a:pt x="1234" y="2772"/>
                </a:lnTo>
                <a:lnTo>
                  <a:pt x="1234" y="2786"/>
                </a:lnTo>
                <a:lnTo>
                  <a:pt x="1234" y="2816"/>
                </a:lnTo>
                <a:lnTo>
                  <a:pt x="1236" y="2826"/>
                </a:lnTo>
                <a:lnTo>
                  <a:pt x="1242" y="2838"/>
                </a:lnTo>
                <a:lnTo>
                  <a:pt x="1250" y="2848"/>
                </a:lnTo>
                <a:lnTo>
                  <a:pt x="1260" y="2854"/>
                </a:lnTo>
                <a:lnTo>
                  <a:pt x="1266" y="2856"/>
                </a:lnTo>
                <a:lnTo>
                  <a:pt x="1284" y="2864"/>
                </a:lnTo>
                <a:lnTo>
                  <a:pt x="1296" y="2868"/>
                </a:lnTo>
                <a:lnTo>
                  <a:pt x="1300" y="2870"/>
                </a:lnTo>
                <a:lnTo>
                  <a:pt x="1306" y="2874"/>
                </a:lnTo>
                <a:lnTo>
                  <a:pt x="1318" y="2890"/>
                </a:lnTo>
                <a:lnTo>
                  <a:pt x="1330" y="2904"/>
                </a:lnTo>
                <a:lnTo>
                  <a:pt x="1344" y="2924"/>
                </a:lnTo>
                <a:lnTo>
                  <a:pt x="1360" y="2940"/>
                </a:lnTo>
                <a:lnTo>
                  <a:pt x="1374" y="2950"/>
                </a:lnTo>
                <a:lnTo>
                  <a:pt x="1388" y="2958"/>
                </a:lnTo>
                <a:lnTo>
                  <a:pt x="1414" y="2970"/>
                </a:lnTo>
                <a:lnTo>
                  <a:pt x="1456" y="2982"/>
                </a:lnTo>
                <a:lnTo>
                  <a:pt x="1458" y="2982"/>
                </a:lnTo>
                <a:lnTo>
                  <a:pt x="1470" y="2984"/>
                </a:lnTo>
                <a:lnTo>
                  <a:pt x="1484" y="2984"/>
                </a:lnTo>
                <a:lnTo>
                  <a:pt x="1498" y="2982"/>
                </a:lnTo>
                <a:lnTo>
                  <a:pt x="1510" y="2980"/>
                </a:lnTo>
                <a:lnTo>
                  <a:pt x="1526" y="2972"/>
                </a:lnTo>
                <a:lnTo>
                  <a:pt x="1538" y="2968"/>
                </a:lnTo>
                <a:lnTo>
                  <a:pt x="1548" y="2960"/>
                </a:lnTo>
                <a:lnTo>
                  <a:pt x="1556" y="2952"/>
                </a:lnTo>
                <a:lnTo>
                  <a:pt x="1560" y="2946"/>
                </a:lnTo>
                <a:lnTo>
                  <a:pt x="1562" y="2936"/>
                </a:lnTo>
                <a:lnTo>
                  <a:pt x="1560" y="2926"/>
                </a:lnTo>
                <a:lnTo>
                  <a:pt x="1556" y="2918"/>
                </a:lnTo>
                <a:lnTo>
                  <a:pt x="1548" y="2908"/>
                </a:lnTo>
                <a:lnTo>
                  <a:pt x="1534" y="2896"/>
                </a:lnTo>
                <a:lnTo>
                  <a:pt x="1494" y="2860"/>
                </a:lnTo>
                <a:lnTo>
                  <a:pt x="1474" y="2840"/>
                </a:lnTo>
                <a:lnTo>
                  <a:pt x="1458" y="2818"/>
                </a:lnTo>
                <a:lnTo>
                  <a:pt x="1442" y="2796"/>
                </a:lnTo>
                <a:lnTo>
                  <a:pt x="1438" y="2784"/>
                </a:lnTo>
                <a:lnTo>
                  <a:pt x="1434" y="2770"/>
                </a:lnTo>
                <a:lnTo>
                  <a:pt x="1430" y="2756"/>
                </a:lnTo>
                <a:lnTo>
                  <a:pt x="1430" y="2744"/>
                </a:lnTo>
                <a:lnTo>
                  <a:pt x="1430" y="2738"/>
                </a:lnTo>
                <a:lnTo>
                  <a:pt x="1432" y="2726"/>
                </a:lnTo>
                <a:lnTo>
                  <a:pt x="1436" y="2714"/>
                </a:lnTo>
                <a:lnTo>
                  <a:pt x="1442" y="2704"/>
                </a:lnTo>
                <a:lnTo>
                  <a:pt x="1450" y="2698"/>
                </a:lnTo>
                <a:lnTo>
                  <a:pt x="1458" y="2692"/>
                </a:lnTo>
                <a:lnTo>
                  <a:pt x="1466" y="2684"/>
                </a:lnTo>
                <a:lnTo>
                  <a:pt x="1470" y="2676"/>
                </a:lnTo>
                <a:lnTo>
                  <a:pt x="1472" y="2668"/>
                </a:lnTo>
                <a:lnTo>
                  <a:pt x="1474" y="2624"/>
                </a:lnTo>
                <a:lnTo>
                  <a:pt x="1480" y="2568"/>
                </a:lnTo>
                <a:lnTo>
                  <a:pt x="1486" y="2542"/>
                </a:lnTo>
                <a:lnTo>
                  <a:pt x="1492" y="2514"/>
                </a:lnTo>
                <a:lnTo>
                  <a:pt x="1506" y="2472"/>
                </a:lnTo>
                <a:lnTo>
                  <a:pt x="1512" y="2444"/>
                </a:lnTo>
                <a:lnTo>
                  <a:pt x="1516" y="2418"/>
                </a:lnTo>
                <a:lnTo>
                  <a:pt x="1524" y="2328"/>
                </a:lnTo>
                <a:lnTo>
                  <a:pt x="1528" y="2302"/>
                </a:lnTo>
                <a:lnTo>
                  <a:pt x="1536" y="2274"/>
                </a:lnTo>
                <a:lnTo>
                  <a:pt x="1572" y="2158"/>
                </a:lnTo>
                <a:lnTo>
                  <a:pt x="1588" y="2106"/>
                </a:lnTo>
                <a:lnTo>
                  <a:pt x="1616" y="1978"/>
                </a:lnTo>
                <a:lnTo>
                  <a:pt x="1630" y="1924"/>
                </a:lnTo>
                <a:lnTo>
                  <a:pt x="1660" y="1810"/>
                </a:lnTo>
                <a:lnTo>
                  <a:pt x="1664" y="1784"/>
                </a:lnTo>
                <a:lnTo>
                  <a:pt x="1666" y="1758"/>
                </a:lnTo>
                <a:lnTo>
                  <a:pt x="1668" y="1748"/>
                </a:lnTo>
                <a:lnTo>
                  <a:pt x="1672" y="1736"/>
                </a:lnTo>
                <a:lnTo>
                  <a:pt x="1678" y="1724"/>
                </a:lnTo>
                <a:lnTo>
                  <a:pt x="1684" y="1716"/>
                </a:lnTo>
                <a:lnTo>
                  <a:pt x="1728" y="1670"/>
                </a:lnTo>
                <a:lnTo>
                  <a:pt x="1734" y="1660"/>
                </a:lnTo>
                <a:lnTo>
                  <a:pt x="1740" y="1648"/>
                </a:lnTo>
                <a:lnTo>
                  <a:pt x="1744" y="1636"/>
                </a:lnTo>
                <a:lnTo>
                  <a:pt x="1746" y="1624"/>
                </a:lnTo>
                <a:lnTo>
                  <a:pt x="1746" y="1582"/>
                </a:lnTo>
                <a:lnTo>
                  <a:pt x="1746" y="1528"/>
                </a:lnTo>
                <a:lnTo>
                  <a:pt x="1746" y="1446"/>
                </a:lnTo>
                <a:close/>
                <a:moveTo>
                  <a:pt x="190" y="614"/>
                </a:moveTo>
                <a:lnTo>
                  <a:pt x="190" y="614"/>
                </a:lnTo>
                <a:lnTo>
                  <a:pt x="186" y="614"/>
                </a:lnTo>
                <a:lnTo>
                  <a:pt x="190" y="614"/>
                </a:lnTo>
                <a:lnTo>
                  <a:pt x="192" y="614"/>
                </a:lnTo>
                <a:lnTo>
                  <a:pt x="190"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394" name="TextBox 38"/>
          <p:cNvSpPr txBox="1">
            <a:spLocks noChangeArrowheads="1"/>
          </p:cNvSpPr>
          <p:nvPr/>
        </p:nvSpPr>
        <p:spPr bwMode="auto">
          <a:xfrm>
            <a:off x="2768600" y="3619500"/>
            <a:ext cx="1955800"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1100" b="1">
                <a:solidFill>
                  <a:srgbClr val="353637"/>
                </a:solidFill>
                <a:latin typeface="Arial" charset="0"/>
              </a:rPr>
              <a:t>Buyer power</a:t>
            </a:r>
          </a:p>
          <a:p>
            <a:pPr eaLnBrk="1" hangingPunct="1">
              <a:spcBef>
                <a:spcPct val="20000"/>
              </a:spcBef>
              <a:buFont typeface="Arial" charset="0"/>
              <a:buChar char="•"/>
            </a:pPr>
            <a:r>
              <a:rPr lang="en-GB" sz="1100" noProof="1">
                <a:solidFill>
                  <a:srgbClr val="151616"/>
                </a:solidFill>
                <a:cs typeface="Arial" charset="0"/>
              </a:rPr>
              <a:t>This is an example text</a:t>
            </a:r>
          </a:p>
          <a:p>
            <a:pPr eaLnBrk="1" hangingPunct="1">
              <a:spcBef>
                <a:spcPct val="20000"/>
              </a:spcBef>
              <a:buFont typeface="Arial" charset="0"/>
              <a:buChar char="•"/>
            </a:pPr>
            <a:r>
              <a:rPr lang="en-GB" sz="1100" noProof="1">
                <a:solidFill>
                  <a:srgbClr val="151616"/>
                </a:solidFill>
                <a:cs typeface="Arial" charset="0"/>
              </a:rPr>
              <a:t>Please replace with own text</a:t>
            </a:r>
          </a:p>
          <a:p>
            <a:pPr eaLnBrk="1" hangingPunct="1">
              <a:spcBef>
                <a:spcPct val="20000"/>
              </a:spcBef>
              <a:buFont typeface="Arial" charset="0"/>
              <a:buChar char="•"/>
            </a:pPr>
            <a:r>
              <a:rPr lang="en-GB" sz="1100" noProof="1">
                <a:solidFill>
                  <a:srgbClr val="151616"/>
                </a:solidFill>
                <a:cs typeface="Arial" charset="0"/>
              </a:rPr>
              <a:t>This is an example text. </a:t>
            </a:r>
          </a:p>
          <a:p>
            <a:pPr eaLnBrk="1" hangingPunct="1"/>
            <a:endParaRPr lang="nb-NO" sz="1100">
              <a:solidFill>
                <a:srgbClr val="353637"/>
              </a:solidFill>
              <a:latin typeface="Arial" charset="0"/>
            </a:endParaRPr>
          </a:p>
          <a:p>
            <a:pPr eaLnBrk="1" hangingPunct="1"/>
            <a:endParaRPr lang="nb-NO">
              <a:latin typeface="Arial" charset="0"/>
            </a:endParaRPr>
          </a:p>
        </p:txBody>
      </p:sp>
      <p:sp>
        <p:nvSpPr>
          <p:cNvPr id="16395" name="TextBox 39"/>
          <p:cNvSpPr txBox="1">
            <a:spLocks noChangeArrowheads="1"/>
          </p:cNvSpPr>
          <p:nvPr/>
        </p:nvSpPr>
        <p:spPr bwMode="auto">
          <a:xfrm>
            <a:off x="4775200" y="3619500"/>
            <a:ext cx="1955800"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1100" b="1">
                <a:solidFill>
                  <a:srgbClr val="353637"/>
                </a:solidFill>
                <a:latin typeface="Arial" charset="0"/>
              </a:rPr>
              <a:t>Threat of substitutes</a:t>
            </a:r>
          </a:p>
          <a:p>
            <a:pPr eaLnBrk="1" hangingPunct="1">
              <a:spcBef>
                <a:spcPct val="20000"/>
              </a:spcBef>
              <a:buFont typeface="Arial" charset="0"/>
              <a:buChar char="•"/>
            </a:pPr>
            <a:r>
              <a:rPr lang="en-GB" sz="1100" noProof="1">
                <a:solidFill>
                  <a:srgbClr val="151616"/>
                </a:solidFill>
                <a:cs typeface="Arial" charset="0"/>
              </a:rPr>
              <a:t>This is an example text</a:t>
            </a:r>
          </a:p>
          <a:p>
            <a:pPr eaLnBrk="1" hangingPunct="1">
              <a:spcBef>
                <a:spcPct val="20000"/>
              </a:spcBef>
              <a:buFont typeface="Arial" charset="0"/>
              <a:buChar char="•"/>
            </a:pPr>
            <a:r>
              <a:rPr lang="en-GB" sz="1100" noProof="1">
                <a:solidFill>
                  <a:srgbClr val="151616"/>
                </a:solidFill>
                <a:cs typeface="Arial" charset="0"/>
              </a:rPr>
              <a:t>Please replace with own text</a:t>
            </a:r>
          </a:p>
          <a:p>
            <a:pPr eaLnBrk="1" hangingPunct="1">
              <a:spcBef>
                <a:spcPct val="20000"/>
              </a:spcBef>
              <a:buFont typeface="Arial" charset="0"/>
              <a:buChar char="•"/>
            </a:pPr>
            <a:r>
              <a:rPr lang="en-GB" sz="1100" noProof="1">
                <a:solidFill>
                  <a:srgbClr val="151616"/>
                </a:solidFill>
                <a:cs typeface="Arial" charset="0"/>
              </a:rPr>
              <a:t>This is an example text. </a:t>
            </a:r>
          </a:p>
          <a:p>
            <a:pPr eaLnBrk="1" hangingPunct="1"/>
            <a:endParaRPr lang="nb-NO" sz="1100">
              <a:solidFill>
                <a:srgbClr val="353637"/>
              </a:solidFill>
              <a:latin typeface="Arial" charset="0"/>
            </a:endParaRPr>
          </a:p>
          <a:p>
            <a:pPr eaLnBrk="1" hangingPunct="1"/>
            <a:endParaRPr lang="nb-NO">
              <a:latin typeface="Arial" charset="0"/>
            </a:endParaRPr>
          </a:p>
        </p:txBody>
      </p:sp>
      <p:sp>
        <p:nvSpPr>
          <p:cNvPr id="16396" name="TextBox 40"/>
          <p:cNvSpPr txBox="1">
            <a:spLocks noChangeArrowheads="1"/>
          </p:cNvSpPr>
          <p:nvPr/>
        </p:nvSpPr>
        <p:spPr bwMode="auto">
          <a:xfrm>
            <a:off x="6731000" y="2381250"/>
            <a:ext cx="1955800"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1100" b="1">
                <a:solidFill>
                  <a:srgbClr val="353637"/>
                </a:solidFill>
                <a:latin typeface="Arial" charset="0"/>
              </a:rPr>
              <a:t>Barriers to entry</a:t>
            </a:r>
          </a:p>
          <a:p>
            <a:pPr eaLnBrk="1" hangingPunct="1">
              <a:spcBef>
                <a:spcPct val="20000"/>
              </a:spcBef>
              <a:buFont typeface="Arial" charset="0"/>
              <a:buChar char="•"/>
            </a:pPr>
            <a:r>
              <a:rPr lang="en-GB" sz="1100" noProof="1">
                <a:solidFill>
                  <a:srgbClr val="151616"/>
                </a:solidFill>
                <a:cs typeface="Arial" charset="0"/>
              </a:rPr>
              <a:t>This is an example text</a:t>
            </a:r>
          </a:p>
          <a:p>
            <a:pPr eaLnBrk="1" hangingPunct="1">
              <a:spcBef>
                <a:spcPct val="20000"/>
              </a:spcBef>
              <a:buFont typeface="Arial" charset="0"/>
              <a:buChar char="•"/>
            </a:pPr>
            <a:r>
              <a:rPr lang="en-GB" sz="1100" noProof="1">
                <a:solidFill>
                  <a:srgbClr val="151616"/>
                </a:solidFill>
                <a:cs typeface="Arial" charset="0"/>
              </a:rPr>
              <a:t>Please replace with own text</a:t>
            </a:r>
          </a:p>
          <a:p>
            <a:pPr eaLnBrk="1" hangingPunct="1">
              <a:spcBef>
                <a:spcPct val="20000"/>
              </a:spcBef>
              <a:buFont typeface="Arial" charset="0"/>
              <a:buChar char="•"/>
            </a:pPr>
            <a:r>
              <a:rPr lang="en-GB" sz="1100" noProof="1">
                <a:solidFill>
                  <a:srgbClr val="151616"/>
                </a:solidFill>
                <a:cs typeface="Arial" charset="0"/>
              </a:rPr>
              <a:t>This is an example text. </a:t>
            </a:r>
          </a:p>
          <a:p>
            <a:pPr eaLnBrk="1" hangingPunct="1"/>
            <a:endParaRPr lang="nb-NO" sz="1100">
              <a:solidFill>
                <a:srgbClr val="353637"/>
              </a:solidFill>
              <a:latin typeface="Arial" charset="0"/>
            </a:endParaRPr>
          </a:p>
          <a:p>
            <a:pPr eaLnBrk="1" hangingPunct="1"/>
            <a:endParaRPr lang="nb-NO">
              <a:latin typeface="Arial" charset="0"/>
            </a:endParaRPr>
          </a:p>
        </p:txBody>
      </p:sp>
      <p:sp>
        <p:nvSpPr>
          <p:cNvPr id="16397" name="TextBox 41"/>
          <p:cNvSpPr txBox="1">
            <a:spLocks noChangeArrowheads="1"/>
          </p:cNvSpPr>
          <p:nvPr/>
        </p:nvSpPr>
        <p:spPr bwMode="auto">
          <a:xfrm>
            <a:off x="736600" y="2381250"/>
            <a:ext cx="1943100"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1100" b="1">
                <a:solidFill>
                  <a:srgbClr val="353637"/>
                </a:solidFill>
                <a:latin typeface="Arial" charset="0"/>
              </a:rPr>
              <a:t>Supplier power</a:t>
            </a:r>
          </a:p>
          <a:p>
            <a:pPr eaLnBrk="1" hangingPunct="1">
              <a:spcBef>
                <a:spcPct val="20000"/>
              </a:spcBef>
              <a:buFont typeface="Arial" charset="0"/>
              <a:buChar char="•"/>
            </a:pPr>
            <a:r>
              <a:rPr lang="en-GB" sz="1100" noProof="1">
                <a:solidFill>
                  <a:srgbClr val="151616"/>
                </a:solidFill>
                <a:cs typeface="Arial" charset="0"/>
              </a:rPr>
              <a:t>This is an example text</a:t>
            </a:r>
          </a:p>
          <a:p>
            <a:pPr eaLnBrk="1" hangingPunct="1">
              <a:spcBef>
                <a:spcPct val="20000"/>
              </a:spcBef>
              <a:buFont typeface="Arial" charset="0"/>
              <a:buChar char="•"/>
            </a:pPr>
            <a:r>
              <a:rPr lang="en-GB" sz="1100" noProof="1">
                <a:solidFill>
                  <a:srgbClr val="151616"/>
                </a:solidFill>
                <a:cs typeface="Arial" charset="0"/>
              </a:rPr>
              <a:t>Please replace with own text</a:t>
            </a:r>
          </a:p>
          <a:p>
            <a:pPr eaLnBrk="1" hangingPunct="1">
              <a:spcBef>
                <a:spcPct val="20000"/>
              </a:spcBef>
              <a:buFont typeface="Arial" charset="0"/>
              <a:buChar char="•"/>
            </a:pPr>
            <a:r>
              <a:rPr lang="en-GB" sz="1100" noProof="1">
                <a:solidFill>
                  <a:srgbClr val="151616"/>
                </a:solidFill>
                <a:cs typeface="Arial" charset="0"/>
              </a:rPr>
              <a:t>This is an example text. </a:t>
            </a:r>
          </a:p>
          <a:p>
            <a:pPr eaLnBrk="1" hangingPunct="1"/>
            <a:endParaRPr lang="nb-NO" sz="1100">
              <a:solidFill>
                <a:srgbClr val="353637"/>
              </a:solidFill>
              <a:latin typeface="Arial" charset="0"/>
            </a:endParaRPr>
          </a:p>
          <a:p>
            <a:pPr eaLnBrk="1" hangingPunct="1"/>
            <a:endParaRPr lang="nb-NO">
              <a:latin typeface="Arial" charset="0"/>
            </a:endParaRPr>
          </a:p>
        </p:txBody>
      </p:sp>
      <p:sp>
        <p:nvSpPr>
          <p:cNvPr id="11" name="Subtitle 10"/>
          <p:cNvSpPr>
            <a:spLocks noGrp="1"/>
          </p:cNvSpPr>
          <p:nvPr>
            <p:ph type="subTitle" idx="1"/>
          </p:nvPr>
        </p:nvSpPr>
        <p:spPr>
          <a:xfrm>
            <a:off x="628650" y="866381"/>
            <a:ext cx="7891272" cy="552972"/>
          </a:xfrm>
        </p:spPr>
        <p:txBody>
          <a:bodyPr/>
          <a:lstStyle/>
          <a:p>
            <a:r>
              <a:rPr lang="en-US" dirty="0"/>
              <a:t>Replace this text</a:t>
            </a:r>
          </a:p>
          <a:p>
            <a:endParaRPr lang="en-US" dirty="0"/>
          </a:p>
        </p:txBody>
      </p:sp>
      <p:sp>
        <p:nvSpPr>
          <p:cNvPr id="10" name="Title 9"/>
          <p:cNvSpPr>
            <a:spLocks noGrp="1"/>
          </p:cNvSpPr>
          <p:nvPr>
            <p:ph type="title"/>
          </p:nvPr>
        </p:nvSpPr>
        <p:spPr/>
        <p:txBody>
          <a:bodyPr/>
          <a:lstStyle/>
          <a:p>
            <a:r>
              <a:rPr lang="en-US" dirty="0"/>
              <a:t>PORTERS 5 FORCES</a:t>
            </a:r>
          </a:p>
        </p:txBody>
      </p:sp>
      <p:sp>
        <p:nvSpPr>
          <p:cNvPr id="12" name="Date Placeholder 11"/>
          <p:cNvSpPr>
            <a:spLocks noGrp="1"/>
          </p:cNvSpPr>
          <p:nvPr>
            <p:ph type="dt" sz="half" idx="10"/>
          </p:nvPr>
        </p:nvSpPr>
        <p:spPr/>
        <p:txBody>
          <a:bodyPr/>
          <a:lstStyle/>
          <a:p>
            <a:r>
              <a:rPr lang="en-US" smtClean="0"/>
              <a:t>PRESENTER NAME</a:t>
            </a:r>
            <a:endParaRPr lang="en-US"/>
          </a:p>
        </p:txBody>
      </p:sp>
      <p:sp>
        <p:nvSpPr>
          <p:cNvPr id="13" name="Footer Placeholder 12"/>
          <p:cNvSpPr>
            <a:spLocks noGrp="1"/>
          </p:cNvSpPr>
          <p:nvPr>
            <p:ph type="ftr" sz="quarter" idx="11"/>
          </p:nvPr>
        </p:nvSpPr>
        <p:spPr/>
        <p:txBody>
          <a:bodyPr/>
          <a:lstStyle/>
          <a:p>
            <a:r>
              <a:rPr lang="en-US" smtClean="0"/>
              <a:t>COMPANY NAME</a:t>
            </a:r>
            <a:endParaRPr lang="en-US"/>
          </a:p>
        </p:txBody>
      </p:sp>
      <p:sp>
        <p:nvSpPr>
          <p:cNvPr id="14" name="Slide Number Placeholder 13"/>
          <p:cNvSpPr>
            <a:spLocks noGrp="1"/>
          </p:cNvSpPr>
          <p:nvPr>
            <p:ph type="sldNum" sz="quarter" idx="12"/>
          </p:nvPr>
        </p:nvSpPr>
        <p:spPr/>
        <p:txBody>
          <a:bodyPr/>
          <a:lstStyle/>
          <a:p>
            <a:fld id="{AACE8A1A-EF06-42BD-8183-7D22FECA910D}" type="slidenum">
              <a:rPr lang="en-US" smtClean="0"/>
              <a:pPr/>
              <a:t>52</a:t>
            </a:fld>
            <a:r>
              <a:rPr lang="en-US" smtClean="0"/>
              <a:t>|</a:t>
            </a:r>
            <a:endParaRPr lang="en-US" dirty="0"/>
          </a:p>
        </p:txBody>
      </p:sp>
    </p:spTree>
    <p:extLst>
      <p:ext uri="{BB962C8B-B14F-4D97-AF65-F5344CB8AC3E}">
        <p14:creationId xmlns:p14="http://schemas.microsoft.com/office/powerpoint/2010/main" val="108219492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0" name="Group 1"/>
          <p:cNvGrpSpPr>
            <a:grpSpLocks/>
          </p:cNvGrpSpPr>
          <p:nvPr/>
        </p:nvGrpSpPr>
        <p:grpSpPr bwMode="auto">
          <a:xfrm>
            <a:off x="1733550" y="1577975"/>
            <a:ext cx="5676900" cy="4519613"/>
            <a:chOff x="876300" y="681038"/>
            <a:chExt cx="7404100" cy="5896463"/>
          </a:xfrm>
        </p:grpSpPr>
        <p:sp>
          <p:nvSpPr>
            <p:cNvPr id="47" name="Rounded Rectangle 46"/>
            <p:cNvSpPr>
              <a:spLocks noChangeArrowheads="1"/>
            </p:cNvSpPr>
            <p:nvPr/>
          </p:nvSpPr>
          <p:spPr bwMode="auto">
            <a:xfrm>
              <a:off x="3249090" y="681038"/>
              <a:ext cx="2764115" cy="1168108"/>
            </a:xfrm>
            <a:prstGeom prst="roundRect">
              <a:avLst>
                <a:gd name="adj" fmla="val 5986"/>
              </a:avLst>
            </a:prstGeom>
            <a:solidFill>
              <a:schemeClr val="bg1">
                <a:lumMod val="95000"/>
              </a:schemeClr>
            </a:solidFill>
            <a:ln w="9525">
              <a:solidFill>
                <a:srgbClr val="4A7EBB"/>
              </a:solidFill>
              <a:round/>
              <a:headEnd/>
              <a:tailEnd/>
            </a:ln>
            <a:effectLst>
              <a:outerShdw blurRad="40000" dist="10287" dir="5400000" rotWithShape="0">
                <a:srgbClr val="BFBFBF">
                  <a:alpha val="34999"/>
                </a:srgbClr>
              </a:outerShdw>
            </a:effectLst>
          </p:spPr>
          <p:txBody>
            <a:bodyPr anchor="ctr"/>
            <a:lstStyle/>
            <a:p>
              <a:pPr algn="ctr" fontAlgn="auto">
                <a:spcBef>
                  <a:spcPts val="0"/>
                </a:spcBef>
                <a:spcAft>
                  <a:spcPts val="0"/>
                </a:spcAft>
                <a:defRPr/>
              </a:pPr>
              <a:endParaRPr lang="nb-NO" sz="1200">
                <a:solidFill>
                  <a:srgbClr val="FFFFFF"/>
                </a:solidFill>
                <a:latin typeface="Calibri" charset="0"/>
                <a:ea typeface="ＭＳ Ｐゴシック" charset="0"/>
                <a:cs typeface="ＭＳ Ｐゴシック" charset="0"/>
              </a:endParaRPr>
            </a:p>
          </p:txBody>
        </p:sp>
        <p:sp>
          <p:nvSpPr>
            <p:cNvPr id="17414" name="TextBox 5"/>
            <p:cNvSpPr txBox="1">
              <a:spLocks noChangeArrowheads="1"/>
            </p:cNvSpPr>
            <p:nvPr/>
          </p:nvSpPr>
          <p:spPr bwMode="auto">
            <a:xfrm>
              <a:off x="3398838" y="779463"/>
              <a:ext cx="2298700" cy="141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900" b="1">
                  <a:solidFill>
                    <a:srgbClr val="353637"/>
                  </a:solidFill>
                  <a:latin typeface="Arial" charset="0"/>
                </a:rPr>
                <a:t>Threat of substitutes</a:t>
              </a:r>
            </a:p>
            <a:p>
              <a:pPr eaLnBrk="1" hangingPunct="1">
                <a:spcBef>
                  <a:spcPct val="20000"/>
                </a:spcBef>
                <a:buFont typeface="Arial" charset="0"/>
                <a:buChar char="•"/>
              </a:pPr>
              <a:r>
                <a:rPr lang="en-GB" sz="900" noProof="1">
                  <a:solidFill>
                    <a:srgbClr val="151616"/>
                  </a:solidFill>
                  <a:cs typeface="Arial" charset="0"/>
                </a:rPr>
                <a:t>This is an example text</a:t>
              </a:r>
            </a:p>
            <a:p>
              <a:pPr eaLnBrk="1" hangingPunct="1">
                <a:spcBef>
                  <a:spcPct val="20000"/>
                </a:spcBef>
                <a:buFont typeface="Arial" charset="0"/>
                <a:buChar char="•"/>
              </a:pPr>
              <a:r>
                <a:rPr lang="en-GB" sz="900" noProof="1">
                  <a:solidFill>
                    <a:srgbClr val="151616"/>
                  </a:solidFill>
                  <a:cs typeface="Arial" charset="0"/>
                </a:rPr>
                <a:t>Please replace with own text</a:t>
              </a:r>
            </a:p>
            <a:p>
              <a:pPr eaLnBrk="1" hangingPunct="1">
                <a:spcBef>
                  <a:spcPct val="20000"/>
                </a:spcBef>
                <a:buFont typeface="Arial" charset="0"/>
                <a:buChar char="•"/>
              </a:pPr>
              <a:r>
                <a:rPr lang="en-GB" sz="900" noProof="1">
                  <a:solidFill>
                    <a:srgbClr val="151616"/>
                  </a:solidFill>
                  <a:cs typeface="Arial" charset="0"/>
                </a:rPr>
                <a:t>This is an example text. </a:t>
              </a:r>
            </a:p>
            <a:p>
              <a:pPr eaLnBrk="1" hangingPunct="1"/>
              <a:endParaRPr lang="nb-NO" sz="900">
                <a:solidFill>
                  <a:srgbClr val="353637"/>
                </a:solidFill>
                <a:latin typeface="Arial" charset="0"/>
              </a:endParaRPr>
            </a:p>
            <a:p>
              <a:pPr eaLnBrk="1" hangingPunct="1"/>
              <a:endParaRPr lang="nb-NO" sz="1200">
                <a:latin typeface="Arial" charset="0"/>
              </a:endParaRPr>
            </a:p>
          </p:txBody>
        </p:sp>
        <p:sp>
          <p:nvSpPr>
            <p:cNvPr id="49" name="Rounded Rectangle 48"/>
            <p:cNvSpPr>
              <a:spLocks noChangeArrowheads="1"/>
            </p:cNvSpPr>
            <p:nvPr/>
          </p:nvSpPr>
          <p:spPr bwMode="auto">
            <a:xfrm>
              <a:off x="876300" y="2866064"/>
              <a:ext cx="2120190" cy="1168108"/>
            </a:xfrm>
            <a:prstGeom prst="roundRect">
              <a:avLst>
                <a:gd name="adj" fmla="val 5986"/>
              </a:avLst>
            </a:prstGeom>
            <a:solidFill>
              <a:schemeClr val="bg1">
                <a:lumMod val="95000"/>
              </a:schemeClr>
            </a:solidFill>
            <a:ln w="9525">
              <a:solidFill>
                <a:srgbClr val="4A7EBB"/>
              </a:solidFill>
              <a:round/>
              <a:headEnd/>
              <a:tailEnd/>
            </a:ln>
            <a:effectLst>
              <a:outerShdw blurRad="40000" dist="10287" dir="5400000" rotWithShape="0">
                <a:srgbClr val="BFBFBF">
                  <a:alpha val="34999"/>
                </a:srgbClr>
              </a:outerShdw>
            </a:effectLst>
          </p:spPr>
          <p:txBody>
            <a:bodyPr anchor="ctr"/>
            <a:lstStyle/>
            <a:p>
              <a:pPr algn="ctr" fontAlgn="auto">
                <a:spcBef>
                  <a:spcPts val="0"/>
                </a:spcBef>
                <a:spcAft>
                  <a:spcPts val="0"/>
                </a:spcAft>
                <a:defRPr/>
              </a:pPr>
              <a:endParaRPr lang="nb-NO" sz="1200">
                <a:solidFill>
                  <a:srgbClr val="FFFFFF"/>
                </a:solidFill>
                <a:latin typeface="Calibri" charset="0"/>
                <a:ea typeface="ＭＳ Ｐゴシック" charset="0"/>
                <a:cs typeface="ＭＳ Ｐゴシック" charset="0"/>
              </a:endParaRPr>
            </a:p>
          </p:txBody>
        </p:sp>
        <p:sp>
          <p:nvSpPr>
            <p:cNvPr id="17416" name="TextBox 7"/>
            <p:cNvSpPr txBox="1">
              <a:spLocks noChangeArrowheads="1"/>
            </p:cNvSpPr>
            <p:nvPr/>
          </p:nvSpPr>
          <p:spPr bwMode="auto">
            <a:xfrm>
              <a:off x="1027114" y="2963864"/>
              <a:ext cx="1901825" cy="159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900" b="1">
                  <a:solidFill>
                    <a:srgbClr val="353637"/>
                  </a:solidFill>
                  <a:latin typeface="Arial" charset="0"/>
                </a:rPr>
                <a:t>Supplier power</a:t>
              </a:r>
            </a:p>
            <a:p>
              <a:pPr eaLnBrk="1" hangingPunct="1">
                <a:spcBef>
                  <a:spcPct val="20000"/>
                </a:spcBef>
                <a:buFont typeface="Arial" charset="0"/>
                <a:buChar char="•"/>
              </a:pPr>
              <a:r>
                <a:rPr lang="en-GB" sz="900" noProof="1">
                  <a:solidFill>
                    <a:srgbClr val="151616"/>
                  </a:solidFill>
                  <a:cs typeface="Arial" charset="0"/>
                </a:rPr>
                <a:t>This is an example text</a:t>
              </a:r>
            </a:p>
            <a:p>
              <a:pPr eaLnBrk="1" hangingPunct="1">
                <a:spcBef>
                  <a:spcPct val="20000"/>
                </a:spcBef>
                <a:buFont typeface="Arial" charset="0"/>
                <a:buChar char="•"/>
              </a:pPr>
              <a:r>
                <a:rPr lang="en-GB" sz="900" noProof="1">
                  <a:solidFill>
                    <a:srgbClr val="151616"/>
                  </a:solidFill>
                  <a:cs typeface="Arial" charset="0"/>
                </a:rPr>
                <a:t>Please replace with own text</a:t>
              </a:r>
            </a:p>
            <a:p>
              <a:pPr eaLnBrk="1" hangingPunct="1">
                <a:spcBef>
                  <a:spcPct val="20000"/>
                </a:spcBef>
                <a:buFont typeface="Arial" charset="0"/>
                <a:buChar char="•"/>
              </a:pPr>
              <a:r>
                <a:rPr lang="en-GB" sz="900" noProof="1">
                  <a:solidFill>
                    <a:srgbClr val="151616"/>
                  </a:solidFill>
                  <a:cs typeface="Arial" charset="0"/>
                </a:rPr>
                <a:t>This is an example text. </a:t>
              </a:r>
            </a:p>
            <a:p>
              <a:pPr eaLnBrk="1" hangingPunct="1"/>
              <a:endParaRPr lang="nb-NO" sz="900">
                <a:solidFill>
                  <a:srgbClr val="353637"/>
                </a:solidFill>
                <a:latin typeface="Arial" charset="0"/>
              </a:endParaRPr>
            </a:p>
            <a:p>
              <a:pPr eaLnBrk="1" hangingPunct="1"/>
              <a:endParaRPr lang="nb-NO" sz="1200">
                <a:latin typeface="Arial" charset="0"/>
              </a:endParaRPr>
            </a:p>
          </p:txBody>
        </p:sp>
        <p:sp>
          <p:nvSpPr>
            <p:cNvPr id="51" name="Rounded Rectangle 50"/>
            <p:cNvSpPr>
              <a:spLocks noChangeArrowheads="1"/>
            </p:cNvSpPr>
            <p:nvPr/>
          </p:nvSpPr>
          <p:spPr bwMode="auto">
            <a:xfrm>
              <a:off x="6141576" y="2866064"/>
              <a:ext cx="2122260" cy="1168108"/>
            </a:xfrm>
            <a:prstGeom prst="roundRect">
              <a:avLst>
                <a:gd name="adj" fmla="val 5986"/>
              </a:avLst>
            </a:prstGeom>
            <a:solidFill>
              <a:schemeClr val="bg1">
                <a:lumMod val="95000"/>
              </a:schemeClr>
            </a:solidFill>
            <a:ln w="9525">
              <a:solidFill>
                <a:srgbClr val="4A7EBB"/>
              </a:solidFill>
              <a:round/>
              <a:headEnd/>
              <a:tailEnd/>
            </a:ln>
            <a:effectLst>
              <a:outerShdw blurRad="40000" dist="10287" dir="5400000" rotWithShape="0">
                <a:srgbClr val="BFBFBF">
                  <a:alpha val="34999"/>
                </a:srgbClr>
              </a:outerShdw>
            </a:effectLst>
          </p:spPr>
          <p:txBody>
            <a:bodyPr anchor="ctr"/>
            <a:lstStyle/>
            <a:p>
              <a:pPr algn="ctr" fontAlgn="auto">
                <a:spcBef>
                  <a:spcPts val="0"/>
                </a:spcBef>
                <a:spcAft>
                  <a:spcPts val="0"/>
                </a:spcAft>
                <a:defRPr/>
              </a:pPr>
              <a:endParaRPr lang="nb-NO" sz="1200">
                <a:solidFill>
                  <a:srgbClr val="FFFFFF"/>
                </a:solidFill>
                <a:latin typeface="Calibri" charset="0"/>
                <a:ea typeface="ＭＳ Ｐゴシック" charset="0"/>
                <a:cs typeface="ＭＳ Ｐゴシック" charset="0"/>
              </a:endParaRPr>
            </a:p>
          </p:txBody>
        </p:sp>
        <p:sp>
          <p:nvSpPr>
            <p:cNvPr id="17418" name="TextBox 9"/>
            <p:cNvSpPr txBox="1">
              <a:spLocks noChangeArrowheads="1"/>
            </p:cNvSpPr>
            <p:nvPr/>
          </p:nvSpPr>
          <p:spPr bwMode="auto">
            <a:xfrm>
              <a:off x="6292851" y="2963864"/>
              <a:ext cx="1987549" cy="159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900" b="1">
                  <a:solidFill>
                    <a:srgbClr val="353637"/>
                  </a:solidFill>
                  <a:latin typeface="Arial" charset="0"/>
                </a:rPr>
                <a:t>Buyer power</a:t>
              </a:r>
            </a:p>
            <a:p>
              <a:pPr eaLnBrk="1" hangingPunct="1">
                <a:spcBef>
                  <a:spcPct val="20000"/>
                </a:spcBef>
                <a:buFont typeface="Arial" charset="0"/>
                <a:buChar char="•"/>
              </a:pPr>
              <a:r>
                <a:rPr lang="en-GB" sz="900" noProof="1">
                  <a:solidFill>
                    <a:srgbClr val="151616"/>
                  </a:solidFill>
                  <a:cs typeface="Arial" charset="0"/>
                </a:rPr>
                <a:t>This is an example text</a:t>
              </a:r>
            </a:p>
            <a:p>
              <a:pPr eaLnBrk="1" hangingPunct="1">
                <a:spcBef>
                  <a:spcPct val="20000"/>
                </a:spcBef>
                <a:buFont typeface="Arial" charset="0"/>
                <a:buChar char="•"/>
              </a:pPr>
              <a:r>
                <a:rPr lang="en-GB" sz="900" noProof="1">
                  <a:solidFill>
                    <a:srgbClr val="151616"/>
                  </a:solidFill>
                  <a:cs typeface="Arial" charset="0"/>
                </a:rPr>
                <a:t>Please replace with own text</a:t>
              </a:r>
            </a:p>
            <a:p>
              <a:pPr eaLnBrk="1" hangingPunct="1">
                <a:spcBef>
                  <a:spcPct val="20000"/>
                </a:spcBef>
                <a:buFont typeface="Arial" charset="0"/>
                <a:buChar char="•"/>
              </a:pPr>
              <a:r>
                <a:rPr lang="en-GB" sz="900" noProof="1">
                  <a:solidFill>
                    <a:srgbClr val="151616"/>
                  </a:solidFill>
                  <a:cs typeface="Arial" charset="0"/>
                </a:rPr>
                <a:t>This is an example text. </a:t>
              </a:r>
            </a:p>
            <a:p>
              <a:pPr eaLnBrk="1" hangingPunct="1"/>
              <a:endParaRPr lang="nb-NO" sz="900">
                <a:solidFill>
                  <a:srgbClr val="353637"/>
                </a:solidFill>
                <a:latin typeface="Arial" charset="0"/>
              </a:endParaRPr>
            </a:p>
            <a:p>
              <a:pPr eaLnBrk="1" hangingPunct="1"/>
              <a:endParaRPr lang="nb-NO" sz="1200">
                <a:latin typeface="Arial" charset="0"/>
              </a:endParaRPr>
            </a:p>
          </p:txBody>
        </p:sp>
        <p:sp>
          <p:nvSpPr>
            <p:cNvPr id="53" name="Rounded Rectangle 52"/>
            <p:cNvSpPr>
              <a:spLocks noChangeArrowheads="1"/>
            </p:cNvSpPr>
            <p:nvPr/>
          </p:nvSpPr>
          <p:spPr bwMode="auto">
            <a:xfrm>
              <a:off x="3249090" y="5067658"/>
              <a:ext cx="2764115" cy="1168108"/>
            </a:xfrm>
            <a:prstGeom prst="roundRect">
              <a:avLst>
                <a:gd name="adj" fmla="val 5986"/>
              </a:avLst>
            </a:prstGeom>
            <a:solidFill>
              <a:schemeClr val="bg1">
                <a:lumMod val="95000"/>
              </a:schemeClr>
            </a:solidFill>
            <a:ln w="9525">
              <a:solidFill>
                <a:srgbClr val="4A7EBB"/>
              </a:solidFill>
              <a:round/>
              <a:headEnd/>
              <a:tailEnd/>
            </a:ln>
            <a:effectLst>
              <a:outerShdw blurRad="40000" dist="10287" dir="5400000" rotWithShape="0">
                <a:srgbClr val="BFBFBF">
                  <a:alpha val="34999"/>
                </a:srgbClr>
              </a:outerShdw>
            </a:effectLst>
          </p:spPr>
          <p:txBody>
            <a:bodyPr anchor="ctr"/>
            <a:lstStyle/>
            <a:p>
              <a:pPr algn="ctr" fontAlgn="auto">
                <a:spcBef>
                  <a:spcPts val="0"/>
                </a:spcBef>
                <a:spcAft>
                  <a:spcPts val="0"/>
                </a:spcAft>
                <a:defRPr/>
              </a:pPr>
              <a:endParaRPr lang="nb-NO" sz="1200">
                <a:solidFill>
                  <a:srgbClr val="FFFFFF"/>
                </a:solidFill>
                <a:latin typeface="Calibri" charset="0"/>
                <a:ea typeface="ＭＳ Ｐゴシック" charset="0"/>
                <a:cs typeface="ＭＳ Ｐゴシック" charset="0"/>
              </a:endParaRPr>
            </a:p>
          </p:txBody>
        </p:sp>
        <p:sp>
          <p:nvSpPr>
            <p:cNvPr id="17420" name="TextBox 15"/>
            <p:cNvSpPr txBox="1">
              <a:spLocks noChangeArrowheads="1"/>
            </p:cNvSpPr>
            <p:nvPr/>
          </p:nvSpPr>
          <p:spPr bwMode="auto">
            <a:xfrm>
              <a:off x="3398838" y="5164138"/>
              <a:ext cx="2298700" cy="141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en-GB" sz="900" b="1">
                  <a:solidFill>
                    <a:srgbClr val="353637"/>
                  </a:solidFill>
                  <a:latin typeface="Arial" charset="0"/>
                </a:rPr>
                <a:t>Barriers to entry</a:t>
              </a:r>
            </a:p>
            <a:p>
              <a:pPr eaLnBrk="1" hangingPunct="1">
                <a:spcBef>
                  <a:spcPct val="20000"/>
                </a:spcBef>
                <a:buFont typeface="Arial" charset="0"/>
                <a:buChar char="•"/>
              </a:pPr>
              <a:r>
                <a:rPr lang="en-GB" sz="900" noProof="1">
                  <a:solidFill>
                    <a:srgbClr val="151616"/>
                  </a:solidFill>
                  <a:cs typeface="Arial" charset="0"/>
                </a:rPr>
                <a:t>This is an example text</a:t>
              </a:r>
            </a:p>
            <a:p>
              <a:pPr eaLnBrk="1" hangingPunct="1">
                <a:spcBef>
                  <a:spcPct val="20000"/>
                </a:spcBef>
                <a:buFont typeface="Arial" charset="0"/>
                <a:buChar char="•"/>
              </a:pPr>
              <a:r>
                <a:rPr lang="en-GB" sz="900" noProof="1">
                  <a:solidFill>
                    <a:srgbClr val="151616"/>
                  </a:solidFill>
                  <a:cs typeface="Arial" charset="0"/>
                </a:rPr>
                <a:t>Please replace with own text</a:t>
              </a:r>
            </a:p>
            <a:p>
              <a:pPr eaLnBrk="1" hangingPunct="1">
                <a:spcBef>
                  <a:spcPct val="20000"/>
                </a:spcBef>
                <a:buFont typeface="Arial" charset="0"/>
                <a:buChar char="•"/>
              </a:pPr>
              <a:r>
                <a:rPr lang="en-GB" sz="900" noProof="1">
                  <a:solidFill>
                    <a:srgbClr val="151616"/>
                  </a:solidFill>
                  <a:cs typeface="Arial" charset="0"/>
                </a:rPr>
                <a:t>This is an example text. </a:t>
              </a:r>
            </a:p>
            <a:p>
              <a:pPr eaLnBrk="1" hangingPunct="1"/>
              <a:endParaRPr lang="nb-NO" sz="900">
                <a:solidFill>
                  <a:srgbClr val="353637"/>
                </a:solidFill>
                <a:latin typeface="Arial" charset="0"/>
              </a:endParaRPr>
            </a:p>
            <a:p>
              <a:pPr eaLnBrk="1" hangingPunct="1"/>
              <a:endParaRPr lang="nb-NO" sz="1200">
                <a:latin typeface="Arial" charset="0"/>
              </a:endParaRPr>
            </a:p>
          </p:txBody>
        </p:sp>
        <p:sp>
          <p:nvSpPr>
            <p:cNvPr id="5134" name="Tekstboks 6"/>
            <p:cNvSpPr txBox="1">
              <a:spLocks noChangeArrowheads="1"/>
            </p:cNvSpPr>
            <p:nvPr/>
          </p:nvSpPr>
          <p:spPr bwMode="auto">
            <a:xfrm>
              <a:off x="3520326" y="3288572"/>
              <a:ext cx="2134683" cy="33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109" charset="0"/>
                  <a:ea typeface="ＭＳ Ｐゴシック" pitchFamily="-109" charset="-128"/>
                </a:defRPr>
              </a:lvl1pPr>
              <a:lvl2pPr marL="742950" indent="-285750">
                <a:defRPr>
                  <a:solidFill>
                    <a:schemeClr val="tx1"/>
                  </a:solidFill>
                  <a:latin typeface="Calibri" pitchFamily="-109" charset="0"/>
                  <a:ea typeface="ＭＳ Ｐゴシック" pitchFamily="-109" charset="-128"/>
                </a:defRPr>
              </a:lvl2pPr>
              <a:lvl3pPr marL="1143000" indent="-228600">
                <a:defRPr>
                  <a:solidFill>
                    <a:schemeClr val="tx1"/>
                  </a:solidFill>
                  <a:latin typeface="Calibri" pitchFamily="-109" charset="0"/>
                  <a:ea typeface="ＭＳ Ｐゴシック" pitchFamily="-109" charset="-128"/>
                </a:defRPr>
              </a:lvl3pPr>
              <a:lvl4pPr marL="1600200" indent="-228600">
                <a:defRPr>
                  <a:solidFill>
                    <a:schemeClr val="tx1"/>
                  </a:solidFill>
                  <a:latin typeface="Calibri" pitchFamily="-109" charset="0"/>
                  <a:ea typeface="ＭＳ Ｐゴシック" pitchFamily="-109" charset="-128"/>
                </a:defRPr>
              </a:lvl4pPr>
              <a:lvl5pPr marL="2057400" indent="-228600">
                <a:defRPr>
                  <a:solidFill>
                    <a:schemeClr val="tx1"/>
                  </a:solidFill>
                  <a:latin typeface="Calibri" pitchFamily="-109" charset="0"/>
                  <a:ea typeface="ＭＳ Ｐゴシック" pitchFamily="-109" charset="-128"/>
                </a:defRPr>
              </a:lvl5pPr>
              <a:lvl6pPr marL="2514600" indent="-228600" defTabSz="457200" fontAlgn="base">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fontAlgn="base">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fontAlgn="base">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fontAlgn="base">
                <a:spcBef>
                  <a:spcPct val="0"/>
                </a:spcBef>
                <a:spcAft>
                  <a:spcPct val="0"/>
                </a:spcAft>
                <a:defRPr>
                  <a:solidFill>
                    <a:schemeClr val="tx1"/>
                  </a:solidFill>
                  <a:latin typeface="Calibri" pitchFamily="-109" charset="0"/>
                  <a:ea typeface="ＭＳ Ｐゴシック" pitchFamily="-109" charset="-128"/>
                </a:defRPr>
              </a:lvl9pPr>
            </a:lstStyle>
            <a:p>
              <a:pPr algn="ctr">
                <a:defRPr/>
              </a:pPr>
              <a:r>
                <a:rPr lang="da-DK" sz="1050" b="1" smtClean="0">
                  <a:solidFill>
                    <a:srgbClr val="227088"/>
                  </a:solidFill>
                </a:rPr>
                <a:t>RIVALRY</a:t>
              </a:r>
            </a:p>
          </p:txBody>
        </p:sp>
        <p:sp>
          <p:nvSpPr>
            <p:cNvPr id="60" name="Donut 59"/>
            <p:cNvSpPr>
              <a:spLocks/>
            </p:cNvSpPr>
            <p:nvPr/>
          </p:nvSpPr>
          <p:spPr bwMode="auto">
            <a:xfrm rot="2700000">
              <a:off x="3247658" y="2119826"/>
              <a:ext cx="2677950" cy="2679224"/>
            </a:xfrm>
            <a:custGeom>
              <a:avLst/>
              <a:gdLst>
                <a:gd name="T0" fmla="*/ 0 w 2678113"/>
                <a:gd name="T1" fmla="*/ 1339850 h 2679700"/>
                <a:gd name="T2" fmla="*/ 1339057 w 2678113"/>
                <a:gd name="T3" fmla="*/ 0 h 2679700"/>
                <a:gd name="T4" fmla="*/ 2678114 w 2678113"/>
                <a:gd name="T5" fmla="*/ 1339850 h 2679700"/>
                <a:gd name="T6" fmla="*/ 1339057 w 2678113"/>
                <a:gd name="T7" fmla="*/ 2679700 h 2679700"/>
                <a:gd name="T8" fmla="*/ 0 w 2678113"/>
                <a:gd name="T9" fmla="*/ 1339850 h 2679700"/>
                <a:gd name="T10" fmla="*/ 322123 w 2678113"/>
                <a:gd name="T11" fmla="*/ 1339850 h 2679700"/>
                <a:gd name="T12" fmla="*/ 1339056 w 2678113"/>
                <a:gd name="T13" fmla="*/ 2357577 h 2679700"/>
                <a:gd name="T14" fmla="*/ 2355989 w 2678113"/>
                <a:gd name="T15" fmla="*/ 1339850 h 2679700"/>
                <a:gd name="T16" fmla="*/ 1339056 w 2678113"/>
                <a:gd name="T17" fmla="*/ 322123 h 2679700"/>
                <a:gd name="T18" fmla="*/ 322123 w 2678113"/>
                <a:gd name="T19" fmla="*/ 1339850 h 26797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78113" h="2679700">
                  <a:moveTo>
                    <a:pt x="0" y="1339850"/>
                  </a:moveTo>
                  <a:cubicBezTo>
                    <a:pt x="0" y="599871"/>
                    <a:pt x="599516" y="0"/>
                    <a:pt x="1339057" y="0"/>
                  </a:cubicBezTo>
                  <a:cubicBezTo>
                    <a:pt x="2078598" y="0"/>
                    <a:pt x="2678114" y="599871"/>
                    <a:pt x="2678114" y="1339850"/>
                  </a:cubicBezTo>
                  <a:cubicBezTo>
                    <a:pt x="2678114" y="2079829"/>
                    <a:pt x="2078598" y="2679700"/>
                    <a:pt x="1339057" y="2679700"/>
                  </a:cubicBezTo>
                  <a:cubicBezTo>
                    <a:pt x="599516" y="2679700"/>
                    <a:pt x="0" y="2079829"/>
                    <a:pt x="0" y="1339850"/>
                  </a:cubicBezTo>
                  <a:close/>
                  <a:moveTo>
                    <a:pt x="322123" y="1339850"/>
                  </a:moveTo>
                  <a:cubicBezTo>
                    <a:pt x="322123" y="1901925"/>
                    <a:pt x="777419" y="2357577"/>
                    <a:pt x="1339056" y="2357577"/>
                  </a:cubicBezTo>
                  <a:cubicBezTo>
                    <a:pt x="1900693" y="2357577"/>
                    <a:pt x="2355989" y="1901925"/>
                    <a:pt x="2355989" y="1339850"/>
                  </a:cubicBezTo>
                  <a:cubicBezTo>
                    <a:pt x="2355989" y="777775"/>
                    <a:pt x="1900693" y="322123"/>
                    <a:pt x="1339056" y="322123"/>
                  </a:cubicBezTo>
                  <a:cubicBezTo>
                    <a:pt x="777419" y="322123"/>
                    <a:pt x="322123" y="777775"/>
                    <a:pt x="322123" y="1339850"/>
                  </a:cubicBezTo>
                  <a:close/>
                </a:path>
              </a:pathLst>
            </a:custGeom>
            <a:solidFill>
              <a:schemeClr val="bg1">
                <a:lumMod val="85000"/>
              </a:schemeClr>
            </a:solidFill>
            <a:ln w="9525" cap="flat" cmpd="sng">
              <a:solidFill>
                <a:srgbClr val="4A7EBB"/>
              </a:solidFill>
              <a:prstDash val="solid"/>
              <a:round/>
              <a:headEnd/>
              <a:tailEnd/>
            </a:ln>
            <a:effectLst>
              <a:outerShdw blurRad="40000" dist="23000" dir="5400000" rotWithShape="0">
                <a:srgbClr val="000000">
                  <a:alpha val="34999"/>
                </a:srgbClr>
              </a:outerShdw>
            </a:effectLst>
          </p:spPr>
          <p:txBody>
            <a:bodyPr anchor="ctr"/>
            <a:lstStyle/>
            <a:p>
              <a:pPr>
                <a:defRPr/>
              </a:pPr>
              <a:endParaRPr lang="en-US" sz="1200"/>
            </a:p>
          </p:txBody>
        </p:sp>
        <p:grpSp>
          <p:nvGrpSpPr>
            <p:cNvPr id="17423" name="Group 67"/>
            <p:cNvGrpSpPr>
              <a:grpSpLocks/>
            </p:cNvGrpSpPr>
            <p:nvPr/>
          </p:nvGrpSpPr>
          <p:grpSpPr bwMode="auto">
            <a:xfrm>
              <a:off x="2878138" y="2911477"/>
              <a:ext cx="1122362" cy="1098550"/>
              <a:chOff x="2590806" y="2443935"/>
              <a:chExt cx="1362074" cy="1334317"/>
            </a:xfrm>
          </p:grpSpPr>
          <p:grpSp>
            <p:nvGrpSpPr>
              <p:cNvPr id="17462" name="Gruppe 83"/>
              <p:cNvGrpSpPr>
                <a:grpSpLocks/>
              </p:cNvGrpSpPr>
              <p:nvPr/>
            </p:nvGrpSpPr>
            <p:grpSpPr bwMode="auto">
              <a:xfrm rot="5400000">
                <a:off x="2604684" y="2430057"/>
                <a:ext cx="1334317" cy="1362074"/>
                <a:chOff x="3717577" y="1040361"/>
                <a:chExt cx="1708847" cy="1742936"/>
              </a:xfrm>
            </p:grpSpPr>
            <p:sp>
              <p:nvSpPr>
                <p:cNvPr id="66" name="Tåre 105"/>
                <p:cNvSpPr/>
                <p:nvPr/>
              </p:nvSpPr>
              <p:spPr bwMode="auto">
                <a:xfrm rot="18900000">
                  <a:off x="3717577" y="1067209"/>
                  <a:ext cx="1708847" cy="1716088"/>
                </a:xfrm>
                <a:prstGeom prst="teardrop">
                  <a:avLst/>
                </a:prstGeom>
                <a:gradFill flip="none" rotWithShape="1">
                  <a:gsLst>
                    <a:gs pos="0">
                      <a:schemeClr val="bg2"/>
                    </a:gs>
                    <a:gs pos="86000">
                      <a:srgbClr val="2A9B18"/>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0"/>
                    <a:cs typeface="ＭＳ Ｐゴシック" charset="0"/>
                  </a:endParaRPr>
                </a:p>
              </p:txBody>
            </p:sp>
            <p:sp>
              <p:nvSpPr>
                <p:cNvPr id="67"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200" smtClean="0">
                    <a:solidFill>
                      <a:srgbClr val="FFFFFF"/>
                    </a:solidFill>
                    <a:latin typeface="Calibri" charset="0"/>
                  </a:endParaRPr>
                </a:p>
              </p:txBody>
            </p:sp>
            <p:sp>
              <p:nvSpPr>
                <p:cNvPr id="68"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200" smtClean="0">
                    <a:solidFill>
                      <a:srgbClr val="FFFFFF"/>
                    </a:solidFill>
                    <a:latin typeface="Calibri" charset="0"/>
                  </a:endParaRPr>
                </a:p>
              </p:txBody>
            </p:sp>
          </p:grpSp>
          <p:sp>
            <p:nvSpPr>
              <p:cNvPr id="63" name="L-Shape 62"/>
              <p:cNvSpPr/>
              <p:nvPr/>
            </p:nvSpPr>
            <p:spPr>
              <a:xfrm>
                <a:off x="3048524" y="3052896"/>
                <a:ext cx="469876" cy="374825"/>
              </a:xfrm>
              <a:prstGeom prst="corner">
                <a:avLst>
                  <a:gd name="adj1" fmla="val 74088"/>
                  <a:gd name="adj2" fmla="val 3406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sz="1200">
                  <a:solidFill>
                    <a:srgbClr val="FFFFFF"/>
                  </a:solidFill>
                  <a:ea typeface="ＭＳ Ｐゴシック" charset="0"/>
                  <a:cs typeface="ＭＳ Ｐゴシック" charset="0"/>
                </a:endParaRPr>
              </a:p>
            </p:txBody>
          </p:sp>
          <p:sp>
            <p:nvSpPr>
              <p:cNvPr id="64" name="Cloud 63"/>
              <p:cNvSpPr/>
              <p:nvPr/>
            </p:nvSpPr>
            <p:spPr>
              <a:xfrm rot="2580872">
                <a:off x="3103804" y="2660461"/>
                <a:ext cx="223630" cy="405012"/>
              </a:xfrm>
              <a:prstGeom prst="cloud">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sz="1200">
                  <a:solidFill>
                    <a:srgbClr val="FFFFFF"/>
                  </a:solidFill>
                  <a:ea typeface="ＭＳ Ｐゴシック" charset="0"/>
                  <a:cs typeface="ＭＳ Ｐゴシック" charset="0"/>
                </a:endParaRPr>
              </a:p>
            </p:txBody>
          </p:sp>
        </p:grpSp>
        <p:grpSp>
          <p:nvGrpSpPr>
            <p:cNvPr id="17424" name="Group 65"/>
            <p:cNvGrpSpPr>
              <a:grpSpLocks/>
            </p:cNvGrpSpPr>
            <p:nvPr/>
          </p:nvGrpSpPr>
          <p:grpSpPr bwMode="auto">
            <a:xfrm>
              <a:off x="5160963" y="2911476"/>
              <a:ext cx="1120775" cy="1098550"/>
              <a:chOff x="6413505" y="2443935"/>
              <a:chExt cx="1362074" cy="1334317"/>
            </a:xfrm>
          </p:grpSpPr>
          <p:grpSp>
            <p:nvGrpSpPr>
              <p:cNvPr id="17451" name="Gruppe 83"/>
              <p:cNvGrpSpPr>
                <a:grpSpLocks/>
              </p:cNvGrpSpPr>
              <p:nvPr/>
            </p:nvGrpSpPr>
            <p:grpSpPr bwMode="auto">
              <a:xfrm rot="-5400000">
                <a:off x="6427383" y="2430057"/>
                <a:ext cx="1334317" cy="1362074"/>
                <a:chOff x="3717577" y="1040361"/>
                <a:chExt cx="1708847" cy="1742936"/>
              </a:xfrm>
            </p:grpSpPr>
            <p:sp>
              <p:nvSpPr>
                <p:cNvPr id="74" name="Tåre 105"/>
                <p:cNvSpPr/>
                <p:nvPr/>
              </p:nvSpPr>
              <p:spPr bwMode="auto">
                <a:xfrm rot="18900000">
                  <a:off x="3717577" y="1067209"/>
                  <a:ext cx="1708847" cy="1716088"/>
                </a:xfrm>
                <a:prstGeom prst="teardrop">
                  <a:avLst/>
                </a:prstGeom>
                <a:gradFill flip="none" rotWithShape="1">
                  <a:gsLst>
                    <a:gs pos="0">
                      <a:schemeClr val="bg2"/>
                    </a:gs>
                    <a:gs pos="63000">
                      <a:srgbClr val="CE202A"/>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sz="1200">
                    <a:solidFill>
                      <a:srgbClr val="FFFFFF"/>
                    </a:solidFill>
                    <a:latin typeface="Calibri" charset="0"/>
                    <a:ea typeface="ＭＳ Ｐゴシック" charset="-128"/>
                    <a:cs typeface="ＭＳ Ｐゴシック" charset="-128"/>
                  </a:endParaRPr>
                </a:p>
              </p:txBody>
            </p:sp>
            <p:sp>
              <p:nvSpPr>
                <p:cNvPr id="75"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200" smtClean="0">
                    <a:solidFill>
                      <a:srgbClr val="FFFFFF"/>
                    </a:solidFill>
                    <a:latin typeface="Calibri" charset="0"/>
                  </a:endParaRPr>
                </a:p>
              </p:txBody>
            </p:sp>
            <p:sp>
              <p:nvSpPr>
                <p:cNvPr id="76"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200" smtClean="0">
                    <a:solidFill>
                      <a:srgbClr val="FFFFFF"/>
                    </a:solidFill>
                    <a:latin typeface="Calibri" charset="0"/>
                  </a:endParaRPr>
                </a:p>
              </p:txBody>
            </p:sp>
          </p:grpSp>
          <p:sp>
            <p:nvSpPr>
              <p:cNvPr id="17452" name="Freeform 6"/>
              <p:cNvSpPr>
                <a:spLocks noEditPoints="1"/>
              </p:cNvSpPr>
              <p:nvPr/>
            </p:nvSpPr>
            <p:spPr bwMode="auto">
              <a:xfrm>
                <a:off x="6896100" y="2679700"/>
                <a:ext cx="462364" cy="911224"/>
              </a:xfrm>
              <a:custGeom>
                <a:avLst/>
                <a:gdLst>
                  <a:gd name="T0" fmla="*/ 2147483647 w 1746"/>
                  <a:gd name="T1" fmla="*/ 2147483647 h 3442"/>
                  <a:gd name="T2" fmla="*/ 2147483647 w 1746"/>
                  <a:gd name="T3" fmla="*/ 2147483647 h 3442"/>
                  <a:gd name="T4" fmla="*/ 2147483647 w 1746"/>
                  <a:gd name="T5" fmla="*/ 2147483647 h 3442"/>
                  <a:gd name="T6" fmla="*/ 2147483647 w 1746"/>
                  <a:gd name="T7" fmla="*/ 2147483647 h 3442"/>
                  <a:gd name="T8" fmla="*/ 2147483647 w 1746"/>
                  <a:gd name="T9" fmla="*/ 2147483647 h 3442"/>
                  <a:gd name="T10" fmla="*/ 2147483647 w 1746"/>
                  <a:gd name="T11" fmla="*/ 2147483647 h 3442"/>
                  <a:gd name="T12" fmla="*/ 2147483647 w 1746"/>
                  <a:gd name="T13" fmla="*/ 2147483647 h 3442"/>
                  <a:gd name="T14" fmla="*/ 2147483647 w 1746"/>
                  <a:gd name="T15" fmla="*/ 2147483647 h 3442"/>
                  <a:gd name="T16" fmla="*/ 2147483647 w 1746"/>
                  <a:gd name="T17" fmla="*/ 2147483647 h 3442"/>
                  <a:gd name="T18" fmla="*/ 2147483647 w 1746"/>
                  <a:gd name="T19" fmla="*/ 2147483647 h 3442"/>
                  <a:gd name="T20" fmla="*/ 2147483647 w 1746"/>
                  <a:gd name="T21" fmla="*/ 2147483647 h 3442"/>
                  <a:gd name="T22" fmla="*/ 2147483647 w 1746"/>
                  <a:gd name="T23" fmla="*/ 2147483647 h 3442"/>
                  <a:gd name="T24" fmla="*/ 2147483647 w 1746"/>
                  <a:gd name="T25" fmla="*/ 2147483647 h 3442"/>
                  <a:gd name="T26" fmla="*/ 2147483647 w 1746"/>
                  <a:gd name="T27" fmla="*/ 2147483647 h 3442"/>
                  <a:gd name="T28" fmla="*/ 2147483647 w 1746"/>
                  <a:gd name="T29" fmla="*/ 2147483647 h 3442"/>
                  <a:gd name="T30" fmla="*/ 2147483647 w 1746"/>
                  <a:gd name="T31" fmla="*/ 2147483647 h 3442"/>
                  <a:gd name="T32" fmla="*/ 2147483647 w 1746"/>
                  <a:gd name="T33" fmla="*/ 2147483647 h 3442"/>
                  <a:gd name="T34" fmla="*/ 2147483647 w 1746"/>
                  <a:gd name="T35" fmla="*/ 2147483647 h 3442"/>
                  <a:gd name="T36" fmla="*/ 2147483647 w 1746"/>
                  <a:gd name="T37" fmla="*/ 2147483647 h 3442"/>
                  <a:gd name="T38" fmla="*/ 0 w 1746"/>
                  <a:gd name="T39" fmla="*/ 2147483647 h 3442"/>
                  <a:gd name="T40" fmla="*/ 2147483647 w 1746"/>
                  <a:gd name="T41" fmla="*/ 2147483647 h 3442"/>
                  <a:gd name="T42" fmla="*/ 2147483647 w 1746"/>
                  <a:gd name="T43" fmla="*/ 2147483647 h 3442"/>
                  <a:gd name="T44" fmla="*/ 2147483647 w 1746"/>
                  <a:gd name="T45" fmla="*/ 2147483647 h 3442"/>
                  <a:gd name="T46" fmla="*/ 2147483647 w 1746"/>
                  <a:gd name="T47" fmla="*/ 2147483647 h 3442"/>
                  <a:gd name="T48" fmla="*/ 2147483647 w 1746"/>
                  <a:gd name="T49" fmla="*/ 2147483647 h 3442"/>
                  <a:gd name="T50" fmla="*/ 2147483647 w 1746"/>
                  <a:gd name="T51" fmla="*/ 2147483647 h 3442"/>
                  <a:gd name="T52" fmla="*/ 2147483647 w 1746"/>
                  <a:gd name="T53" fmla="*/ 2147483647 h 3442"/>
                  <a:gd name="T54" fmla="*/ 2147483647 w 1746"/>
                  <a:gd name="T55" fmla="*/ 2147483647 h 3442"/>
                  <a:gd name="T56" fmla="*/ 2147483647 w 1746"/>
                  <a:gd name="T57" fmla="*/ 2147483647 h 3442"/>
                  <a:gd name="T58" fmla="*/ 2147483647 w 1746"/>
                  <a:gd name="T59" fmla="*/ 2147483647 h 3442"/>
                  <a:gd name="T60" fmla="*/ 2147483647 w 1746"/>
                  <a:gd name="T61" fmla="*/ 2147483647 h 3442"/>
                  <a:gd name="T62" fmla="*/ 2147483647 w 1746"/>
                  <a:gd name="T63" fmla="*/ 2147483647 h 3442"/>
                  <a:gd name="T64" fmla="*/ 2147483647 w 1746"/>
                  <a:gd name="T65" fmla="*/ 2147483647 h 3442"/>
                  <a:gd name="T66" fmla="*/ 2147483647 w 1746"/>
                  <a:gd name="T67" fmla="*/ 2147483647 h 3442"/>
                  <a:gd name="T68" fmla="*/ 2147483647 w 1746"/>
                  <a:gd name="T69" fmla="*/ 2147483647 h 3442"/>
                  <a:gd name="T70" fmla="*/ 2147483647 w 1746"/>
                  <a:gd name="T71" fmla="*/ 2147483647 h 3442"/>
                  <a:gd name="T72" fmla="*/ 2147483647 w 1746"/>
                  <a:gd name="T73" fmla="*/ 2147483647 h 3442"/>
                  <a:gd name="T74" fmla="*/ 2147483647 w 1746"/>
                  <a:gd name="T75" fmla="*/ 2147483647 h 3442"/>
                  <a:gd name="T76" fmla="*/ 2147483647 w 1746"/>
                  <a:gd name="T77" fmla="*/ 2147483647 h 3442"/>
                  <a:gd name="T78" fmla="*/ 2147483647 w 1746"/>
                  <a:gd name="T79" fmla="*/ 2147483647 h 3442"/>
                  <a:gd name="T80" fmla="*/ 2147483647 w 1746"/>
                  <a:gd name="T81" fmla="*/ 2147483647 h 3442"/>
                  <a:gd name="T82" fmla="*/ 2147483647 w 1746"/>
                  <a:gd name="T83" fmla="*/ 2147483647 h 3442"/>
                  <a:gd name="T84" fmla="*/ 2147483647 w 1746"/>
                  <a:gd name="T85" fmla="*/ 2147483647 h 3442"/>
                  <a:gd name="T86" fmla="*/ 2147483647 w 1746"/>
                  <a:gd name="T87" fmla="*/ 2147483647 h 3442"/>
                  <a:gd name="T88" fmla="*/ 2147483647 w 1746"/>
                  <a:gd name="T89" fmla="*/ 2147483647 h 3442"/>
                  <a:gd name="T90" fmla="*/ 2147483647 w 1746"/>
                  <a:gd name="T91" fmla="*/ 2147483647 h 3442"/>
                  <a:gd name="T92" fmla="*/ 2147483647 w 1746"/>
                  <a:gd name="T93" fmla="*/ 2147483647 h 3442"/>
                  <a:gd name="T94" fmla="*/ 2147483647 w 1746"/>
                  <a:gd name="T95" fmla="*/ 2147483647 h 3442"/>
                  <a:gd name="T96" fmla="*/ 2147483647 w 1746"/>
                  <a:gd name="T97" fmla="*/ 2147483647 h 3442"/>
                  <a:gd name="T98" fmla="*/ 2147483647 w 1746"/>
                  <a:gd name="T99" fmla="*/ 2147483647 h 3442"/>
                  <a:gd name="T100" fmla="*/ 2147483647 w 1746"/>
                  <a:gd name="T101" fmla="*/ 2147483647 h 3442"/>
                  <a:gd name="T102" fmla="*/ 2147483647 w 1746"/>
                  <a:gd name="T103" fmla="*/ 2147483647 h 3442"/>
                  <a:gd name="T104" fmla="*/ 2147483647 w 1746"/>
                  <a:gd name="T105" fmla="*/ 2147483647 h 3442"/>
                  <a:gd name="T106" fmla="*/ 2147483647 w 1746"/>
                  <a:gd name="T107" fmla="*/ 2147483647 h 3442"/>
                  <a:gd name="T108" fmla="*/ 2147483647 w 1746"/>
                  <a:gd name="T109" fmla="*/ 2147483647 h 3442"/>
                  <a:gd name="T110" fmla="*/ 2147483647 w 1746"/>
                  <a:gd name="T111" fmla="*/ 2147483647 h 3442"/>
                  <a:gd name="T112" fmla="*/ 2147483647 w 1746"/>
                  <a:gd name="T113" fmla="*/ 2147483647 h 3442"/>
                  <a:gd name="T114" fmla="*/ 2147483647 w 1746"/>
                  <a:gd name="T115" fmla="*/ 2147483647 h 3442"/>
                  <a:gd name="T116" fmla="*/ 2147483647 w 1746"/>
                  <a:gd name="T117" fmla="*/ 2147483647 h 3442"/>
                  <a:gd name="T118" fmla="*/ 2147483647 w 1746"/>
                  <a:gd name="T119" fmla="*/ 2147483647 h 34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46"/>
                  <a:gd name="T181" fmla="*/ 0 h 3442"/>
                  <a:gd name="T182" fmla="*/ 1746 w 1746"/>
                  <a:gd name="T183" fmla="*/ 3442 h 34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46" h="3442">
                    <a:moveTo>
                      <a:pt x="1746" y="1446"/>
                    </a:moveTo>
                    <a:lnTo>
                      <a:pt x="1746" y="1446"/>
                    </a:lnTo>
                    <a:lnTo>
                      <a:pt x="1746" y="1392"/>
                    </a:lnTo>
                    <a:lnTo>
                      <a:pt x="1746" y="1266"/>
                    </a:lnTo>
                    <a:lnTo>
                      <a:pt x="1744" y="1240"/>
                    </a:lnTo>
                    <a:lnTo>
                      <a:pt x="1738" y="1214"/>
                    </a:lnTo>
                    <a:lnTo>
                      <a:pt x="1714" y="1146"/>
                    </a:lnTo>
                    <a:lnTo>
                      <a:pt x="1706" y="1120"/>
                    </a:lnTo>
                    <a:lnTo>
                      <a:pt x="1702" y="1094"/>
                    </a:lnTo>
                    <a:lnTo>
                      <a:pt x="1694" y="1002"/>
                    </a:lnTo>
                    <a:lnTo>
                      <a:pt x="1688" y="948"/>
                    </a:lnTo>
                    <a:lnTo>
                      <a:pt x="1670" y="822"/>
                    </a:lnTo>
                    <a:lnTo>
                      <a:pt x="1668" y="794"/>
                    </a:lnTo>
                    <a:lnTo>
                      <a:pt x="1666" y="766"/>
                    </a:lnTo>
                    <a:lnTo>
                      <a:pt x="1666" y="738"/>
                    </a:lnTo>
                    <a:lnTo>
                      <a:pt x="1664" y="714"/>
                    </a:lnTo>
                    <a:lnTo>
                      <a:pt x="1662" y="704"/>
                    </a:lnTo>
                    <a:lnTo>
                      <a:pt x="1658" y="696"/>
                    </a:lnTo>
                    <a:lnTo>
                      <a:pt x="1648" y="686"/>
                    </a:lnTo>
                    <a:lnTo>
                      <a:pt x="1636" y="678"/>
                    </a:lnTo>
                    <a:lnTo>
                      <a:pt x="1616" y="668"/>
                    </a:lnTo>
                    <a:lnTo>
                      <a:pt x="1602" y="660"/>
                    </a:lnTo>
                    <a:lnTo>
                      <a:pt x="1582" y="652"/>
                    </a:lnTo>
                    <a:lnTo>
                      <a:pt x="1426" y="588"/>
                    </a:lnTo>
                    <a:lnTo>
                      <a:pt x="1416" y="582"/>
                    </a:lnTo>
                    <a:lnTo>
                      <a:pt x="1406" y="574"/>
                    </a:lnTo>
                    <a:lnTo>
                      <a:pt x="1398" y="564"/>
                    </a:lnTo>
                    <a:lnTo>
                      <a:pt x="1394" y="554"/>
                    </a:lnTo>
                    <a:lnTo>
                      <a:pt x="1392" y="542"/>
                    </a:lnTo>
                    <a:lnTo>
                      <a:pt x="1394" y="532"/>
                    </a:lnTo>
                    <a:lnTo>
                      <a:pt x="1396" y="524"/>
                    </a:lnTo>
                    <a:lnTo>
                      <a:pt x="1402" y="516"/>
                    </a:lnTo>
                    <a:lnTo>
                      <a:pt x="1416" y="500"/>
                    </a:lnTo>
                    <a:lnTo>
                      <a:pt x="1430" y="480"/>
                    </a:lnTo>
                    <a:lnTo>
                      <a:pt x="1442" y="458"/>
                    </a:lnTo>
                    <a:lnTo>
                      <a:pt x="1448" y="446"/>
                    </a:lnTo>
                    <a:lnTo>
                      <a:pt x="1452" y="432"/>
                    </a:lnTo>
                    <a:lnTo>
                      <a:pt x="1456" y="418"/>
                    </a:lnTo>
                    <a:lnTo>
                      <a:pt x="1460" y="406"/>
                    </a:lnTo>
                    <a:lnTo>
                      <a:pt x="1468" y="340"/>
                    </a:lnTo>
                    <a:lnTo>
                      <a:pt x="1470" y="312"/>
                    </a:lnTo>
                    <a:lnTo>
                      <a:pt x="1472" y="286"/>
                    </a:lnTo>
                    <a:lnTo>
                      <a:pt x="1472" y="266"/>
                    </a:lnTo>
                    <a:lnTo>
                      <a:pt x="1470" y="244"/>
                    </a:lnTo>
                    <a:lnTo>
                      <a:pt x="1466" y="234"/>
                    </a:lnTo>
                    <a:lnTo>
                      <a:pt x="1464" y="228"/>
                    </a:lnTo>
                    <a:lnTo>
                      <a:pt x="1456" y="214"/>
                    </a:lnTo>
                    <a:lnTo>
                      <a:pt x="1448" y="198"/>
                    </a:lnTo>
                    <a:lnTo>
                      <a:pt x="1440" y="182"/>
                    </a:lnTo>
                    <a:lnTo>
                      <a:pt x="1430" y="168"/>
                    </a:lnTo>
                    <a:lnTo>
                      <a:pt x="1416" y="156"/>
                    </a:lnTo>
                    <a:lnTo>
                      <a:pt x="1402" y="148"/>
                    </a:lnTo>
                    <a:lnTo>
                      <a:pt x="1366" y="138"/>
                    </a:lnTo>
                    <a:lnTo>
                      <a:pt x="1356" y="136"/>
                    </a:lnTo>
                    <a:lnTo>
                      <a:pt x="1344" y="136"/>
                    </a:lnTo>
                    <a:lnTo>
                      <a:pt x="1332" y="140"/>
                    </a:lnTo>
                    <a:lnTo>
                      <a:pt x="1320" y="142"/>
                    </a:lnTo>
                    <a:lnTo>
                      <a:pt x="1316" y="144"/>
                    </a:lnTo>
                    <a:lnTo>
                      <a:pt x="1266" y="168"/>
                    </a:lnTo>
                    <a:lnTo>
                      <a:pt x="1246" y="178"/>
                    </a:lnTo>
                    <a:lnTo>
                      <a:pt x="1236" y="184"/>
                    </a:lnTo>
                    <a:lnTo>
                      <a:pt x="1226" y="192"/>
                    </a:lnTo>
                    <a:lnTo>
                      <a:pt x="1218" y="202"/>
                    </a:lnTo>
                    <a:lnTo>
                      <a:pt x="1214" y="210"/>
                    </a:lnTo>
                    <a:lnTo>
                      <a:pt x="1196" y="254"/>
                    </a:lnTo>
                    <a:lnTo>
                      <a:pt x="1188" y="274"/>
                    </a:lnTo>
                    <a:lnTo>
                      <a:pt x="1180" y="294"/>
                    </a:lnTo>
                    <a:lnTo>
                      <a:pt x="1176" y="298"/>
                    </a:lnTo>
                    <a:lnTo>
                      <a:pt x="1174" y="300"/>
                    </a:lnTo>
                    <a:lnTo>
                      <a:pt x="1168" y="302"/>
                    </a:lnTo>
                    <a:lnTo>
                      <a:pt x="1166" y="306"/>
                    </a:lnTo>
                    <a:lnTo>
                      <a:pt x="1164" y="316"/>
                    </a:lnTo>
                    <a:lnTo>
                      <a:pt x="1160" y="330"/>
                    </a:lnTo>
                    <a:lnTo>
                      <a:pt x="1156" y="340"/>
                    </a:lnTo>
                    <a:lnTo>
                      <a:pt x="1156" y="348"/>
                    </a:lnTo>
                    <a:lnTo>
                      <a:pt x="1156" y="358"/>
                    </a:lnTo>
                    <a:lnTo>
                      <a:pt x="1160" y="368"/>
                    </a:lnTo>
                    <a:lnTo>
                      <a:pt x="1164" y="382"/>
                    </a:lnTo>
                    <a:lnTo>
                      <a:pt x="1166" y="392"/>
                    </a:lnTo>
                    <a:lnTo>
                      <a:pt x="1168" y="392"/>
                    </a:lnTo>
                    <a:lnTo>
                      <a:pt x="1170" y="394"/>
                    </a:lnTo>
                    <a:lnTo>
                      <a:pt x="1180" y="392"/>
                    </a:lnTo>
                    <a:lnTo>
                      <a:pt x="1186" y="390"/>
                    </a:lnTo>
                    <a:lnTo>
                      <a:pt x="1190" y="396"/>
                    </a:lnTo>
                    <a:lnTo>
                      <a:pt x="1192" y="402"/>
                    </a:lnTo>
                    <a:lnTo>
                      <a:pt x="1194" y="412"/>
                    </a:lnTo>
                    <a:lnTo>
                      <a:pt x="1194" y="440"/>
                    </a:lnTo>
                    <a:lnTo>
                      <a:pt x="1192" y="452"/>
                    </a:lnTo>
                    <a:lnTo>
                      <a:pt x="1190" y="464"/>
                    </a:lnTo>
                    <a:lnTo>
                      <a:pt x="1186" y="476"/>
                    </a:lnTo>
                    <a:lnTo>
                      <a:pt x="1180" y="486"/>
                    </a:lnTo>
                    <a:lnTo>
                      <a:pt x="1152" y="522"/>
                    </a:lnTo>
                    <a:lnTo>
                      <a:pt x="1136" y="540"/>
                    </a:lnTo>
                    <a:lnTo>
                      <a:pt x="1114" y="556"/>
                    </a:lnTo>
                    <a:lnTo>
                      <a:pt x="1106" y="562"/>
                    </a:lnTo>
                    <a:lnTo>
                      <a:pt x="1082" y="576"/>
                    </a:lnTo>
                    <a:lnTo>
                      <a:pt x="1056" y="586"/>
                    </a:lnTo>
                    <a:lnTo>
                      <a:pt x="970" y="616"/>
                    </a:lnTo>
                    <a:lnTo>
                      <a:pt x="958" y="618"/>
                    </a:lnTo>
                    <a:lnTo>
                      <a:pt x="944" y="620"/>
                    </a:lnTo>
                    <a:lnTo>
                      <a:pt x="930" y="618"/>
                    </a:lnTo>
                    <a:lnTo>
                      <a:pt x="918" y="614"/>
                    </a:lnTo>
                    <a:lnTo>
                      <a:pt x="844" y="578"/>
                    </a:lnTo>
                    <a:lnTo>
                      <a:pt x="794" y="554"/>
                    </a:lnTo>
                    <a:lnTo>
                      <a:pt x="732" y="528"/>
                    </a:lnTo>
                    <a:lnTo>
                      <a:pt x="708" y="518"/>
                    </a:lnTo>
                    <a:lnTo>
                      <a:pt x="680" y="510"/>
                    </a:lnTo>
                    <a:lnTo>
                      <a:pt x="632" y="498"/>
                    </a:lnTo>
                    <a:lnTo>
                      <a:pt x="622" y="494"/>
                    </a:lnTo>
                    <a:lnTo>
                      <a:pt x="612" y="488"/>
                    </a:lnTo>
                    <a:lnTo>
                      <a:pt x="604" y="478"/>
                    </a:lnTo>
                    <a:lnTo>
                      <a:pt x="598" y="468"/>
                    </a:lnTo>
                    <a:lnTo>
                      <a:pt x="586" y="450"/>
                    </a:lnTo>
                    <a:lnTo>
                      <a:pt x="578" y="440"/>
                    </a:lnTo>
                    <a:lnTo>
                      <a:pt x="574" y="434"/>
                    </a:lnTo>
                    <a:lnTo>
                      <a:pt x="572" y="426"/>
                    </a:lnTo>
                    <a:lnTo>
                      <a:pt x="570" y="406"/>
                    </a:lnTo>
                    <a:lnTo>
                      <a:pt x="570" y="340"/>
                    </a:lnTo>
                    <a:lnTo>
                      <a:pt x="572" y="328"/>
                    </a:lnTo>
                    <a:lnTo>
                      <a:pt x="574" y="314"/>
                    </a:lnTo>
                    <a:lnTo>
                      <a:pt x="578" y="300"/>
                    </a:lnTo>
                    <a:lnTo>
                      <a:pt x="584" y="288"/>
                    </a:lnTo>
                    <a:lnTo>
                      <a:pt x="588" y="278"/>
                    </a:lnTo>
                    <a:lnTo>
                      <a:pt x="594" y="264"/>
                    </a:lnTo>
                    <a:lnTo>
                      <a:pt x="596" y="252"/>
                    </a:lnTo>
                    <a:lnTo>
                      <a:pt x="596" y="240"/>
                    </a:lnTo>
                    <a:lnTo>
                      <a:pt x="596" y="210"/>
                    </a:lnTo>
                    <a:lnTo>
                      <a:pt x="596" y="206"/>
                    </a:lnTo>
                    <a:lnTo>
                      <a:pt x="594" y="204"/>
                    </a:lnTo>
                    <a:lnTo>
                      <a:pt x="584" y="196"/>
                    </a:lnTo>
                    <a:lnTo>
                      <a:pt x="578" y="192"/>
                    </a:lnTo>
                    <a:lnTo>
                      <a:pt x="572" y="184"/>
                    </a:lnTo>
                    <a:lnTo>
                      <a:pt x="568" y="176"/>
                    </a:lnTo>
                    <a:lnTo>
                      <a:pt x="566" y="164"/>
                    </a:lnTo>
                    <a:lnTo>
                      <a:pt x="560" y="146"/>
                    </a:lnTo>
                    <a:lnTo>
                      <a:pt x="548" y="94"/>
                    </a:lnTo>
                    <a:lnTo>
                      <a:pt x="540" y="72"/>
                    </a:lnTo>
                    <a:lnTo>
                      <a:pt x="528" y="52"/>
                    </a:lnTo>
                    <a:lnTo>
                      <a:pt x="516" y="38"/>
                    </a:lnTo>
                    <a:lnTo>
                      <a:pt x="510" y="34"/>
                    </a:lnTo>
                    <a:lnTo>
                      <a:pt x="506" y="34"/>
                    </a:lnTo>
                    <a:lnTo>
                      <a:pt x="498" y="32"/>
                    </a:lnTo>
                    <a:lnTo>
                      <a:pt x="486" y="28"/>
                    </a:lnTo>
                    <a:lnTo>
                      <a:pt x="476" y="24"/>
                    </a:lnTo>
                    <a:lnTo>
                      <a:pt x="466" y="22"/>
                    </a:lnTo>
                    <a:lnTo>
                      <a:pt x="454" y="20"/>
                    </a:lnTo>
                    <a:lnTo>
                      <a:pt x="438" y="10"/>
                    </a:lnTo>
                    <a:lnTo>
                      <a:pt x="428" y="6"/>
                    </a:lnTo>
                    <a:lnTo>
                      <a:pt x="416" y="2"/>
                    </a:lnTo>
                    <a:lnTo>
                      <a:pt x="404" y="0"/>
                    </a:lnTo>
                    <a:lnTo>
                      <a:pt x="390" y="0"/>
                    </a:lnTo>
                    <a:lnTo>
                      <a:pt x="388" y="0"/>
                    </a:lnTo>
                    <a:lnTo>
                      <a:pt x="348" y="0"/>
                    </a:lnTo>
                    <a:lnTo>
                      <a:pt x="332" y="2"/>
                    </a:lnTo>
                    <a:lnTo>
                      <a:pt x="314" y="10"/>
                    </a:lnTo>
                    <a:lnTo>
                      <a:pt x="292" y="24"/>
                    </a:lnTo>
                    <a:lnTo>
                      <a:pt x="272" y="40"/>
                    </a:lnTo>
                    <a:lnTo>
                      <a:pt x="252" y="58"/>
                    </a:lnTo>
                    <a:lnTo>
                      <a:pt x="238" y="76"/>
                    </a:lnTo>
                    <a:lnTo>
                      <a:pt x="228" y="94"/>
                    </a:lnTo>
                    <a:lnTo>
                      <a:pt x="226" y="100"/>
                    </a:lnTo>
                    <a:lnTo>
                      <a:pt x="224" y="106"/>
                    </a:lnTo>
                    <a:lnTo>
                      <a:pt x="222" y="120"/>
                    </a:lnTo>
                    <a:lnTo>
                      <a:pt x="216" y="136"/>
                    </a:lnTo>
                    <a:lnTo>
                      <a:pt x="214" y="146"/>
                    </a:lnTo>
                    <a:lnTo>
                      <a:pt x="212" y="158"/>
                    </a:lnTo>
                    <a:lnTo>
                      <a:pt x="212" y="170"/>
                    </a:lnTo>
                    <a:lnTo>
                      <a:pt x="214" y="182"/>
                    </a:lnTo>
                    <a:lnTo>
                      <a:pt x="220" y="224"/>
                    </a:lnTo>
                    <a:lnTo>
                      <a:pt x="224" y="250"/>
                    </a:lnTo>
                    <a:lnTo>
                      <a:pt x="224" y="276"/>
                    </a:lnTo>
                    <a:lnTo>
                      <a:pt x="226" y="298"/>
                    </a:lnTo>
                    <a:lnTo>
                      <a:pt x="230" y="318"/>
                    </a:lnTo>
                    <a:lnTo>
                      <a:pt x="240" y="334"/>
                    </a:lnTo>
                    <a:lnTo>
                      <a:pt x="250" y="348"/>
                    </a:lnTo>
                    <a:lnTo>
                      <a:pt x="262" y="362"/>
                    </a:lnTo>
                    <a:lnTo>
                      <a:pt x="272" y="378"/>
                    </a:lnTo>
                    <a:lnTo>
                      <a:pt x="282" y="398"/>
                    </a:lnTo>
                    <a:lnTo>
                      <a:pt x="298" y="418"/>
                    </a:lnTo>
                    <a:lnTo>
                      <a:pt x="304" y="424"/>
                    </a:lnTo>
                    <a:lnTo>
                      <a:pt x="310" y="434"/>
                    </a:lnTo>
                    <a:lnTo>
                      <a:pt x="316" y="446"/>
                    </a:lnTo>
                    <a:lnTo>
                      <a:pt x="320" y="460"/>
                    </a:lnTo>
                    <a:lnTo>
                      <a:pt x="322" y="472"/>
                    </a:lnTo>
                    <a:lnTo>
                      <a:pt x="322" y="502"/>
                    </a:lnTo>
                    <a:lnTo>
                      <a:pt x="320" y="526"/>
                    </a:lnTo>
                    <a:lnTo>
                      <a:pt x="318" y="538"/>
                    </a:lnTo>
                    <a:lnTo>
                      <a:pt x="314" y="548"/>
                    </a:lnTo>
                    <a:lnTo>
                      <a:pt x="308" y="556"/>
                    </a:lnTo>
                    <a:lnTo>
                      <a:pt x="300" y="564"/>
                    </a:lnTo>
                    <a:lnTo>
                      <a:pt x="292" y="570"/>
                    </a:lnTo>
                    <a:lnTo>
                      <a:pt x="280" y="576"/>
                    </a:lnTo>
                    <a:lnTo>
                      <a:pt x="220" y="602"/>
                    </a:lnTo>
                    <a:lnTo>
                      <a:pt x="200" y="610"/>
                    </a:lnTo>
                    <a:lnTo>
                      <a:pt x="190" y="614"/>
                    </a:lnTo>
                    <a:lnTo>
                      <a:pt x="178" y="618"/>
                    </a:lnTo>
                    <a:lnTo>
                      <a:pt x="160" y="628"/>
                    </a:lnTo>
                    <a:lnTo>
                      <a:pt x="150" y="634"/>
                    </a:lnTo>
                    <a:lnTo>
                      <a:pt x="128" y="652"/>
                    </a:lnTo>
                    <a:lnTo>
                      <a:pt x="110" y="670"/>
                    </a:lnTo>
                    <a:lnTo>
                      <a:pt x="104" y="678"/>
                    </a:lnTo>
                    <a:lnTo>
                      <a:pt x="86" y="696"/>
                    </a:lnTo>
                    <a:lnTo>
                      <a:pt x="70" y="710"/>
                    </a:lnTo>
                    <a:lnTo>
                      <a:pt x="66" y="716"/>
                    </a:lnTo>
                    <a:lnTo>
                      <a:pt x="60" y="724"/>
                    </a:lnTo>
                    <a:lnTo>
                      <a:pt x="58" y="732"/>
                    </a:lnTo>
                    <a:lnTo>
                      <a:pt x="56" y="740"/>
                    </a:lnTo>
                    <a:lnTo>
                      <a:pt x="56" y="786"/>
                    </a:lnTo>
                    <a:lnTo>
                      <a:pt x="56" y="802"/>
                    </a:lnTo>
                    <a:lnTo>
                      <a:pt x="58" y="858"/>
                    </a:lnTo>
                    <a:lnTo>
                      <a:pt x="70" y="958"/>
                    </a:lnTo>
                    <a:lnTo>
                      <a:pt x="70" y="986"/>
                    </a:lnTo>
                    <a:lnTo>
                      <a:pt x="68" y="1014"/>
                    </a:lnTo>
                    <a:lnTo>
                      <a:pt x="48" y="1116"/>
                    </a:lnTo>
                    <a:lnTo>
                      <a:pt x="38" y="1170"/>
                    </a:lnTo>
                    <a:lnTo>
                      <a:pt x="6" y="1344"/>
                    </a:lnTo>
                    <a:lnTo>
                      <a:pt x="2" y="1370"/>
                    </a:lnTo>
                    <a:lnTo>
                      <a:pt x="0" y="1396"/>
                    </a:lnTo>
                    <a:lnTo>
                      <a:pt x="0" y="1444"/>
                    </a:lnTo>
                    <a:lnTo>
                      <a:pt x="2" y="1470"/>
                    </a:lnTo>
                    <a:lnTo>
                      <a:pt x="8" y="1494"/>
                    </a:lnTo>
                    <a:lnTo>
                      <a:pt x="16" y="1518"/>
                    </a:lnTo>
                    <a:lnTo>
                      <a:pt x="28" y="1542"/>
                    </a:lnTo>
                    <a:lnTo>
                      <a:pt x="30" y="1542"/>
                    </a:lnTo>
                    <a:lnTo>
                      <a:pt x="60" y="1588"/>
                    </a:lnTo>
                    <a:lnTo>
                      <a:pt x="70" y="1602"/>
                    </a:lnTo>
                    <a:lnTo>
                      <a:pt x="76" y="1614"/>
                    </a:lnTo>
                    <a:lnTo>
                      <a:pt x="82" y="1626"/>
                    </a:lnTo>
                    <a:lnTo>
                      <a:pt x="88" y="1640"/>
                    </a:lnTo>
                    <a:lnTo>
                      <a:pt x="90" y="1652"/>
                    </a:lnTo>
                    <a:lnTo>
                      <a:pt x="92" y="1660"/>
                    </a:lnTo>
                    <a:lnTo>
                      <a:pt x="96" y="1688"/>
                    </a:lnTo>
                    <a:lnTo>
                      <a:pt x="98" y="1714"/>
                    </a:lnTo>
                    <a:lnTo>
                      <a:pt x="98" y="1804"/>
                    </a:lnTo>
                    <a:lnTo>
                      <a:pt x="100" y="1830"/>
                    </a:lnTo>
                    <a:lnTo>
                      <a:pt x="104" y="1858"/>
                    </a:lnTo>
                    <a:lnTo>
                      <a:pt x="120" y="1924"/>
                    </a:lnTo>
                    <a:lnTo>
                      <a:pt x="132" y="1978"/>
                    </a:lnTo>
                    <a:lnTo>
                      <a:pt x="136" y="1996"/>
                    </a:lnTo>
                    <a:lnTo>
                      <a:pt x="138" y="2022"/>
                    </a:lnTo>
                    <a:lnTo>
                      <a:pt x="140" y="2050"/>
                    </a:lnTo>
                    <a:lnTo>
                      <a:pt x="140" y="2056"/>
                    </a:lnTo>
                    <a:lnTo>
                      <a:pt x="140" y="2102"/>
                    </a:lnTo>
                    <a:lnTo>
                      <a:pt x="142" y="2124"/>
                    </a:lnTo>
                    <a:lnTo>
                      <a:pt x="144" y="2148"/>
                    </a:lnTo>
                    <a:lnTo>
                      <a:pt x="164" y="2262"/>
                    </a:lnTo>
                    <a:lnTo>
                      <a:pt x="172" y="2318"/>
                    </a:lnTo>
                    <a:lnTo>
                      <a:pt x="180" y="2418"/>
                    </a:lnTo>
                    <a:lnTo>
                      <a:pt x="184" y="2472"/>
                    </a:lnTo>
                    <a:lnTo>
                      <a:pt x="194" y="2660"/>
                    </a:lnTo>
                    <a:lnTo>
                      <a:pt x="198" y="2686"/>
                    </a:lnTo>
                    <a:lnTo>
                      <a:pt x="206" y="2712"/>
                    </a:lnTo>
                    <a:lnTo>
                      <a:pt x="254" y="2842"/>
                    </a:lnTo>
                    <a:lnTo>
                      <a:pt x="256" y="2854"/>
                    </a:lnTo>
                    <a:lnTo>
                      <a:pt x="258" y="2868"/>
                    </a:lnTo>
                    <a:lnTo>
                      <a:pt x="256" y="2880"/>
                    </a:lnTo>
                    <a:lnTo>
                      <a:pt x="254" y="2892"/>
                    </a:lnTo>
                    <a:lnTo>
                      <a:pt x="234" y="2938"/>
                    </a:lnTo>
                    <a:lnTo>
                      <a:pt x="222" y="2962"/>
                    </a:lnTo>
                    <a:lnTo>
                      <a:pt x="206" y="2984"/>
                    </a:lnTo>
                    <a:lnTo>
                      <a:pt x="200" y="2990"/>
                    </a:lnTo>
                    <a:lnTo>
                      <a:pt x="194" y="3000"/>
                    </a:lnTo>
                    <a:lnTo>
                      <a:pt x="188" y="3014"/>
                    </a:lnTo>
                    <a:lnTo>
                      <a:pt x="184" y="3026"/>
                    </a:lnTo>
                    <a:lnTo>
                      <a:pt x="182" y="3038"/>
                    </a:lnTo>
                    <a:lnTo>
                      <a:pt x="182" y="3094"/>
                    </a:lnTo>
                    <a:lnTo>
                      <a:pt x="184" y="3104"/>
                    </a:lnTo>
                    <a:lnTo>
                      <a:pt x="190" y="3114"/>
                    </a:lnTo>
                    <a:lnTo>
                      <a:pt x="200" y="3120"/>
                    </a:lnTo>
                    <a:lnTo>
                      <a:pt x="210" y="3124"/>
                    </a:lnTo>
                    <a:lnTo>
                      <a:pt x="252" y="3128"/>
                    </a:lnTo>
                    <a:lnTo>
                      <a:pt x="264" y="3128"/>
                    </a:lnTo>
                    <a:lnTo>
                      <a:pt x="278" y="3126"/>
                    </a:lnTo>
                    <a:lnTo>
                      <a:pt x="290" y="3120"/>
                    </a:lnTo>
                    <a:lnTo>
                      <a:pt x="300" y="3114"/>
                    </a:lnTo>
                    <a:lnTo>
                      <a:pt x="314" y="3102"/>
                    </a:lnTo>
                    <a:lnTo>
                      <a:pt x="348" y="3072"/>
                    </a:lnTo>
                    <a:lnTo>
                      <a:pt x="360" y="3060"/>
                    </a:lnTo>
                    <a:lnTo>
                      <a:pt x="368" y="3048"/>
                    </a:lnTo>
                    <a:lnTo>
                      <a:pt x="372" y="3042"/>
                    </a:lnTo>
                    <a:lnTo>
                      <a:pt x="374" y="3034"/>
                    </a:lnTo>
                    <a:lnTo>
                      <a:pt x="376" y="3018"/>
                    </a:lnTo>
                    <a:lnTo>
                      <a:pt x="378" y="3000"/>
                    </a:lnTo>
                    <a:lnTo>
                      <a:pt x="384" y="2982"/>
                    </a:lnTo>
                    <a:lnTo>
                      <a:pt x="390" y="2968"/>
                    </a:lnTo>
                    <a:lnTo>
                      <a:pt x="394" y="2964"/>
                    </a:lnTo>
                    <a:lnTo>
                      <a:pt x="396" y="2964"/>
                    </a:lnTo>
                    <a:lnTo>
                      <a:pt x="406" y="2958"/>
                    </a:lnTo>
                    <a:lnTo>
                      <a:pt x="424" y="2946"/>
                    </a:lnTo>
                    <a:lnTo>
                      <a:pt x="424" y="2944"/>
                    </a:lnTo>
                    <a:lnTo>
                      <a:pt x="432" y="2936"/>
                    </a:lnTo>
                    <a:lnTo>
                      <a:pt x="440" y="2926"/>
                    </a:lnTo>
                    <a:lnTo>
                      <a:pt x="448" y="2914"/>
                    </a:lnTo>
                    <a:lnTo>
                      <a:pt x="452" y="2902"/>
                    </a:lnTo>
                    <a:lnTo>
                      <a:pt x="454" y="2892"/>
                    </a:lnTo>
                    <a:lnTo>
                      <a:pt x="452" y="2878"/>
                    </a:lnTo>
                    <a:lnTo>
                      <a:pt x="450" y="2866"/>
                    </a:lnTo>
                    <a:lnTo>
                      <a:pt x="446" y="2854"/>
                    </a:lnTo>
                    <a:lnTo>
                      <a:pt x="442" y="2844"/>
                    </a:lnTo>
                    <a:lnTo>
                      <a:pt x="438" y="2832"/>
                    </a:lnTo>
                    <a:lnTo>
                      <a:pt x="434" y="2818"/>
                    </a:lnTo>
                    <a:lnTo>
                      <a:pt x="432" y="2804"/>
                    </a:lnTo>
                    <a:lnTo>
                      <a:pt x="432" y="2792"/>
                    </a:lnTo>
                    <a:lnTo>
                      <a:pt x="432" y="2762"/>
                    </a:lnTo>
                    <a:lnTo>
                      <a:pt x="432" y="2708"/>
                    </a:lnTo>
                    <a:lnTo>
                      <a:pt x="432" y="2700"/>
                    </a:lnTo>
                    <a:lnTo>
                      <a:pt x="430" y="2674"/>
                    </a:lnTo>
                    <a:lnTo>
                      <a:pt x="424" y="2646"/>
                    </a:lnTo>
                    <a:lnTo>
                      <a:pt x="410" y="2592"/>
                    </a:lnTo>
                    <a:lnTo>
                      <a:pt x="404" y="2566"/>
                    </a:lnTo>
                    <a:lnTo>
                      <a:pt x="402" y="2538"/>
                    </a:lnTo>
                    <a:lnTo>
                      <a:pt x="402" y="2472"/>
                    </a:lnTo>
                    <a:lnTo>
                      <a:pt x="400" y="2418"/>
                    </a:lnTo>
                    <a:lnTo>
                      <a:pt x="392" y="2304"/>
                    </a:lnTo>
                    <a:lnTo>
                      <a:pt x="392" y="2276"/>
                    </a:lnTo>
                    <a:lnTo>
                      <a:pt x="396" y="2250"/>
                    </a:lnTo>
                    <a:lnTo>
                      <a:pt x="412" y="2160"/>
                    </a:lnTo>
                    <a:lnTo>
                      <a:pt x="416" y="2132"/>
                    </a:lnTo>
                    <a:lnTo>
                      <a:pt x="418" y="2104"/>
                    </a:lnTo>
                    <a:lnTo>
                      <a:pt x="418" y="2038"/>
                    </a:lnTo>
                    <a:lnTo>
                      <a:pt x="418" y="1984"/>
                    </a:lnTo>
                    <a:lnTo>
                      <a:pt x="418" y="1980"/>
                    </a:lnTo>
                    <a:lnTo>
                      <a:pt x="420" y="1956"/>
                    </a:lnTo>
                    <a:lnTo>
                      <a:pt x="422" y="1946"/>
                    </a:lnTo>
                    <a:lnTo>
                      <a:pt x="426" y="1938"/>
                    </a:lnTo>
                    <a:lnTo>
                      <a:pt x="428" y="1936"/>
                    </a:lnTo>
                    <a:lnTo>
                      <a:pt x="432" y="1934"/>
                    </a:lnTo>
                    <a:lnTo>
                      <a:pt x="436" y="1936"/>
                    </a:lnTo>
                    <a:lnTo>
                      <a:pt x="438" y="1938"/>
                    </a:lnTo>
                    <a:lnTo>
                      <a:pt x="446" y="1956"/>
                    </a:lnTo>
                    <a:lnTo>
                      <a:pt x="454" y="1978"/>
                    </a:lnTo>
                    <a:lnTo>
                      <a:pt x="492" y="2094"/>
                    </a:lnTo>
                    <a:lnTo>
                      <a:pt x="506" y="2144"/>
                    </a:lnTo>
                    <a:lnTo>
                      <a:pt x="512" y="2166"/>
                    </a:lnTo>
                    <a:lnTo>
                      <a:pt x="514" y="2186"/>
                    </a:lnTo>
                    <a:lnTo>
                      <a:pt x="514" y="2216"/>
                    </a:lnTo>
                    <a:lnTo>
                      <a:pt x="514" y="2256"/>
                    </a:lnTo>
                    <a:lnTo>
                      <a:pt x="514" y="2564"/>
                    </a:lnTo>
                    <a:lnTo>
                      <a:pt x="514" y="2618"/>
                    </a:lnTo>
                    <a:lnTo>
                      <a:pt x="514" y="2730"/>
                    </a:lnTo>
                    <a:lnTo>
                      <a:pt x="514" y="2758"/>
                    </a:lnTo>
                    <a:lnTo>
                      <a:pt x="518" y="2784"/>
                    </a:lnTo>
                    <a:lnTo>
                      <a:pt x="538" y="2924"/>
                    </a:lnTo>
                    <a:lnTo>
                      <a:pt x="546" y="2978"/>
                    </a:lnTo>
                    <a:lnTo>
                      <a:pt x="550" y="3010"/>
                    </a:lnTo>
                    <a:lnTo>
                      <a:pt x="556" y="3032"/>
                    </a:lnTo>
                    <a:lnTo>
                      <a:pt x="562" y="3048"/>
                    </a:lnTo>
                    <a:lnTo>
                      <a:pt x="578" y="3072"/>
                    </a:lnTo>
                    <a:lnTo>
                      <a:pt x="580" y="3076"/>
                    </a:lnTo>
                    <a:lnTo>
                      <a:pt x="580" y="3082"/>
                    </a:lnTo>
                    <a:lnTo>
                      <a:pt x="580" y="3086"/>
                    </a:lnTo>
                    <a:lnTo>
                      <a:pt x="578" y="3090"/>
                    </a:lnTo>
                    <a:lnTo>
                      <a:pt x="574" y="3094"/>
                    </a:lnTo>
                    <a:lnTo>
                      <a:pt x="572" y="3100"/>
                    </a:lnTo>
                    <a:lnTo>
                      <a:pt x="570" y="3114"/>
                    </a:lnTo>
                    <a:lnTo>
                      <a:pt x="570" y="3144"/>
                    </a:lnTo>
                    <a:lnTo>
                      <a:pt x="570" y="3168"/>
                    </a:lnTo>
                    <a:lnTo>
                      <a:pt x="572" y="3174"/>
                    </a:lnTo>
                    <a:lnTo>
                      <a:pt x="576" y="3182"/>
                    </a:lnTo>
                    <a:lnTo>
                      <a:pt x="588" y="3202"/>
                    </a:lnTo>
                    <a:lnTo>
                      <a:pt x="592" y="3206"/>
                    </a:lnTo>
                    <a:lnTo>
                      <a:pt x="600" y="3214"/>
                    </a:lnTo>
                    <a:lnTo>
                      <a:pt x="610" y="3222"/>
                    </a:lnTo>
                    <a:lnTo>
                      <a:pt x="618" y="3226"/>
                    </a:lnTo>
                    <a:lnTo>
                      <a:pt x="624" y="3228"/>
                    </a:lnTo>
                    <a:lnTo>
                      <a:pt x="630" y="3230"/>
                    </a:lnTo>
                    <a:lnTo>
                      <a:pt x="634" y="3236"/>
                    </a:lnTo>
                    <a:lnTo>
                      <a:pt x="638" y="3244"/>
                    </a:lnTo>
                    <a:lnTo>
                      <a:pt x="638" y="3256"/>
                    </a:lnTo>
                    <a:lnTo>
                      <a:pt x="638" y="3262"/>
                    </a:lnTo>
                    <a:lnTo>
                      <a:pt x="638" y="3308"/>
                    </a:lnTo>
                    <a:lnTo>
                      <a:pt x="640" y="3324"/>
                    </a:lnTo>
                    <a:lnTo>
                      <a:pt x="646" y="3338"/>
                    </a:lnTo>
                    <a:lnTo>
                      <a:pt x="666" y="3368"/>
                    </a:lnTo>
                    <a:lnTo>
                      <a:pt x="682" y="3386"/>
                    </a:lnTo>
                    <a:lnTo>
                      <a:pt x="702" y="3404"/>
                    </a:lnTo>
                    <a:lnTo>
                      <a:pt x="716" y="3416"/>
                    </a:lnTo>
                    <a:lnTo>
                      <a:pt x="742" y="3440"/>
                    </a:lnTo>
                    <a:lnTo>
                      <a:pt x="748" y="3442"/>
                    </a:lnTo>
                    <a:lnTo>
                      <a:pt x="756" y="3442"/>
                    </a:lnTo>
                    <a:lnTo>
                      <a:pt x="776" y="3442"/>
                    </a:lnTo>
                    <a:lnTo>
                      <a:pt x="848" y="3436"/>
                    </a:lnTo>
                    <a:lnTo>
                      <a:pt x="858" y="3434"/>
                    </a:lnTo>
                    <a:lnTo>
                      <a:pt x="868" y="3426"/>
                    </a:lnTo>
                    <a:lnTo>
                      <a:pt x="874" y="3418"/>
                    </a:lnTo>
                    <a:lnTo>
                      <a:pt x="876" y="3406"/>
                    </a:lnTo>
                    <a:lnTo>
                      <a:pt x="876" y="3354"/>
                    </a:lnTo>
                    <a:lnTo>
                      <a:pt x="874" y="3342"/>
                    </a:lnTo>
                    <a:lnTo>
                      <a:pt x="872" y="3328"/>
                    </a:lnTo>
                    <a:lnTo>
                      <a:pt x="866" y="3318"/>
                    </a:lnTo>
                    <a:lnTo>
                      <a:pt x="862" y="3308"/>
                    </a:lnTo>
                    <a:lnTo>
                      <a:pt x="848" y="3288"/>
                    </a:lnTo>
                    <a:lnTo>
                      <a:pt x="836" y="3264"/>
                    </a:lnTo>
                    <a:lnTo>
                      <a:pt x="802" y="3194"/>
                    </a:lnTo>
                    <a:lnTo>
                      <a:pt x="792" y="3170"/>
                    </a:lnTo>
                    <a:lnTo>
                      <a:pt x="784" y="3144"/>
                    </a:lnTo>
                    <a:lnTo>
                      <a:pt x="782" y="3134"/>
                    </a:lnTo>
                    <a:lnTo>
                      <a:pt x="782" y="3120"/>
                    </a:lnTo>
                    <a:lnTo>
                      <a:pt x="782" y="3106"/>
                    </a:lnTo>
                    <a:lnTo>
                      <a:pt x="782" y="3094"/>
                    </a:lnTo>
                    <a:lnTo>
                      <a:pt x="788" y="3064"/>
                    </a:lnTo>
                    <a:lnTo>
                      <a:pt x="790" y="3036"/>
                    </a:lnTo>
                    <a:lnTo>
                      <a:pt x="792" y="3010"/>
                    </a:lnTo>
                    <a:lnTo>
                      <a:pt x="792" y="2932"/>
                    </a:lnTo>
                    <a:lnTo>
                      <a:pt x="792" y="2904"/>
                    </a:lnTo>
                    <a:lnTo>
                      <a:pt x="796" y="2876"/>
                    </a:lnTo>
                    <a:lnTo>
                      <a:pt x="816" y="2750"/>
                    </a:lnTo>
                    <a:lnTo>
                      <a:pt x="818" y="2724"/>
                    </a:lnTo>
                    <a:lnTo>
                      <a:pt x="816" y="2696"/>
                    </a:lnTo>
                    <a:lnTo>
                      <a:pt x="796" y="2594"/>
                    </a:lnTo>
                    <a:lnTo>
                      <a:pt x="792" y="2566"/>
                    </a:lnTo>
                    <a:lnTo>
                      <a:pt x="792" y="2538"/>
                    </a:lnTo>
                    <a:lnTo>
                      <a:pt x="792" y="2462"/>
                    </a:lnTo>
                    <a:lnTo>
                      <a:pt x="790" y="2406"/>
                    </a:lnTo>
                    <a:lnTo>
                      <a:pt x="780" y="2280"/>
                    </a:lnTo>
                    <a:lnTo>
                      <a:pt x="780" y="2254"/>
                    </a:lnTo>
                    <a:lnTo>
                      <a:pt x="782" y="2226"/>
                    </a:lnTo>
                    <a:lnTo>
                      <a:pt x="788" y="2196"/>
                    </a:lnTo>
                    <a:lnTo>
                      <a:pt x="794" y="2142"/>
                    </a:lnTo>
                    <a:lnTo>
                      <a:pt x="800" y="2086"/>
                    </a:lnTo>
                    <a:lnTo>
                      <a:pt x="804" y="2060"/>
                    </a:lnTo>
                    <a:lnTo>
                      <a:pt x="804" y="2032"/>
                    </a:lnTo>
                    <a:lnTo>
                      <a:pt x="804" y="1894"/>
                    </a:lnTo>
                    <a:lnTo>
                      <a:pt x="804" y="1868"/>
                    </a:lnTo>
                    <a:lnTo>
                      <a:pt x="800" y="1840"/>
                    </a:lnTo>
                    <a:lnTo>
                      <a:pt x="794" y="1784"/>
                    </a:lnTo>
                    <a:lnTo>
                      <a:pt x="790" y="1758"/>
                    </a:lnTo>
                    <a:lnTo>
                      <a:pt x="782" y="1732"/>
                    </a:lnTo>
                    <a:lnTo>
                      <a:pt x="772" y="1700"/>
                    </a:lnTo>
                    <a:lnTo>
                      <a:pt x="764" y="1678"/>
                    </a:lnTo>
                    <a:lnTo>
                      <a:pt x="762" y="1662"/>
                    </a:lnTo>
                    <a:lnTo>
                      <a:pt x="764" y="1656"/>
                    </a:lnTo>
                    <a:lnTo>
                      <a:pt x="766" y="1650"/>
                    </a:lnTo>
                    <a:lnTo>
                      <a:pt x="772" y="1644"/>
                    </a:lnTo>
                    <a:lnTo>
                      <a:pt x="776" y="1638"/>
                    </a:lnTo>
                    <a:lnTo>
                      <a:pt x="784" y="1634"/>
                    </a:lnTo>
                    <a:lnTo>
                      <a:pt x="792" y="1630"/>
                    </a:lnTo>
                    <a:lnTo>
                      <a:pt x="800" y="1630"/>
                    </a:lnTo>
                    <a:lnTo>
                      <a:pt x="806" y="1632"/>
                    </a:lnTo>
                    <a:lnTo>
                      <a:pt x="812" y="1634"/>
                    </a:lnTo>
                    <a:lnTo>
                      <a:pt x="818" y="1634"/>
                    </a:lnTo>
                    <a:lnTo>
                      <a:pt x="822" y="1630"/>
                    </a:lnTo>
                    <a:lnTo>
                      <a:pt x="826" y="1626"/>
                    </a:lnTo>
                    <a:lnTo>
                      <a:pt x="836" y="1614"/>
                    </a:lnTo>
                    <a:lnTo>
                      <a:pt x="846" y="1602"/>
                    </a:lnTo>
                    <a:lnTo>
                      <a:pt x="852" y="1598"/>
                    </a:lnTo>
                    <a:lnTo>
                      <a:pt x="860" y="1600"/>
                    </a:lnTo>
                    <a:lnTo>
                      <a:pt x="868" y="1604"/>
                    </a:lnTo>
                    <a:lnTo>
                      <a:pt x="874" y="1612"/>
                    </a:lnTo>
                    <a:lnTo>
                      <a:pt x="902" y="1650"/>
                    </a:lnTo>
                    <a:lnTo>
                      <a:pt x="914" y="1666"/>
                    </a:lnTo>
                    <a:lnTo>
                      <a:pt x="920" y="1672"/>
                    </a:lnTo>
                    <a:lnTo>
                      <a:pt x="924" y="1674"/>
                    </a:lnTo>
                    <a:lnTo>
                      <a:pt x="926" y="1674"/>
                    </a:lnTo>
                    <a:lnTo>
                      <a:pt x="930" y="1678"/>
                    </a:lnTo>
                    <a:lnTo>
                      <a:pt x="936" y="1692"/>
                    </a:lnTo>
                    <a:lnTo>
                      <a:pt x="942" y="1712"/>
                    </a:lnTo>
                    <a:lnTo>
                      <a:pt x="944" y="1738"/>
                    </a:lnTo>
                    <a:lnTo>
                      <a:pt x="944" y="1744"/>
                    </a:lnTo>
                    <a:lnTo>
                      <a:pt x="944" y="1798"/>
                    </a:lnTo>
                    <a:lnTo>
                      <a:pt x="944" y="2068"/>
                    </a:lnTo>
                    <a:lnTo>
                      <a:pt x="940" y="2096"/>
                    </a:lnTo>
                    <a:lnTo>
                      <a:pt x="936" y="2122"/>
                    </a:lnTo>
                    <a:lnTo>
                      <a:pt x="926" y="2154"/>
                    </a:lnTo>
                    <a:lnTo>
                      <a:pt x="918" y="2180"/>
                    </a:lnTo>
                    <a:lnTo>
                      <a:pt x="912" y="2208"/>
                    </a:lnTo>
                    <a:lnTo>
                      <a:pt x="906" y="2238"/>
                    </a:lnTo>
                    <a:lnTo>
                      <a:pt x="902" y="2264"/>
                    </a:lnTo>
                    <a:lnTo>
                      <a:pt x="902" y="2292"/>
                    </a:lnTo>
                    <a:lnTo>
                      <a:pt x="902" y="2358"/>
                    </a:lnTo>
                    <a:lnTo>
                      <a:pt x="898" y="2386"/>
                    </a:lnTo>
                    <a:lnTo>
                      <a:pt x="892" y="2412"/>
                    </a:lnTo>
                    <a:lnTo>
                      <a:pt x="868" y="2480"/>
                    </a:lnTo>
                    <a:lnTo>
                      <a:pt x="862" y="2506"/>
                    </a:lnTo>
                    <a:lnTo>
                      <a:pt x="856" y="2534"/>
                    </a:lnTo>
                    <a:lnTo>
                      <a:pt x="850" y="2576"/>
                    </a:lnTo>
                    <a:lnTo>
                      <a:pt x="844" y="2630"/>
                    </a:lnTo>
                    <a:lnTo>
                      <a:pt x="836" y="2720"/>
                    </a:lnTo>
                    <a:lnTo>
                      <a:pt x="836" y="2732"/>
                    </a:lnTo>
                    <a:lnTo>
                      <a:pt x="838" y="2744"/>
                    </a:lnTo>
                    <a:lnTo>
                      <a:pt x="842" y="2756"/>
                    </a:lnTo>
                    <a:lnTo>
                      <a:pt x="846" y="2764"/>
                    </a:lnTo>
                    <a:lnTo>
                      <a:pt x="850" y="2774"/>
                    </a:lnTo>
                    <a:lnTo>
                      <a:pt x="852" y="2782"/>
                    </a:lnTo>
                    <a:lnTo>
                      <a:pt x="850" y="2792"/>
                    </a:lnTo>
                    <a:lnTo>
                      <a:pt x="846" y="2802"/>
                    </a:lnTo>
                    <a:lnTo>
                      <a:pt x="842" y="2810"/>
                    </a:lnTo>
                    <a:lnTo>
                      <a:pt x="842" y="2820"/>
                    </a:lnTo>
                    <a:lnTo>
                      <a:pt x="846" y="2830"/>
                    </a:lnTo>
                    <a:lnTo>
                      <a:pt x="852" y="2840"/>
                    </a:lnTo>
                    <a:lnTo>
                      <a:pt x="858" y="2846"/>
                    </a:lnTo>
                    <a:lnTo>
                      <a:pt x="864" y="2856"/>
                    </a:lnTo>
                    <a:lnTo>
                      <a:pt x="870" y="2870"/>
                    </a:lnTo>
                    <a:lnTo>
                      <a:pt x="874" y="2882"/>
                    </a:lnTo>
                    <a:lnTo>
                      <a:pt x="876" y="2894"/>
                    </a:lnTo>
                    <a:lnTo>
                      <a:pt x="876" y="3020"/>
                    </a:lnTo>
                    <a:lnTo>
                      <a:pt x="876" y="3054"/>
                    </a:lnTo>
                    <a:lnTo>
                      <a:pt x="878" y="3062"/>
                    </a:lnTo>
                    <a:lnTo>
                      <a:pt x="882" y="3072"/>
                    </a:lnTo>
                    <a:lnTo>
                      <a:pt x="892" y="3086"/>
                    </a:lnTo>
                    <a:lnTo>
                      <a:pt x="910" y="3102"/>
                    </a:lnTo>
                    <a:lnTo>
                      <a:pt x="920" y="3110"/>
                    </a:lnTo>
                    <a:lnTo>
                      <a:pt x="928" y="3116"/>
                    </a:lnTo>
                    <a:lnTo>
                      <a:pt x="936" y="3120"/>
                    </a:lnTo>
                    <a:lnTo>
                      <a:pt x="944" y="3120"/>
                    </a:lnTo>
                    <a:lnTo>
                      <a:pt x="978" y="3120"/>
                    </a:lnTo>
                    <a:lnTo>
                      <a:pt x="1014" y="3120"/>
                    </a:lnTo>
                    <a:lnTo>
                      <a:pt x="1028" y="3120"/>
                    </a:lnTo>
                    <a:lnTo>
                      <a:pt x="1040" y="3116"/>
                    </a:lnTo>
                    <a:lnTo>
                      <a:pt x="1046" y="3110"/>
                    </a:lnTo>
                    <a:lnTo>
                      <a:pt x="1052" y="3104"/>
                    </a:lnTo>
                    <a:lnTo>
                      <a:pt x="1058" y="3094"/>
                    </a:lnTo>
                    <a:lnTo>
                      <a:pt x="1062" y="3084"/>
                    </a:lnTo>
                    <a:lnTo>
                      <a:pt x="1068" y="3060"/>
                    </a:lnTo>
                    <a:lnTo>
                      <a:pt x="1070" y="3036"/>
                    </a:lnTo>
                    <a:lnTo>
                      <a:pt x="1068" y="3024"/>
                    </a:lnTo>
                    <a:lnTo>
                      <a:pt x="1066" y="3012"/>
                    </a:lnTo>
                    <a:lnTo>
                      <a:pt x="1062" y="2998"/>
                    </a:lnTo>
                    <a:lnTo>
                      <a:pt x="1058" y="2986"/>
                    </a:lnTo>
                    <a:lnTo>
                      <a:pt x="1052" y="2976"/>
                    </a:lnTo>
                    <a:lnTo>
                      <a:pt x="1028" y="2926"/>
                    </a:lnTo>
                    <a:lnTo>
                      <a:pt x="1024" y="2914"/>
                    </a:lnTo>
                    <a:lnTo>
                      <a:pt x="1020" y="2904"/>
                    </a:lnTo>
                    <a:lnTo>
                      <a:pt x="1020" y="2890"/>
                    </a:lnTo>
                    <a:lnTo>
                      <a:pt x="1022" y="2878"/>
                    </a:lnTo>
                    <a:lnTo>
                      <a:pt x="1028" y="2868"/>
                    </a:lnTo>
                    <a:lnTo>
                      <a:pt x="1038" y="2854"/>
                    </a:lnTo>
                    <a:lnTo>
                      <a:pt x="1044" y="2842"/>
                    </a:lnTo>
                    <a:lnTo>
                      <a:pt x="1050" y="2830"/>
                    </a:lnTo>
                    <a:lnTo>
                      <a:pt x="1052" y="2818"/>
                    </a:lnTo>
                    <a:lnTo>
                      <a:pt x="1054" y="2806"/>
                    </a:lnTo>
                    <a:lnTo>
                      <a:pt x="1054" y="2796"/>
                    </a:lnTo>
                    <a:lnTo>
                      <a:pt x="1058" y="2782"/>
                    </a:lnTo>
                    <a:lnTo>
                      <a:pt x="1062" y="2770"/>
                    </a:lnTo>
                    <a:lnTo>
                      <a:pt x="1066" y="2758"/>
                    </a:lnTo>
                    <a:lnTo>
                      <a:pt x="1084" y="2724"/>
                    </a:lnTo>
                    <a:lnTo>
                      <a:pt x="1094" y="2698"/>
                    </a:lnTo>
                    <a:lnTo>
                      <a:pt x="1102" y="2672"/>
                    </a:lnTo>
                    <a:lnTo>
                      <a:pt x="1144" y="2520"/>
                    </a:lnTo>
                    <a:lnTo>
                      <a:pt x="1156" y="2466"/>
                    </a:lnTo>
                    <a:lnTo>
                      <a:pt x="1188" y="2266"/>
                    </a:lnTo>
                    <a:lnTo>
                      <a:pt x="1200" y="2214"/>
                    </a:lnTo>
                    <a:lnTo>
                      <a:pt x="1228" y="2110"/>
                    </a:lnTo>
                    <a:lnTo>
                      <a:pt x="1240" y="2058"/>
                    </a:lnTo>
                    <a:lnTo>
                      <a:pt x="1256" y="1990"/>
                    </a:lnTo>
                    <a:lnTo>
                      <a:pt x="1258" y="1980"/>
                    </a:lnTo>
                    <a:lnTo>
                      <a:pt x="1262" y="1974"/>
                    </a:lnTo>
                    <a:lnTo>
                      <a:pt x="1266" y="1972"/>
                    </a:lnTo>
                    <a:lnTo>
                      <a:pt x="1268" y="1976"/>
                    </a:lnTo>
                    <a:lnTo>
                      <a:pt x="1272" y="1982"/>
                    </a:lnTo>
                    <a:lnTo>
                      <a:pt x="1274" y="1992"/>
                    </a:lnTo>
                    <a:lnTo>
                      <a:pt x="1276" y="2016"/>
                    </a:lnTo>
                    <a:lnTo>
                      <a:pt x="1276" y="2080"/>
                    </a:lnTo>
                    <a:lnTo>
                      <a:pt x="1278" y="2106"/>
                    </a:lnTo>
                    <a:lnTo>
                      <a:pt x="1282" y="2134"/>
                    </a:lnTo>
                    <a:lnTo>
                      <a:pt x="1284" y="2142"/>
                    </a:lnTo>
                    <a:lnTo>
                      <a:pt x="1286" y="2154"/>
                    </a:lnTo>
                    <a:lnTo>
                      <a:pt x="1286" y="2168"/>
                    </a:lnTo>
                    <a:lnTo>
                      <a:pt x="1282" y="2182"/>
                    </a:lnTo>
                    <a:lnTo>
                      <a:pt x="1278" y="2194"/>
                    </a:lnTo>
                    <a:lnTo>
                      <a:pt x="1274" y="2204"/>
                    </a:lnTo>
                    <a:lnTo>
                      <a:pt x="1268" y="2216"/>
                    </a:lnTo>
                    <a:lnTo>
                      <a:pt x="1264" y="2228"/>
                    </a:lnTo>
                    <a:lnTo>
                      <a:pt x="1262" y="2242"/>
                    </a:lnTo>
                    <a:lnTo>
                      <a:pt x="1262" y="2256"/>
                    </a:lnTo>
                    <a:lnTo>
                      <a:pt x="1262" y="2262"/>
                    </a:lnTo>
                    <a:lnTo>
                      <a:pt x="1262" y="2318"/>
                    </a:lnTo>
                    <a:lnTo>
                      <a:pt x="1262" y="2358"/>
                    </a:lnTo>
                    <a:lnTo>
                      <a:pt x="1258" y="2414"/>
                    </a:lnTo>
                    <a:lnTo>
                      <a:pt x="1252" y="2480"/>
                    </a:lnTo>
                    <a:lnTo>
                      <a:pt x="1246" y="2534"/>
                    </a:lnTo>
                    <a:lnTo>
                      <a:pt x="1238" y="2598"/>
                    </a:lnTo>
                    <a:lnTo>
                      <a:pt x="1234" y="2620"/>
                    </a:lnTo>
                    <a:lnTo>
                      <a:pt x="1228" y="2638"/>
                    </a:lnTo>
                    <a:lnTo>
                      <a:pt x="1222" y="2654"/>
                    </a:lnTo>
                    <a:lnTo>
                      <a:pt x="1214" y="2678"/>
                    </a:lnTo>
                    <a:lnTo>
                      <a:pt x="1212" y="2682"/>
                    </a:lnTo>
                    <a:lnTo>
                      <a:pt x="1212" y="2696"/>
                    </a:lnTo>
                    <a:lnTo>
                      <a:pt x="1212" y="2708"/>
                    </a:lnTo>
                    <a:lnTo>
                      <a:pt x="1216" y="2722"/>
                    </a:lnTo>
                    <a:lnTo>
                      <a:pt x="1220" y="2734"/>
                    </a:lnTo>
                    <a:lnTo>
                      <a:pt x="1226" y="2746"/>
                    </a:lnTo>
                    <a:lnTo>
                      <a:pt x="1230" y="2758"/>
                    </a:lnTo>
                    <a:lnTo>
                      <a:pt x="1234" y="2772"/>
                    </a:lnTo>
                    <a:lnTo>
                      <a:pt x="1234" y="2786"/>
                    </a:lnTo>
                    <a:lnTo>
                      <a:pt x="1234" y="2816"/>
                    </a:lnTo>
                    <a:lnTo>
                      <a:pt x="1236" y="2826"/>
                    </a:lnTo>
                    <a:lnTo>
                      <a:pt x="1242" y="2838"/>
                    </a:lnTo>
                    <a:lnTo>
                      <a:pt x="1250" y="2848"/>
                    </a:lnTo>
                    <a:lnTo>
                      <a:pt x="1260" y="2854"/>
                    </a:lnTo>
                    <a:lnTo>
                      <a:pt x="1266" y="2856"/>
                    </a:lnTo>
                    <a:lnTo>
                      <a:pt x="1284" y="2864"/>
                    </a:lnTo>
                    <a:lnTo>
                      <a:pt x="1296" y="2868"/>
                    </a:lnTo>
                    <a:lnTo>
                      <a:pt x="1300" y="2870"/>
                    </a:lnTo>
                    <a:lnTo>
                      <a:pt x="1306" y="2874"/>
                    </a:lnTo>
                    <a:lnTo>
                      <a:pt x="1318" y="2890"/>
                    </a:lnTo>
                    <a:lnTo>
                      <a:pt x="1330" y="2904"/>
                    </a:lnTo>
                    <a:lnTo>
                      <a:pt x="1344" y="2924"/>
                    </a:lnTo>
                    <a:lnTo>
                      <a:pt x="1360" y="2940"/>
                    </a:lnTo>
                    <a:lnTo>
                      <a:pt x="1374" y="2950"/>
                    </a:lnTo>
                    <a:lnTo>
                      <a:pt x="1388" y="2958"/>
                    </a:lnTo>
                    <a:lnTo>
                      <a:pt x="1414" y="2970"/>
                    </a:lnTo>
                    <a:lnTo>
                      <a:pt x="1456" y="2982"/>
                    </a:lnTo>
                    <a:lnTo>
                      <a:pt x="1458" y="2982"/>
                    </a:lnTo>
                    <a:lnTo>
                      <a:pt x="1470" y="2984"/>
                    </a:lnTo>
                    <a:lnTo>
                      <a:pt x="1484" y="2984"/>
                    </a:lnTo>
                    <a:lnTo>
                      <a:pt x="1498" y="2982"/>
                    </a:lnTo>
                    <a:lnTo>
                      <a:pt x="1510" y="2980"/>
                    </a:lnTo>
                    <a:lnTo>
                      <a:pt x="1526" y="2972"/>
                    </a:lnTo>
                    <a:lnTo>
                      <a:pt x="1538" y="2968"/>
                    </a:lnTo>
                    <a:lnTo>
                      <a:pt x="1548" y="2960"/>
                    </a:lnTo>
                    <a:lnTo>
                      <a:pt x="1556" y="2952"/>
                    </a:lnTo>
                    <a:lnTo>
                      <a:pt x="1560" y="2946"/>
                    </a:lnTo>
                    <a:lnTo>
                      <a:pt x="1562" y="2936"/>
                    </a:lnTo>
                    <a:lnTo>
                      <a:pt x="1560" y="2926"/>
                    </a:lnTo>
                    <a:lnTo>
                      <a:pt x="1556" y="2918"/>
                    </a:lnTo>
                    <a:lnTo>
                      <a:pt x="1548" y="2908"/>
                    </a:lnTo>
                    <a:lnTo>
                      <a:pt x="1534" y="2896"/>
                    </a:lnTo>
                    <a:lnTo>
                      <a:pt x="1494" y="2860"/>
                    </a:lnTo>
                    <a:lnTo>
                      <a:pt x="1474" y="2840"/>
                    </a:lnTo>
                    <a:lnTo>
                      <a:pt x="1458" y="2818"/>
                    </a:lnTo>
                    <a:lnTo>
                      <a:pt x="1442" y="2796"/>
                    </a:lnTo>
                    <a:lnTo>
                      <a:pt x="1438" y="2784"/>
                    </a:lnTo>
                    <a:lnTo>
                      <a:pt x="1434" y="2770"/>
                    </a:lnTo>
                    <a:lnTo>
                      <a:pt x="1430" y="2756"/>
                    </a:lnTo>
                    <a:lnTo>
                      <a:pt x="1430" y="2744"/>
                    </a:lnTo>
                    <a:lnTo>
                      <a:pt x="1430" y="2738"/>
                    </a:lnTo>
                    <a:lnTo>
                      <a:pt x="1432" y="2726"/>
                    </a:lnTo>
                    <a:lnTo>
                      <a:pt x="1436" y="2714"/>
                    </a:lnTo>
                    <a:lnTo>
                      <a:pt x="1442" y="2704"/>
                    </a:lnTo>
                    <a:lnTo>
                      <a:pt x="1450" y="2698"/>
                    </a:lnTo>
                    <a:lnTo>
                      <a:pt x="1458" y="2692"/>
                    </a:lnTo>
                    <a:lnTo>
                      <a:pt x="1466" y="2684"/>
                    </a:lnTo>
                    <a:lnTo>
                      <a:pt x="1470" y="2676"/>
                    </a:lnTo>
                    <a:lnTo>
                      <a:pt x="1472" y="2668"/>
                    </a:lnTo>
                    <a:lnTo>
                      <a:pt x="1474" y="2624"/>
                    </a:lnTo>
                    <a:lnTo>
                      <a:pt x="1480" y="2568"/>
                    </a:lnTo>
                    <a:lnTo>
                      <a:pt x="1486" y="2542"/>
                    </a:lnTo>
                    <a:lnTo>
                      <a:pt x="1492" y="2514"/>
                    </a:lnTo>
                    <a:lnTo>
                      <a:pt x="1506" y="2472"/>
                    </a:lnTo>
                    <a:lnTo>
                      <a:pt x="1512" y="2444"/>
                    </a:lnTo>
                    <a:lnTo>
                      <a:pt x="1516" y="2418"/>
                    </a:lnTo>
                    <a:lnTo>
                      <a:pt x="1524" y="2328"/>
                    </a:lnTo>
                    <a:lnTo>
                      <a:pt x="1528" y="2302"/>
                    </a:lnTo>
                    <a:lnTo>
                      <a:pt x="1536" y="2274"/>
                    </a:lnTo>
                    <a:lnTo>
                      <a:pt x="1572" y="2158"/>
                    </a:lnTo>
                    <a:lnTo>
                      <a:pt x="1588" y="2106"/>
                    </a:lnTo>
                    <a:lnTo>
                      <a:pt x="1616" y="1978"/>
                    </a:lnTo>
                    <a:lnTo>
                      <a:pt x="1630" y="1924"/>
                    </a:lnTo>
                    <a:lnTo>
                      <a:pt x="1660" y="1810"/>
                    </a:lnTo>
                    <a:lnTo>
                      <a:pt x="1664" y="1784"/>
                    </a:lnTo>
                    <a:lnTo>
                      <a:pt x="1666" y="1758"/>
                    </a:lnTo>
                    <a:lnTo>
                      <a:pt x="1668" y="1748"/>
                    </a:lnTo>
                    <a:lnTo>
                      <a:pt x="1672" y="1736"/>
                    </a:lnTo>
                    <a:lnTo>
                      <a:pt x="1678" y="1724"/>
                    </a:lnTo>
                    <a:lnTo>
                      <a:pt x="1684" y="1716"/>
                    </a:lnTo>
                    <a:lnTo>
                      <a:pt x="1728" y="1670"/>
                    </a:lnTo>
                    <a:lnTo>
                      <a:pt x="1734" y="1660"/>
                    </a:lnTo>
                    <a:lnTo>
                      <a:pt x="1740" y="1648"/>
                    </a:lnTo>
                    <a:lnTo>
                      <a:pt x="1744" y="1636"/>
                    </a:lnTo>
                    <a:lnTo>
                      <a:pt x="1746" y="1624"/>
                    </a:lnTo>
                    <a:lnTo>
                      <a:pt x="1746" y="1582"/>
                    </a:lnTo>
                    <a:lnTo>
                      <a:pt x="1746" y="1528"/>
                    </a:lnTo>
                    <a:lnTo>
                      <a:pt x="1746" y="1446"/>
                    </a:lnTo>
                    <a:close/>
                    <a:moveTo>
                      <a:pt x="190" y="614"/>
                    </a:moveTo>
                    <a:lnTo>
                      <a:pt x="190" y="614"/>
                    </a:lnTo>
                    <a:lnTo>
                      <a:pt x="186" y="614"/>
                    </a:lnTo>
                    <a:lnTo>
                      <a:pt x="190" y="614"/>
                    </a:lnTo>
                    <a:lnTo>
                      <a:pt x="192" y="614"/>
                    </a:lnTo>
                    <a:lnTo>
                      <a:pt x="190"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77" name="Tåre 105"/>
            <p:cNvSpPr/>
            <p:nvPr/>
          </p:nvSpPr>
          <p:spPr bwMode="auto">
            <a:xfrm rot="8100000">
              <a:off x="4036958" y="1716473"/>
              <a:ext cx="1098326" cy="1103903"/>
            </a:xfrm>
            <a:prstGeom prst="teardrop">
              <a:avLst/>
            </a:prstGeom>
            <a:gradFill flip="none" rotWithShape="1">
              <a:gsLst>
                <a:gs pos="0">
                  <a:schemeClr val="bg2"/>
                </a:gs>
                <a:gs pos="86000">
                  <a:srgbClr val="F0B71F"/>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78" name="Tåre 106"/>
            <p:cNvSpPr/>
            <p:nvPr/>
          </p:nvSpPr>
          <p:spPr bwMode="auto">
            <a:xfrm rot="8100000">
              <a:off x="4106230" y="1874214"/>
              <a:ext cx="958565" cy="963432"/>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200" smtClean="0">
                <a:solidFill>
                  <a:srgbClr val="FFFFFF"/>
                </a:solidFill>
                <a:latin typeface="Calibri" charset="0"/>
              </a:endParaRPr>
            </a:p>
          </p:txBody>
        </p:sp>
        <p:sp>
          <p:nvSpPr>
            <p:cNvPr id="79" name="Måne 107"/>
            <p:cNvSpPr/>
            <p:nvPr/>
          </p:nvSpPr>
          <p:spPr bwMode="auto">
            <a:xfrm rot="5245033">
              <a:off x="4394713" y="1452651"/>
              <a:ext cx="382819" cy="949338"/>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200" smtClean="0">
                <a:solidFill>
                  <a:srgbClr val="FFFFFF"/>
                </a:solidFill>
                <a:latin typeface="Calibri" charset="0"/>
              </a:endParaRPr>
            </a:p>
          </p:txBody>
        </p:sp>
        <p:grpSp>
          <p:nvGrpSpPr>
            <p:cNvPr id="17434" name="Gruppe 46"/>
            <p:cNvGrpSpPr>
              <a:grpSpLocks/>
            </p:cNvGrpSpPr>
            <p:nvPr/>
          </p:nvGrpSpPr>
          <p:grpSpPr bwMode="auto">
            <a:xfrm>
              <a:off x="4260850" y="2017713"/>
              <a:ext cx="747713" cy="555625"/>
              <a:chOff x="4821610" y="587829"/>
              <a:chExt cx="2393544" cy="1781593"/>
            </a:xfrm>
          </p:grpSpPr>
          <p:sp>
            <p:nvSpPr>
              <p:cNvPr id="17447" name="Freeform 528"/>
              <p:cNvSpPr>
                <a:spLocks/>
              </p:cNvSpPr>
              <p:nvPr/>
            </p:nvSpPr>
            <p:spPr bwMode="auto">
              <a:xfrm>
                <a:off x="4821610" y="587829"/>
                <a:ext cx="2393544" cy="1781593"/>
              </a:xfrm>
              <a:custGeom>
                <a:avLst/>
                <a:gdLst>
                  <a:gd name="T0" fmla="*/ 2147483647 w 794"/>
                  <a:gd name="T1" fmla="*/ 2147483647 h 591"/>
                  <a:gd name="T2" fmla="*/ 2147483647 w 794"/>
                  <a:gd name="T3" fmla="*/ 2147483647 h 591"/>
                  <a:gd name="T4" fmla="*/ 2147483647 w 794"/>
                  <a:gd name="T5" fmla="*/ 2147483647 h 591"/>
                  <a:gd name="T6" fmla="*/ 2147483647 w 794"/>
                  <a:gd name="T7" fmla="*/ 2147483647 h 591"/>
                  <a:gd name="T8" fmla="*/ 2147483647 w 794"/>
                  <a:gd name="T9" fmla="*/ 2147483647 h 591"/>
                  <a:gd name="T10" fmla="*/ 2147483647 w 794"/>
                  <a:gd name="T11" fmla="*/ 2147483647 h 591"/>
                  <a:gd name="T12" fmla="*/ 2147483647 w 794"/>
                  <a:gd name="T13" fmla="*/ 2147483647 h 591"/>
                  <a:gd name="T14" fmla="*/ 2147483647 w 794"/>
                  <a:gd name="T15" fmla="*/ 2147483647 h 591"/>
                  <a:gd name="T16" fmla="*/ 2147483647 w 794"/>
                  <a:gd name="T17" fmla="*/ 2147483647 h 591"/>
                  <a:gd name="T18" fmla="*/ 2147483647 w 794"/>
                  <a:gd name="T19" fmla="*/ 2147483647 h 591"/>
                  <a:gd name="T20" fmla="*/ 2147483647 w 794"/>
                  <a:gd name="T21" fmla="*/ 2147483647 h 591"/>
                  <a:gd name="T22" fmla="*/ 2147483647 w 794"/>
                  <a:gd name="T23" fmla="*/ 2147483647 h 591"/>
                  <a:gd name="T24" fmla="*/ 2147483647 w 794"/>
                  <a:gd name="T25" fmla="*/ 2147483647 h 591"/>
                  <a:gd name="T26" fmla="*/ 2147483647 w 794"/>
                  <a:gd name="T27" fmla="*/ 2147483647 h 591"/>
                  <a:gd name="T28" fmla="*/ 2147483647 w 794"/>
                  <a:gd name="T29" fmla="*/ 2147483647 h 591"/>
                  <a:gd name="T30" fmla="*/ 2147483647 w 794"/>
                  <a:gd name="T31" fmla="*/ 2147483647 h 591"/>
                  <a:gd name="T32" fmla="*/ 2147483647 w 794"/>
                  <a:gd name="T33" fmla="*/ 2147483647 h 591"/>
                  <a:gd name="T34" fmla="*/ 2147483647 w 794"/>
                  <a:gd name="T35" fmla="*/ 2147483647 h 591"/>
                  <a:gd name="T36" fmla="*/ 2147483647 w 794"/>
                  <a:gd name="T37" fmla="*/ 2147483647 h 591"/>
                  <a:gd name="T38" fmla="*/ 2147483647 w 794"/>
                  <a:gd name="T39" fmla="*/ 2147483647 h 591"/>
                  <a:gd name="T40" fmla="*/ 2147483647 w 794"/>
                  <a:gd name="T41" fmla="*/ 2147483647 h 591"/>
                  <a:gd name="T42" fmla="*/ 2147483647 w 794"/>
                  <a:gd name="T43" fmla="*/ 0 h 591"/>
                  <a:gd name="T44" fmla="*/ 2147483647 w 794"/>
                  <a:gd name="T45" fmla="*/ 2147483647 h 591"/>
                  <a:gd name="T46" fmla="*/ 2147483647 w 794"/>
                  <a:gd name="T47" fmla="*/ 2147483647 h 591"/>
                  <a:gd name="T48" fmla="*/ 2147483647 w 794"/>
                  <a:gd name="T49" fmla="*/ 2147483647 h 591"/>
                  <a:gd name="T50" fmla="*/ 2147483647 w 794"/>
                  <a:gd name="T51" fmla="*/ 2147483647 h 591"/>
                  <a:gd name="T52" fmla="*/ 2147483647 w 794"/>
                  <a:gd name="T53" fmla="*/ 2147483647 h 591"/>
                  <a:gd name="T54" fmla="*/ 0 w 794"/>
                  <a:gd name="T55" fmla="*/ 2147483647 h 591"/>
                  <a:gd name="T56" fmla="*/ 2147483647 w 794"/>
                  <a:gd name="T57" fmla="*/ 2147483647 h 591"/>
                  <a:gd name="T58" fmla="*/ 2147483647 w 794"/>
                  <a:gd name="T59" fmla="*/ 2147483647 h 591"/>
                  <a:gd name="T60" fmla="*/ 2147483647 w 794"/>
                  <a:gd name="T61" fmla="*/ 2147483647 h 591"/>
                  <a:gd name="T62" fmla="*/ 2147483647 w 794"/>
                  <a:gd name="T63" fmla="*/ 2147483647 h 591"/>
                  <a:gd name="T64" fmla="*/ 2147483647 w 794"/>
                  <a:gd name="T65" fmla="*/ 2147483647 h 591"/>
                  <a:gd name="T66" fmla="*/ 2147483647 w 794"/>
                  <a:gd name="T67" fmla="*/ 2147483647 h 591"/>
                  <a:gd name="T68" fmla="*/ 2147483647 w 794"/>
                  <a:gd name="T69" fmla="*/ 2147483647 h 591"/>
                  <a:gd name="T70" fmla="*/ 2147483647 w 794"/>
                  <a:gd name="T71" fmla="*/ 2147483647 h 591"/>
                  <a:gd name="T72" fmla="*/ 2147483647 w 794"/>
                  <a:gd name="T73" fmla="*/ 2147483647 h 591"/>
                  <a:gd name="T74" fmla="*/ 2147483647 w 794"/>
                  <a:gd name="T75" fmla="*/ 2147483647 h 591"/>
                  <a:gd name="T76" fmla="*/ 2147483647 w 794"/>
                  <a:gd name="T77" fmla="*/ 2147483647 h 591"/>
                  <a:gd name="T78" fmla="*/ 2147483647 w 794"/>
                  <a:gd name="T79" fmla="*/ 2147483647 h 591"/>
                  <a:gd name="T80" fmla="*/ 2147483647 w 794"/>
                  <a:gd name="T81" fmla="*/ 2147483647 h 591"/>
                  <a:gd name="T82" fmla="*/ 2147483647 w 794"/>
                  <a:gd name="T83" fmla="*/ 2147483647 h 591"/>
                  <a:gd name="T84" fmla="*/ 2147483647 w 794"/>
                  <a:gd name="T85" fmla="*/ 2147483647 h 591"/>
                  <a:gd name="T86" fmla="*/ 2147483647 w 794"/>
                  <a:gd name="T87" fmla="*/ 2147483647 h 591"/>
                  <a:gd name="T88" fmla="*/ 2147483647 w 794"/>
                  <a:gd name="T89" fmla="*/ 2147483647 h 591"/>
                  <a:gd name="T90" fmla="*/ 2147483647 w 794"/>
                  <a:gd name="T91" fmla="*/ 2147483647 h 591"/>
                  <a:gd name="T92" fmla="*/ 2147483647 w 794"/>
                  <a:gd name="T93" fmla="*/ 2147483647 h 591"/>
                  <a:gd name="T94" fmla="*/ 2147483647 w 794"/>
                  <a:gd name="T95" fmla="*/ 2147483647 h 591"/>
                  <a:gd name="T96" fmla="*/ 2147483647 w 794"/>
                  <a:gd name="T97" fmla="*/ 2147483647 h 591"/>
                  <a:gd name="T98" fmla="*/ 2147483647 w 794"/>
                  <a:gd name="T99" fmla="*/ 2147483647 h 591"/>
                  <a:gd name="T100" fmla="*/ 2147483647 w 794"/>
                  <a:gd name="T101" fmla="*/ 2147483647 h 5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94"/>
                  <a:gd name="T154" fmla="*/ 0 h 591"/>
                  <a:gd name="T155" fmla="*/ 794 w 794"/>
                  <a:gd name="T156" fmla="*/ 591 h 5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94" h="591">
                    <a:moveTo>
                      <a:pt x="783" y="463"/>
                    </a:moveTo>
                    <a:lnTo>
                      <a:pt x="771" y="468"/>
                    </a:lnTo>
                    <a:lnTo>
                      <a:pt x="757" y="474"/>
                    </a:lnTo>
                    <a:lnTo>
                      <a:pt x="742" y="480"/>
                    </a:lnTo>
                    <a:lnTo>
                      <a:pt x="719" y="486"/>
                    </a:lnTo>
                    <a:lnTo>
                      <a:pt x="704" y="486"/>
                    </a:lnTo>
                    <a:lnTo>
                      <a:pt x="698" y="486"/>
                    </a:lnTo>
                    <a:lnTo>
                      <a:pt x="687" y="480"/>
                    </a:lnTo>
                    <a:lnTo>
                      <a:pt x="675" y="480"/>
                    </a:lnTo>
                    <a:lnTo>
                      <a:pt x="660" y="480"/>
                    </a:lnTo>
                    <a:lnTo>
                      <a:pt x="655" y="486"/>
                    </a:lnTo>
                    <a:lnTo>
                      <a:pt x="617" y="474"/>
                    </a:lnTo>
                    <a:lnTo>
                      <a:pt x="620" y="428"/>
                    </a:lnTo>
                    <a:lnTo>
                      <a:pt x="570" y="404"/>
                    </a:lnTo>
                    <a:lnTo>
                      <a:pt x="556" y="404"/>
                    </a:lnTo>
                    <a:lnTo>
                      <a:pt x="521" y="387"/>
                    </a:lnTo>
                    <a:lnTo>
                      <a:pt x="480" y="375"/>
                    </a:lnTo>
                    <a:lnTo>
                      <a:pt x="474" y="369"/>
                    </a:lnTo>
                    <a:lnTo>
                      <a:pt x="460" y="361"/>
                    </a:lnTo>
                    <a:lnTo>
                      <a:pt x="445" y="364"/>
                    </a:lnTo>
                    <a:lnTo>
                      <a:pt x="419" y="340"/>
                    </a:lnTo>
                    <a:lnTo>
                      <a:pt x="401" y="335"/>
                    </a:lnTo>
                    <a:lnTo>
                      <a:pt x="375" y="329"/>
                    </a:lnTo>
                    <a:lnTo>
                      <a:pt x="320" y="332"/>
                    </a:lnTo>
                    <a:lnTo>
                      <a:pt x="326" y="311"/>
                    </a:lnTo>
                    <a:lnTo>
                      <a:pt x="305" y="303"/>
                    </a:lnTo>
                    <a:lnTo>
                      <a:pt x="265" y="308"/>
                    </a:lnTo>
                    <a:lnTo>
                      <a:pt x="285" y="288"/>
                    </a:lnTo>
                    <a:lnTo>
                      <a:pt x="297" y="282"/>
                    </a:lnTo>
                    <a:lnTo>
                      <a:pt x="308" y="271"/>
                    </a:lnTo>
                    <a:lnTo>
                      <a:pt x="314" y="262"/>
                    </a:lnTo>
                    <a:lnTo>
                      <a:pt x="352" y="241"/>
                    </a:lnTo>
                    <a:lnTo>
                      <a:pt x="381" y="256"/>
                    </a:lnTo>
                    <a:lnTo>
                      <a:pt x="407" y="271"/>
                    </a:lnTo>
                    <a:lnTo>
                      <a:pt x="451" y="294"/>
                    </a:lnTo>
                    <a:lnTo>
                      <a:pt x="465" y="294"/>
                    </a:lnTo>
                    <a:lnTo>
                      <a:pt x="477" y="291"/>
                    </a:lnTo>
                    <a:lnTo>
                      <a:pt x="483" y="285"/>
                    </a:lnTo>
                    <a:lnTo>
                      <a:pt x="506" y="262"/>
                    </a:lnTo>
                    <a:lnTo>
                      <a:pt x="532" y="239"/>
                    </a:lnTo>
                    <a:lnTo>
                      <a:pt x="564" y="212"/>
                    </a:lnTo>
                    <a:lnTo>
                      <a:pt x="562" y="198"/>
                    </a:lnTo>
                    <a:lnTo>
                      <a:pt x="564" y="189"/>
                    </a:lnTo>
                    <a:lnTo>
                      <a:pt x="579" y="166"/>
                    </a:lnTo>
                    <a:lnTo>
                      <a:pt x="588" y="157"/>
                    </a:lnTo>
                    <a:lnTo>
                      <a:pt x="596" y="148"/>
                    </a:lnTo>
                    <a:lnTo>
                      <a:pt x="602" y="137"/>
                    </a:lnTo>
                    <a:lnTo>
                      <a:pt x="605" y="113"/>
                    </a:lnTo>
                    <a:lnTo>
                      <a:pt x="596" y="105"/>
                    </a:lnTo>
                    <a:lnTo>
                      <a:pt x="559" y="105"/>
                    </a:lnTo>
                    <a:lnTo>
                      <a:pt x="556" y="111"/>
                    </a:lnTo>
                    <a:lnTo>
                      <a:pt x="541" y="122"/>
                    </a:lnTo>
                    <a:lnTo>
                      <a:pt x="541" y="128"/>
                    </a:lnTo>
                    <a:lnTo>
                      <a:pt x="541" y="134"/>
                    </a:lnTo>
                    <a:lnTo>
                      <a:pt x="541" y="137"/>
                    </a:lnTo>
                    <a:lnTo>
                      <a:pt x="544" y="148"/>
                    </a:lnTo>
                    <a:lnTo>
                      <a:pt x="541" y="157"/>
                    </a:lnTo>
                    <a:lnTo>
                      <a:pt x="535" y="169"/>
                    </a:lnTo>
                    <a:lnTo>
                      <a:pt x="509" y="198"/>
                    </a:lnTo>
                    <a:lnTo>
                      <a:pt x="486" y="209"/>
                    </a:lnTo>
                    <a:lnTo>
                      <a:pt x="465" y="227"/>
                    </a:lnTo>
                    <a:lnTo>
                      <a:pt x="457" y="233"/>
                    </a:lnTo>
                    <a:lnTo>
                      <a:pt x="451" y="230"/>
                    </a:lnTo>
                    <a:lnTo>
                      <a:pt x="448" y="224"/>
                    </a:lnTo>
                    <a:lnTo>
                      <a:pt x="422" y="207"/>
                    </a:lnTo>
                    <a:lnTo>
                      <a:pt x="407" y="186"/>
                    </a:lnTo>
                    <a:lnTo>
                      <a:pt x="416" y="160"/>
                    </a:lnTo>
                    <a:lnTo>
                      <a:pt x="410" y="145"/>
                    </a:lnTo>
                    <a:lnTo>
                      <a:pt x="399" y="140"/>
                    </a:lnTo>
                    <a:lnTo>
                      <a:pt x="407" y="137"/>
                    </a:lnTo>
                    <a:lnTo>
                      <a:pt x="413" y="131"/>
                    </a:lnTo>
                    <a:lnTo>
                      <a:pt x="413" y="111"/>
                    </a:lnTo>
                    <a:lnTo>
                      <a:pt x="419" y="96"/>
                    </a:lnTo>
                    <a:lnTo>
                      <a:pt x="422" y="96"/>
                    </a:lnTo>
                    <a:lnTo>
                      <a:pt x="425" y="93"/>
                    </a:lnTo>
                    <a:lnTo>
                      <a:pt x="428" y="90"/>
                    </a:lnTo>
                    <a:lnTo>
                      <a:pt x="422" y="76"/>
                    </a:lnTo>
                    <a:lnTo>
                      <a:pt x="425" y="55"/>
                    </a:lnTo>
                    <a:lnTo>
                      <a:pt x="422" y="44"/>
                    </a:lnTo>
                    <a:lnTo>
                      <a:pt x="428" y="44"/>
                    </a:lnTo>
                    <a:lnTo>
                      <a:pt x="431" y="41"/>
                    </a:lnTo>
                    <a:lnTo>
                      <a:pt x="433" y="35"/>
                    </a:lnTo>
                    <a:lnTo>
                      <a:pt x="431" y="32"/>
                    </a:lnTo>
                    <a:lnTo>
                      <a:pt x="422" y="26"/>
                    </a:lnTo>
                    <a:lnTo>
                      <a:pt x="416" y="20"/>
                    </a:lnTo>
                    <a:lnTo>
                      <a:pt x="407" y="12"/>
                    </a:lnTo>
                    <a:lnTo>
                      <a:pt x="399" y="9"/>
                    </a:lnTo>
                    <a:lnTo>
                      <a:pt x="390" y="6"/>
                    </a:lnTo>
                    <a:lnTo>
                      <a:pt x="378" y="3"/>
                    </a:lnTo>
                    <a:lnTo>
                      <a:pt x="367" y="0"/>
                    </a:lnTo>
                    <a:lnTo>
                      <a:pt x="358" y="0"/>
                    </a:lnTo>
                    <a:lnTo>
                      <a:pt x="343" y="6"/>
                    </a:lnTo>
                    <a:lnTo>
                      <a:pt x="334" y="9"/>
                    </a:lnTo>
                    <a:lnTo>
                      <a:pt x="329" y="15"/>
                    </a:lnTo>
                    <a:lnTo>
                      <a:pt x="317" y="26"/>
                    </a:lnTo>
                    <a:lnTo>
                      <a:pt x="311" y="41"/>
                    </a:lnTo>
                    <a:lnTo>
                      <a:pt x="308" y="55"/>
                    </a:lnTo>
                    <a:lnTo>
                      <a:pt x="305" y="76"/>
                    </a:lnTo>
                    <a:lnTo>
                      <a:pt x="282" y="55"/>
                    </a:lnTo>
                    <a:lnTo>
                      <a:pt x="273" y="49"/>
                    </a:lnTo>
                    <a:lnTo>
                      <a:pt x="265" y="47"/>
                    </a:lnTo>
                    <a:lnTo>
                      <a:pt x="253" y="47"/>
                    </a:lnTo>
                    <a:lnTo>
                      <a:pt x="244" y="49"/>
                    </a:lnTo>
                    <a:lnTo>
                      <a:pt x="230" y="55"/>
                    </a:lnTo>
                    <a:lnTo>
                      <a:pt x="224" y="58"/>
                    </a:lnTo>
                    <a:lnTo>
                      <a:pt x="206" y="67"/>
                    </a:lnTo>
                    <a:lnTo>
                      <a:pt x="174" y="67"/>
                    </a:lnTo>
                    <a:lnTo>
                      <a:pt x="142" y="76"/>
                    </a:lnTo>
                    <a:lnTo>
                      <a:pt x="122" y="79"/>
                    </a:lnTo>
                    <a:lnTo>
                      <a:pt x="105" y="81"/>
                    </a:lnTo>
                    <a:lnTo>
                      <a:pt x="93" y="87"/>
                    </a:lnTo>
                    <a:lnTo>
                      <a:pt x="84" y="96"/>
                    </a:lnTo>
                    <a:lnTo>
                      <a:pt x="17" y="201"/>
                    </a:lnTo>
                    <a:lnTo>
                      <a:pt x="17" y="207"/>
                    </a:lnTo>
                    <a:lnTo>
                      <a:pt x="6" y="207"/>
                    </a:lnTo>
                    <a:lnTo>
                      <a:pt x="0" y="224"/>
                    </a:lnTo>
                    <a:lnTo>
                      <a:pt x="6" y="233"/>
                    </a:lnTo>
                    <a:lnTo>
                      <a:pt x="11" y="236"/>
                    </a:lnTo>
                    <a:lnTo>
                      <a:pt x="14" y="241"/>
                    </a:lnTo>
                    <a:lnTo>
                      <a:pt x="29" y="244"/>
                    </a:lnTo>
                    <a:lnTo>
                      <a:pt x="43" y="247"/>
                    </a:lnTo>
                    <a:lnTo>
                      <a:pt x="49" y="239"/>
                    </a:lnTo>
                    <a:lnTo>
                      <a:pt x="52" y="233"/>
                    </a:lnTo>
                    <a:lnTo>
                      <a:pt x="55" y="221"/>
                    </a:lnTo>
                    <a:lnTo>
                      <a:pt x="70" y="207"/>
                    </a:lnTo>
                    <a:lnTo>
                      <a:pt x="73" y="198"/>
                    </a:lnTo>
                    <a:lnTo>
                      <a:pt x="93" y="175"/>
                    </a:lnTo>
                    <a:lnTo>
                      <a:pt x="96" y="166"/>
                    </a:lnTo>
                    <a:lnTo>
                      <a:pt x="105" y="166"/>
                    </a:lnTo>
                    <a:lnTo>
                      <a:pt x="134" y="143"/>
                    </a:lnTo>
                    <a:lnTo>
                      <a:pt x="160" y="140"/>
                    </a:lnTo>
                    <a:lnTo>
                      <a:pt x="183" y="134"/>
                    </a:lnTo>
                    <a:lnTo>
                      <a:pt x="183" y="140"/>
                    </a:lnTo>
                    <a:lnTo>
                      <a:pt x="139" y="215"/>
                    </a:lnTo>
                    <a:lnTo>
                      <a:pt x="131" y="221"/>
                    </a:lnTo>
                    <a:lnTo>
                      <a:pt x="128" y="227"/>
                    </a:lnTo>
                    <a:lnTo>
                      <a:pt x="128" y="241"/>
                    </a:lnTo>
                    <a:lnTo>
                      <a:pt x="116" y="244"/>
                    </a:lnTo>
                    <a:lnTo>
                      <a:pt x="110" y="253"/>
                    </a:lnTo>
                    <a:lnTo>
                      <a:pt x="73" y="291"/>
                    </a:lnTo>
                    <a:lnTo>
                      <a:pt x="73" y="303"/>
                    </a:lnTo>
                    <a:lnTo>
                      <a:pt x="78" y="317"/>
                    </a:lnTo>
                    <a:lnTo>
                      <a:pt x="84" y="337"/>
                    </a:lnTo>
                    <a:lnTo>
                      <a:pt x="87" y="361"/>
                    </a:lnTo>
                    <a:lnTo>
                      <a:pt x="90" y="364"/>
                    </a:lnTo>
                    <a:lnTo>
                      <a:pt x="93" y="375"/>
                    </a:lnTo>
                    <a:lnTo>
                      <a:pt x="99" y="390"/>
                    </a:lnTo>
                    <a:lnTo>
                      <a:pt x="105" y="399"/>
                    </a:lnTo>
                    <a:lnTo>
                      <a:pt x="113" y="410"/>
                    </a:lnTo>
                    <a:lnTo>
                      <a:pt x="128" y="422"/>
                    </a:lnTo>
                    <a:lnTo>
                      <a:pt x="134" y="428"/>
                    </a:lnTo>
                    <a:lnTo>
                      <a:pt x="137" y="436"/>
                    </a:lnTo>
                    <a:lnTo>
                      <a:pt x="125" y="433"/>
                    </a:lnTo>
                    <a:lnTo>
                      <a:pt x="113" y="436"/>
                    </a:lnTo>
                    <a:lnTo>
                      <a:pt x="102" y="442"/>
                    </a:lnTo>
                    <a:lnTo>
                      <a:pt x="96" y="433"/>
                    </a:lnTo>
                    <a:lnTo>
                      <a:pt x="90" y="428"/>
                    </a:lnTo>
                    <a:lnTo>
                      <a:pt x="84" y="425"/>
                    </a:lnTo>
                    <a:lnTo>
                      <a:pt x="78" y="425"/>
                    </a:lnTo>
                    <a:lnTo>
                      <a:pt x="73" y="428"/>
                    </a:lnTo>
                    <a:lnTo>
                      <a:pt x="64" y="431"/>
                    </a:lnTo>
                    <a:lnTo>
                      <a:pt x="64" y="436"/>
                    </a:lnTo>
                    <a:lnTo>
                      <a:pt x="43" y="463"/>
                    </a:lnTo>
                    <a:lnTo>
                      <a:pt x="55" y="468"/>
                    </a:lnTo>
                    <a:lnTo>
                      <a:pt x="38" y="480"/>
                    </a:lnTo>
                    <a:lnTo>
                      <a:pt x="26" y="492"/>
                    </a:lnTo>
                    <a:lnTo>
                      <a:pt x="17" y="506"/>
                    </a:lnTo>
                    <a:lnTo>
                      <a:pt x="11" y="521"/>
                    </a:lnTo>
                    <a:lnTo>
                      <a:pt x="8" y="535"/>
                    </a:lnTo>
                    <a:lnTo>
                      <a:pt x="8" y="556"/>
                    </a:lnTo>
                    <a:lnTo>
                      <a:pt x="8" y="564"/>
                    </a:lnTo>
                    <a:lnTo>
                      <a:pt x="38" y="561"/>
                    </a:lnTo>
                    <a:lnTo>
                      <a:pt x="43" y="550"/>
                    </a:lnTo>
                    <a:lnTo>
                      <a:pt x="55" y="538"/>
                    </a:lnTo>
                    <a:lnTo>
                      <a:pt x="67" y="529"/>
                    </a:lnTo>
                    <a:lnTo>
                      <a:pt x="81" y="524"/>
                    </a:lnTo>
                    <a:lnTo>
                      <a:pt x="105" y="515"/>
                    </a:lnTo>
                    <a:lnTo>
                      <a:pt x="116" y="512"/>
                    </a:lnTo>
                    <a:lnTo>
                      <a:pt x="119" y="529"/>
                    </a:lnTo>
                    <a:lnTo>
                      <a:pt x="163" y="512"/>
                    </a:lnTo>
                    <a:lnTo>
                      <a:pt x="206" y="506"/>
                    </a:lnTo>
                    <a:lnTo>
                      <a:pt x="215" y="503"/>
                    </a:lnTo>
                    <a:lnTo>
                      <a:pt x="241" y="500"/>
                    </a:lnTo>
                    <a:lnTo>
                      <a:pt x="250" y="495"/>
                    </a:lnTo>
                    <a:lnTo>
                      <a:pt x="262" y="492"/>
                    </a:lnTo>
                    <a:lnTo>
                      <a:pt x="273" y="492"/>
                    </a:lnTo>
                    <a:lnTo>
                      <a:pt x="282" y="492"/>
                    </a:lnTo>
                    <a:lnTo>
                      <a:pt x="291" y="489"/>
                    </a:lnTo>
                    <a:lnTo>
                      <a:pt x="305" y="480"/>
                    </a:lnTo>
                    <a:lnTo>
                      <a:pt x="320" y="468"/>
                    </a:lnTo>
                    <a:lnTo>
                      <a:pt x="329" y="468"/>
                    </a:lnTo>
                    <a:lnTo>
                      <a:pt x="334" y="463"/>
                    </a:lnTo>
                    <a:lnTo>
                      <a:pt x="337" y="457"/>
                    </a:lnTo>
                    <a:lnTo>
                      <a:pt x="340" y="448"/>
                    </a:lnTo>
                    <a:lnTo>
                      <a:pt x="340" y="439"/>
                    </a:lnTo>
                    <a:lnTo>
                      <a:pt x="340" y="428"/>
                    </a:lnTo>
                    <a:lnTo>
                      <a:pt x="372" y="413"/>
                    </a:lnTo>
                    <a:lnTo>
                      <a:pt x="407" y="419"/>
                    </a:lnTo>
                    <a:lnTo>
                      <a:pt x="416" y="436"/>
                    </a:lnTo>
                    <a:lnTo>
                      <a:pt x="431" y="448"/>
                    </a:lnTo>
                    <a:lnTo>
                      <a:pt x="486" y="474"/>
                    </a:lnTo>
                    <a:lnTo>
                      <a:pt x="512" y="486"/>
                    </a:lnTo>
                    <a:lnTo>
                      <a:pt x="541" y="500"/>
                    </a:lnTo>
                    <a:lnTo>
                      <a:pt x="564" y="515"/>
                    </a:lnTo>
                    <a:lnTo>
                      <a:pt x="576" y="515"/>
                    </a:lnTo>
                    <a:lnTo>
                      <a:pt x="591" y="532"/>
                    </a:lnTo>
                    <a:lnTo>
                      <a:pt x="605" y="538"/>
                    </a:lnTo>
                    <a:lnTo>
                      <a:pt x="608" y="553"/>
                    </a:lnTo>
                    <a:lnTo>
                      <a:pt x="617" y="567"/>
                    </a:lnTo>
                    <a:lnTo>
                      <a:pt x="628" y="588"/>
                    </a:lnTo>
                    <a:lnTo>
                      <a:pt x="634" y="591"/>
                    </a:lnTo>
                    <a:lnTo>
                      <a:pt x="640" y="591"/>
                    </a:lnTo>
                    <a:lnTo>
                      <a:pt x="643" y="588"/>
                    </a:lnTo>
                    <a:lnTo>
                      <a:pt x="684" y="564"/>
                    </a:lnTo>
                    <a:lnTo>
                      <a:pt x="681" y="553"/>
                    </a:lnTo>
                    <a:lnTo>
                      <a:pt x="707" y="544"/>
                    </a:lnTo>
                    <a:lnTo>
                      <a:pt x="727" y="538"/>
                    </a:lnTo>
                    <a:lnTo>
                      <a:pt x="745" y="529"/>
                    </a:lnTo>
                    <a:lnTo>
                      <a:pt x="759" y="515"/>
                    </a:lnTo>
                    <a:lnTo>
                      <a:pt x="771" y="503"/>
                    </a:lnTo>
                    <a:lnTo>
                      <a:pt x="789" y="480"/>
                    </a:lnTo>
                    <a:lnTo>
                      <a:pt x="794" y="471"/>
                    </a:lnTo>
                    <a:lnTo>
                      <a:pt x="783" y="46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 name="Freeform 590"/>
              <p:cNvSpPr>
                <a:spLocks/>
              </p:cNvSpPr>
              <p:nvPr/>
            </p:nvSpPr>
            <p:spPr bwMode="auto">
              <a:xfrm>
                <a:off x="5453554" y="937213"/>
                <a:ext cx="424191" cy="112898"/>
              </a:xfrm>
              <a:custGeom>
                <a:avLst/>
                <a:gdLst/>
                <a:ahLst/>
                <a:cxnLst>
                  <a:cxn ang="0">
                    <a:pos x="0" y="15"/>
                  </a:cxn>
                  <a:cxn ang="0">
                    <a:pos x="0" y="15"/>
                  </a:cxn>
                  <a:cxn ang="0">
                    <a:pos x="15" y="12"/>
                  </a:cxn>
                  <a:cxn ang="0">
                    <a:pos x="29" y="3"/>
                  </a:cxn>
                  <a:cxn ang="0">
                    <a:pos x="29" y="3"/>
                  </a:cxn>
                  <a:cxn ang="0">
                    <a:pos x="35" y="0"/>
                  </a:cxn>
                  <a:cxn ang="0">
                    <a:pos x="41" y="3"/>
                  </a:cxn>
                  <a:cxn ang="0">
                    <a:pos x="50" y="12"/>
                  </a:cxn>
                  <a:cxn ang="0">
                    <a:pos x="50" y="12"/>
                  </a:cxn>
                  <a:cxn ang="0">
                    <a:pos x="61" y="15"/>
                  </a:cxn>
                  <a:cxn ang="0">
                    <a:pos x="76" y="18"/>
                  </a:cxn>
                  <a:cxn ang="0">
                    <a:pos x="102" y="15"/>
                  </a:cxn>
                  <a:cxn ang="0">
                    <a:pos x="102" y="15"/>
                  </a:cxn>
                  <a:cxn ang="0">
                    <a:pos x="114" y="15"/>
                  </a:cxn>
                  <a:cxn ang="0">
                    <a:pos x="125" y="18"/>
                  </a:cxn>
                  <a:cxn ang="0">
                    <a:pos x="125" y="18"/>
                  </a:cxn>
                  <a:cxn ang="0">
                    <a:pos x="140" y="21"/>
                  </a:cxn>
                  <a:cxn ang="0">
                    <a:pos x="140" y="21"/>
                  </a:cxn>
                  <a:cxn ang="0">
                    <a:pos x="134" y="27"/>
                  </a:cxn>
                  <a:cxn ang="0">
                    <a:pos x="128" y="29"/>
                  </a:cxn>
                  <a:cxn ang="0">
                    <a:pos x="128" y="29"/>
                  </a:cxn>
                  <a:cxn ang="0">
                    <a:pos x="120" y="29"/>
                  </a:cxn>
                  <a:cxn ang="0">
                    <a:pos x="111" y="29"/>
                  </a:cxn>
                  <a:cxn ang="0">
                    <a:pos x="111" y="29"/>
                  </a:cxn>
                  <a:cxn ang="0">
                    <a:pos x="96" y="29"/>
                  </a:cxn>
                  <a:cxn ang="0">
                    <a:pos x="79" y="32"/>
                  </a:cxn>
                  <a:cxn ang="0">
                    <a:pos x="79" y="32"/>
                  </a:cxn>
                  <a:cxn ang="0">
                    <a:pos x="56" y="38"/>
                  </a:cxn>
                  <a:cxn ang="0">
                    <a:pos x="44" y="38"/>
                  </a:cxn>
                  <a:cxn ang="0">
                    <a:pos x="32" y="35"/>
                  </a:cxn>
                  <a:cxn ang="0">
                    <a:pos x="32" y="35"/>
                  </a:cxn>
                  <a:cxn ang="0">
                    <a:pos x="21" y="29"/>
                  </a:cxn>
                  <a:cxn ang="0">
                    <a:pos x="12" y="24"/>
                  </a:cxn>
                  <a:cxn ang="0">
                    <a:pos x="0" y="15"/>
                  </a:cxn>
                </a:cxnLst>
                <a:rect l="0" t="0" r="r" b="b"/>
                <a:pathLst>
                  <a:path w="140" h="38">
                    <a:moveTo>
                      <a:pt x="0" y="15"/>
                    </a:moveTo>
                    <a:lnTo>
                      <a:pt x="0" y="15"/>
                    </a:lnTo>
                    <a:lnTo>
                      <a:pt x="15" y="12"/>
                    </a:lnTo>
                    <a:lnTo>
                      <a:pt x="29" y="3"/>
                    </a:lnTo>
                    <a:lnTo>
                      <a:pt x="29" y="3"/>
                    </a:lnTo>
                    <a:lnTo>
                      <a:pt x="35" y="0"/>
                    </a:lnTo>
                    <a:lnTo>
                      <a:pt x="41" y="3"/>
                    </a:lnTo>
                    <a:lnTo>
                      <a:pt x="50" y="12"/>
                    </a:lnTo>
                    <a:lnTo>
                      <a:pt x="50" y="12"/>
                    </a:lnTo>
                    <a:lnTo>
                      <a:pt x="61" y="15"/>
                    </a:lnTo>
                    <a:lnTo>
                      <a:pt x="76" y="18"/>
                    </a:lnTo>
                    <a:lnTo>
                      <a:pt x="102" y="15"/>
                    </a:lnTo>
                    <a:lnTo>
                      <a:pt x="102" y="15"/>
                    </a:lnTo>
                    <a:lnTo>
                      <a:pt x="114" y="15"/>
                    </a:lnTo>
                    <a:lnTo>
                      <a:pt x="125" y="18"/>
                    </a:lnTo>
                    <a:lnTo>
                      <a:pt x="125" y="18"/>
                    </a:lnTo>
                    <a:lnTo>
                      <a:pt x="140" y="21"/>
                    </a:lnTo>
                    <a:lnTo>
                      <a:pt x="140" y="21"/>
                    </a:lnTo>
                    <a:lnTo>
                      <a:pt x="134" y="27"/>
                    </a:lnTo>
                    <a:lnTo>
                      <a:pt x="128" y="29"/>
                    </a:lnTo>
                    <a:lnTo>
                      <a:pt x="128" y="29"/>
                    </a:lnTo>
                    <a:lnTo>
                      <a:pt x="120" y="29"/>
                    </a:lnTo>
                    <a:lnTo>
                      <a:pt x="111" y="29"/>
                    </a:lnTo>
                    <a:lnTo>
                      <a:pt x="111" y="29"/>
                    </a:lnTo>
                    <a:lnTo>
                      <a:pt x="96" y="29"/>
                    </a:lnTo>
                    <a:lnTo>
                      <a:pt x="79" y="32"/>
                    </a:lnTo>
                    <a:lnTo>
                      <a:pt x="79" y="32"/>
                    </a:lnTo>
                    <a:lnTo>
                      <a:pt x="56" y="38"/>
                    </a:lnTo>
                    <a:lnTo>
                      <a:pt x="44" y="38"/>
                    </a:lnTo>
                    <a:lnTo>
                      <a:pt x="32" y="35"/>
                    </a:lnTo>
                    <a:lnTo>
                      <a:pt x="32" y="35"/>
                    </a:lnTo>
                    <a:lnTo>
                      <a:pt x="21" y="29"/>
                    </a:lnTo>
                    <a:lnTo>
                      <a:pt x="12" y="24"/>
                    </a:lnTo>
                    <a:lnTo>
                      <a:pt x="0" y="15"/>
                    </a:lnTo>
                    <a:close/>
                  </a:path>
                </a:pathLst>
              </a:custGeom>
              <a:solidFill>
                <a:schemeClr val="tx1">
                  <a:lumMod val="95000"/>
                  <a:lumOff val="5000"/>
                </a:schemeClr>
              </a:solidFill>
              <a:ln w="9525">
                <a:noFill/>
                <a:round/>
                <a:headEnd/>
                <a:tailEnd/>
              </a:ln>
            </p:spPr>
            <p:txBody>
              <a:bodyPr/>
              <a:lstStyle/>
              <a:p>
                <a:pPr fontAlgn="auto">
                  <a:spcBef>
                    <a:spcPts val="0"/>
                  </a:spcBef>
                  <a:spcAft>
                    <a:spcPts val="0"/>
                  </a:spcAft>
                  <a:defRPr/>
                </a:pPr>
                <a:endParaRPr lang="nb-NO" sz="1200">
                  <a:latin typeface="Calibri" charset="0"/>
                  <a:ea typeface="+mn-ea"/>
                </a:endParaRPr>
              </a:p>
            </p:txBody>
          </p:sp>
          <p:sp>
            <p:nvSpPr>
              <p:cNvPr id="83" name="Freeform 591"/>
              <p:cNvSpPr>
                <a:spLocks noEditPoints="1"/>
              </p:cNvSpPr>
              <p:nvPr/>
            </p:nvSpPr>
            <p:spPr bwMode="auto">
              <a:xfrm>
                <a:off x="5692162" y="877446"/>
                <a:ext cx="298261" cy="338687"/>
              </a:xfrm>
              <a:custGeom>
                <a:avLst/>
                <a:gdLst>
                  <a:gd name="T0" fmla="*/ 2147483647 w 99"/>
                  <a:gd name="T1" fmla="*/ 2147483647 h 113"/>
                  <a:gd name="T2" fmla="*/ 2147483647 w 99"/>
                  <a:gd name="T3" fmla="*/ 2147483647 h 113"/>
                  <a:gd name="T4" fmla="*/ 2147483647 w 99"/>
                  <a:gd name="T5" fmla="*/ 2147483647 h 113"/>
                  <a:gd name="T6" fmla="*/ 2147483647 w 99"/>
                  <a:gd name="T7" fmla="*/ 0 h 113"/>
                  <a:gd name="T8" fmla="*/ 2147483647 w 99"/>
                  <a:gd name="T9" fmla="*/ 2147483647 h 113"/>
                  <a:gd name="T10" fmla="*/ 2147483647 w 99"/>
                  <a:gd name="T11" fmla="*/ 2147483647 h 113"/>
                  <a:gd name="T12" fmla="*/ 2147483647 w 99"/>
                  <a:gd name="T13" fmla="*/ 2147483647 h 113"/>
                  <a:gd name="T14" fmla="*/ 2147483647 w 99"/>
                  <a:gd name="T15" fmla="*/ 2147483647 h 113"/>
                  <a:gd name="T16" fmla="*/ 0 w 99"/>
                  <a:gd name="T17" fmla="*/ 2147483647 h 113"/>
                  <a:gd name="T18" fmla="*/ 2147483647 w 99"/>
                  <a:gd name="T19" fmla="*/ 2147483647 h 113"/>
                  <a:gd name="T20" fmla="*/ 2147483647 w 99"/>
                  <a:gd name="T21" fmla="*/ 2147483647 h 113"/>
                  <a:gd name="T22" fmla="*/ 2147483647 w 99"/>
                  <a:gd name="T23" fmla="*/ 2147483647 h 113"/>
                  <a:gd name="T24" fmla="*/ 2147483647 w 99"/>
                  <a:gd name="T25" fmla="*/ 2147483647 h 113"/>
                  <a:gd name="T26" fmla="*/ 2147483647 w 99"/>
                  <a:gd name="T27" fmla="*/ 2147483647 h 113"/>
                  <a:gd name="T28" fmla="*/ 2147483647 w 99"/>
                  <a:gd name="T29" fmla="*/ 2147483647 h 113"/>
                  <a:gd name="T30" fmla="*/ 2147483647 w 99"/>
                  <a:gd name="T31" fmla="*/ 2147483647 h 113"/>
                  <a:gd name="T32" fmla="*/ 2147483647 w 99"/>
                  <a:gd name="T33" fmla="*/ 2147483647 h 113"/>
                  <a:gd name="T34" fmla="*/ 2147483647 w 99"/>
                  <a:gd name="T35" fmla="*/ 2147483647 h 113"/>
                  <a:gd name="T36" fmla="*/ 2147483647 w 99"/>
                  <a:gd name="T37" fmla="*/ 2147483647 h 113"/>
                  <a:gd name="T38" fmla="*/ 2147483647 w 99"/>
                  <a:gd name="T39" fmla="*/ 2147483647 h 113"/>
                  <a:gd name="T40" fmla="*/ 2147483647 w 99"/>
                  <a:gd name="T41" fmla="*/ 2147483647 h 113"/>
                  <a:gd name="T42" fmla="*/ 2147483647 w 99"/>
                  <a:gd name="T43" fmla="*/ 2147483647 h 113"/>
                  <a:gd name="T44" fmla="*/ 2147483647 w 99"/>
                  <a:gd name="T45" fmla="*/ 2147483647 h 113"/>
                  <a:gd name="T46" fmla="*/ 2147483647 w 99"/>
                  <a:gd name="T47" fmla="*/ 2147483647 h 113"/>
                  <a:gd name="T48" fmla="*/ 2147483647 w 99"/>
                  <a:gd name="T49" fmla="*/ 2147483647 h 113"/>
                  <a:gd name="T50" fmla="*/ 2147483647 w 99"/>
                  <a:gd name="T51" fmla="*/ 2147483647 h 113"/>
                  <a:gd name="T52" fmla="*/ 2147483647 w 99"/>
                  <a:gd name="T53" fmla="*/ 2147483647 h 113"/>
                  <a:gd name="T54" fmla="*/ 2147483647 w 99"/>
                  <a:gd name="T55" fmla="*/ 2147483647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9"/>
                  <a:gd name="T85" fmla="*/ 0 h 113"/>
                  <a:gd name="T86" fmla="*/ 99 w 99"/>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9" h="113">
                    <a:moveTo>
                      <a:pt x="73" y="38"/>
                    </a:moveTo>
                    <a:lnTo>
                      <a:pt x="70" y="29"/>
                    </a:lnTo>
                    <a:lnTo>
                      <a:pt x="64" y="12"/>
                    </a:lnTo>
                    <a:lnTo>
                      <a:pt x="38" y="0"/>
                    </a:lnTo>
                    <a:lnTo>
                      <a:pt x="41" y="17"/>
                    </a:lnTo>
                    <a:lnTo>
                      <a:pt x="35" y="32"/>
                    </a:lnTo>
                    <a:lnTo>
                      <a:pt x="26" y="49"/>
                    </a:lnTo>
                    <a:lnTo>
                      <a:pt x="6" y="79"/>
                    </a:lnTo>
                    <a:lnTo>
                      <a:pt x="0" y="113"/>
                    </a:lnTo>
                    <a:lnTo>
                      <a:pt x="3" y="108"/>
                    </a:lnTo>
                    <a:lnTo>
                      <a:pt x="17" y="102"/>
                    </a:lnTo>
                    <a:lnTo>
                      <a:pt x="32" y="96"/>
                    </a:lnTo>
                    <a:lnTo>
                      <a:pt x="46" y="93"/>
                    </a:lnTo>
                    <a:lnTo>
                      <a:pt x="58" y="90"/>
                    </a:lnTo>
                    <a:lnTo>
                      <a:pt x="64" y="90"/>
                    </a:lnTo>
                    <a:lnTo>
                      <a:pt x="81" y="79"/>
                    </a:lnTo>
                    <a:lnTo>
                      <a:pt x="93" y="61"/>
                    </a:lnTo>
                    <a:lnTo>
                      <a:pt x="99" y="41"/>
                    </a:lnTo>
                    <a:lnTo>
                      <a:pt x="73" y="38"/>
                    </a:lnTo>
                    <a:close/>
                    <a:moveTo>
                      <a:pt x="79" y="47"/>
                    </a:moveTo>
                    <a:lnTo>
                      <a:pt x="79" y="47"/>
                    </a:lnTo>
                    <a:close/>
                  </a:path>
                </a:pathLst>
              </a:custGeom>
              <a:solidFill>
                <a:schemeClr val="accent3">
                  <a:lumMod val="60000"/>
                  <a:lumOff val="40000"/>
                </a:schemeClr>
              </a:solidFill>
              <a:ln w="9525">
                <a:noFill/>
                <a:round/>
                <a:headEnd/>
                <a:tailEnd/>
              </a:ln>
            </p:spPr>
            <p:txBody>
              <a:bodyPr/>
              <a:lstStyle/>
              <a:p>
                <a:pPr fontAlgn="auto">
                  <a:spcBef>
                    <a:spcPts val="0"/>
                  </a:spcBef>
                  <a:spcAft>
                    <a:spcPts val="0"/>
                  </a:spcAft>
                  <a:defRPr/>
                </a:pPr>
                <a:endParaRPr lang="en-US" sz="1200">
                  <a:latin typeface="Calibri" charset="0"/>
                  <a:ea typeface="+mn-ea"/>
                </a:endParaRPr>
              </a:p>
            </p:txBody>
          </p:sp>
          <p:sp>
            <p:nvSpPr>
              <p:cNvPr id="17450" name="Freeform 592"/>
              <p:cNvSpPr>
                <a:spLocks/>
              </p:cNvSpPr>
              <p:nvPr/>
            </p:nvSpPr>
            <p:spPr bwMode="auto">
              <a:xfrm>
                <a:off x="5768176" y="982734"/>
                <a:ext cx="150727" cy="78378"/>
              </a:xfrm>
              <a:custGeom>
                <a:avLst/>
                <a:gdLst>
                  <a:gd name="T0" fmla="*/ 2147483647 w 50"/>
                  <a:gd name="T1" fmla="*/ 2147483647 h 26"/>
                  <a:gd name="T2" fmla="*/ 2147483647 w 50"/>
                  <a:gd name="T3" fmla="*/ 2147483647 h 26"/>
                  <a:gd name="T4" fmla="*/ 2147483647 w 50"/>
                  <a:gd name="T5" fmla="*/ 2147483647 h 26"/>
                  <a:gd name="T6" fmla="*/ 2147483647 w 50"/>
                  <a:gd name="T7" fmla="*/ 2147483647 h 26"/>
                  <a:gd name="T8" fmla="*/ 2147483647 w 50"/>
                  <a:gd name="T9" fmla="*/ 2147483647 h 26"/>
                  <a:gd name="T10" fmla="*/ 2147483647 w 50"/>
                  <a:gd name="T11" fmla="*/ 2147483647 h 26"/>
                  <a:gd name="T12" fmla="*/ 2147483647 w 50"/>
                  <a:gd name="T13" fmla="*/ 2147483647 h 26"/>
                  <a:gd name="T14" fmla="*/ 2147483647 w 50"/>
                  <a:gd name="T15" fmla="*/ 2147483647 h 26"/>
                  <a:gd name="T16" fmla="*/ 2147483647 w 50"/>
                  <a:gd name="T17" fmla="*/ 2147483647 h 26"/>
                  <a:gd name="T18" fmla="*/ 2147483647 w 50"/>
                  <a:gd name="T19" fmla="*/ 2147483647 h 26"/>
                  <a:gd name="T20" fmla="*/ 2147483647 w 50"/>
                  <a:gd name="T21" fmla="*/ 0 h 26"/>
                  <a:gd name="T22" fmla="*/ 2147483647 w 50"/>
                  <a:gd name="T23" fmla="*/ 0 h 26"/>
                  <a:gd name="T24" fmla="*/ 2147483647 w 50"/>
                  <a:gd name="T25" fmla="*/ 0 h 26"/>
                  <a:gd name="T26" fmla="*/ 2147483647 w 50"/>
                  <a:gd name="T27" fmla="*/ 0 h 26"/>
                  <a:gd name="T28" fmla="*/ 2147483647 w 50"/>
                  <a:gd name="T29" fmla="*/ 2147483647 h 26"/>
                  <a:gd name="T30" fmla="*/ 2147483647 w 50"/>
                  <a:gd name="T31" fmla="*/ 2147483647 h 26"/>
                  <a:gd name="T32" fmla="*/ 2147483647 w 50"/>
                  <a:gd name="T33" fmla="*/ 2147483647 h 26"/>
                  <a:gd name="T34" fmla="*/ 2147483647 w 50"/>
                  <a:gd name="T35" fmla="*/ 2147483647 h 26"/>
                  <a:gd name="T36" fmla="*/ 2147483647 w 50"/>
                  <a:gd name="T37" fmla="*/ 2147483647 h 26"/>
                  <a:gd name="T38" fmla="*/ 2147483647 w 50"/>
                  <a:gd name="T39" fmla="*/ 2147483647 h 26"/>
                  <a:gd name="T40" fmla="*/ 2147483647 w 50"/>
                  <a:gd name="T41" fmla="*/ 2147483647 h 26"/>
                  <a:gd name="T42" fmla="*/ 2147483647 w 50"/>
                  <a:gd name="T43" fmla="*/ 2147483647 h 26"/>
                  <a:gd name="T44" fmla="*/ 2147483647 w 50"/>
                  <a:gd name="T45" fmla="*/ 2147483647 h 26"/>
                  <a:gd name="T46" fmla="*/ 2147483647 w 50"/>
                  <a:gd name="T47" fmla="*/ 2147483647 h 26"/>
                  <a:gd name="T48" fmla="*/ 2147483647 w 50"/>
                  <a:gd name="T49" fmla="*/ 2147483647 h 26"/>
                  <a:gd name="T50" fmla="*/ 0 w 50"/>
                  <a:gd name="T51" fmla="*/ 2147483647 h 26"/>
                  <a:gd name="T52" fmla="*/ 0 w 50"/>
                  <a:gd name="T53" fmla="*/ 2147483647 h 26"/>
                  <a:gd name="T54" fmla="*/ 2147483647 w 50"/>
                  <a:gd name="T55" fmla="*/ 2147483647 h 26"/>
                  <a:gd name="T56" fmla="*/ 2147483647 w 50"/>
                  <a:gd name="T57" fmla="*/ 2147483647 h 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
                  <a:gd name="T88" fmla="*/ 0 h 26"/>
                  <a:gd name="T89" fmla="*/ 50 w 50"/>
                  <a:gd name="T90" fmla="*/ 26 h 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 h="26">
                    <a:moveTo>
                      <a:pt x="9" y="14"/>
                    </a:moveTo>
                    <a:lnTo>
                      <a:pt x="9" y="14"/>
                    </a:lnTo>
                    <a:lnTo>
                      <a:pt x="18" y="17"/>
                    </a:lnTo>
                    <a:lnTo>
                      <a:pt x="29" y="23"/>
                    </a:lnTo>
                    <a:lnTo>
                      <a:pt x="38" y="26"/>
                    </a:lnTo>
                    <a:lnTo>
                      <a:pt x="44" y="26"/>
                    </a:lnTo>
                    <a:lnTo>
                      <a:pt x="47" y="23"/>
                    </a:lnTo>
                    <a:lnTo>
                      <a:pt x="50" y="14"/>
                    </a:lnTo>
                    <a:lnTo>
                      <a:pt x="50" y="6"/>
                    </a:lnTo>
                    <a:lnTo>
                      <a:pt x="47" y="0"/>
                    </a:lnTo>
                    <a:lnTo>
                      <a:pt x="44" y="0"/>
                    </a:lnTo>
                    <a:lnTo>
                      <a:pt x="41" y="0"/>
                    </a:lnTo>
                    <a:lnTo>
                      <a:pt x="38" y="6"/>
                    </a:lnTo>
                    <a:lnTo>
                      <a:pt x="35" y="9"/>
                    </a:lnTo>
                    <a:lnTo>
                      <a:pt x="32" y="12"/>
                    </a:lnTo>
                    <a:lnTo>
                      <a:pt x="23" y="9"/>
                    </a:lnTo>
                    <a:lnTo>
                      <a:pt x="15" y="3"/>
                    </a:lnTo>
                    <a:lnTo>
                      <a:pt x="6" y="3"/>
                    </a:lnTo>
                    <a:lnTo>
                      <a:pt x="3" y="6"/>
                    </a:lnTo>
                    <a:lnTo>
                      <a:pt x="0" y="17"/>
                    </a:lnTo>
                    <a:lnTo>
                      <a:pt x="9" y="1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7435" name="Group 70"/>
            <p:cNvGrpSpPr>
              <a:grpSpLocks/>
            </p:cNvGrpSpPr>
            <p:nvPr/>
          </p:nvGrpSpPr>
          <p:grpSpPr bwMode="auto">
            <a:xfrm>
              <a:off x="4037013" y="4071938"/>
              <a:ext cx="1098550" cy="1120775"/>
              <a:chOff x="4547783" y="4021788"/>
              <a:chExt cx="1334317" cy="1362074"/>
            </a:xfrm>
          </p:grpSpPr>
          <p:grpSp>
            <p:nvGrpSpPr>
              <p:cNvPr id="17436" name="Gruppe 83"/>
              <p:cNvGrpSpPr>
                <a:grpSpLocks/>
              </p:cNvGrpSpPr>
              <p:nvPr/>
            </p:nvGrpSpPr>
            <p:grpSpPr bwMode="auto">
              <a:xfrm>
                <a:off x="4547783" y="4021788"/>
                <a:ext cx="1334317" cy="1362074"/>
                <a:chOff x="3717577" y="1040361"/>
                <a:chExt cx="1708847" cy="1742936"/>
              </a:xfrm>
            </p:grpSpPr>
            <p:sp>
              <p:nvSpPr>
                <p:cNvPr id="90" name="Tåre 105"/>
                <p:cNvSpPr/>
                <p:nvPr/>
              </p:nvSpPr>
              <p:spPr bwMode="auto">
                <a:xfrm rot="18900000">
                  <a:off x="3717577" y="1067209"/>
                  <a:ext cx="1708847" cy="1716088"/>
                </a:xfrm>
                <a:prstGeom prst="teardrop">
                  <a:avLst/>
                </a:prstGeom>
                <a:gradFill flip="none" rotWithShape="1">
                  <a:gsLst>
                    <a:gs pos="31000">
                      <a:schemeClr val="bg2">
                        <a:alpha val="21000"/>
                      </a:schemeClr>
                    </a:gs>
                    <a:gs pos="100000">
                      <a:schemeClr val="accent1">
                        <a:lumMod val="75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sz="1200">
                    <a:solidFill>
                      <a:srgbClr val="FFFFFF"/>
                    </a:solidFill>
                    <a:latin typeface="Calibri" charset="0"/>
                    <a:ea typeface="ＭＳ Ｐゴシック" charset="0"/>
                    <a:cs typeface="ＭＳ Ｐゴシック" charset="0"/>
                  </a:endParaRPr>
                </a:p>
              </p:txBody>
            </p:sp>
            <p:sp>
              <p:nvSpPr>
                <p:cNvPr id="91"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200" smtClean="0">
                    <a:solidFill>
                      <a:srgbClr val="FFFFFF"/>
                    </a:solidFill>
                    <a:latin typeface="Calibri" charset="0"/>
                  </a:endParaRPr>
                </a:p>
              </p:txBody>
            </p:sp>
            <p:sp>
              <p:nvSpPr>
                <p:cNvPr id="92"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200" smtClean="0">
                    <a:solidFill>
                      <a:srgbClr val="FFFFFF"/>
                    </a:solidFill>
                    <a:latin typeface="Calibri" charset="0"/>
                  </a:endParaRPr>
                </a:p>
              </p:txBody>
            </p:sp>
          </p:grpSp>
          <p:sp>
            <p:nvSpPr>
              <p:cNvPr id="87" name="&quot;No&quot; Symbol 86"/>
              <p:cNvSpPr/>
              <p:nvPr/>
            </p:nvSpPr>
            <p:spPr>
              <a:xfrm>
                <a:off x="4792863" y="4282968"/>
                <a:ext cx="844994" cy="848234"/>
              </a:xfrm>
              <a:prstGeom prst="noSmoking">
                <a:avLst>
                  <a:gd name="adj" fmla="val 1444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sz="1200">
                  <a:solidFill>
                    <a:schemeClr val="tx1"/>
                  </a:solidFill>
                  <a:ea typeface="ＭＳ Ｐゴシック" charset="0"/>
                  <a:cs typeface="ＭＳ Ｐゴシック" charset="0"/>
                </a:endParaRPr>
              </a:p>
            </p:txBody>
          </p:sp>
        </p:grpSp>
      </p:grpSp>
      <p:sp>
        <p:nvSpPr>
          <p:cNvPr id="5" name="Subtitle 4"/>
          <p:cNvSpPr>
            <a:spLocks noGrp="1"/>
          </p:cNvSpPr>
          <p:nvPr>
            <p:ph type="subTitle" idx="1"/>
          </p:nvPr>
        </p:nvSpPr>
        <p:spPr>
          <a:xfrm>
            <a:off x="628650" y="866381"/>
            <a:ext cx="7891272" cy="552972"/>
          </a:xfrm>
        </p:spPr>
        <p:txBody>
          <a:bodyPr/>
          <a:lstStyle/>
          <a:p>
            <a:r>
              <a:rPr lang="en-US" dirty="0"/>
              <a:t>Replace this text</a:t>
            </a:r>
          </a:p>
          <a:p>
            <a:endParaRPr lang="en-US" dirty="0"/>
          </a:p>
        </p:txBody>
      </p:sp>
      <p:sp>
        <p:nvSpPr>
          <p:cNvPr id="4" name="Title 3"/>
          <p:cNvSpPr>
            <a:spLocks noGrp="1"/>
          </p:cNvSpPr>
          <p:nvPr>
            <p:ph type="title"/>
          </p:nvPr>
        </p:nvSpPr>
        <p:spPr/>
        <p:txBody>
          <a:bodyPr/>
          <a:lstStyle/>
          <a:p>
            <a:r>
              <a:rPr lang="en-US" dirty="0"/>
              <a:t>PORTERS 5 FORCES</a:t>
            </a:r>
          </a:p>
        </p:txBody>
      </p:sp>
      <p:sp>
        <p:nvSpPr>
          <p:cNvPr id="6" name="Date Placeholder 5"/>
          <p:cNvSpPr>
            <a:spLocks noGrp="1"/>
          </p:cNvSpPr>
          <p:nvPr>
            <p:ph type="dt" sz="half" idx="10"/>
          </p:nvPr>
        </p:nvSpPr>
        <p:spPr/>
        <p:txBody>
          <a:bodyPr/>
          <a:lstStyle/>
          <a:p>
            <a:r>
              <a:rPr lang="en-US" smtClean="0"/>
              <a:t>PRESENTER NAME</a:t>
            </a:r>
            <a:endParaRPr lang="en-US"/>
          </a:p>
        </p:txBody>
      </p:sp>
      <p:sp>
        <p:nvSpPr>
          <p:cNvPr id="7" name="Footer Placeholder 6"/>
          <p:cNvSpPr>
            <a:spLocks noGrp="1"/>
          </p:cNvSpPr>
          <p:nvPr>
            <p:ph type="ftr" sz="quarter" idx="11"/>
          </p:nvPr>
        </p:nvSpPr>
        <p:spPr/>
        <p:txBody>
          <a:bodyPr/>
          <a:lstStyle/>
          <a:p>
            <a:r>
              <a:rPr lang="en-US" smtClean="0"/>
              <a:t>COMPANY NAME</a:t>
            </a:r>
            <a:endParaRPr lang="en-US"/>
          </a:p>
        </p:txBody>
      </p:sp>
      <p:sp>
        <p:nvSpPr>
          <p:cNvPr id="8" name="Slide Number Placeholder 7"/>
          <p:cNvSpPr>
            <a:spLocks noGrp="1"/>
          </p:cNvSpPr>
          <p:nvPr>
            <p:ph type="sldNum" sz="quarter" idx="12"/>
          </p:nvPr>
        </p:nvSpPr>
        <p:spPr/>
        <p:txBody>
          <a:bodyPr/>
          <a:lstStyle/>
          <a:p>
            <a:fld id="{AACE8A1A-EF06-42BD-8183-7D22FECA910D}" type="slidenum">
              <a:rPr lang="en-US" smtClean="0"/>
              <a:pPr/>
              <a:t>53</a:t>
            </a:fld>
            <a:r>
              <a:rPr lang="en-US" smtClean="0"/>
              <a:t>|</a:t>
            </a:r>
            <a:endParaRPr lang="en-US" dirty="0"/>
          </a:p>
        </p:txBody>
      </p:sp>
    </p:spTree>
    <p:extLst>
      <p:ext uri="{BB962C8B-B14F-4D97-AF65-F5344CB8AC3E}">
        <p14:creationId xmlns:p14="http://schemas.microsoft.com/office/powerpoint/2010/main" val="63412766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34" name="Group 3"/>
          <p:cNvGrpSpPr>
            <a:grpSpLocks/>
          </p:cNvGrpSpPr>
          <p:nvPr/>
        </p:nvGrpSpPr>
        <p:grpSpPr bwMode="auto">
          <a:xfrm>
            <a:off x="347663" y="2079625"/>
            <a:ext cx="3984625" cy="3251200"/>
            <a:chOff x="348373" y="2079623"/>
            <a:chExt cx="3983830" cy="3250824"/>
          </a:xfrm>
        </p:grpSpPr>
        <p:sp>
          <p:nvSpPr>
            <p:cNvPr id="18458" name="Tekstboks 6"/>
            <p:cNvSpPr txBox="1">
              <a:spLocks noChangeArrowheads="1"/>
            </p:cNvSpPr>
            <p:nvPr/>
          </p:nvSpPr>
          <p:spPr bwMode="auto">
            <a:xfrm>
              <a:off x="1750555" y="3548976"/>
              <a:ext cx="1995247" cy="288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ctr" eaLnBrk="1" hangingPunct="1"/>
              <a:r>
                <a:rPr lang="da-DK" sz="1400" b="1">
                  <a:solidFill>
                    <a:srgbClr val="227088"/>
                  </a:solidFill>
                </a:rPr>
                <a:t>RIVALRY</a:t>
              </a:r>
            </a:p>
          </p:txBody>
        </p:sp>
        <p:sp>
          <p:nvSpPr>
            <p:cNvPr id="8" name="Donut 7"/>
            <p:cNvSpPr>
              <a:spLocks/>
            </p:cNvSpPr>
            <p:nvPr/>
          </p:nvSpPr>
          <p:spPr bwMode="auto">
            <a:xfrm rot="2700000">
              <a:off x="1494214" y="2457509"/>
              <a:ext cx="2504785" cy="2504575"/>
            </a:xfrm>
            <a:custGeom>
              <a:avLst/>
              <a:gdLst>
                <a:gd name="T0" fmla="*/ 0 w 2678113"/>
                <a:gd name="T1" fmla="*/ 1339850 h 2679700"/>
                <a:gd name="T2" fmla="*/ 1339057 w 2678113"/>
                <a:gd name="T3" fmla="*/ 0 h 2679700"/>
                <a:gd name="T4" fmla="*/ 2678114 w 2678113"/>
                <a:gd name="T5" fmla="*/ 1339850 h 2679700"/>
                <a:gd name="T6" fmla="*/ 1339057 w 2678113"/>
                <a:gd name="T7" fmla="*/ 2679700 h 2679700"/>
                <a:gd name="T8" fmla="*/ 0 w 2678113"/>
                <a:gd name="T9" fmla="*/ 1339850 h 2679700"/>
                <a:gd name="T10" fmla="*/ 322123 w 2678113"/>
                <a:gd name="T11" fmla="*/ 1339850 h 2679700"/>
                <a:gd name="T12" fmla="*/ 1339056 w 2678113"/>
                <a:gd name="T13" fmla="*/ 2357577 h 2679700"/>
                <a:gd name="T14" fmla="*/ 2355989 w 2678113"/>
                <a:gd name="T15" fmla="*/ 1339850 h 2679700"/>
                <a:gd name="T16" fmla="*/ 1339056 w 2678113"/>
                <a:gd name="T17" fmla="*/ 322123 h 2679700"/>
                <a:gd name="T18" fmla="*/ 322123 w 2678113"/>
                <a:gd name="T19" fmla="*/ 1339850 h 26797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78113" h="2679700">
                  <a:moveTo>
                    <a:pt x="0" y="1339850"/>
                  </a:moveTo>
                  <a:cubicBezTo>
                    <a:pt x="0" y="599871"/>
                    <a:pt x="599516" y="0"/>
                    <a:pt x="1339057" y="0"/>
                  </a:cubicBezTo>
                  <a:cubicBezTo>
                    <a:pt x="2078598" y="0"/>
                    <a:pt x="2678114" y="599871"/>
                    <a:pt x="2678114" y="1339850"/>
                  </a:cubicBezTo>
                  <a:cubicBezTo>
                    <a:pt x="2678114" y="2079829"/>
                    <a:pt x="2078598" y="2679700"/>
                    <a:pt x="1339057" y="2679700"/>
                  </a:cubicBezTo>
                  <a:cubicBezTo>
                    <a:pt x="599516" y="2679700"/>
                    <a:pt x="0" y="2079829"/>
                    <a:pt x="0" y="1339850"/>
                  </a:cubicBezTo>
                  <a:close/>
                  <a:moveTo>
                    <a:pt x="322123" y="1339850"/>
                  </a:moveTo>
                  <a:cubicBezTo>
                    <a:pt x="322123" y="1901925"/>
                    <a:pt x="777419" y="2357577"/>
                    <a:pt x="1339056" y="2357577"/>
                  </a:cubicBezTo>
                  <a:cubicBezTo>
                    <a:pt x="1900693" y="2357577"/>
                    <a:pt x="2355989" y="1901925"/>
                    <a:pt x="2355989" y="1339850"/>
                  </a:cubicBezTo>
                  <a:cubicBezTo>
                    <a:pt x="2355989" y="777775"/>
                    <a:pt x="1900693" y="322123"/>
                    <a:pt x="1339056" y="322123"/>
                  </a:cubicBezTo>
                  <a:cubicBezTo>
                    <a:pt x="777419" y="322123"/>
                    <a:pt x="322123" y="777775"/>
                    <a:pt x="322123" y="1339850"/>
                  </a:cubicBezTo>
                  <a:close/>
                </a:path>
              </a:pathLst>
            </a:custGeom>
            <a:solidFill>
              <a:srgbClr val="F2F2F2"/>
            </a:solidFill>
            <a:ln w="9525" cap="flat" cmpd="sng">
              <a:solidFill>
                <a:srgbClr val="4A7EBB"/>
              </a:solidFill>
              <a:prstDash val="solid"/>
              <a:round/>
              <a:headEnd/>
              <a:tailEnd/>
            </a:ln>
            <a:effectLst>
              <a:outerShdw blurRad="40000" dist="23000" dir="5400000" rotWithShape="0">
                <a:srgbClr val="000000">
                  <a:alpha val="34999"/>
                </a:srgbClr>
              </a:outerShdw>
            </a:effectLst>
          </p:spPr>
          <p:txBody>
            <a:bodyPr anchor="ctr"/>
            <a:lstStyle/>
            <a:p>
              <a:pPr>
                <a:defRPr/>
              </a:pPr>
              <a:endParaRPr lang="en-US"/>
            </a:p>
          </p:txBody>
        </p:sp>
        <p:sp>
          <p:nvSpPr>
            <p:cNvPr id="9" name="Tåre 105"/>
            <p:cNvSpPr/>
            <p:nvPr/>
          </p:nvSpPr>
          <p:spPr bwMode="auto">
            <a:xfrm rot="8100000">
              <a:off x="2232986" y="2079623"/>
              <a:ext cx="1027105" cy="1032321"/>
            </a:xfrm>
            <a:prstGeom prst="teardrop">
              <a:avLst/>
            </a:prstGeom>
            <a:gradFill flip="none" rotWithShape="1">
              <a:gsLst>
                <a:gs pos="0">
                  <a:schemeClr val="bg2"/>
                </a:gs>
                <a:gs pos="86000">
                  <a:srgbClr val="F0B71F"/>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10" name="Tåre 106"/>
            <p:cNvSpPr/>
            <p:nvPr/>
          </p:nvSpPr>
          <p:spPr bwMode="auto">
            <a:xfrm rot="8100000">
              <a:off x="2297766" y="2227135"/>
              <a:ext cx="896407" cy="900958"/>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11" name="Måne 107"/>
            <p:cNvSpPr/>
            <p:nvPr/>
          </p:nvSpPr>
          <p:spPr bwMode="auto">
            <a:xfrm rot="5245033">
              <a:off x="2567542" y="1832909"/>
              <a:ext cx="357995" cy="887778"/>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nvGrpSpPr>
            <p:cNvPr id="6161" name="Gruppe 46"/>
            <p:cNvGrpSpPr>
              <a:grpSpLocks/>
            </p:cNvGrpSpPr>
            <p:nvPr/>
          </p:nvGrpSpPr>
          <p:grpSpPr bwMode="auto">
            <a:xfrm>
              <a:off x="2442360" y="2361329"/>
              <a:ext cx="699227" cy="519596"/>
              <a:chOff x="4821610" y="587829"/>
              <a:chExt cx="2393544" cy="1781593"/>
            </a:xfrm>
            <a:solidFill>
              <a:schemeClr val="bg1"/>
            </a:solidFill>
          </p:grpSpPr>
          <p:sp>
            <p:nvSpPr>
              <p:cNvPr id="6197" name="Freeform 528"/>
              <p:cNvSpPr>
                <a:spLocks/>
              </p:cNvSpPr>
              <p:nvPr/>
            </p:nvSpPr>
            <p:spPr bwMode="auto">
              <a:xfrm>
                <a:off x="4821610" y="587829"/>
                <a:ext cx="2393544" cy="1781593"/>
              </a:xfrm>
              <a:custGeom>
                <a:avLst/>
                <a:gdLst>
                  <a:gd name="T0" fmla="*/ 2147483647 w 794"/>
                  <a:gd name="T1" fmla="*/ 2147483647 h 591"/>
                  <a:gd name="T2" fmla="*/ 2147483647 w 794"/>
                  <a:gd name="T3" fmla="*/ 2147483647 h 591"/>
                  <a:gd name="T4" fmla="*/ 2147483647 w 794"/>
                  <a:gd name="T5" fmla="*/ 2147483647 h 591"/>
                  <a:gd name="T6" fmla="*/ 2147483647 w 794"/>
                  <a:gd name="T7" fmla="*/ 2147483647 h 591"/>
                  <a:gd name="T8" fmla="*/ 2147483647 w 794"/>
                  <a:gd name="T9" fmla="*/ 2147483647 h 591"/>
                  <a:gd name="T10" fmla="*/ 2147483647 w 794"/>
                  <a:gd name="T11" fmla="*/ 2147483647 h 591"/>
                  <a:gd name="T12" fmla="*/ 2147483647 w 794"/>
                  <a:gd name="T13" fmla="*/ 2147483647 h 591"/>
                  <a:gd name="T14" fmla="*/ 2147483647 w 794"/>
                  <a:gd name="T15" fmla="*/ 2147483647 h 591"/>
                  <a:gd name="T16" fmla="*/ 2147483647 w 794"/>
                  <a:gd name="T17" fmla="*/ 2147483647 h 591"/>
                  <a:gd name="T18" fmla="*/ 2147483647 w 794"/>
                  <a:gd name="T19" fmla="*/ 2147483647 h 591"/>
                  <a:gd name="T20" fmla="*/ 2147483647 w 794"/>
                  <a:gd name="T21" fmla="*/ 2147483647 h 591"/>
                  <a:gd name="T22" fmla="*/ 2147483647 w 794"/>
                  <a:gd name="T23" fmla="*/ 2147483647 h 591"/>
                  <a:gd name="T24" fmla="*/ 2147483647 w 794"/>
                  <a:gd name="T25" fmla="*/ 2147483647 h 591"/>
                  <a:gd name="T26" fmla="*/ 2147483647 w 794"/>
                  <a:gd name="T27" fmla="*/ 2147483647 h 591"/>
                  <a:gd name="T28" fmla="*/ 2147483647 w 794"/>
                  <a:gd name="T29" fmla="*/ 2147483647 h 591"/>
                  <a:gd name="T30" fmla="*/ 2147483647 w 794"/>
                  <a:gd name="T31" fmla="*/ 2147483647 h 591"/>
                  <a:gd name="T32" fmla="*/ 2147483647 w 794"/>
                  <a:gd name="T33" fmla="*/ 2147483647 h 591"/>
                  <a:gd name="T34" fmla="*/ 2147483647 w 794"/>
                  <a:gd name="T35" fmla="*/ 2147483647 h 591"/>
                  <a:gd name="T36" fmla="*/ 2147483647 w 794"/>
                  <a:gd name="T37" fmla="*/ 2147483647 h 591"/>
                  <a:gd name="T38" fmla="*/ 2147483647 w 794"/>
                  <a:gd name="T39" fmla="*/ 2147483647 h 591"/>
                  <a:gd name="T40" fmla="*/ 2147483647 w 794"/>
                  <a:gd name="T41" fmla="*/ 2147483647 h 591"/>
                  <a:gd name="T42" fmla="*/ 2147483647 w 794"/>
                  <a:gd name="T43" fmla="*/ 0 h 591"/>
                  <a:gd name="T44" fmla="*/ 2147483647 w 794"/>
                  <a:gd name="T45" fmla="*/ 2147483647 h 591"/>
                  <a:gd name="T46" fmla="*/ 2147483647 w 794"/>
                  <a:gd name="T47" fmla="*/ 2147483647 h 591"/>
                  <a:gd name="T48" fmla="*/ 2147483647 w 794"/>
                  <a:gd name="T49" fmla="*/ 2147483647 h 591"/>
                  <a:gd name="T50" fmla="*/ 2147483647 w 794"/>
                  <a:gd name="T51" fmla="*/ 2147483647 h 591"/>
                  <a:gd name="T52" fmla="*/ 2147483647 w 794"/>
                  <a:gd name="T53" fmla="*/ 2147483647 h 591"/>
                  <a:gd name="T54" fmla="*/ 0 w 794"/>
                  <a:gd name="T55" fmla="*/ 2147483647 h 591"/>
                  <a:gd name="T56" fmla="*/ 2147483647 w 794"/>
                  <a:gd name="T57" fmla="*/ 2147483647 h 591"/>
                  <a:gd name="T58" fmla="*/ 2147483647 w 794"/>
                  <a:gd name="T59" fmla="*/ 2147483647 h 591"/>
                  <a:gd name="T60" fmla="*/ 2147483647 w 794"/>
                  <a:gd name="T61" fmla="*/ 2147483647 h 591"/>
                  <a:gd name="T62" fmla="*/ 2147483647 w 794"/>
                  <a:gd name="T63" fmla="*/ 2147483647 h 591"/>
                  <a:gd name="T64" fmla="*/ 2147483647 w 794"/>
                  <a:gd name="T65" fmla="*/ 2147483647 h 591"/>
                  <a:gd name="T66" fmla="*/ 2147483647 w 794"/>
                  <a:gd name="T67" fmla="*/ 2147483647 h 591"/>
                  <a:gd name="T68" fmla="*/ 2147483647 w 794"/>
                  <a:gd name="T69" fmla="*/ 2147483647 h 591"/>
                  <a:gd name="T70" fmla="*/ 2147483647 w 794"/>
                  <a:gd name="T71" fmla="*/ 2147483647 h 591"/>
                  <a:gd name="T72" fmla="*/ 2147483647 w 794"/>
                  <a:gd name="T73" fmla="*/ 2147483647 h 591"/>
                  <a:gd name="T74" fmla="*/ 2147483647 w 794"/>
                  <a:gd name="T75" fmla="*/ 2147483647 h 591"/>
                  <a:gd name="T76" fmla="*/ 2147483647 w 794"/>
                  <a:gd name="T77" fmla="*/ 2147483647 h 591"/>
                  <a:gd name="T78" fmla="*/ 2147483647 w 794"/>
                  <a:gd name="T79" fmla="*/ 2147483647 h 591"/>
                  <a:gd name="T80" fmla="*/ 2147483647 w 794"/>
                  <a:gd name="T81" fmla="*/ 2147483647 h 591"/>
                  <a:gd name="T82" fmla="*/ 2147483647 w 794"/>
                  <a:gd name="T83" fmla="*/ 2147483647 h 591"/>
                  <a:gd name="T84" fmla="*/ 2147483647 w 794"/>
                  <a:gd name="T85" fmla="*/ 2147483647 h 591"/>
                  <a:gd name="T86" fmla="*/ 2147483647 w 794"/>
                  <a:gd name="T87" fmla="*/ 2147483647 h 591"/>
                  <a:gd name="T88" fmla="*/ 2147483647 w 794"/>
                  <a:gd name="T89" fmla="*/ 2147483647 h 591"/>
                  <a:gd name="T90" fmla="*/ 2147483647 w 794"/>
                  <a:gd name="T91" fmla="*/ 2147483647 h 591"/>
                  <a:gd name="T92" fmla="*/ 2147483647 w 794"/>
                  <a:gd name="T93" fmla="*/ 2147483647 h 591"/>
                  <a:gd name="T94" fmla="*/ 2147483647 w 794"/>
                  <a:gd name="T95" fmla="*/ 2147483647 h 591"/>
                  <a:gd name="T96" fmla="*/ 2147483647 w 794"/>
                  <a:gd name="T97" fmla="*/ 2147483647 h 591"/>
                  <a:gd name="T98" fmla="*/ 2147483647 w 794"/>
                  <a:gd name="T99" fmla="*/ 2147483647 h 591"/>
                  <a:gd name="T100" fmla="*/ 2147483647 w 794"/>
                  <a:gd name="T101" fmla="*/ 2147483647 h 5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94"/>
                  <a:gd name="T154" fmla="*/ 0 h 591"/>
                  <a:gd name="T155" fmla="*/ 794 w 794"/>
                  <a:gd name="T156" fmla="*/ 591 h 5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94" h="591">
                    <a:moveTo>
                      <a:pt x="783" y="463"/>
                    </a:moveTo>
                    <a:lnTo>
                      <a:pt x="771" y="468"/>
                    </a:lnTo>
                    <a:lnTo>
                      <a:pt x="757" y="474"/>
                    </a:lnTo>
                    <a:lnTo>
                      <a:pt x="742" y="480"/>
                    </a:lnTo>
                    <a:lnTo>
                      <a:pt x="719" y="486"/>
                    </a:lnTo>
                    <a:lnTo>
                      <a:pt x="704" y="486"/>
                    </a:lnTo>
                    <a:lnTo>
                      <a:pt x="698" y="486"/>
                    </a:lnTo>
                    <a:lnTo>
                      <a:pt x="687" y="480"/>
                    </a:lnTo>
                    <a:lnTo>
                      <a:pt x="675" y="480"/>
                    </a:lnTo>
                    <a:lnTo>
                      <a:pt x="660" y="480"/>
                    </a:lnTo>
                    <a:lnTo>
                      <a:pt x="655" y="486"/>
                    </a:lnTo>
                    <a:lnTo>
                      <a:pt x="617" y="474"/>
                    </a:lnTo>
                    <a:lnTo>
                      <a:pt x="620" y="428"/>
                    </a:lnTo>
                    <a:lnTo>
                      <a:pt x="570" y="404"/>
                    </a:lnTo>
                    <a:lnTo>
                      <a:pt x="556" y="404"/>
                    </a:lnTo>
                    <a:lnTo>
                      <a:pt x="521" y="387"/>
                    </a:lnTo>
                    <a:lnTo>
                      <a:pt x="480" y="375"/>
                    </a:lnTo>
                    <a:lnTo>
                      <a:pt x="474" y="369"/>
                    </a:lnTo>
                    <a:lnTo>
                      <a:pt x="460" y="361"/>
                    </a:lnTo>
                    <a:lnTo>
                      <a:pt x="445" y="364"/>
                    </a:lnTo>
                    <a:lnTo>
                      <a:pt x="419" y="340"/>
                    </a:lnTo>
                    <a:lnTo>
                      <a:pt x="401" y="335"/>
                    </a:lnTo>
                    <a:lnTo>
                      <a:pt x="375" y="329"/>
                    </a:lnTo>
                    <a:lnTo>
                      <a:pt x="320" y="332"/>
                    </a:lnTo>
                    <a:lnTo>
                      <a:pt x="326" y="311"/>
                    </a:lnTo>
                    <a:lnTo>
                      <a:pt x="305" y="303"/>
                    </a:lnTo>
                    <a:lnTo>
                      <a:pt x="265" y="308"/>
                    </a:lnTo>
                    <a:lnTo>
                      <a:pt x="285" y="288"/>
                    </a:lnTo>
                    <a:lnTo>
                      <a:pt x="297" y="282"/>
                    </a:lnTo>
                    <a:lnTo>
                      <a:pt x="308" y="271"/>
                    </a:lnTo>
                    <a:lnTo>
                      <a:pt x="314" y="262"/>
                    </a:lnTo>
                    <a:lnTo>
                      <a:pt x="352" y="241"/>
                    </a:lnTo>
                    <a:lnTo>
                      <a:pt x="381" y="256"/>
                    </a:lnTo>
                    <a:lnTo>
                      <a:pt x="407" y="271"/>
                    </a:lnTo>
                    <a:lnTo>
                      <a:pt x="451" y="294"/>
                    </a:lnTo>
                    <a:lnTo>
                      <a:pt x="465" y="294"/>
                    </a:lnTo>
                    <a:lnTo>
                      <a:pt x="477" y="291"/>
                    </a:lnTo>
                    <a:lnTo>
                      <a:pt x="483" y="285"/>
                    </a:lnTo>
                    <a:lnTo>
                      <a:pt x="506" y="262"/>
                    </a:lnTo>
                    <a:lnTo>
                      <a:pt x="532" y="239"/>
                    </a:lnTo>
                    <a:lnTo>
                      <a:pt x="564" y="212"/>
                    </a:lnTo>
                    <a:lnTo>
                      <a:pt x="562" y="198"/>
                    </a:lnTo>
                    <a:lnTo>
                      <a:pt x="564" y="189"/>
                    </a:lnTo>
                    <a:lnTo>
                      <a:pt x="579" y="166"/>
                    </a:lnTo>
                    <a:lnTo>
                      <a:pt x="588" y="157"/>
                    </a:lnTo>
                    <a:lnTo>
                      <a:pt x="596" y="148"/>
                    </a:lnTo>
                    <a:lnTo>
                      <a:pt x="602" y="137"/>
                    </a:lnTo>
                    <a:lnTo>
                      <a:pt x="605" y="113"/>
                    </a:lnTo>
                    <a:lnTo>
                      <a:pt x="596" y="105"/>
                    </a:lnTo>
                    <a:lnTo>
                      <a:pt x="559" y="105"/>
                    </a:lnTo>
                    <a:lnTo>
                      <a:pt x="556" y="111"/>
                    </a:lnTo>
                    <a:lnTo>
                      <a:pt x="541" y="122"/>
                    </a:lnTo>
                    <a:lnTo>
                      <a:pt x="541" y="128"/>
                    </a:lnTo>
                    <a:lnTo>
                      <a:pt x="541" y="134"/>
                    </a:lnTo>
                    <a:lnTo>
                      <a:pt x="541" y="137"/>
                    </a:lnTo>
                    <a:lnTo>
                      <a:pt x="544" y="148"/>
                    </a:lnTo>
                    <a:lnTo>
                      <a:pt x="541" y="157"/>
                    </a:lnTo>
                    <a:lnTo>
                      <a:pt x="535" y="169"/>
                    </a:lnTo>
                    <a:lnTo>
                      <a:pt x="509" y="198"/>
                    </a:lnTo>
                    <a:lnTo>
                      <a:pt x="486" y="209"/>
                    </a:lnTo>
                    <a:lnTo>
                      <a:pt x="465" y="227"/>
                    </a:lnTo>
                    <a:lnTo>
                      <a:pt x="457" y="233"/>
                    </a:lnTo>
                    <a:lnTo>
                      <a:pt x="451" y="230"/>
                    </a:lnTo>
                    <a:lnTo>
                      <a:pt x="448" y="224"/>
                    </a:lnTo>
                    <a:lnTo>
                      <a:pt x="422" y="207"/>
                    </a:lnTo>
                    <a:lnTo>
                      <a:pt x="407" y="186"/>
                    </a:lnTo>
                    <a:lnTo>
                      <a:pt x="416" y="160"/>
                    </a:lnTo>
                    <a:lnTo>
                      <a:pt x="410" y="145"/>
                    </a:lnTo>
                    <a:lnTo>
                      <a:pt x="399" y="140"/>
                    </a:lnTo>
                    <a:lnTo>
                      <a:pt x="407" y="137"/>
                    </a:lnTo>
                    <a:lnTo>
                      <a:pt x="413" y="131"/>
                    </a:lnTo>
                    <a:lnTo>
                      <a:pt x="413" y="111"/>
                    </a:lnTo>
                    <a:lnTo>
                      <a:pt x="419" y="96"/>
                    </a:lnTo>
                    <a:lnTo>
                      <a:pt x="422" y="96"/>
                    </a:lnTo>
                    <a:lnTo>
                      <a:pt x="425" y="93"/>
                    </a:lnTo>
                    <a:lnTo>
                      <a:pt x="428" y="90"/>
                    </a:lnTo>
                    <a:lnTo>
                      <a:pt x="422" y="76"/>
                    </a:lnTo>
                    <a:lnTo>
                      <a:pt x="425" y="55"/>
                    </a:lnTo>
                    <a:lnTo>
                      <a:pt x="422" y="44"/>
                    </a:lnTo>
                    <a:lnTo>
                      <a:pt x="428" y="44"/>
                    </a:lnTo>
                    <a:lnTo>
                      <a:pt x="431" y="41"/>
                    </a:lnTo>
                    <a:lnTo>
                      <a:pt x="433" y="35"/>
                    </a:lnTo>
                    <a:lnTo>
                      <a:pt x="431" y="32"/>
                    </a:lnTo>
                    <a:lnTo>
                      <a:pt x="422" y="26"/>
                    </a:lnTo>
                    <a:lnTo>
                      <a:pt x="416" y="20"/>
                    </a:lnTo>
                    <a:lnTo>
                      <a:pt x="407" y="12"/>
                    </a:lnTo>
                    <a:lnTo>
                      <a:pt x="399" y="9"/>
                    </a:lnTo>
                    <a:lnTo>
                      <a:pt x="390" y="6"/>
                    </a:lnTo>
                    <a:lnTo>
                      <a:pt x="378" y="3"/>
                    </a:lnTo>
                    <a:lnTo>
                      <a:pt x="367" y="0"/>
                    </a:lnTo>
                    <a:lnTo>
                      <a:pt x="358" y="0"/>
                    </a:lnTo>
                    <a:lnTo>
                      <a:pt x="343" y="6"/>
                    </a:lnTo>
                    <a:lnTo>
                      <a:pt x="334" y="9"/>
                    </a:lnTo>
                    <a:lnTo>
                      <a:pt x="329" y="15"/>
                    </a:lnTo>
                    <a:lnTo>
                      <a:pt x="317" y="26"/>
                    </a:lnTo>
                    <a:lnTo>
                      <a:pt x="311" y="41"/>
                    </a:lnTo>
                    <a:lnTo>
                      <a:pt x="308" y="55"/>
                    </a:lnTo>
                    <a:lnTo>
                      <a:pt x="305" y="76"/>
                    </a:lnTo>
                    <a:lnTo>
                      <a:pt x="282" y="55"/>
                    </a:lnTo>
                    <a:lnTo>
                      <a:pt x="273" y="49"/>
                    </a:lnTo>
                    <a:lnTo>
                      <a:pt x="265" y="47"/>
                    </a:lnTo>
                    <a:lnTo>
                      <a:pt x="253" y="47"/>
                    </a:lnTo>
                    <a:lnTo>
                      <a:pt x="244" y="49"/>
                    </a:lnTo>
                    <a:lnTo>
                      <a:pt x="230" y="55"/>
                    </a:lnTo>
                    <a:lnTo>
                      <a:pt x="224" y="58"/>
                    </a:lnTo>
                    <a:lnTo>
                      <a:pt x="206" y="67"/>
                    </a:lnTo>
                    <a:lnTo>
                      <a:pt x="174" y="67"/>
                    </a:lnTo>
                    <a:lnTo>
                      <a:pt x="142" y="76"/>
                    </a:lnTo>
                    <a:lnTo>
                      <a:pt x="122" y="79"/>
                    </a:lnTo>
                    <a:lnTo>
                      <a:pt x="105" y="81"/>
                    </a:lnTo>
                    <a:lnTo>
                      <a:pt x="93" y="87"/>
                    </a:lnTo>
                    <a:lnTo>
                      <a:pt x="84" y="96"/>
                    </a:lnTo>
                    <a:lnTo>
                      <a:pt x="17" y="201"/>
                    </a:lnTo>
                    <a:lnTo>
                      <a:pt x="17" y="207"/>
                    </a:lnTo>
                    <a:lnTo>
                      <a:pt x="6" y="207"/>
                    </a:lnTo>
                    <a:lnTo>
                      <a:pt x="0" y="224"/>
                    </a:lnTo>
                    <a:lnTo>
                      <a:pt x="6" y="233"/>
                    </a:lnTo>
                    <a:lnTo>
                      <a:pt x="11" y="236"/>
                    </a:lnTo>
                    <a:lnTo>
                      <a:pt x="14" y="241"/>
                    </a:lnTo>
                    <a:lnTo>
                      <a:pt x="29" y="244"/>
                    </a:lnTo>
                    <a:lnTo>
                      <a:pt x="43" y="247"/>
                    </a:lnTo>
                    <a:lnTo>
                      <a:pt x="49" y="239"/>
                    </a:lnTo>
                    <a:lnTo>
                      <a:pt x="52" y="233"/>
                    </a:lnTo>
                    <a:lnTo>
                      <a:pt x="55" y="221"/>
                    </a:lnTo>
                    <a:lnTo>
                      <a:pt x="70" y="207"/>
                    </a:lnTo>
                    <a:lnTo>
                      <a:pt x="73" y="198"/>
                    </a:lnTo>
                    <a:lnTo>
                      <a:pt x="93" y="175"/>
                    </a:lnTo>
                    <a:lnTo>
                      <a:pt x="96" y="166"/>
                    </a:lnTo>
                    <a:lnTo>
                      <a:pt x="105" y="166"/>
                    </a:lnTo>
                    <a:lnTo>
                      <a:pt x="134" y="143"/>
                    </a:lnTo>
                    <a:lnTo>
                      <a:pt x="160" y="140"/>
                    </a:lnTo>
                    <a:lnTo>
                      <a:pt x="183" y="134"/>
                    </a:lnTo>
                    <a:lnTo>
                      <a:pt x="183" y="140"/>
                    </a:lnTo>
                    <a:lnTo>
                      <a:pt x="139" y="215"/>
                    </a:lnTo>
                    <a:lnTo>
                      <a:pt x="131" y="221"/>
                    </a:lnTo>
                    <a:lnTo>
                      <a:pt x="128" y="227"/>
                    </a:lnTo>
                    <a:lnTo>
                      <a:pt x="128" y="241"/>
                    </a:lnTo>
                    <a:lnTo>
                      <a:pt x="116" y="244"/>
                    </a:lnTo>
                    <a:lnTo>
                      <a:pt x="110" y="253"/>
                    </a:lnTo>
                    <a:lnTo>
                      <a:pt x="73" y="291"/>
                    </a:lnTo>
                    <a:lnTo>
                      <a:pt x="73" y="303"/>
                    </a:lnTo>
                    <a:lnTo>
                      <a:pt x="78" y="317"/>
                    </a:lnTo>
                    <a:lnTo>
                      <a:pt x="84" y="337"/>
                    </a:lnTo>
                    <a:lnTo>
                      <a:pt x="87" y="361"/>
                    </a:lnTo>
                    <a:lnTo>
                      <a:pt x="90" y="364"/>
                    </a:lnTo>
                    <a:lnTo>
                      <a:pt x="93" y="375"/>
                    </a:lnTo>
                    <a:lnTo>
                      <a:pt x="99" y="390"/>
                    </a:lnTo>
                    <a:lnTo>
                      <a:pt x="105" y="399"/>
                    </a:lnTo>
                    <a:lnTo>
                      <a:pt x="113" y="410"/>
                    </a:lnTo>
                    <a:lnTo>
                      <a:pt x="128" y="422"/>
                    </a:lnTo>
                    <a:lnTo>
                      <a:pt x="134" y="428"/>
                    </a:lnTo>
                    <a:lnTo>
                      <a:pt x="137" y="436"/>
                    </a:lnTo>
                    <a:lnTo>
                      <a:pt x="125" y="433"/>
                    </a:lnTo>
                    <a:lnTo>
                      <a:pt x="113" y="436"/>
                    </a:lnTo>
                    <a:lnTo>
                      <a:pt x="102" y="442"/>
                    </a:lnTo>
                    <a:lnTo>
                      <a:pt x="96" y="433"/>
                    </a:lnTo>
                    <a:lnTo>
                      <a:pt x="90" y="428"/>
                    </a:lnTo>
                    <a:lnTo>
                      <a:pt x="84" y="425"/>
                    </a:lnTo>
                    <a:lnTo>
                      <a:pt x="78" y="425"/>
                    </a:lnTo>
                    <a:lnTo>
                      <a:pt x="73" y="428"/>
                    </a:lnTo>
                    <a:lnTo>
                      <a:pt x="64" y="431"/>
                    </a:lnTo>
                    <a:lnTo>
                      <a:pt x="64" y="436"/>
                    </a:lnTo>
                    <a:lnTo>
                      <a:pt x="43" y="463"/>
                    </a:lnTo>
                    <a:lnTo>
                      <a:pt x="55" y="468"/>
                    </a:lnTo>
                    <a:lnTo>
                      <a:pt x="38" y="480"/>
                    </a:lnTo>
                    <a:lnTo>
                      <a:pt x="26" y="492"/>
                    </a:lnTo>
                    <a:lnTo>
                      <a:pt x="17" y="506"/>
                    </a:lnTo>
                    <a:lnTo>
                      <a:pt x="11" y="521"/>
                    </a:lnTo>
                    <a:lnTo>
                      <a:pt x="8" y="535"/>
                    </a:lnTo>
                    <a:lnTo>
                      <a:pt x="8" y="556"/>
                    </a:lnTo>
                    <a:lnTo>
                      <a:pt x="8" y="564"/>
                    </a:lnTo>
                    <a:lnTo>
                      <a:pt x="38" y="561"/>
                    </a:lnTo>
                    <a:lnTo>
                      <a:pt x="43" y="550"/>
                    </a:lnTo>
                    <a:lnTo>
                      <a:pt x="55" y="538"/>
                    </a:lnTo>
                    <a:lnTo>
                      <a:pt x="67" y="529"/>
                    </a:lnTo>
                    <a:lnTo>
                      <a:pt x="81" y="524"/>
                    </a:lnTo>
                    <a:lnTo>
                      <a:pt x="105" y="515"/>
                    </a:lnTo>
                    <a:lnTo>
                      <a:pt x="116" y="512"/>
                    </a:lnTo>
                    <a:lnTo>
                      <a:pt x="119" y="529"/>
                    </a:lnTo>
                    <a:lnTo>
                      <a:pt x="163" y="512"/>
                    </a:lnTo>
                    <a:lnTo>
                      <a:pt x="206" y="506"/>
                    </a:lnTo>
                    <a:lnTo>
                      <a:pt x="215" y="503"/>
                    </a:lnTo>
                    <a:lnTo>
                      <a:pt x="241" y="500"/>
                    </a:lnTo>
                    <a:lnTo>
                      <a:pt x="250" y="495"/>
                    </a:lnTo>
                    <a:lnTo>
                      <a:pt x="262" y="492"/>
                    </a:lnTo>
                    <a:lnTo>
                      <a:pt x="273" y="492"/>
                    </a:lnTo>
                    <a:lnTo>
                      <a:pt x="282" y="492"/>
                    </a:lnTo>
                    <a:lnTo>
                      <a:pt x="291" y="489"/>
                    </a:lnTo>
                    <a:lnTo>
                      <a:pt x="305" y="480"/>
                    </a:lnTo>
                    <a:lnTo>
                      <a:pt x="320" y="468"/>
                    </a:lnTo>
                    <a:lnTo>
                      <a:pt x="329" y="468"/>
                    </a:lnTo>
                    <a:lnTo>
                      <a:pt x="334" y="463"/>
                    </a:lnTo>
                    <a:lnTo>
                      <a:pt x="337" y="457"/>
                    </a:lnTo>
                    <a:lnTo>
                      <a:pt x="340" y="448"/>
                    </a:lnTo>
                    <a:lnTo>
                      <a:pt x="340" y="439"/>
                    </a:lnTo>
                    <a:lnTo>
                      <a:pt x="340" y="428"/>
                    </a:lnTo>
                    <a:lnTo>
                      <a:pt x="372" y="413"/>
                    </a:lnTo>
                    <a:lnTo>
                      <a:pt x="407" y="419"/>
                    </a:lnTo>
                    <a:lnTo>
                      <a:pt x="416" y="436"/>
                    </a:lnTo>
                    <a:lnTo>
                      <a:pt x="431" y="448"/>
                    </a:lnTo>
                    <a:lnTo>
                      <a:pt x="486" y="474"/>
                    </a:lnTo>
                    <a:lnTo>
                      <a:pt x="512" y="486"/>
                    </a:lnTo>
                    <a:lnTo>
                      <a:pt x="541" y="500"/>
                    </a:lnTo>
                    <a:lnTo>
                      <a:pt x="564" y="515"/>
                    </a:lnTo>
                    <a:lnTo>
                      <a:pt x="576" y="515"/>
                    </a:lnTo>
                    <a:lnTo>
                      <a:pt x="591" y="532"/>
                    </a:lnTo>
                    <a:lnTo>
                      <a:pt x="605" y="538"/>
                    </a:lnTo>
                    <a:lnTo>
                      <a:pt x="608" y="553"/>
                    </a:lnTo>
                    <a:lnTo>
                      <a:pt x="617" y="567"/>
                    </a:lnTo>
                    <a:lnTo>
                      <a:pt x="628" y="588"/>
                    </a:lnTo>
                    <a:lnTo>
                      <a:pt x="634" y="591"/>
                    </a:lnTo>
                    <a:lnTo>
                      <a:pt x="640" y="591"/>
                    </a:lnTo>
                    <a:lnTo>
                      <a:pt x="643" y="588"/>
                    </a:lnTo>
                    <a:lnTo>
                      <a:pt x="684" y="564"/>
                    </a:lnTo>
                    <a:lnTo>
                      <a:pt x="681" y="553"/>
                    </a:lnTo>
                    <a:lnTo>
                      <a:pt x="707" y="544"/>
                    </a:lnTo>
                    <a:lnTo>
                      <a:pt x="727" y="538"/>
                    </a:lnTo>
                    <a:lnTo>
                      <a:pt x="745" y="529"/>
                    </a:lnTo>
                    <a:lnTo>
                      <a:pt x="759" y="515"/>
                    </a:lnTo>
                    <a:lnTo>
                      <a:pt x="771" y="503"/>
                    </a:lnTo>
                    <a:lnTo>
                      <a:pt x="789" y="480"/>
                    </a:lnTo>
                    <a:lnTo>
                      <a:pt x="794" y="471"/>
                    </a:lnTo>
                    <a:lnTo>
                      <a:pt x="783" y="4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p>
            </p:txBody>
          </p:sp>
          <p:sp>
            <p:nvSpPr>
              <p:cNvPr id="14" name="Freeform 590"/>
              <p:cNvSpPr>
                <a:spLocks/>
              </p:cNvSpPr>
              <p:nvPr/>
            </p:nvSpPr>
            <p:spPr bwMode="auto">
              <a:xfrm>
                <a:off x="5451757" y="939056"/>
                <a:ext cx="421794" cy="111986"/>
              </a:xfrm>
              <a:custGeom>
                <a:avLst/>
                <a:gdLst/>
                <a:ahLst/>
                <a:cxnLst>
                  <a:cxn ang="0">
                    <a:pos x="0" y="15"/>
                  </a:cxn>
                  <a:cxn ang="0">
                    <a:pos x="0" y="15"/>
                  </a:cxn>
                  <a:cxn ang="0">
                    <a:pos x="15" y="12"/>
                  </a:cxn>
                  <a:cxn ang="0">
                    <a:pos x="29" y="3"/>
                  </a:cxn>
                  <a:cxn ang="0">
                    <a:pos x="29" y="3"/>
                  </a:cxn>
                  <a:cxn ang="0">
                    <a:pos x="35" y="0"/>
                  </a:cxn>
                  <a:cxn ang="0">
                    <a:pos x="41" y="3"/>
                  </a:cxn>
                  <a:cxn ang="0">
                    <a:pos x="50" y="12"/>
                  </a:cxn>
                  <a:cxn ang="0">
                    <a:pos x="50" y="12"/>
                  </a:cxn>
                  <a:cxn ang="0">
                    <a:pos x="61" y="15"/>
                  </a:cxn>
                  <a:cxn ang="0">
                    <a:pos x="76" y="18"/>
                  </a:cxn>
                  <a:cxn ang="0">
                    <a:pos x="102" y="15"/>
                  </a:cxn>
                  <a:cxn ang="0">
                    <a:pos x="102" y="15"/>
                  </a:cxn>
                  <a:cxn ang="0">
                    <a:pos x="114" y="15"/>
                  </a:cxn>
                  <a:cxn ang="0">
                    <a:pos x="125" y="18"/>
                  </a:cxn>
                  <a:cxn ang="0">
                    <a:pos x="125" y="18"/>
                  </a:cxn>
                  <a:cxn ang="0">
                    <a:pos x="140" y="21"/>
                  </a:cxn>
                  <a:cxn ang="0">
                    <a:pos x="140" y="21"/>
                  </a:cxn>
                  <a:cxn ang="0">
                    <a:pos x="134" y="27"/>
                  </a:cxn>
                  <a:cxn ang="0">
                    <a:pos x="128" y="29"/>
                  </a:cxn>
                  <a:cxn ang="0">
                    <a:pos x="128" y="29"/>
                  </a:cxn>
                  <a:cxn ang="0">
                    <a:pos x="120" y="29"/>
                  </a:cxn>
                  <a:cxn ang="0">
                    <a:pos x="111" y="29"/>
                  </a:cxn>
                  <a:cxn ang="0">
                    <a:pos x="111" y="29"/>
                  </a:cxn>
                  <a:cxn ang="0">
                    <a:pos x="96" y="29"/>
                  </a:cxn>
                  <a:cxn ang="0">
                    <a:pos x="79" y="32"/>
                  </a:cxn>
                  <a:cxn ang="0">
                    <a:pos x="79" y="32"/>
                  </a:cxn>
                  <a:cxn ang="0">
                    <a:pos x="56" y="38"/>
                  </a:cxn>
                  <a:cxn ang="0">
                    <a:pos x="44" y="38"/>
                  </a:cxn>
                  <a:cxn ang="0">
                    <a:pos x="32" y="35"/>
                  </a:cxn>
                  <a:cxn ang="0">
                    <a:pos x="32" y="35"/>
                  </a:cxn>
                  <a:cxn ang="0">
                    <a:pos x="21" y="29"/>
                  </a:cxn>
                  <a:cxn ang="0">
                    <a:pos x="12" y="24"/>
                  </a:cxn>
                  <a:cxn ang="0">
                    <a:pos x="0" y="15"/>
                  </a:cxn>
                </a:cxnLst>
                <a:rect l="0" t="0" r="r" b="b"/>
                <a:pathLst>
                  <a:path w="140" h="38">
                    <a:moveTo>
                      <a:pt x="0" y="15"/>
                    </a:moveTo>
                    <a:lnTo>
                      <a:pt x="0" y="15"/>
                    </a:lnTo>
                    <a:lnTo>
                      <a:pt x="15" y="12"/>
                    </a:lnTo>
                    <a:lnTo>
                      <a:pt x="29" y="3"/>
                    </a:lnTo>
                    <a:lnTo>
                      <a:pt x="29" y="3"/>
                    </a:lnTo>
                    <a:lnTo>
                      <a:pt x="35" y="0"/>
                    </a:lnTo>
                    <a:lnTo>
                      <a:pt x="41" y="3"/>
                    </a:lnTo>
                    <a:lnTo>
                      <a:pt x="50" y="12"/>
                    </a:lnTo>
                    <a:lnTo>
                      <a:pt x="50" y="12"/>
                    </a:lnTo>
                    <a:lnTo>
                      <a:pt x="61" y="15"/>
                    </a:lnTo>
                    <a:lnTo>
                      <a:pt x="76" y="18"/>
                    </a:lnTo>
                    <a:lnTo>
                      <a:pt x="102" y="15"/>
                    </a:lnTo>
                    <a:lnTo>
                      <a:pt x="102" y="15"/>
                    </a:lnTo>
                    <a:lnTo>
                      <a:pt x="114" y="15"/>
                    </a:lnTo>
                    <a:lnTo>
                      <a:pt x="125" y="18"/>
                    </a:lnTo>
                    <a:lnTo>
                      <a:pt x="125" y="18"/>
                    </a:lnTo>
                    <a:lnTo>
                      <a:pt x="140" y="21"/>
                    </a:lnTo>
                    <a:lnTo>
                      <a:pt x="140" y="21"/>
                    </a:lnTo>
                    <a:lnTo>
                      <a:pt x="134" y="27"/>
                    </a:lnTo>
                    <a:lnTo>
                      <a:pt x="128" y="29"/>
                    </a:lnTo>
                    <a:lnTo>
                      <a:pt x="128" y="29"/>
                    </a:lnTo>
                    <a:lnTo>
                      <a:pt x="120" y="29"/>
                    </a:lnTo>
                    <a:lnTo>
                      <a:pt x="111" y="29"/>
                    </a:lnTo>
                    <a:lnTo>
                      <a:pt x="111" y="29"/>
                    </a:lnTo>
                    <a:lnTo>
                      <a:pt x="96" y="29"/>
                    </a:lnTo>
                    <a:lnTo>
                      <a:pt x="79" y="32"/>
                    </a:lnTo>
                    <a:lnTo>
                      <a:pt x="79" y="32"/>
                    </a:lnTo>
                    <a:lnTo>
                      <a:pt x="56" y="38"/>
                    </a:lnTo>
                    <a:lnTo>
                      <a:pt x="44" y="38"/>
                    </a:lnTo>
                    <a:lnTo>
                      <a:pt x="32" y="35"/>
                    </a:lnTo>
                    <a:lnTo>
                      <a:pt x="32" y="35"/>
                    </a:lnTo>
                    <a:lnTo>
                      <a:pt x="21" y="29"/>
                    </a:lnTo>
                    <a:lnTo>
                      <a:pt x="12" y="24"/>
                    </a:lnTo>
                    <a:lnTo>
                      <a:pt x="0" y="15"/>
                    </a:lnTo>
                    <a:close/>
                  </a:path>
                </a:pathLst>
              </a:custGeom>
              <a:grpFill/>
              <a:ln w="9525">
                <a:noFill/>
                <a:round/>
                <a:headEnd/>
                <a:tailEnd/>
              </a:ln>
            </p:spPr>
            <p:txBody>
              <a:bodyPr/>
              <a:lstStyle/>
              <a:p>
                <a:pPr fontAlgn="auto">
                  <a:spcBef>
                    <a:spcPts val="0"/>
                  </a:spcBef>
                  <a:spcAft>
                    <a:spcPts val="0"/>
                  </a:spcAft>
                  <a:defRPr/>
                </a:pPr>
                <a:endParaRPr lang="nb-NO">
                  <a:latin typeface="Calibri" charset="0"/>
                  <a:ea typeface="+mn-ea"/>
                </a:endParaRPr>
              </a:p>
            </p:txBody>
          </p:sp>
          <p:sp>
            <p:nvSpPr>
              <p:cNvPr id="15" name="Freeform 591"/>
              <p:cNvSpPr>
                <a:spLocks noEditPoints="1"/>
              </p:cNvSpPr>
              <p:nvPr/>
            </p:nvSpPr>
            <p:spPr bwMode="auto">
              <a:xfrm>
                <a:off x="5690605" y="877973"/>
                <a:ext cx="299826" cy="341049"/>
              </a:xfrm>
              <a:custGeom>
                <a:avLst/>
                <a:gdLst>
                  <a:gd name="T0" fmla="*/ 2147483647 w 99"/>
                  <a:gd name="T1" fmla="*/ 2147483647 h 113"/>
                  <a:gd name="T2" fmla="*/ 2147483647 w 99"/>
                  <a:gd name="T3" fmla="*/ 2147483647 h 113"/>
                  <a:gd name="T4" fmla="*/ 2147483647 w 99"/>
                  <a:gd name="T5" fmla="*/ 2147483647 h 113"/>
                  <a:gd name="T6" fmla="*/ 2147483647 w 99"/>
                  <a:gd name="T7" fmla="*/ 0 h 113"/>
                  <a:gd name="T8" fmla="*/ 2147483647 w 99"/>
                  <a:gd name="T9" fmla="*/ 2147483647 h 113"/>
                  <a:gd name="T10" fmla="*/ 2147483647 w 99"/>
                  <a:gd name="T11" fmla="*/ 2147483647 h 113"/>
                  <a:gd name="T12" fmla="*/ 2147483647 w 99"/>
                  <a:gd name="T13" fmla="*/ 2147483647 h 113"/>
                  <a:gd name="T14" fmla="*/ 2147483647 w 99"/>
                  <a:gd name="T15" fmla="*/ 2147483647 h 113"/>
                  <a:gd name="T16" fmla="*/ 0 w 99"/>
                  <a:gd name="T17" fmla="*/ 2147483647 h 113"/>
                  <a:gd name="T18" fmla="*/ 2147483647 w 99"/>
                  <a:gd name="T19" fmla="*/ 2147483647 h 113"/>
                  <a:gd name="T20" fmla="*/ 2147483647 w 99"/>
                  <a:gd name="T21" fmla="*/ 2147483647 h 113"/>
                  <a:gd name="T22" fmla="*/ 2147483647 w 99"/>
                  <a:gd name="T23" fmla="*/ 2147483647 h 113"/>
                  <a:gd name="T24" fmla="*/ 2147483647 w 99"/>
                  <a:gd name="T25" fmla="*/ 2147483647 h 113"/>
                  <a:gd name="T26" fmla="*/ 2147483647 w 99"/>
                  <a:gd name="T27" fmla="*/ 2147483647 h 113"/>
                  <a:gd name="T28" fmla="*/ 2147483647 w 99"/>
                  <a:gd name="T29" fmla="*/ 2147483647 h 113"/>
                  <a:gd name="T30" fmla="*/ 2147483647 w 99"/>
                  <a:gd name="T31" fmla="*/ 2147483647 h 113"/>
                  <a:gd name="T32" fmla="*/ 2147483647 w 99"/>
                  <a:gd name="T33" fmla="*/ 2147483647 h 113"/>
                  <a:gd name="T34" fmla="*/ 2147483647 w 99"/>
                  <a:gd name="T35" fmla="*/ 2147483647 h 113"/>
                  <a:gd name="T36" fmla="*/ 2147483647 w 99"/>
                  <a:gd name="T37" fmla="*/ 2147483647 h 113"/>
                  <a:gd name="T38" fmla="*/ 2147483647 w 99"/>
                  <a:gd name="T39" fmla="*/ 2147483647 h 113"/>
                  <a:gd name="T40" fmla="*/ 2147483647 w 99"/>
                  <a:gd name="T41" fmla="*/ 2147483647 h 113"/>
                  <a:gd name="T42" fmla="*/ 2147483647 w 99"/>
                  <a:gd name="T43" fmla="*/ 2147483647 h 113"/>
                  <a:gd name="T44" fmla="*/ 2147483647 w 99"/>
                  <a:gd name="T45" fmla="*/ 2147483647 h 113"/>
                  <a:gd name="T46" fmla="*/ 2147483647 w 99"/>
                  <a:gd name="T47" fmla="*/ 2147483647 h 113"/>
                  <a:gd name="T48" fmla="*/ 2147483647 w 99"/>
                  <a:gd name="T49" fmla="*/ 2147483647 h 113"/>
                  <a:gd name="T50" fmla="*/ 2147483647 w 99"/>
                  <a:gd name="T51" fmla="*/ 2147483647 h 113"/>
                  <a:gd name="T52" fmla="*/ 2147483647 w 99"/>
                  <a:gd name="T53" fmla="*/ 2147483647 h 113"/>
                  <a:gd name="T54" fmla="*/ 2147483647 w 99"/>
                  <a:gd name="T55" fmla="*/ 2147483647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9"/>
                  <a:gd name="T85" fmla="*/ 0 h 113"/>
                  <a:gd name="T86" fmla="*/ 99 w 99"/>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9" h="113">
                    <a:moveTo>
                      <a:pt x="73" y="38"/>
                    </a:moveTo>
                    <a:lnTo>
                      <a:pt x="70" y="29"/>
                    </a:lnTo>
                    <a:lnTo>
                      <a:pt x="64" y="12"/>
                    </a:lnTo>
                    <a:lnTo>
                      <a:pt x="38" y="0"/>
                    </a:lnTo>
                    <a:lnTo>
                      <a:pt x="41" y="17"/>
                    </a:lnTo>
                    <a:lnTo>
                      <a:pt x="35" y="32"/>
                    </a:lnTo>
                    <a:lnTo>
                      <a:pt x="26" y="49"/>
                    </a:lnTo>
                    <a:lnTo>
                      <a:pt x="6" y="79"/>
                    </a:lnTo>
                    <a:lnTo>
                      <a:pt x="0" y="113"/>
                    </a:lnTo>
                    <a:lnTo>
                      <a:pt x="3" y="108"/>
                    </a:lnTo>
                    <a:lnTo>
                      <a:pt x="17" y="102"/>
                    </a:lnTo>
                    <a:lnTo>
                      <a:pt x="32" y="96"/>
                    </a:lnTo>
                    <a:lnTo>
                      <a:pt x="46" y="93"/>
                    </a:lnTo>
                    <a:lnTo>
                      <a:pt x="58" y="90"/>
                    </a:lnTo>
                    <a:lnTo>
                      <a:pt x="64" y="90"/>
                    </a:lnTo>
                    <a:lnTo>
                      <a:pt x="81" y="79"/>
                    </a:lnTo>
                    <a:lnTo>
                      <a:pt x="93" y="61"/>
                    </a:lnTo>
                    <a:lnTo>
                      <a:pt x="99" y="41"/>
                    </a:lnTo>
                    <a:lnTo>
                      <a:pt x="73" y="38"/>
                    </a:lnTo>
                    <a:close/>
                    <a:moveTo>
                      <a:pt x="79" y="47"/>
                    </a:moveTo>
                    <a:lnTo>
                      <a:pt x="79" y="47"/>
                    </a:lnTo>
                    <a:close/>
                  </a:path>
                </a:pathLst>
              </a:custGeom>
              <a:grpFill/>
              <a:ln w="9525">
                <a:noFill/>
                <a:round/>
                <a:headEnd/>
                <a:tailEnd/>
              </a:ln>
            </p:spPr>
            <p:txBody>
              <a:bodyPr/>
              <a:lstStyle/>
              <a:p>
                <a:pPr fontAlgn="auto">
                  <a:spcBef>
                    <a:spcPts val="0"/>
                  </a:spcBef>
                  <a:spcAft>
                    <a:spcPts val="0"/>
                  </a:spcAft>
                  <a:defRPr/>
                </a:pPr>
                <a:endParaRPr lang="en-US">
                  <a:latin typeface="Calibri" charset="0"/>
                  <a:ea typeface="+mn-ea"/>
                </a:endParaRPr>
              </a:p>
            </p:txBody>
          </p:sp>
          <p:sp>
            <p:nvSpPr>
              <p:cNvPr id="6200" name="Freeform 592"/>
              <p:cNvSpPr>
                <a:spLocks/>
              </p:cNvSpPr>
              <p:nvPr/>
            </p:nvSpPr>
            <p:spPr bwMode="auto">
              <a:xfrm>
                <a:off x="5768176" y="982734"/>
                <a:ext cx="150727" cy="78378"/>
              </a:xfrm>
              <a:custGeom>
                <a:avLst/>
                <a:gdLst>
                  <a:gd name="T0" fmla="*/ 2147483647 w 50"/>
                  <a:gd name="T1" fmla="*/ 2147483647 h 26"/>
                  <a:gd name="T2" fmla="*/ 2147483647 w 50"/>
                  <a:gd name="T3" fmla="*/ 2147483647 h 26"/>
                  <a:gd name="T4" fmla="*/ 2147483647 w 50"/>
                  <a:gd name="T5" fmla="*/ 2147483647 h 26"/>
                  <a:gd name="T6" fmla="*/ 2147483647 w 50"/>
                  <a:gd name="T7" fmla="*/ 2147483647 h 26"/>
                  <a:gd name="T8" fmla="*/ 2147483647 w 50"/>
                  <a:gd name="T9" fmla="*/ 2147483647 h 26"/>
                  <a:gd name="T10" fmla="*/ 2147483647 w 50"/>
                  <a:gd name="T11" fmla="*/ 2147483647 h 26"/>
                  <a:gd name="T12" fmla="*/ 2147483647 w 50"/>
                  <a:gd name="T13" fmla="*/ 2147483647 h 26"/>
                  <a:gd name="T14" fmla="*/ 2147483647 w 50"/>
                  <a:gd name="T15" fmla="*/ 2147483647 h 26"/>
                  <a:gd name="T16" fmla="*/ 2147483647 w 50"/>
                  <a:gd name="T17" fmla="*/ 2147483647 h 26"/>
                  <a:gd name="T18" fmla="*/ 2147483647 w 50"/>
                  <a:gd name="T19" fmla="*/ 2147483647 h 26"/>
                  <a:gd name="T20" fmla="*/ 2147483647 w 50"/>
                  <a:gd name="T21" fmla="*/ 0 h 26"/>
                  <a:gd name="T22" fmla="*/ 2147483647 w 50"/>
                  <a:gd name="T23" fmla="*/ 0 h 26"/>
                  <a:gd name="T24" fmla="*/ 2147483647 w 50"/>
                  <a:gd name="T25" fmla="*/ 0 h 26"/>
                  <a:gd name="T26" fmla="*/ 2147483647 w 50"/>
                  <a:gd name="T27" fmla="*/ 0 h 26"/>
                  <a:gd name="T28" fmla="*/ 2147483647 w 50"/>
                  <a:gd name="T29" fmla="*/ 2147483647 h 26"/>
                  <a:gd name="T30" fmla="*/ 2147483647 w 50"/>
                  <a:gd name="T31" fmla="*/ 2147483647 h 26"/>
                  <a:gd name="T32" fmla="*/ 2147483647 w 50"/>
                  <a:gd name="T33" fmla="*/ 2147483647 h 26"/>
                  <a:gd name="T34" fmla="*/ 2147483647 w 50"/>
                  <a:gd name="T35" fmla="*/ 2147483647 h 26"/>
                  <a:gd name="T36" fmla="*/ 2147483647 w 50"/>
                  <a:gd name="T37" fmla="*/ 2147483647 h 26"/>
                  <a:gd name="T38" fmla="*/ 2147483647 w 50"/>
                  <a:gd name="T39" fmla="*/ 2147483647 h 26"/>
                  <a:gd name="T40" fmla="*/ 2147483647 w 50"/>
                  <a:gd name="T41" fmla="*/ 2147483647 h 26"/>
                  <a:gd name="T42" fmla="*/ 2147483647 w 50"/>
                  <a:gd name="T43" fmla="*/ 2147483647 h 26"/>
                  <a:gd name="T44" fmla="*/ 2147483647 w 50"/>
                  <a:gd name="T45" fmla="*/ 2147483647 h 26"/>
                  <a:gd name="T46" fmla="*/ 2147483647 w 50"/>
                  <a:gd name="T47" fmla="*/ 2147483647 h 26"/>
                  <a:gd name="T48" fmla="*/ 2147483647 w 50"/>
                  <a:gd name="T49" fmla="*/ 2147483647 h 26"/>
                  <a:gd name="T50" fmla="*/ 0 w 50"/>
                  <a:gd name="T51" fmla="*/ 2147483647 h 26"/>
                  <a:gd name="T52" fmla="*/ 0 w 50"/>
                  <a:gd name="T53" fmla="*/ 2147483647 h 26"/>
                  <a:gd name="T54" fmla="*/ 2147483647 w 50"/>
                  <a:gd name="T55" fmla="*/ 2147483647 h 26"/>
                  <a:gd name="T56" fmla="*/ 2147483647 w 50"/>
                  <a:gd name="T57" fmla="*/ 2147483647 h 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
                  <a:gd name="T88" fmla="*/ 0 h 26"/>
                  <a:gd name="T89" fmla="*/ 50 w 50"/>
                  <a:gd name="T90" fmla="*/ 26 h 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 h="26">
                    <a:moveTo>
                      <a:pt x="9" y="14"/>
                    </a:moveTo>
                    <a:lnTo>
                      <a:pt x="9" y="14"/>
                    </a:lnTo>
                    <a:lnTo>
                      <a:pt x="18" y="17"/>
                    </a:lnTo>
                    <a:lnTo>
                      <a:pt x="29" y="23"/>
                    </a:lnTo>
                    <a:lnTo>
                      <a:pt x="38" y="26"/>
                    </a:lnTo>
                    <a:lnTo>
                      <a:pt x="44" y="26"/>
                    </a:lnTo>
                    <a:lnTo>
                      <a:pt x="47" y="23"/>
                    </a:lnTo>
                    <a:lnTo>
                      <a:pt x="50" y="14"/>
                    </a:lnTo>
                    <a:lnTo>
                      <a:pt x="50" y="6"/>
                    </a:lnTo>
                    <a:lnTo>
                      <a:pt x="47" y="0"/>
                    </a:lnTo>
                    <a:lnTo>
                      <a:pt x="44" y="0"/>
                    </a:lnTo>
                    <a:lnTo>
                      <a:pt x="41" y="0"/>
                    </a:lnTo>
                    <a:lnTo>
                      <a:pt x="38" y="6"/>
                    </a:lnTo>
                    <a:lnTo>
                      <a:pt x="35" y="9"/>
                    </a:lnTo>
                    <a:lnTo>
                      <a:pt x="32" y="12"/>
                    </a:lnTo>
                    <a:lnTo>
                      <a:pt x="23" y="9"/>
                    </a:lnTo>
                    <a:lnTo>
                      <a:pt x="15" y="3"/>
                    </a:lnTo>
                    <a:lnTo>
                      <a:pt x="6" y="3"/>
                    </a:lnTo>
                    <a:lnTo>
                      <a:pt x="3" y="6"/>
                    </a:lnTo>
                    <a:lnTo>
                      <a:pt x="0" y="17"/>
                    </a:lnTo>
                    <a:lnTo>
                      <a:pt x="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p>
            </p:txBody>
          </p:sp>
        </p:grpSp>
        <p:grpSp>
          <p:nvGrpSpPr>
            <p:cNvPr id="18470" name="Group 70"/>
            <p:cNvGrpSpPr>
              <a:grpSpLocks/>
            </p:cNvGrpSpPr>
            <p:nvPr/>
          </p:nvGrpSpPr>
          <p:grpSpPr bwMode="auto">
            <a:xfrm>
              <a:off x="2233037" y="4282348"/>
              <a:ext cx="1027314" cy="1048099"/>
              <a:chOff x="4547783" y="4021788"/>
              <a:chExt cx="1334317" cy="1362074"/>
            </a:xfrm>
          </p:grpSpPr>
          <p:grpSp>
            <p:nvGrpSpPr>
              <p:cNvPr id="18485" name="Gruppe 83"/>
              <p:cNvGrpSpPr>
                <a:grpSpLocks/>
              </p:cNvGrpSpPr>
              <p:nvPr/>
            </p:nvGrpSpPr>
            <p:grpSpPr bwMode="auto">
              <a:xfrm>
                <a:off x="4547783" y="4021788"/>
                <a:ext cx="1334317" cy="1362074"/>
                <a:chOff x="3717577" y="1040361"/>
                <a:chExt cx="1708847" cy="1742936"/>
              </a:xfrm>
            </p:grpSpPr>
            <p:sp>
              <p:nvSpPr>
                <p:cNvPr id="22" name="Tåre 105"/>
                <p:cNvSpPr/>
                <p:nvPr/>
              </p:nvSpPr>
              <p:spPr bwMode="auto">
                <a:xfrm rot="18900000">
                  <a:off x="3717577" y="1067209"/>
                  <a:ext cx="1708847" cy="1716088"/>
                </a:xfrm>
                <a:prstGeom prst="teardrop">
                  <a:avLst/>
                </a:prstGeom>
                <a:gradFill flip="none" rotWithShape="1">
                  <a:gsLst>
                    <a:gs pos="31000">
                      <a:schemeClr val="bg2">
                        <a:alpha val="21000"/>
                      </a:schemeClr>
                    </a:gs>
                    <a:gs pos="100000">
                      <a:schemeClr val="accent1">
                        <a:lumMod val="75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sz="1200">
                    <a:solidFill>
                      <a:srgbClr val="FFFFFF"/>
                    </a:solidFill>
                    <a:latin typeface="Calibri" charset="0"/>
                    <a:ea typeface="ＭＳ Ｐゴシック" charset="0"/>
                    <a:cs typeface="ＭＳ Ｐゴシック" charset="0"/>
                  </a:endParaRPr>
                </a:p>
              </p:txBody>
            </p:sp>
            <p:sp>
              <p:nvSpPr>
                <p:cNvPr id="23"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24"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19" name="&quot;No&quot; Symbol 18"/>
              <p:cNvSpPr/>
              <p:nvPr/>
            </p:nvSpPr>
            <p:spPr>
              <a:xfrm>
                <a:off x="4792221" y="4284378"/>
                <a:ext cx="847275" cy="847820"/>
              </a:xfrm>
              <a:prstGeom prst="noSmoking">
                <a:avLst>
                  <a:gd name="adj" fmla="val 1444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chemeClr val="tx1"/>
                  </a:solidFill>
                  <a:ea typeface="ＭＳ Ｐゴシック" charset="0"/>
                  <a:cs typeface="ＭＳ Ｐゴシック" charset="0"/>
                </a:endParaRPr>
              </a:p>
            </p:txBody>
          </p:sp>
        </p:grpSp>
        <p:sp>
          <p:nvSpPr>
            <p:cNvPr id="27" name="Tåre 105"/>
            <p:cNvSpPr/>
            <p:nvPr/>
          </p:nvSpPr>
          <p:spPr bwMode="auto">
            <a:xfrm rot="2700000">
              <a:off x="352194" y="2860079"/>
              <a:ext cx="1692304" cy="1699946"/>
            </a:xfrm>
            <a:prstGeom prst="teardrop">
              <a:avLst/>
            </a:prstGeom>
            <a:gradFill flip="none" rotWithShape="1">
              <a:gsLst>
                <a:gs pos="0">
                  <a:schemeClr val="bg2"/>
                </a:gs>
                <a:gs pos="86000">
                  <a:srgbClr val="2A9B18"/>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0"/>
                <a:cs typeface="ＭＳ Ｐゴシック" charset="0"/>
              </a:endParaRPr>
            </a:p>
          </p:txBody>
        </p:sp>
        <p:grpSp>
          <p:nvGrpSpPr>
            <p:cNvPr id="18474" name="Group 65"/>
            <p:cNvGrpSpPr>
              <a:grpSpLocks/>
            </p:cNvGrpSpPr>
            <p:nvPr/>
          </p:nvGrpSpPr>
          <p:grpSpPr bwMode="auto">
            <a:xfrm>
              <a:off x="3284105" y="3197138"/>
              <a:ext cx="1048098" cy="1027315"/>
              <a:chOff x="6413505" y="2443937"/>
              <a:chExt cx="1362074" cy="1334317"/>
            </a:xfrm>
          </p:grpSpPr>
          <p:grpSp>
            <p:nvGrpSpPr>
              <p:cNvPr id="18476" name="Gruppe 83"/>
              <p:cNvGrpSpPr>
                <a:grpSpLocks/>
              </p:cNvGrpSpPr>
              <p:nvPr/>
            </p:nvGrpSpPr>
            <p:grpSpPr bwMode="auto">
              <a:xfrm rot="-5400000">
                <a:off x="6427383" y="2430059"/>
                <a:ext cx="1334317" cy="1362074"/>
                <a:chOff x="3717577" y="1040361"/>
                <a:chExt cx="1708847" cy="1742936"/>
              </a:xfrm>
            </p:grpSpPr>
            <p:sp>
              <p:nvSpPr>
                <p:cNvPr id="33" name="Tåre 105"/>
                <p:cNvSpPr/>
                <p:nvPr/>
              </p:nvSpPr>
              <p:spPr bwMode="auto">
                <a:xfrm rot="18900000">
                  <a:off x="3717577" y="1067209"/>
                  <a:ext cx="1708847" cy="1716088"/>
                </a:xfrm>
                <a:prstGeom prst="teardrop">
                  <a:avLst/>
                </a:prstGeom>
                <a:gradFill flip="none" rotWithShape="1">
                  <a:gsLst>
                    <a:gs pos="0">
                      <a:schemeClr val="bg2"/>
                    </a:gs>
                    <a:gs pos="63000">
                      <a:srgbClr val="CE202A"/>
                    </a:gs>
                  </a:gsLst>
                  <a:path path="shape">
                    <a:fillToRect l="50000" t="50000" r="50000" b="50000"/>
                  </a:path>
                  <a:tileRect/>
                </a:gradFill>
                <a:ln w="9525" cap="flat" cmpd="sng" algn="ctr">
                  <a:noFill/>
                  <a:prstDash val="solid"/>
                </a:ln>
                <a:effectLst>
                  <a:innerShdw blurRad="190500" dist="114300" dir="5640000">
                    <a:srgbClr val="000000">
                      <a:alpha val="37000"/>
                    </a:srgbClr>
                  </a:innerShdw>
                  <a:reflection stA="25000" endPos="35000" dist="12700" dir="5400000" sy="-100000" algn="bl" rotWithShape="0"/>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34"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35"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18477" name="Freeform 6"/>
              <p:cNvSpPr>
                <a:spLocks noEditPoints="1"/>
              </p:cNvSpPr>
              <p:nvPr/>
            </p:nvSpPr>
            <p:spPr bwMode="auto">
              <a:xfrm>
                <a:off x="6896100" y="2679700"/>
                <a:ext cx="462364" cy="911224"/>
              </a:xfrm>
              <a:custGeom>
                <a:avLst/>
                <a:gdLst>
                  <a:gd name="T0" fmla="*/ 2147483647 w 1746"/>
                  <a:gd name="T1" fmla="*/ 2147483647 h 3442"/>
                  <a:gd name="T2" fmla="*/ 2147483647 w 1746"/>
                  <a:gd name="T3" fmla="*/ 2147483647 h 3442"/>
                  <a:gd name="T4" fmla="*/ 2147483647 w 1746"/>
                  <a:gd name="T5" fmla="*/ 2147483647 h 3442"/>
                  <a:gd name="T6" fmla="*/ 2147483647 w 1746"/>
                  <a:gd name="T7" fmla="*/ 2147483647 h 3442"/>
                  <a:gd name="T8" fmla="*/ 2147483647 w 1746"/>
                  <a:gd name="T9" fmla="*/ 2147483647 h 3442"/>
                  <a:gd name="T10" fmla="*/ 2147483647 w 1746"/>
                  <a:gd name="T11" fmla="*/ 2147483647 h 3442"/>
                  <a:gd name="T12" fmla="*/ 2147483647 w 1746"/>
                  <a:gd name="T13" fmla="*/ 2147483647 h 3442"/>
                  <a:gd name="T14" fmla="*/ 2147483647 w 1746"/>
                  <a:gd name="T15" fmla="*/ 2147483647 h 3442"/>
                  <a:gd name="T16" fmla="*/ 2147483647 w 1746"/>
                  <a:gd name="T17" fmla="*/ 2147483647 h 3442"/>
                  <a:gd name="T18" fmla="*/ 2147483647 w 1746"/>
                  <a:gd name="T19" fmla="*/ 2147483647 h 3442"/>
                  <a:gd name="T20" fmla="*/ 2147483647 w 1746"/>
                  <a:gd name="T21" fmla="*/ 2147483647 h 3442"/>
                  <a:gd name="T22" fmla="*/ 2147483647 w 1746"/>
                  <a:gd name="T23" fmla="*/ 2147483647 h 3442"/>
                  <a:gd name="T24" fmla="*/ 2147483647 w 1746"/>
                  <a:gd name="T25" fmla="*/ 2147483647 h 3442"/>
                  <a:gd name="T26" fmla="*/ 2147483647 w 1746"/>
                  <a:gd name="T27" fmla="*/ 2147483647 h 3442"/>
                  <a:gd name="T28" fmla="*/ 2147483647 w 1746"/>
                  <a:gd name="T29" fmla="*/ 2147483647 h 3442"/>
                  <a:gd name="T30" fmla="*/ 2147483647 w 1746"/>
                  <a:gd name="T31" fmla="*/ 2147483647 h 3442"/>
                  <a:gd name="T32" fmla="*/ 2147483647 w 1746"/>
                  <a:gd name="T33" fmla="*/ 2147483647 h 3442"/>
                  <a:gd name="T34" fmla="*/ 2147483647 w 1746"/>
                  <a:gd name="T35" fmla="*/ 2147483647 h 3442"/>
                  <a:gd name="T36" fmla="*/ 2147483647 w 1746"/>
                  <a:gd name="T37" fmla="*/ 2147483647 h 3442"/>
                  <a:gd name="T38" fmla="*/ 0 w 1746"/>
                  <a:gd name="T39" fmla="*/ 2147483647 h 3442"/>
                  <a:gd name="T40" fmla="*/ 2147483647 w 1746"/>
                  <a:gd name="T41" fmla="*/ 2147483647 h 3442"/>
                  <a:gd name="T42" fmla="*/ 2147483647 w 1746"/>
                  <a:gd name="T43" fmla="*/ 2147483647 h 3442"/>
                  <a:gd name="T44" fmla="*/ 2147483647 w 1746"/>
                  <a:gd name="T45" fmla="*/ 2147483647 h 3442"/>
                  <a:gd name="T46" fmla="*/ 2147483647 w 1746"/>
                  <a:gd name="T47" fmla="*/ 2147483647 h 3442"/>
                  <a:gd name="T48" fmla="*/ 2147483647 w 1746"/>
                  <a:gd name="T49" fmla="*/ 2147483647 h 3442"/>
                  <a:gd name="T50" fmla="*/ 2147483647 w 1746"/>
                  <a:gd name="T51" fmla="*/ 2147483647 h 3442"/>
                  <a:gd name="T52" fmla="*/ 2147483647 w 1746"/>
                  <a:gd name="T53" fmla="*/ 2147483647 h 3442"/>
                  <a:gd name="T54" fmla="*/ 2147483647 w 1746"/>
                  <a:gd name="T55" fmla="*/ 2147483647 h 3442"/>
                  <a:gd name="T56" fmla="*/ 2147483647 w 1746"/>
                  <a:gd name="T57" fmla="*/ 2147483647 h 3442"/>
                  <a:gd name="T58" fmla="*/ 2147483647 w 1746"/>
                  <a:gd name="T59" fmla="*/ 2147483647 h 3442"/>
                  <a:gd name="T60" fmla="*/ 2147483647 w 1746"/>
                  <a:gd name="T61" fmla="*/ 2147483647 h 3442"/>
                  <a:gd name="T62" fmla="*/ 2147483647 w 1746"/>
                  <a:gd name="T63" fmla="*/ 2147483647 h 3442"/>
                  <a:gd name="T64" fmla="*/ 2147483647 w 1746"/>
                  <a:gd name="T65" fmla="*/ 2147483647 h 3442"/>
                  <a:gd name="T66" fmla="*/ 2147483647 w 1746"/>
                  <a:gd name="T67" fmla="*/ 2147483647 h 3442"/>
                  <a:gd name="T68" fmla="*/ 2147483647 w 1746"/>
                  <a:gd name="T69" fmla="*/ 2147483647 h 3442"/>
                  <a:gd name="T70" fmla="*/ 2147483647 w 1746"/>
                  <a:gd name="T71" fmla="*/ 2147483647 h 3442"/>
                  <a:gd name="T72" fmla="*/ 2147483647 w 1746"/>
                  <a:gd name="T73" fmla="*/ 2147483647 h 3442"/>
                  <a:gd name="T74" fmla="*/ 2147483647 w 1746"/>
                  <a:gd name="T75" fmla="*/ 2147483647 h 3442"/>
                  <a:gd name="T76" fmla="*/ 2147483647 w 1746"/>
                  <a:gd name="T77" fmla="*/ 2147483647 h 3442"/>
                  <a:gd name="T78" fmla="*/ 2147483647 w 1746"/>
                  <a:gd name="T79" fmla="*/ 2147483647 h 3442"/>
                  <a:gd name="T80" fmla="*/ 2147483647 w 1746"/>
                  <a:gd name="T81" fmla="*/ 2147483647 h 3442"/>
                  <a:gd name="T82" fmla="*/ 2147483647 w 1746"/>
                  <a:gd name="T83" fmla="*/ 2147483647 h 3442"/>
                  <a:gd name="T84" fmla="*/ 2147483647 w 1746"/>
                  <a:gd name="T85" fmla="*/ 2147483647 h 3442"/>
                  <a:gd name="T86" fmla="*/ 2147483647 w 1746"/>
                  <a:gd name="T87" fmla="*/ 2147483647 h 3442"/>
                  <a:gd name="T88" fmla="*/ 2147483647 w 1746"/>
                  <a:gd name="T89" fmla="*/ 2147483647 h 3442"/>
                  <a:gd name="T90" fmla="*/ 2147483647 w 1746"/>
                  <a:gd name="T91" fmla="*/ 2147483647 h 3442"/>
                  <a:gd name="T92" fmla="*/ 2147483647 w 1746"/>
                  <a:gd name="T93" fmla="*/ 2147483647 h 3442"/>
                  <a:gd name="T94" fmla="*/ 2147483647 w 1746"/>
                  <a:gd name="T95" fmla="*/ 2147483647 h 3442"/>
                  <a:gd name="T96" fmla="*/ 2147483647 w 1746"/>
                  <a:gd name="T97" fmla="*/ 2147483647 h 3442"/>
                  <a:gd name="T98" fmla="*/ 2147483647 w 1746"/>
                  <a:gd name="T99" fmla="*/ 2147483647 h 3442"/>
                  <a:gd name="T100" fmla="*/ 2147483647 w 1746"/>
                  <a:gd name="T101" fmla="*/ 2147483647 h 3442"/>
                  <a:gd name="T102" fmla="*/ 2147483647 w 1746"/>
                  <a:gd name="T103" fmla="*/ 2147483647 h 3442"/>
                  <a:gd name="T104" fmla="*/ 2147483647 w 1746"/>
                  <a:gd name="T105" fmla="*/ 2147483647 h 3442"/>
                  <a:gd name="T106" fmla="*/ 2147483647 w 1746"/>
                  <a:gd name="T107" fmla="*/ 2147483647 h 3442"/>
                  <a:gd name="T108" fmla="*/ 2147483647 w 1746"/>
                  <a:gd name="T109" fmla="*/ 2147483647 h 3442"/>
                  <a:gd name="T110" fmla="*/ 2147483647 w 1746"/>
                  <a:gd name="T111" fmla="*/ 2147483647 h 3442"/>
                  <a:gd name="T112" fmla="*/ 2147483647 w 1746"/>
                  <a:gd name="T113" fmla="*/ 2147483647 h 3442"/>
                  <a:gd name="T114" fmla="*/ 2147483647 w 1746"/>
                  <a:gd name="T115" fmla="*/ 2147483647 h 3442"/>
                  <a:gd name="T116" fmla="*/ 2147483647 w 1746"/>
                  <a:gd name="T117" fmla="*/ 2147483647 h 3442"/>
                  <a:gd name="T118" fmla="*/ 2147483647 w 1746"/>
                  <a:gd name="T119" fmla="*/ 2147483647 h 34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46"/>
                  <a:gd name="T181" fmla="*/ 0 h 3442"/>
                  <a:gd name="T182" fmla="*/ 1746 w 1746"/>
                  <a:gd name="T183" fmla="*/ 3442 h 34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46" h="3442">
                    <a:moveTo>
                      <a:pt x="1746" y="1446"/>
                    </a:moveTo>
                    <a:lnTo>
                      <a:pt x="1746" y="1446"/>
                    </a:lnTo>
                    <a:lnTo>
                      <a:pt x="1746" y="1392"/>
                    </a:lnTo>
                    <a:lnTo>
                      <a:pt x="1746" y="1266"/>
                    </a:lnTo>
                    <a:lnTo>
                      <a:pt x="1744" y="1240"/>
                    </a:lnTo>
                    <a:lnTo>
                      <a:pt x="1738" y="1214"/>
                    </a:lnTo>
                    <a:lnTo>
                      <a:pt x="1714" y="1146"/>
                    </a:lnTo>
                    <a:lnTo>
                      <a:pt x="1706" y="1120"/>
                    </a:lnTo>
                    <a:lnTo>
                      <a:pt x="1702" y="1094"/>
                    </a:lnTo>
                    <a:lnTo>
                      <a:pt x="1694" y="1002"/>
                    </a:lnTo>
                    <a:lnTo>
                      <a:pt x="1688" y="948"/>
                    </a:lnTo>
                    <a:lnTo>
                      <a:pt x="1670" y="822"/>
                    </a:lnTo>
                    <a:lnTo>
                      <a:pt x="1668" y="794"/>
                    </a:lnTo>
                    <a:lnTo>
                      <a:pt x="1666" y="766"/>
                    </a:lnTo>
                    <a:lnTo>
                      <a:pt x="1666" y="738"/>
                    </a:lnTo>
                    <a:lnTo>
                      <a:pt x="1664" y="714"/>
                    </a:lnTo>
                    <a:lnTo>
                      <a:pt x="1662" y="704"/>
                    </a:lnTo>
                    <a:lnTo>
                      <a:pt x="1658" y="696"/>
                    </a:lnTo>
                    <a:lnTo>
                      <a:pt x="1648" y="686"/>
                    </a:lnTo>
                    <a:lnTo>
                      <a:pt x="1636" y="678"/>
                    </a:lnTo>
                    <a:lnTo>
                      <a:pt x="1616" y="668"/>
                    </a:lnTo>
                    <a:lnTo>
                      <a:pt x="1602" y="660"/>
                    </a:lnTo>
                    <a:lnTo>
                      <a:pt x="1582" y="652"/>
                    </a:lnTo>
                    <a:lnTo>
                      <a:pt x="1426" y="588"/>
                    </a:lnTo>
                    <a:lnTo>
                      <a:pt x="1416" y="582"/>
                    </a:lnTo>
                    <a:lnTo>
                      <a:pt x="1406" y="574"/>
                    </a:lnTo>
                    <a:lnTo>
                      <a:pt x="1398" y="564"/>
                    </a:lnTo>
                    <a:lnTo>
                      <a:pt x="1394" y="554"/>
                    </a:lnTo>
                    <a:lnTo>
                      <a:pt x="1392" y="542"/>
                    </a:lnTo>
                    <a:lnTo>
                      <a:pt x="1394" y="532"/>
                    </a:lnTo>
                    <a:lnTo>
                      <a:pt x="1396" y="524"/>
                    </a:lnTo>
                    <a:lnTo>
                      <a:pt x="1402" y="516"/>
                    </a:lnTo>
                    <a:lnTo>
                      <a:pt x="1416" y="500"/>
                    </a:lnTo>
                    <a:lnTo>
                      <a:pt x="1430" y="480"/>
                    </a:lnTo>
                    <a:lnTo>
                      <a:pt x="1442" y="458"/>
                    </a:lnTo>
                    <a:lnTo>
                      <a:pt x="1448" y="446"/>
                    </a:lnTo>
                    <a:lnTo>
                      <a:pt x="1452" y="432"/>
                    </a:lnTo>
                    <a:lnTo>
                      <a:pt x="1456" y="418"/>
                    </a:lnTo>
                    <a:lnTo>
                      <a:pt x="1460" y="406"/>
                    </a:lnTo>
                    <a:lnTo>
                      <a:pt x="1468" y="340"/>
                    </a:lnTo>
                    <a:lnTo>
                      <a:pt x="1470" y="312"/>
                    </a:lnTo>
                    <a:lnTo>
                      <a:pt x="1472" y="286"/>
                    </a:lnTo>
                    <a:lnTo>
                      <a:pt x="1472" y="266"/>
                    </a:lnTo>
                    <a:lnTo>
                      <a:pt x="1470" y="244"/>
                    </a:lnTo>
                    <a:lnTo>
                      <a:pt x="1466" y="234"/>
                    </a:lnTo>
                    <a:lnTo>
                      <a:pt x="1464" y="228"/>
                    </a:lnTo>
                    <a:lnTo>
                      <a:pt x="1456" y="214"/>
                    </a:lnTo>
                    <a:lnTo>
                      <a:pt x="1448" y="198"/>
                    </a:lnTo>
                    <a:lnTo>
                      <a:pt x="1440" y="182"/>
                    </a:lnTo>
                    <a:lnTo>
                      <a:pt x="1430" y="168"/>
                    </a:lnTo>
                    <a:lnTo>
                      <a:pt x="1416" y="156"/>
                    </a:lnTo>
                    <a:lnTo>
                      <a:pt x="1402" y="148"/>
                    </a:lnTo>
                    <a:lnTo>
                      <a:pt x="1366" y="138"/>
                    </a:lnTo>
                    <a:lnTo>
                      <a:pt x="1356" y="136"/>
                    </a:lnTo>
                    <a:lnTo>
                      <a:pt x="1344" y="136"/>
                    </a:lnTo>
                    <a:lnTo>
                      <a:pt x="1332" y="140"/>
                    </a:lnTo>
                    <a:lnTo>
                      <a:pt x="1320" y="142"/>
                    </a:lnTo>
                    <a:lnTo>
                      <a:pt x="1316" y="144"/>
                    </a:lnTo>
                    <a:lnTo>
                      <a:pt x="1266" y="168"/>
                    </a:lnTo>
                    <a:lnTo>
                      <a:pt x="1246" y="178"/>
                    </a:lnTo>
                    <a:lnTo>
                      <a:pt x="1236" y="184"/>
                    </a:lnTo>
                    <a:lnTo>
                      <a:pt x="1226" y="192"/>
                    </a:lnTo>
                    <a:lnTo>
                      <a:pt x="1218" y="202"/>
                    </a:lnTo>
                    <a:lnTo>
                      <a:pt x="1214" y="210"/>
                    </a:lnTo>
                    <a:lnTo>
                      <a:pt x="1196" y="254"/>
                    </a:lnTo>
                    <a:lnTo>
                      <a:pt x="1188" y="274"/>
                    </a:lnTo>
                    <a:lnTo>
                      <a:pt x="1180" y="294"/>
                    </a:lnTo>
                    <a:lnTo>
                      <a:pt x="1176" y="298"/>
                    </a:lnTo>
                    <a:lnTo>
                      <a:pt x="1174" y="300"/>
                    </a:lnTo>
                    <a:lnTo>
                      <a:pt x="1168" y="302"/>
                    </a:lnTo>
                    <a:lnTo>
                      <a:pt x="1166" y="306"/>
                    </a:lnTo>
                    <a:lnTo>
                      <a:pt x="1164" y="316"/>
                    </a:lnTo>
                    <a:lnTo>
                      <a:pt x="1160" y="330"/>
                    </a:lnTo>
                    <a:lnTo>
                      <a:pt x="1156" y="340"/>
                    </a:lnTo>
                    <a:lnTo>
                      <a:pt x="1156" y="348"/>
                    </a:lnTo>
                    <a:lnTo>
                      <a:pt x="1156" y="358"/>
                    </a:lnTo>
                    <a:lnTo>
                      <a:pt x="1160" y="368"/>
                    </a:lnTo>
                    <a:lnTo>
                      <a:pt x="1164" y="382"/>
                    </a:lnTo>
                    <a:lnTo>
                      <a:pt x="1166" y="392"/>
                    </a:lnTo>
                    <a:lnTo>
                      <a:pt x="1168" y="392"/>
                    </a:lnTo>
                    <a:lnTo>
                      <a:pt x="1170" y="394"/>
                    </a:lnTo>
                    <a:lnTo>
                      <a:pt x="1180" y="392"/>
                    </a:lnTo>
                    <a:lnTo>
                      <a:pt x="1186" y="390"/>
                    </a:lnTo>
                    <a:lnTo>
                      <a:pt x="1190" y="396"/>
                    </a:lnTo>
                    <a:lnTo>
                      <a:pt x="1192" y="402"/>
                    </a:lnTo>
                    <a:lnTo>
                      <a:pt x="1194" y="412"/>
                    </a:lnTo>
                    <a:lnTo>
                      <a:pt x="1194" y="440"/>
                    </a:lnTo>
                    <a:lnTo>
                      <a:pt x="1192" y="452"/>
                    </a:lnTo>
                    <a:lnTo>
                      <a:pt x="1190" y="464"/>
                    </a:lnTo>
                    <a:lnTo>
                      <a:pt x="1186" y="476"/>
                    </a:lnTo>
                    <a:lnTo>
                      <a:pt x="1180" y="486"/>
                    </a:lnTo>
                    <a:lnTo>
                      <a:pt x="1152" y="522"/>
                    </a:lnTo>
                    <a:lnTo>
                      <a:pt x="1136" y="540"/>
                    </a:lnTo>
                    <a:lnTo>
                      <a:pt x="1114" y="556"/>
                    </a:lnTo>
                    <a:lnTo>
                      <a:pt x="1106" y="562"/>
                    </a:lnTo>
                    <a:lnTo>
                      <a:pt x="1082" y="576"/>
                    </a:lnTo>
                    <a:lnTo>
                      <a:pt x="1056" y="586"/>
                    </a:lnTo>
                    <a:lnTo>
                      <a:pt x="970" y="616"/>
                    </a:lnTo>
                    <a:lnTo>
                      <a:pt x="958" y="618"/>
                    </a:lnTo>
                    <a:lnTo>
                      <a:pt x="944" y="620"/>
                    </a:lnTo>
                    <a:lnTo>
                      <a:pt x="930" y="618"/>
                    </a:lnTo>
                    <a:lnTo>
                      <a:pt x="918" y="614"/>
                    </a:lnTo>
                    <a:lnTo>
                      <a:pt x="844" y="578"/>
                    </a:lnTo>
                    <a:lnTo>
                      <a:pt x="794" y="554"/>
                    </a:lnTo>
                    <a:lnTo>
                      <a:pt x="732" y="528"/>
                    </a:lnTo>
                    <a:lnTo>
                      <a:pt x="708" y="518"/>
                    </a:lnTo>
                    <a:lnTo>
                      <a:pt x="680" y="510"/>
                    </a:lnTo>
                    <a:lnTo>
                      <a:pt x="632" y="498"/>
                    </a:lnTo>
                    <a:lnTo>
                      <a:pt x="622" y="494"/>
                    </a:lnTo>
                    <a:lnTo>
                      <a:pt x="612" y="488"/>
                    </a:lnTo>
                    <a:lnTo>
                      <a:pt x="604" y="478"/>
                    </a:lnTo>
                    <a:lnTo>
                      <a:pt x="598" y="468"/>
                    </a:lnTo>
                    <a:lnTo>
                      <a:pt x="586" y="450"/>
                    </a:lnTo>
                    <a:lnTo>
                      <a:pt x="578" y="440"/>
                    </a:lnTo>
                    <a:lnTo>
                      <a:pt x="574" y="434"/>
                    </a:lnTo>
                    <a:lnTo>
                      <a:pt x="572" y="426"/>
                    </a:lnTo>
                    <a:lnTo>
                      <a:pt x="570" y="406"/>
                    </a:lnTo>
                    <a:lnTo>
                      <a:pt x="570" y="340"/>
                    </a:lnTo>
                    <a:lnTo>
                      <a:pt x="572" y="328"/>
                    </a:lnTo>
                    <a:lnTo>
                      <a:pt x="574" y="314"/>
                    </a:lnTo>
                    <a:lnTo>
                      <a:pt x="578" y="300"/>
                    </a:lnTo>
                    <a:lnTo>
                      <a:pt x="584" y="288"/>
                    </a:lnTo>
                    <a:lnTo>
                      <a:pt x="588" y="278"/>
                    </a:lnTo>
                    <a:lnTo>
                      <a:pt x="594" y="264"/>
                    </a:lnTo>
                    <a:lnTo>
                      <a:pt x="596" y="252"/>
                    </a:lnTo>
                    <a:lnTo>
                      <a:pt x="596" y="240"/>
                    </a:lnTo>
                    <a:lnTo>
                      <a:pt x="596" y="210"/>
                    </a:lnTo>
                    <a:lnTo>
                      <a:pt x="596" y="206"/>
                    </a:lnTo>
                    <a:lnTo>
                      <a:pt x="594" y="204"/>
                    </a:lnTo>
                    <a:lnTo>
                      <a:pt x="584" y="196"/>
                    </a:lnTo>
                    <a:lnTo>
                      <a:pt x="578" y="192"/>
                    </a:lnTo>
                    <a:lnTo>
                      <a:pt x="572" y="184"/>
                    </a:lnTo>
                    <a:lnTo>
                      <a:pt x="568" y="176"/>
                    </a:lnTo>
                    <a:lnTo>
                      <a:pt x="566" y="164"/>
                    </a:lnTo>
                    <a:lnTo>
                      <a:pt x="560" y="146"/>
                    </a:lnTo>
                    <a:lnTo>
                      <a:pt x="548" y="94"/>
                    </a:lnTo>
                    <a:lnTo>
                      <a:pt x="540" y="72"/>
                    </a:lnTo>
                    <a:lnTo>
                      <a:pt x="528" y="52"/>
                    </a:lnTo>
                    <a:lnTo>
                      <a:pt x="516" y="38"/>
                    </a:lnTo>
                    <a:lnTo>
                      <a:pt x="510" y="34"/>
                    </a:lnTo>
                    <a:lnTo>
                      <a:pt x="506" y="34"/>
                    </a:lnTo>
                    <a:lnTo>
                      <a:pt x="498" y="32"/>
                    </a:lnTo>
                    <a:lnTo>
                      <a:pt x="486" y="28"/>
                    </a:lnTo>
                    <a:lnTo>
                      <a:pt x="476" y="24"/>
                    </a:lnTo>
                    <a:lnTo>
                      <a:pt x="466" y="22"/>
                    </a:lnTo>
                    <a:lnTo>
                      <a:pt x="454" y="20"/>
                    </a:lnTo>
                    <a:lnTo>
                      <a:pt x="438" y="10"/>
                    </a:lnTo>
                    <a:lnTo>
                      <a:pt x="428" y="6"/>
                    </a:lnTo>
                    <a:lnTo>
                      <a:pt x="416" y="2"/>
                    </a:lnTo>
                    <a:lnTo>
                      <a:pt x="404" y="0"/>
                    </a:lnTo>
                    <a:lnTo>
                      <a:pt x="390" y="0"/>
                    </a:lnTo>
                    <a:lnTo>
                      <a:pt x="388" y="0"/>
                    </a:lnTo>
                    <a:lnTo>
                      <a:pt x="348" y="0"/>
                    </a:lnTo>
                    <a:lnTo>
                      <a:pt x="332" y="2"/>
                    </a:lnTo>
                    <a:lnTo>
                      <a:pt x="314" y="10"/>
                    </a:lnTo>
                    <a:lnTo>
                      <a:pt x="292" y="24"/>
                    </a:lnTo>
                    <a:lnTo>
                      <a:pt x="272" y="40"/>
                    </a:lnTo>
                    <a:lnTo>
                      <a:pt x="252" y="58"/>
                    </a:lnTo>
                    <a:lnTo>
                      <a:pt x="238" y="76"/>
                    </a:lnTo>
                    <a:lnTo>
                      <a:pt x="228" y="94"/>
                    </a:lnTo>
                    <a:lnTo>
                      <a:pt x="226" y="100"/>
                    </a:lnTo>
                    <a:lnTo>
                      <a:pt x="224" y="106"/>
                    </a:lnTo>
                    <a:lnTo>
                      <a:pt x="222" y="120"/>
                    </a:lnTo>
                    <a:lnTo>
                      <a:pt x="216" y="136"/>
                    </a:lnTo>
                    <a:lnTo>
                      <a:pt x="214" y="146"/>
                    </a:lnTo>
                    <a:lnTo>
                      <a:pt x="212" y="158"/>
                    </a:lnTo>
                    <a:lnTo>
                      <a:pt x="212" y="170"/>
                    </a:lnTo>
                    <a:lnTo>
                      <a:pt x="214" y="182"/>
                    </a:lnTo>
                    <a:lnTo>
                      <a:pt x="220" y="224"/>
                    </a:lnTo>
                    <a:lnTo>
                      <a:pt x="224" y="250"/>
                    </a:lnTo>
                    <a:lnTo>
                      <a:pt x="224" y="276"/>
                    </a:lnTo>
                    <a:lnTo>
                      <a:pt x="226" y="298"/>
                    </a:lnTo>
                    <a:lnTo>
                      <a:pt x="230" y="318"/>
                    </a:lnTo>
                    <a:lnTo>
                      <a:pt x="240" y="334"/>
                    </a:lnTo>
                    <a:lnTo>
                      <a:pt x="250" y="348"/>
                    </a:lnTo>
                    <a:lnTo>
                      <a:pt x="262" y="362"/>
                    </a:lnTo>
                    <a:lnTo>
                      <a:pt x="272" y="378"/>
                    </a:lnTo>
                    <a:lnTo>
                      <a:pt x="282" y="398"/>
                    </a:lnTo>
                    <a:lnTo>
                      <a:pt x="298" y="418"/>
                    </a:lnTo>
                    <a:lnTo>
                      <a:pt x="304" y="424"/>
                    </a:lnTo>
                    <a:lnTo>
                      <a:pt x="310" y="434"/>
                    </a:lnTo>
                    <a:lnTo>
                      <a:pt x="316" y="446"/>
                    </a:lnTo>
                    <a:lnTo>
                      <a:pt x="320" y="460"/>
                    </a:lnTo>
                    <a:lnTo>
                      <a:pt x="322" y="472"/>
                    </a:lnTo>
                    <a:lnTo>
                      <a:pt x="322" y="502"/>
                    </a:lnTo>
                    <a:lnTo>
                      <a:pt x="320" y="526"/>
                    </a:lnTo>
                    <a:lnTo>
                      <a:pt x="318" y="538"/>
                    </a:lnTo>
                    <a:lnTo>
                      <a:pt x="314" y="548"/>
                    </a:lnTo>
                    <a:lnTo>
                      <a:pt x="308" y="556"/>
                    </a:lnTo>
                    <a:lnTo>
                      <a:pt x="300" y="564"/>
                    </a:lnTo>
                    <a:lnTo>
                      <a:pt x="292" y="570"/>
                    </a:lnTo>
                    <a:lnTo>
                      <a:pt x="280" y="576"/>
                    </a:lnTo>
                    <a:lnTo>
                      <a:pt x="220" y="602"/>
                    </a:lnTo>
                    <a:lnTo>
                      <a:pt x="200" y="610"/>
                    </a:lnTo>
                    <a:lnTo>
                      <a:pt x="190" y="614"/>
                    </a:lnTo>
                    <a:lnTo>
                      <a:pt x="178" y="618"/>
                    </a:lnTo>
                    <a:lnTo>
                      <a:pt x="160" y="628"/>
                    </a:lnTo>
                    <a:lnTo>
                      <a:pt x="150" y="634"/>
                    </a:lnTo>
                    <a:lnTo>
                      <a:pt x="128" y="652"/>
                    </a:lnTo>
                    <a:lnTo>
                      <a:pt x="110" y="670"/>
                    </a:lnTo>
                    <a:lnTo>
                      <a:pt x="104" y="678"/>
                    </a:lnTo>
                    <a:lnTo>
                      <a:pt x="86" y="696"/>
                    </a:lnTo>
                    <a:lnTo>
                      <a:pt x="70" y="710"/>
                    </a:lnTo>
                    <a:lnTo>
                      <a:pt x="66" y="716"/>
                    </a:lnTo>
                    <a:lnTo>
                      <a:pt x="60" y="724"/>
                    </a:lnTo>
                    <a:lnTo>
                      <a:pt x="58" y="732"/>
                    </a:lnTo>
                    <a:lnTo>
                      <a:pt x="56" y="740"/>
                    </a:lnTo>
                    <a:lnTo>
                      <a:pt x="56" y="786"/>
                    </a:lnTo>
                    <a:lnTo>
                      <a:pt x="56" y="802"/>
                    </a:lnTo>
                    <a:lnTo>
                      <a:pt x="58" y="858"/>
                    </a:lnTo>
                    <a:lnTo>
                      <a:pt x="70" y="958"/>
                    </a:lnTo>
                    <a:lnTo>
                      <a:pt x="70" y="986"/>
                    </a:lnTo>
                    <a:lnTo>
                      <a:pt x="68" y="1014"/>
                    </a:lnTo>
                    <a:lnTo>
                      <a:pt x="48" y="1116"/>
                    </a:lnTo>
                    <a:lnTo>
                      <a:pt x="38" y="1170"/>
                    </a:lnTo>
                    <a:lnTo>
                      <a:pt x="6" y="1344"/>
                    </a:lnTo>
                    <a:lnTo>
                      <a:pt x="2" y="1370"/>
                    </a:lnTo>
                    <a:lnTo>
                      <a:pt x="0" y="1396"/>
                    </a:lnTo>
                    <a:lnTo>
                      <a:pt x="0" y="1444"/>
                    </a:lnTo>
                    <a:lnTo>
                      <a:pt x="2" y="1470"/>
                    </a:lnTo>
                    <a:lnTo>
                      <a:pt x="8" y="1494"/>
                    </a:lnTo>
                    <a:lnTo>
                      <a:pt x="16" y="1518"/>
                    </a:lnTo>
                    <a:lnTo>
                      <a:pt x="28" y="1542"/>
                    </a:lnTo>
                    <a:lnTo>
                      <a:pt x="30" y="1542"/>
                    </a:lnTo>
                    <a:lnTo>
                      <a:pt x="60" y="1588"/>
                    </a:lnTo>
                    <a:lnTo>
                      <a:pt x="70" y="1602"/>
                    </a:lnTo>
                    <a:lnTo>
                      <a:pt x="76" y="1614"/>
                    </a:lnTo>
                    <a:lnTo>
                      <a:pt x="82" y="1626"/>
                    </a:lnTo>
                    <a:lnTo>
                      <a:pt x="88" y="1640"/>
                    </a:lnTo>
                    <a:lnTo>
                      <a:pt x="90" y="1652"/>
                    </a:lnTo>
                    <a:lnTo>
                      <a:pt x="92" y="1660"/>
                    </a:lnTo>
                    <a:lnTo>
                      <a:pt x="96" y="1688"/>
                    </a:lnTo>
                    <a:lnTo>
                      <a:pt x="98" y="1714"/>
                    </a:lnTo>
                    <a:lnTo>
                      <a:pt x="98" y="1804"/>
                    </a:lnTo>
                    <a:lnTo>
                      <a:pt x="100" y="1830"/>
                    </a:lnTo>
                    <a:lnTo>
                      <a:pt x="104" y="1858"/>
                    </a:lnTo>
                    <a:lnTo>
                      <a:pt x="120" y="1924"/>
                    </a:lnTo>
                    <a:lnTo>
                      <a:pt x="132" y="1978"/>
                    </a:lnTo>
                    <a:lnTo>
                      <a:pt x="136" y="1996"/>
                    </a:lnTo>
                    <a:lnTo>
                      <a:pt x="138" y="2022"/>
                    </a:lnTo>
                    <a:lnTo>
                      <a:pt x="140" y="2050"/>
                    </a:lnTo>
                    <a:lnTo>
                      <a:pt x="140" y="2056"/>
                    </a:lnTo>
                    <a:lnTo>
                      <a:pt x="140" y="2102"/>
                    </a:lnTo>
                    <a:lnTo>
                      <a:pt x="142" y="2124"/>
                    </a:lnTo>
                    <a:lnTo>
                      <a:pt x="144" y="2148"/>
                    </a:lnTo>
                    <a:lnTo>
                      <a:pt x="164" y="2262"/>
                    </a:lnTo>
                    <a:lnTo>
                      <a:pt x="172" y="2318"/>
                    </a:lnTo>
                    <a:lnTo>
                      <a:pt x="180" y="2418"/>
                    </a:lnTo>
                    <a:lnTo>
                      <a:pt x="184" y="2472"/>
                    </a:lnTo>
                    <a:lnTo>
                      <a:pt x="194" y="2660"/>
                    </a:lnTo>
                    <a:lnTo>
                      <a:pt x="198" y="2686"/>
                    </a:lnTo>
                    <a:lnTo>
                      <a:pt x="206" y="2712"/>
                    </a:lnTo>
                    <a:lnTo>
                      <a:pt x="254" y="2842"/>
                    </a:lnTo>
                    <a:lnTo>
                      <a:pt x="256" y="2854"/>
                    </a:lnTo>
                    <a:lnTo>
                      <a:pt x="258" y="2868"/>
                    </a:lnTo>
                    <a:lnTo>
                      <a:pt x="256" y="2880"/>
                    </a:lnTo>
                    <a:lnTo>
                      <a:pt x="254" y="2892"/>
                    </a:lnTo>
                    <a:lnTo>
                      <a:pt x="234" y="2938"/>
                    </a:lnTo>
                    <a:lnTo>
                      <a:pt x="222" y="2962"/>
                    </a:lnTo>
                    <a:lnTo>
                      <a:pt x="206" y="2984"/>
                    </a:lnTo>
                    <a:lnTo>
                      <a:pt x="200" y="2990"/>
                    </a:lnTo>
                    <a:lnTo>
                      <a:pt x="194" y="3000"/>
                    </a:lnTo>
                    <a:lnTo>
                      <a:pt x="188" y="3014"/>
                    </a:lnTo>
                    <a:lnTo>
                      <a:pt x="184" y="3026"/>
                    </a:lnTo>
                    <a:lnTo>
                      <a:pt x="182" y="3038"/>
                    </a:lnTo>
                    <a:lnTo>
                      <a:pt x="182" y="3094"/>
                    </a:lnTo>
                    <a:lnTo>
                      <a:pt x="184" y="3104"/>
                    </a:lnTo>
                    <a:lnTo>
                      <a:pt x="190" y="3114"/>
                    </a:lnTo>
                    <a:lnTo>
                      <a:pt x="200" y="3120"/>
                    </a:lnTo>
                    <a:lnTo>
                      <a:pt x="210" y="3124"/>
                    </a:lnTo>
                    <a:lnTo>
                      <a:pt x="252" y="3128"/>
                    </a:lnTo>
                    <a:lnTo>
                      <a:pt x="264" y="3128"/>
                    </a:lnTo>
                    <a:lnTo>
                      <a:pt x="278" y="3126"/>
                    </a:lnTo>
                    <a:lnTo>
                      <a:pt x="290" y="3120"/>
                    </a:lnTo>
                    <a:lnTo>
                      <a:pt x="300" y="3114"/>
                    </a:lnTo>
                    <a:lnTo>
                      <a:pt x="314" y="3102"/>
                    </a:lnTo>
                    <a:lnTo>
                      <a:pt x="348" y="3072"/>
                    </a:lnTo>
                    <a:lnTo>
                      <a:pt x="360" y="3060"/>
                    </a:lnTo>
                    <a:lnTo>
                      <a:pt x="368" y="3048"/>
                    </a:lnTo>
                    <a:lnTo>
                      <a:pt x="372" y="3042"/>
                    </a:lnTo>
                    <a:lnTo>
                      <a:pt x="374" y="3034"/>
                    </a:lnTo>
                    <a:lnTo>
                      <a:pt x="376" y="3018"/>
                    </a:lnTo>
                    <a:lnTo>
                      <a:pt x="378" y="3000"/>
                    </a:lnTo>
                    <a:lnTo>
                      <a:pt x="384" y="2982"/>
                    </a:lnTo>
                    <a:lnTo>
                      <a:pt x="390" y="2968"/>
                    </a:lnTo>
                    <a:lnTo>
                      <a:pt x="394" y="2964"/>
                    </a:lnTo>
                    <a:lnTo>
                      <a:pt x="396" y="2964"/>
                    </a:lnTo>
                    <a:lnTo>
                      <a:pt x="406" y="2958"/>
                    </a:lnTo>
                    <a:lnTo>
                      <a:pt x="424" y="2946"/>
                    </a:lnTo>
                    <a:lnTo>
                      <a:pt x="424" y="2944"/>
                    </a:lnTo>
                    <a:lnTo>
                      <a:pt x="432" y="2936"/>
                    </a:lnTo>
                    <a:lnTo>
                      <a:pt x="440" y="2926"/>
                    </a:lnTo>
                    <a:lnTo>
                      <a:pt x="448" y="2914"/>
                    </a:lnTo>
                    <a:lnTo>
                      <a:pt x="452" y="2902"/>
                    </a:lnTo>
                    <a:lnTo>
                      <a:pt x="454" y="2892"/>
                    </a:lnTo>
                    <a:lnTo>
                      <a:pt x="452" y="2878"/>
                    </a:lnTo>
                    <a:lnTo>
                      <a:pt x="450" y="2866"/>
                    </a:lnTo>
                    <a:lnTo>
                      <a:pt x="446" y="2854"/>
                    </a:lnTo>
                    <a:lnTo>
                      <a:pt x="442" y="2844"/>
                    </a:lnTo>
                    <a:lnTo>
                      <a:pt x="438" y="2832"/>
                    </a:lnTo>
                    <a:lnTo>
                      <a:pt x="434" y="2818"/>
                    </a:lnTo>
                    <a:lnTo>
                      <a:pt x="432" y="2804"/>
                    </a:lnTo>
                    <a:lnTo>
                      <a:pt x="432" y="2792"/>
                    </a:lnTo>
                    <a:lnTo>
                      <a:pt x="432" y="2762"/>
                    </a:lnTo>
                    <a:lnTo>
                      <a:pt x="432" y="2708"/>
                    </a:lnTo>
                    <a:lnTo>
                      <a:pt x="432" y="2700"/>
                    </a:lnTo>
                    <a:lnTo>
                      <a:pt x="430" y="2674"/>
                    </a:lnTo>
                    <a:lnTo>
                      <a:pt x="424" y="2646"/>
                    </a:lnTo>
                    <a:lnTo>
                      <a:pt x="410" y="2592"/>
                    </a:lnTo>
                    <a:lnTo>
                      <a:pt x="404" y="2566"/>
                    </a:lnTo>
                    <a:lnTo>
                      <a:pt x="402" y="2538"/>
                    </a:lnTo>
                    <a:lnTo>
                      <a:pt x="402" y="2472"/>
                    </a:lnTo>
                    <a:lnTo>
                      <a:pt x="400" y="2418"/>
                    </a:lnTo>
                    <a:lnTo>
                      <a:pt x="392" y="2304"/>
                    </a:lnTo>
                    <a:lnTo>
                      <a:pt x="392" y="2276"/>
                    </a:lnTo>
                    <a:lnTo>
                      <a:pt x="396" y="2250"/>
                    </a:lnTo>
                    <a:lnTo>
                      <a:pt x="412" y="2160"/>
                    </a:lnTo>
                    <a:lnTo>
                      <a:pt x="416" y="2132"/>
                    </a:lnTo>
                    <a:lnTo>
                      <a:pt x="418" y="2104"/>
                    </a:lnTo>
                    <a:lnTo>
                      <a:pt x="418" y="2038"/>
                    </a:lnTo>
                    <a:lnTo>
                      <a:pt x="418" y="1984"/>
                    </a:lnTo>
                    <a:lnTo>
                      <a:pt x="418" y="1980"/>
                    </a:lnTo>
                    <a:lnTo>
                      <a:pt x="420" y="1956"/>
                    </a:lnTo>
                    <a:lnTo>
                      <a:pt x="422" y="1946"/>
                    </a:lnTo>
                    <a:lnTo>
                      <a:pt x="426" y="1938"/>
                    </a:lnTo>
                    <a:lnTo>
                      <a:pt x="428" y="1936"/>
                    </a:lnTo>
                    <a:lnTo>
                      <a:pt x="432" y="1934"/>
                    </a:lnTo>
                    <a:lnTo>
                      <a:pt x="436" y="1936"/>
                    </a:lnTo>
                    <a:lnTo>
                      <a:pt x="438" y="1938"/>
                    </a:lnTo>
                    <a:lnTo>
                      <a:pt x="446" y="1956"/>
                    </a:lnTo>
                    <a:lnTo>
                      <a:pt x="454" y="1978"/>
                    </a:lnTo>
                    <a:lnTo>
                      <a:pt x="492" y="2094"/>
                    </a:lnTo>
                    <a:lnTo>
                      <a:pt x="506" y="2144"/>
                    </a:lnTo>
                    <a:lnTo>
                      <a:pt x="512" y="2166"/>
                    </a:lnTo>
                    <a:lnTo>
                      <a:pt x="514" y="2186"/>
                    </a:lnTo>
                    <a:lnTo>
                      <a:pt x="514" y="2216"/>
                    </a:lnTo>
                    <a:lnTo>
                      <a:pt x="514" y="2256"/>
                    </a:lnTo>
                    <a:lnTo>
                      <a:pt x="514" y="2564"/>
                    </a:lnTo>
                    <a:lnTo>
                      <a:pt x="514" y="2618"/>
                    </a:lnTo>
                    <a:lnTo>
                      <a:pt x="514" y="2730"/>
                    </a:lnTo>
                    <a:lnTo>
                      <a:pt x="514" y="2758"/>
                    </a:lnTo>
                    <a:lnTo>
                      <a:pt x="518" y="2784"/>
                    </a:lnTo>
                    <a:lnTo>
                      <a:pt x="538" y="2924"/>
                    </a:lnTo>
                    <a:lnTo>
                      <a:pt x="546" y="2978"/>
                    </a:lnTo>
                    <a:lnTo>
                      <a:pt x="550" y="3010"/>
                    </a:lnTo>
                    <a:lnTo>
                      <a:pt x="556" y="3032"/>
                    </a:lnTo>
                    <a:lnTo>
                      <a:pt x="562" y="3048"/>
                    </a:lnTo>
                    <a:lnTo>
                      <a:pt x="578" y="3072"/>
                    </a:lnTo>
                    <a:lnTo>
                      <a:pt x="580" y="3076"/>
                    </a:lnTo>
                    <a:lnTo>
                      <a:pt x="580" y="3082"/>
                    </a:lnTo>
                    <a:lnTo>
                      <a:pt x="580" y="3086"/>
                    </a:lnTo>
                    <a:lnTo>
                      <a:pt x="578" y="3090"/>
                    </a:lnTo>
                    <a:lnTo>
                      <a:pt x="574" y="3094"/>
                    </a:lnTo>
                    <a:lnTo>
                      <a:pt x="572" y="3100"/>
                    </a:lnTo>
                    <a:lnTo>
                      <a:pt x="570" y="3114"/>
                    </a:lnTo>
                    <a:lnTo>
                      <a:pt x="570" y="3144"/>
                    </a:lnTo>
                    <a:lnTo>
                      <a:pt x="570" y="3168"/>
                    </a:lnTo>
                    <a:lnTo>
                      <a:pt x="572" y="3174"/>
                    </a:lnTo>
                    <a:lnTo>
                      <a:pt x="576" y="3182"/>
                    </a:lnTo>
                    <a:lnTo>
                      <a:pt x="588" y="3202"/>
                    </a:lnTo>
                    <a:lnTo>
                      <a:pt x="592" y="3206"/>
                    </a:lnTo>
                    <a:lnTo>
                      <a:pt x="600" y="3214"/>
                    </a:lnTo>
                    <a:lnTo>
                      <a:pt x="610" y="3222"/>
                    </a:lnTo>
                    <a:lnTo>
                      <a:pt x="618" y="3226"/>
                    </a:lnTo>
                    <a:lnTo>
                      <a:pt x="624" y="3228"/>
                    </a:lnTo>
                    <a:lnTo>
                      <a:pt x="630" y="3230"/>
                    </a:lnTo>
                    <a:lnTo>
                      <a:pt x="634" y="3236"/>
                    </a:lnTo>
                    <a:lnTo>
                      <a:pt x="638" y="3244"/>
                    </a:lnTo>
                    <a:lnTo>
                      <a:pt x="638" y="3256"/>
                    </a:lnTo>
                    <a:lnTo>
                      <a:pt x="638" y="3262"/>
                    </a:lnTo>
                    <a:lnTo>
                      <a:pt x="638" y="3308"/>
                    </a:lnTo>
                    <a:lnTo>
                      <a:pt x="640" y="3324"/>
                    </a:lnTo>
                    <a:lnTo>
                      <a:pt x="646" y="3338"/>
                    </a:lnTo>
                    <a:lnTo>
                      <a:pt x="666" y="3368"/>
                    </a:lnTo>
                    <a:lnTo>
                      <a:pt x="682" y="3386"/>
                    </a:lnTo>
                    <a:lnTo>
                      <a:pt x="702" y="3404"/>
                    </a:lnTo>
                    <a:lnTo>
                      <a:pt x="716" y="3416"/>
                    </a:lnTo>
                    <a:lnTo>
                      <a:pt x="742" y="3440"/>
                    </a:lnTo>
                    <a:lnTo>
                      <a:pt x="748" y="3442"/>
                    </a:lnTo>
                    <a:lnTo>
                      <a:pt x="756" y="3442"/>
                    </a:lnTo>
                    <a:lnTo>
                      <a:pt x="776" y="3442"/>
                    </a:lnTo>
                    <a:lnTo>
                      <a:pt x="848" y="3436"/>
                    </a:lnTo>
                    <a:lnTo>
                      <a:pt x="858" y="3434"/>
                    </a:lnTo>
                    <a:lnTo>
                      <a:pt x="868" y="3426"/>
                    </a:lnTo>
                    <a:lnTo>
                      <a:pt x="874" y="3418"/>
                    </a:lnTo>
                    <a:lnTo>
                      <a:pt x="876" y="3406"/>
                    </a:lnTo>
                    <a:lnTo>
                      <a:pt x="876" y="3354"/>
                    </a:lnTo>
                    <a:lnTo>
                      <a:pt x="874" y="3342"/>
                    </a:lnTo>
                    <a:lnTo>
                      <a:pt x="872" y="3328"/>
                    </a:lnTo>
                    <a:lnTo>
                      <a:pt x="866" y="3318"/>
                    </a:lnTo>
                    <a:lnTo>
                      <a:pt x="862" y="3308"/>
                    </a:lnTo>
                    <a:lnTo>
                      <a:pt x="848" y="3288"/>
                    </a:lnTo>
                    <a:lnTo>
                      <a:pt x="836" y="3264"/>
                    </a:lnTo>
                    <a:lnTo>
                      <a:pt x="802" y="3194"/>
                    </a:lnTo>
                    <a:lnTo>
                      <a:pt x="792" y="3170"/>
                    </a:lnTo>
                    <a:lnTo>
                      <a:pt x="784" y="3144"/>
                    </a:lnTo>
                    <a:lnTo>
                      <a:pt x="782" y="3134"/>
                    </a:lnTo>
                    <a:lnTo>
                      <a:pt x="782" y="3120"/>
                    </a:lnTo>
                    <a:lnTo>
                      <a:pt x="782" y="3106"/>
                    </a:lnTo>
                    <a:lnTo>
                      <a:pt x="782" y="3094"/>
                    </a:lnTo>
                    <a:lnTo>
                      <a:pt x="788" y="3064"/>
                    </a:lnTo>
                    <a:lnTo>
                      <a:pt x="790" y="3036"/>
                    </a:lnTo>
                    <a:lnTo>
                      <a:pt x="792" y="3010"/>
                    </a:lnTo>
                    <a:lnTo>
                      <a:pt x="792" y="2932"/>
                    </a:lnTo>
                    <a:lnTo>
                      <a:pt x="792" y="2904"/>
                    </a:lnTo>
                    <a:lnTo>
                      <a:pt x="796" y="2876"/>
                    </a:lnTo>
                    <a:lnTo>
                      <a:pt x="816" y="2750"/>
                    </a:lnTo>
                    <a:lnTo>
                      <a:pt x="818" y="2724"/>
                    </a:lnTo>
                    <a:lnTo>
                      <a:pt x="816" y="2696"/>
                    </a:lnTo>
                    <a:lnTo>
                      <a:pt x="796" y="2594"/>
                    </a:lnTo>
                    <a:lnTo>
                      <a:pt x="792" y="2566"/>
                    </a:lnTo>
                    <a:lnTo>
                      <a:pt x="792" y="2538"/>
                    </a:lnTo>
                    <a:lnTo>
                      <a:pt x="792" y="2462"/>
                    </a:lnTo>
                    <a:lnTo>
                      <a:pt x="790" y="2406"/>
                    </a:lnTo>
                    <a:lnTo>
                      <a:pt x="780" y="2280"/>
                    </a:lnTo>
                    <a:lnTo>
                      <a:pt x="780" y="2254"/>
                    </a:lnTo>
                    <a:lnTo>
                      <a:pt x="782" y="2226"/>
                    </a:lnTo>
                    <a:lnTo>
                      <a:pt x="788" y="2196"/>
                    </a:lnTo>
                    <a:lnTo>
                      <a:pt x="794" y="2142"/>
                    </a:lnTo>
                    <a:lnTo>
                      <a:pt x="800" y="2086"/>
                    </a:lnTo>
                    <a:lnTo>
                      <a:pt x="804" y="2060"/>
                    </a:lnTo>
                    <a:lnTo>
                      <a:pt x="804" y="2032"/>
                    </a:lnTo>
                    <a:lnTo>
                      <a:pt x="804" y="1894"/>
                    </a:lnTo>
                    <a:lnTo>
                      <a:pt x="804" y="1868"/>
                    </a:lnTo>
                    <a:lnTo>
                      <a:pt x="800" y="1840"/>
                    </a:lnTo>
                    <a:lnTo>
                      <a:pt x="794" y="1784"/>
                    </a:lnTo>
                    <a:lnTo>
                      <a:pt x="790" y="1758"/>
                    </a:lnTo>
                    <a:lnTo>
                      <a:pt x="782" y="1732"/>
                    </a:lnTo>
                    <a:lnTo>
                      <a:pt x="772" y="1700"/>
                    </a:lnTo>
                    <a:lnTo>
                      <a:pt x="764" y="1678"/>
                    </a:lnTo>
                    <a:lnTo>
                      <a:pt x="762" y="1662"/>
                    </a:lnTo>
                    <a:lnTo>
                      <a:pt x="764" y="1656"/>
                    </a:lnTo>
                    <a:lnTo>
                      <a:pt x="766" y="1650"/>
                    </a:lnTo>
                    <a:lnTo>
                      <a:pt x="772" y="1644"/>
                    </a:lnTo>
                    <a:lnTo>
                      <a:pt x="776" y="1638"/>
                    </a:lnTo>
                    <a:lnTo>
                      <a:pt x="784" y="1634"/>
                    </a:lnTo>
                    <a:lnTo>
                      <a:pt x="792" y="1630"/>
                    </a:lnTo>
                    <a:lnTo>
                      <a:pt x="800" y="1630"/>
                    </a:lnTo>
                    <a:lnTo>
                      <a:pt x="806" y="1632"/>
                    </a:lnTo>
                    <a:lnTo>
                      <a:pt x="812" y="1634"/>
                    </a:lnTo>
                    <a:lnTo>
                      <a:pt x="818" y="1634"/>
                    </a:lnTo>
                    <a:lnTo>
                      <a:pt x="822" y="1630"/>
                    </a:lnTo>
                    <a:lnTo>
                      <a:pt x="826" y="1626"/>
                    </a:lnTo>
                    <a:lnTo>
                      <a:pt x="836" y="1614"/>
                    </a:lnTo>
                    <a:lnTo>
                      <a:pt x="846" y="1602"/>
                    </a:lnTo>
                    <a:lnTo>
                      <a:pt x="852" y="1598"/>
                    </a:lnTo>
                    <a:lnTo>
                      <a:pt x="860" y="1600"/>
                    </a:lnTo>
                    <a:lnTo>
                      <a:pt x="868" y="1604"/>
                    </a:lnTo>
                    <a:lnTo>
                      <a:pt x="874" y="1612"/>
                    </a:lnTo>
                    <a:lnTo>
                      <a:pt x="902" y="1650"/>
                    </a:lnTo>
                    <a:lnTo>
                      <a:pt x="914" y="1666"/>
                    </a:lnTo>
                    <a:lnTo>
                      <a:pt x="920" y="1672"/>
                    </a:lnTo>
                    <a:lnTo>
                      <a:pt x="924" y="1674"/>
                    </a:lnTo>
                    <a:lnTo>
                      <a:pt x="926" y="1674"/>
                    </a:lnTo>
                    <a:lnTo>
                      <a:pt x="930" y="1678"/>
                    </a:lnTo>
                    <a:lnTo>
                      <a:pt x="936" y="1692"/>
                    </a:lnTo>
                    <a:lnTo>
                      <a:pt x="942" y="1712"/>
                    </a:lnTo>
                    <a:lnTo>
                      <a:pt x="944" y="1738"/>
                    </a:lnTo>
                    <a:lnTo>
                      <a:pt x="944" y="1744"/>
                    </a:lnTo>
                    <a:lnTo>
                      <a:pt x="944" y="1798"/>
                    </a:lnTo>
                    <a:lnTo>
                      <a:pt x="944" y="2068"/>
                    </a:lnTo>
                    <a:lnTo>
                      <a:pt x="940" y="2096"/>
                    </a:lnTo>
                    <a:lnTo>
                      <a:pt x="936" y="2122"/>
                    </a:lnTo>
                    <a:lnTo>
                      <a:pt x="926" y="2154"/>
                    </a:lnTo>
                    <a:lnTo>
                      <a:pt x="918" y="2180"/>
                    </a:lnTo>
                    <a:lnTo>
                      <a:pt x="912" y="2208"/>
                    </a:lnTo>
                    <a:lnTo>
                      <a:pt x="906" y="2238"/>
                    </a:lnTo>
                    <a:lnTo>
                      <a:pt x="902" y="2264"/>
                    </a:lnTo>
                    <a:lnTo>
                      <a:pt x="902" y="2292"/>
                    </a:lnTo>
                    <a:lnTo>
                      <a:pt x="902" y="2358"/>
                    </a:lnTo>
                    <a:lnTo>
                      <a:pt x="898" y="2386"/>
                    </a:lnTo>
                    <a:lnTo>
                      <a:pt x="892" y="2412"/>
                    </a:lnTo>
                    <a:lnTo>
                      <a:pt x="868" y="2480"/>
                    </a:lnTo>
                    <a:lnTo>
                      <a:pt x="862" y="2506"/>
                    </a:lnTo>
                    <a:lnTo>
                      <a:pt x="856" y="2534"/>
                    </a:lnTo>
                    <a:lnTo>
                      <a:pt x="850" y="2576"/>
                    </a:lnTo>
                    <a:lnTo>
                      <a:pt x="844" y="2630"/>
                    </a:lnTo>
                    <a:lnTo>
                      <a:pt x="836" y="2720"/>
                    </a:lnTo>
                    <a:lnTo>
                      <a:pt x="836" y="2732"/>
                    </a:lnTo>
                    <a:lnTo>
                      <a:pt x="838" y="2744"/>
                    </a:lnTo>
                    <a:lnTo>
                      <a:pt x="842" y="2756"/>
                    </a:lnTo>
                    <a:lnTo>
                      <a:pt x="846" y="2764"/>
                    </a:lnTo>
                    <a:lnTo>
                      <a:pt x="850" y="2774"/>
                    </a:lnTo>
                    <a:lnTo>
                      <a:pt x="852" y="2782"/>
                    </a:lnTo>
                    <a:lnTo>
                      <a:pt x="850" y="2792"/>
                    </a:lnTo>
                    <a:lnTo>
                      <a:pt x="846" y="2802"/>
                    </a:lnTo>
                    <a:lnTo>
                      <a:pt x="842" y="2810"/>
                    </a:lnTo>
                    <a:lnTo>
                      <a:pt x="842" y="2820"/>
                    </a:lnTo>
                    <a:lnTo>
                      <a:pt x="846" y="2830"/>
                    </a:lnTo>
                    <a:lnTo>
                      <a:pt x="852" y="2840"/>
                    </a:lnTo>
                    <a:lnTo>
                      <a:pt x="858" y="2846"/>
                    </a:lnTo>
                    <a:lnTo>
                      <a:pt x="864" y="2856"/>
                    </a:lnTo>
                    <a:lnTo>
                      <a:pt x="870" y="2870"/>
                    </a:lnTo>
                    <a:lnTo>
                      <a:pt x="874" y="2882"/>
                    </a:lnTo>
                    <a:lnTo>
                      <a:pt x="876" y="2894"/>
                    </a:lnTo>
                    <a:lnTo>
                      <a:pt x="876" y="3020"/>
                    </a:lnTo>
                    <a:lnTo>
                      <a:pt x="876" y="3054"/>
                    </a:lnTo>
                    <a:lnTo>
                      <a:pt x="878" y="3062"/>
                    </a:lnTo>
                    <a:lnTo>
                      <a:pt x="882" y="3072"/>
                    </a:lnTo>
                    <a:lnTo>
                      <a:pt x="892" y="3086"/>
                    </a:lnTo>
                    <a:lnTo>
                      <a:pt x="910" y="3102"/>
                    </a:lnTo>
                    <a:lnTo>
                      <a:pt x="920" y="3110"/>
                    </a:lnTo>
                    <a:lnTo>
                      <a:pt x="928" y="3116"/>
                    </a:lnTo>
                    <a:lnTo>
                      <a:pt x="936" y="3120"/>
                    </a:lnTo>
                    <a:lnTo>
                      <a:pt x="944" y="3120"/>
                    </a:lnTo>
                    <a:lnTo>
                      <a:pt x="978" y="3120"/>
                    </a:lnTo>
                    <a:lnTo>
                      <a:pt x="1014" y="3120"/>
                    </a:lnTo>
                    <a:lnTo>
                      <a:pt x="1028" y="3120"/>
                    </a:lnTo>
                    <a:lnTo>
                      <a:pt x="1040" y="3116"/>
                    </a:lnTo>
                    <a:lnTo>
                      <a:pt x="1046" y="3110"/>
                    </a:lnTo>
                    <a:lnTo>
                      <a:pt x="1052" y="3104"/>
                    </a:lnTo>
                    <a:lnTo>
                      <a:pt x="1058" y="3094"/>
                    </a:lnTo>
                    <a:lnTo>
                      <a:pt x="1062" y="3084"/>
                    </a:lnTo>
                    <a:lnTo>
                      <a:pt x="1068" y="3060"/>
                    </a:lnTo>
                    <a:lnTo>
                      <a:pt x="1070" y="3036"/>
                    </a:lnTo>
                    <a:lnTo>
                      <a:pt x="1068" y="3024"/>
                    </a:lnTo>
                    <a:lnTo>
                      <a:pt x="1066" y="3012"/>
                    </a:lnTo>
                    <a:lnTo>
                      <a:pt x="1062" y="2998"/>
                    </a:lnTo>
                    <a:lnTo>
                      <a:pt x="1058" y="2986"/>
                    </a:lnTo>
                    <a:lnTo>
                      <a:pt x="1052" y="2976"/>
                    </a:lnTo>
                    <a:lnTo>
                      <a:pt x="1028" y="2926"/>
                    </a:lnTo>
                    <a:lnTo>
                      <a:pt x="1024" y="2914"/>
                    </a:lnTo>
                    <a:lnTo>
                      <a:pt x="1020" y="2904"/>
                    </a:lnTo>
                    <a:lnTo>
                      <a:pt x="1020" y="2890"/>
                    </a:lnTo>
                    <a:lnTo>
                      <a:pt x="1022" y="2878"/>
                    </a:lnTo>
                    <a:lnTo>
                      <a:pt x="1028" y="2868"/>
                    </a:lnTo>
                    <a:lnTo>
                      <a:pt x="1038" y="2854"/>
                    </a:lnTo>
                    <a:lnTo>
                      <a:pt x="1044" y="2842"/>
                    </a:lnTo>
                    <a:lnTo>
                      <a:pt x="1050" y="2830"/>
                    </a:lnTo>
                    <a:lnTo>
                      <a:pt x="1052" y="2818"/>
                    </a:lnTo>
                    <a:lnTo>
                      <a:pt x="1054" y="2806"/>
                    </a:lnTo>
                    <a:lnTo>
                      <a:pt x="1054" y="2796"/>
                    </a:lnTo>
                    <a:lnTo>
                      <a:pt x="1058" y="2782"/>
                    </a:lnTo>
                    <a:lnTo>
                      <a:pt x="1062" y="2770"/>
                    </a:lnTo>
                    <a:lnTo>
                      <a:pt x="1066" y="2758"/>
                    </a:lnTo>
                    <a:lnTo>
                      <a:pt x="1084" y="2724"/>
                    </a:lnTo>
                    <a:lnTo>
                      <a:pt x="1094" y="2698"/>
                    </a:lnTo>
                    <a:lnTo>
                      <a:pt x="1102" y="2672"/>
                    </a:lnTo>
                    <a:lnTo>
                      <a:pt x="1144" y="2520"/>
                    </a:lnTo>
                    <a:lnTo>
                      <a:pt x="1156" y="2466"/>
                    </a:lnTo>
                    <a:lnTo>
                      <a:pt x="1188" y="2266"/>
                    </a:lnTo>
                    <a:lnTo>
                      <a:pt x="1200" y="2214"/>
                    </a:lnTo>
                    <a:lnTo>
                      <a:pt x="1228" y="2110"/>
                    </a:lnTo>
                    <a:lnTo>
                      <a:pt x="1240" y="2058"/>
                    </a:lnTo>
                    <a:lnTo>
                      <a:pt x="1256" y="1990"/>
                    </a:lnTo>
                    <a:lnTo>
                      <a:pt x="1258" y="1980"/>
                    </a:lnTo>
                    <a:lnTo>
                      <a:pt x="1262" y="1974"/>
                    </a:lnTo>
                    <a:lnTo>
                      <a:pt x="1266" y="1972"/>
                    </a:lnTo>
                    <a:lnTo>
                      <a:pt x="1268" y="1976"/>
                    </a:lnTo>
                    <a:lnTo>
                      <a:pt x="1272" y="1982"/>
                    </a:lnTo>
                    <a:lnTo>
                      <a:pt x="1274" y="1992"/>
                    </a:lnTo>
                    <a:lnTo>
                      <a:pt x="1276" y="2016"/>
                    </a:lnTo>
                    <a:lnTo>
                      <a:pt x="1276" y="2080"/>
                    </a:lnTo>
                    <a:lnTo>
                      <a:pt x="1278" y="2106"/>
                    </a:lnTo>
                    <a:lnTo>
                      <a:pt x="1282" y="2134"/>
                    </a:lnTo>
                    <a:lnTo>
                      <a:pt x="1284" y="2142"/>
                    </a:lnTo>
                    <a:lnTo>
                      <a:pt x="1286" y="2154"/>
                    </a:lnTo>
                    <a:lnTo>
                      <a:pt x="1286" y="2168"/>
                    </a:lnTo>
                    <a:lnTo>
                      <a:pt x="1282" y="2182"/>
                    </a:lnTo>
                    <a:lnTo>
                      <a:pt x="1278" y="2194"/>
                    </a:lnTo>
                    <a:lnTo>
                      <a:pt x="1274" y="2204"/>
                    </a:lnTo>
                    <a:lnTo>
                      <a:pt x="1268" y="2216"/>
                    </a:lnTo>
                    <a:lnTo>
                      <a:pt x="1264" y="2228"/>
                    </a:lnTo>
                    <a:lnTo>
                      <a:pt x="1262" y="2242"/>
                    </a:lnTo>
                    <a:lnTo>
                      <a:pt x="1262" y="2256"/>
                    </a:lnTo>
                    <a:lnTo>
                      <a:pt x="1262" y="2262"/>
                    </a:lnTo>
                    <a:lnTo>
                      <a:pt x="1262" y="2318"/>
                    </a:lnTo>
                    <a:lnTo>
                      <a:pt x="1262" y="2358"/>
                    </a:lnTo>
                    <a:lnTo>
                      <a:pt x="1258" y="2414"/>
                    </a:lnTo>
                    <a:lnTo>
                      <a:pt x="1252" y="2480"/>
                    </a:lnTo>
                    <a:lnTo>
                      <a:pt x="1246" y="2534"/>
                    </a:lnTo>
                    <a:lnTo>
                      <a:pt x="1238" y="2598"/>
                    </a:lnTo>
                    <a:lnTo>
                      <a:pt x="1234" y="2620"/>
                    </a:lnTo>
                    <a:lnTo>
                      <a:pt x="1228" y="2638"/>
                    </a:lnTo>
                    <a:lnTo>
                      <a:pt x="1222" y="2654"/>
                    </a:lnTo>
                    <a:lnTo>
                      <a:pt x="1214" y="2678"/>
                    </a:lnTo>
                    <a:lnTo>
                      <a:pt x="1212" y="2682"/>
                    </a:lnTo>
                    <a:lnTo>
                      <a:pt x="1212" y="2696"/>
                    </a:lnTo>
                    <a:lnTo>
                      <a:pt x="1212" y="2708"/>
                    </a:lnTo>
                    <a:lnTo>
                      <a:pt x="1216" y="2722"/>
                    </a:lnTo>
                    <a:lnTo>
                      <a:pt x="1220" y="2734"/>
                    </a:lnTo>
                    <a:lnTo>
                      <a:pt x="1226" y="2746"/>
                    </a:lnTo>
                    <a:lnTo>
                      <a:pt x="1230" y="2758"/>
                    </a:lnTo>
                    <a:lnTo>
                      <a:pt x="1234" y="2772"/>
                    </a:lnTo>
                    <a:lnTo>
                      <a:pt x="1234" y="2786"/>
                    </a:lnTo>
                    <a:lnTo>
                      <a:pt x="1234" y="2816"/>
                    </a:lnTo>
                    <a:lnTo>
                      <a:pt x="1236" y="2826"/>
                    </a:lnTo>
                    <a:lnTo>
                      <a:pt x="1242" y="2838"/>
                    </a:lnTo>
                    <a:lnTo>
                      <a:pt x="1250" y="2848"/>
                    </a:lnTo>
                    <a:lnTo>
                      <a:pt x="1260" y="2854"/>
                    </a:lnTo>
                    <a:lnTo>
                      <a:pt x="1266" y="2856"/>
                    </a:lnTo>
                    <a:lnTo>
                      <a:pt x="1284" y="2864"/>
                    </a:lnTo>
                    <a:lnTo>
                      <a:pt x="1296" y="2868"/>
                    </a:lnTo>
                    <a:lnTo>
                      <a:pt x="1300" y="2870"/>
                    </a:lnTo>
                    <a:lnTo>
                      <a:pt x="1306" y="2874"/>
                    </a:lnTo>
                    <a:lnTo>
                      <a:pt x="1318" y="2890"/>
                    </a:lnTo>
                    <a:lnTo>
                      <a:pt x="1330" y="2904"/>
                    </a:lnTo>
                    <a:lnTo>
                      <a:pt x="1344" y="2924"/>
                    </a:lnTo>
                    <a:lnTo>
                      <a:pt x="1360" y="2940"/>
                    </a:lnTo>
                    <a:lnTo>
                      <a:pt x="1374" y="2950"/>
                    </a:lnTo>
                    <a:lnTo>
                      <a:pt x="1388" y="2958"/>
                    </a:lnTo>
                    <a:lnTo>
                      <a:pt x="1414" y="2970"/>
                    </a:lnTo>
                    <a:lnTo>
                      <a:pt x="1456" y="2982"/>
                    </a:lnTo>
                    <a:lnTo>
                      <a:pt x="1458" y="2982"/>
                    </a:lnTo>
                    <a:lnTo>
                      <a:pt x="1470" y="2984"/>
                    </a:lnTo>
                    <a:lnTo>
                      <a:pt x="1484" y="2984"/>
                    </a:lnTo>
                    <a:lnTo>
                      <a:pt x="1498" y="2982"/>
                    </a:lnTo>
                    <a:lnTo>
                      <a:pt x="1510" y="2980"/>
                    </a:lnTo>
                    <a:lnTo>
                      <a:pt x="1526" y="2972"/>
                    </a:lnTo>
                    <a:lnTo>
                      <a:pt x="1538" y="2968"/>
                    </a:lnTo>
                    <a:lnTo>
                      <a:pt x="1548" y="2960"/>
                    </a:lnTo>
                    <a:lnTo>
                      <a:pt x="1556" y="2952"/>
                    </a:lnTo>
                    <a:lnTo>
                      <a:pt x="1560" y="2946"/>
                    </a:lnTo>
                    <a:lnTo>
                      <a:pt x="1562" y="2936"/>
                    </a:lnTo>
                    <a:lnTo>
                      <a:pt x="1560" y="2926"/>
                    </a:lnTo>
                    <a:lnTo>
                      <a:pt x="1556" y="2918"/>
                    </a:lnTo>
                    <a:lnTo>
                      <a:pt x="1548" y="2908"/>
                    </a:lnTo>
                    <a:lnTo>
                      <a:pt x="1534" y="2896"/>
                    </a:lnTo>
                    <a:lnTo>
                      <a:pt x="1494" y="2860"/>
                    </a:lnTo>
                    <a:lnTo>
                      <a:pt x="1474" y="2840"/>
                    </a:lnTo>
                    <a:lnTo>
                      <a:pt x="1458" y="2818"/>
                    </a:lnTo>
                    <a:lnTo>
                      <a:pt x="1442" y="2796"/>
                    </a:lnTo>
                    <a:lnTo>
                      <a:pt x="1438" y="2784"/>
                    </a:lnTo>
                    <a:lnTo>
                      <a:pt x="1434" y="2770"/>
                    </a:lnTo>
                    <a:lnTo>
                      <a:pt x="1430" y="2756"/>
                    </a:lnTo>
                    <a:lnTo>
                      <a:pt x="1430" y="2744"/>
                    </a:lnTo>
                    <a:lnTo>
                      <a:pt x="1430" y="2738"/>
                    </a:lnTo>
                    <a:lnTo>
                      <a:pt x="1432" y="2726"/>
                    </a:lnTo>
                    <a:lnTo>
                      <a:pt x="1436" y="2714"/>
                    </a:lnTo>
                    <a:lnTo>
                      <a:pt x="1442" y="2704"/>
                    </a:lnTo>
                    <a:lnTo>
                      <a:pt x="1450" y="2698"/>
                    </a:lnTo>
                    <a:lnTo>
                      <a:pt x="1458" y="2692"/>
                    </a:lnTo>
                    <a:lnTo>
                      <a:pt x="1466" y="2684"/>
                    </a:lnTo>
                    <a:lnTo>
                      <a:pt x="1470" y="2676"/>
                    </a:lnTo>
                    <a:lnTo>
                      <a:pt x="1472" y="2668"/>
                    </a:lnTo>
                    <a:lnTo>
                      <a:pt x="1474" y="2624"/>
                    </a:lnTo>
                    <a:lnTo>
                      <a:pt x="1480" y="2568"/>
                    </a:lnTo>
                    <a:lnTo>
                      <a:pt x="1486" y="2542"/>
                    </a:lnTo>
                    <a:lnTo>
                      <a:pt x="1492" y="2514"/>
                    </a:lnTo>
                    <a:lnTo>
                      <a:pt x="1506" y="2472"/>
                    </a:lnTo>
                    <a:lnTo>
                      <a:pt x="1512" y="2444"/>
                    </a:lnTo>
                    <a:lnTo>
                      <a:pt x="1516" y="2418"/>
                    </a:lnTo>
                    <a:lnTo>
                      <a:pt x="1524" y="2328"/>
                    </a:lnTo>
                    <a:lnTo>
                      <a:pt x="1528" y="2302"/>
                    </a:lnTo>
                    <a:lnTo>
                      <a:pt x="1536" y="2274"/>
                    </a:lnTo>
                    <a:lnTo>
                      <a:pt x="1572" y="2158"/>
                    </a:lnTo>
                    <a:lnTo>
                      <a:pt x="1588" y="2106"/>
                    </a:lnTo>
                    <a:lnTo>
                      <a:pt x="1616" y="1978"/>
                    </a:lnTo>
                    <a:lnTo>
                      <a:pt x="1630" y="1924"/>
                    </a:lnTo>
                    <a:lnTo>
                      <a:pt x="1660" y="1810"/>
                    </a:lnTo>
                    <a:lnTo>
                      <a:pt x="1664" y="1784"/>
                    </a:lnTo>
                    <a:lnTo>
                      <a:pt x="1666" y="1758"/>
                    </a:lnTo>
                    <a:lnTo>
                      <a:pt x="1668" y="1748"/>
                    </a:lnTo>
                    <a:lnTo>
                      <a:pt x="1672" y="1736"/>
                    </a:lnTo>
                    <a:lnTo>
                      <a:pt x="1678" y="1724"/>
                    </a:lnTo>
                    <a:lnTo>
                      <a:pt x="1684" y="1716"/>
                    </a:lnTo>
                    <a:lnTo>
                      <a:pt x="1728" y="1670"/>
                    </a:lnTo>
                    <a:lnTo>
                      <a:pt x="1734" y="1660"/>
                    </a:lnTo>
                    <a:lnTo>
                      <a:pt x="1740" y="1648"/>
                    </a:lnTo>
                    <a:lnTo>
                      <a:pt x="1744" y="1636"/>
                    </a:lnTo>
                    <a:lnTo>
                      <a:pt x="1746" y="1624"/>
                    </a:lnTo>
                    <a:lnTo>
                      <a:pt x="1746" y="1582"/>
                    </a:lnTo>
                    <a:lnTo>
                      <a:pt x="1746" y="1528"/>
                    </a:lnTo>
                    <a:lnTo>
                      <a:pt x="1746" y="1446"/>
                    </a:lnTo>
                    <a:close/>
                    <a:moveTo>
                      <a:pt x="190" y="614"/>
                    </a:moveTo>
                    <a:lnTo>
                      <a:pt x="190" y="614"/>
                    </a:lnTo>
                    <a:lnTo>
                      <a:pt x="186" y="614"/>
                    </a:lnTo>
                    <a:lnTo>
                      <a:pt x="190" y="614"/>
                    </a:lnTo>
                    <a:lnTo>
                      <a:pt x="192" y="614"/>
                    </a:lnTo>
                    <a:lnTo>
                      <a:pt x="190"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6170" name="TextBox 39"/>
            <p:cNvSpPr txBox="1">
              <a:spLocks noChangeArrowheads="1"/>
            </p:cNvSpPr>
            <p:nvPr/>
          </p:nvSpPr>
          <p:spPr bwMode="auto">
            <a:xfrm>
              <a:off x="356308" y="3198682"/>
              <a:ext cx="1779233" cy="1434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109" charset="0"/>
                  <a:ea typeface="ＭＳ Ｐゴシック" pitchFamily="-109" charset="-128"/>
                </a:defRPr>
              </a:lvl1pPr>
              <a:lvl2pPr marL="742950" indent="-285750">
                <a:defRPr>
                  <a:solidFill>
                    <a:schemeClr val="tx1"/>
                  </a:solidFill>
                  <a:latin typeface="Calibri" pitchFamily="-109" charset="0"/>
                  <a:ea typeface="ＭＳ Ｐゴシック" pitchFamily="-109" charset="-128"/>
                </a:defRPr>
              </a:lvl2pPr>
              <a:lvl3pPr marL="1143000" indent="-228600">
                <a:defRPr>
                  <a:solidFill>
                    <a:schemeClr val="tx1"/>
                  </a:solidFill>
                  <a:latin typeface="Calibri" pitchFamily="-109" charset="0"/>
                  <a:ea typeface="ＭＳ Ｐゴシック" pitchFamily="-109" charset="-128"/>
                </a:defRPr>
              </a:lvl3pPr>
              <a:lvl4pPr marL="1600200" indent="-228600">
                <a:defRPr>
                  <a:solidFill>
                    <a:schemeClr val="tx1"/>
                  </a:solidFill>
                  <a:latin typeface="Calibri" pitchFamily="-109" charset="0"/>
                  <a:ea typeface="ＭＳ Ｐゴシック" pitchFamily="-109" charset="-128"/>
                </a:defRPr>
              </a:lvl4pPr>
              <a:lvl5pPr marL="2057400" indent="-228600">
                <a:defRPr>
                  <a:solidFill>
                    <a:schemeClr val="tx1"/>
                  </a:solidFill>
                  <a:latin typeface="Calibri" pitchFamily="-109" charset="0"/>
                  <a:ea typeface="ＭＳ Ｐゴシック" pitchFamily="-109" charset="-128"/>
                </a:defRPr>
              </a:lvl5pPr>
              <a:lvl6pPr marL="2514600" indent="-228600" defTabSz="457200" fontAlgn="base">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fontAlgn="base">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fontAlgn="base">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fontAlgn="base">
                <a:spcBef>
                  <a:spcPct val="0"/>
                </a:spcBef>
                <a:spcAft>
                  <a:spcPct val="0"/>
                </a:spcAft>
                <a:defRPr>
                  <a:solidFill>
                    <a:schemeClr val="tx1"/>
                  </a:solidFill>
                  <a:latin typeface="Calibri" pitchFamily="-109" charset="0"/>
                  <a:ea typeface="ＭＳ Ｐゴシック" pitchFamily="-109" charset="-128"/>
                </a:defRPr>
              </a:lvl9pPr>
            </a:lstStyle>
            <a:p>
              <a:pPr algn="ctr">
                <a:defRPr/>
              </a:pPr>
              <a:r>
                <a:rPr lang="en-GB" sz="1050" b="1" dirty="0" smtClean="0">
                  <a:solidFill>
                    <a:srgbClr val="FFFFFF"/>
                  </a:solidFill>
                  <a:latin typeface="Arial" charset="0"/>
                </a:rPr>
                <a:t>Supplier power</a:t>
              </a:r>
            </a:p>
            <a:p>
              <a:pPr algn="ctr">
                <a:spcBef>
                  <a:spcPct val="20000"/>
                </a:spcBef>
                <a:buFont typeface="Arial" charset="0"/>
                <a:buChar char="•"/>
                <a:defRPr/>
              </a:pPr>
              <a:r>
                <a:rPr lang="en-GB" sz="1050" noProof="1" smtClean="0">
                  <a:solidFill>
                    <a:srgbClr val="FFFFFF"/>
                  </a:solidFill>
                  <a:cs typeface="Arial" charset="0"/>
                </a:rPr>
                <a:t>This is an example text</a:t>
              </a:r>
            </a:p>
            <a:p>
              <a:pPr algn="ctr">
                <a:spcBef>
                  <a:spcPct val="20000"/>
                </a:spcBef>
                <a:buFont typeface="Arial" charset="0"/>
                <a:buChar char="•"/>
                <a:defRPr/>
              </a:pPr>
              <a:r>
                <a:rPr lang="en-GB" sz="1050" noProof="1" smtClean="0">
                  <a:solidFill>
                    <a:srgbClr val="FFFFFF"/>
                  </a:solidFill>
                  <a:cs typeface="Arial" charset="0"/>
                </a:rPr>
                <a:t>Please replace with own text</a:t>
              </a:r>
            </a:p>
            <a:p>
              <a:pPr algn="ctr">
                <a:spcBef>
                  <a:spcPct val="20000"/>
                </a:spcBef>
                <a:buFont typeface="Arial" charset="0"/>
                <a:buChar char="•"/>
                <a:defRPr/>
              </a:pPr>
              <a:r>
                <a:rPr lang="en-GB" sz="1050" noProof="1" smtClean="0">
                  <a:solidFill>
                    <a:srgbClr val="FFFFFF"/>
                  </a:solidFill>
                  <a:cs typeface="Arial" charset="0"/>
                </a:rPr>
                <a:t>This is an example text. </a:t>
              </a:r>
            </a:p>
            <a:p>
              <a:pPr algn="ctr">
                <a:defRPr/>
              </a:pPr>
              <a:endParaRPr lang="nb-NO" sz="1050" dirty="0" smtClean="0">
                <a:solidFill>
                  <a:srgbClr val="353637"/>
                </a:solidFill>
                <a:latin typeface="Arial" charset="0"/>
              </a:endParaRPr>
            </a:p>
            <a:p>
              <a:pPr algn="ctr">
                <a:defRPr/>
              </a:pPr>
              <a:endParaRPr lang="nb-NO" sz="1600" dirty="0" smtClean="0">
                <a:latin typeface="Arial" charset="0"/>
              </a:endParaRPr>
            </a:p>
          </p:txBody>
        </p:sp>
      </p:grpSp>
      <p:sp>
        <p:nvSpPr>
          <p:cNvPr id="18437" name="Rounded Rectangle 44"/>
          <p:cNvSpPr>
            <a:spLocks noChangeArrowheads="1"/>
          </p:cNvSpPr>
          <p:nvPr/>
        </p:nvSpPr>
        <p:spPr bwMode="auto">
          <a:xfrm rot="16200000" flipH="1">
            <a:off x="6210301" y="3433762"/>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18438" name="Rounded Rectangle 38"/>
          <p:cNvSpPr>
            <a:spLocks noChangeArrowheads="1"/>
          </p:cNvSpPr>
          <p:nvPr/>
        </p:nvSpPr>
        <p:spPr bwMode="auto">
          <a:xfrm rot="16200000" flipH="1">
            <a:off x="6210301" y="2154237"/>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84" name="Round Same Side Corner Rectangle 83"/>
          <p:cNvSpPr/>
          <p:nvPr/>
        </p:nvSpPr>
        <p:spPr>
          <a:xfrm>
            <a:off x="5183188" y="3192463"/>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85" name="Round Same Side Corner Rectangle 84"/>
          <p:cNvSpPr/>
          <p:nvPr/>
        </p:nvSpPr>
        <p:spPr>
          <a:xfrm>
            <a:off x="5183188" y="4473575"/>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18441" name="Rounded Rectangle 27"/>
          <p:cNvSpPr>
            <a:spLocks noChangeArrowheads="1"/>
          </p:cNvSpPr>
          <p:nvPr/>
        </p:nvSpPr>
        <p:spPr bwMode="auto">
          <a:xfrm rot="16200000" flipH="1">
            <a:off x="6210301" y="866775"/>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87" name="Round Same Side Corner Rectangle 86"/>
          <p:cNvSpPr/>
          <p:nvPr/>
        </p:nvSpPr>
        <p:spPr>
          <a:xfrm>
            <a:off x="5183188" y="1878013"/>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18443" name="Rektangel 76"/>
          <p:cNvSpPr>
            <a:spLocks noChangeArrowheads="1"/>
          </p:cNvSpPr>
          <p:nvPr/>
        </p:nvSpPr>
        <p:spPr bwMode="auto">
          <a:xfrm>
            <a:off x="5316538" y="1906588"/>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18444" name="Rektangel 76"/>
          <p:cNvSpPr>
            <a:spLocks noChangeArrowheads="1"/>
          </p:cNvSpPr>
          <p:nvPr/>
        </p:nvSpPr>
        <p:spPr bwMode="auto">
          <a:xfrm>
            <a:off x="5316538" y="3209925"/>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18445" name="Rektangel 76"/>
          <p:cNvSpPr>
            <a:spLocks noChangeArrowheads="1"/>
          </p:cNvSpPr>
          <p:nvPr/>
        </p:nvSpPr>
        <p:spPr bwMode="auto">
          <a:xfrm>
            <a:off x="5316538" y="4491038"/>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18446" name="Tekstboks 72"/>
          <p:cNvSpPr txBox="1">
            <a:spLocks noChangeArrowheads="1"/>
          </p:cNvSpPr>
          <p:nvPr/>
        </p:nvSpPr>
        <p:spPr bwMode="auto">
          <a:xfrm>
            <a:off x="6086475" y="2374900"/>
            <a:ext cx="2124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sp>
        <p:nvSpPr>
          <p:cNvPr id="18447" name="Tekstboks 72"/>
          <p:cNvSpPr txBox="1">
            <a:spLocks noChangeArrowheads="1"/>
          </p:cNvSpPr>
          <p:nvPr/>
        </p:nvSpPr>
        <p:spPr bwMode="auto">
          <a:xfrm>
            <a:off x="6086475" y="3660775"/>
            <a:ext cx="2124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sp>
        <p:nvSpPr>
          <p:cNvPr id="18448" name="Tekstboks 72"/>
          <p:cNvSpPr txBox="1">
            <a:spLocks noChangeArrowheads="1"/>
          </p:cNvSpPr>
          <p:nvPr/>
        </p:nvSpPr>
        <p:spPr bwMode="auto">
          <a:xfrm>
            <a:off x="6086475" y="4941888"/>
            <a:ext cx="21240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grpSp>
        <p:nvGrpSpPr>
          <p:cNvPr id="18449" name="Group 44"/>
          <p:cNvGrpSpPr>
            <a:grpSpLocks/>
          </p:cNvGrpSpPr>
          <p:nvPr/>
        </p:nvGrpSpPr>
        <p:grpSpPr bwMode="auto">
          <a:xfrm>
            <a:off x="5327650" y="2362200"/>
            <a:ext cx="403225" cy="403225"/>
            <a:chOff x="3294062" y="1631156"/>
            <a:chExt cx="460375" cy="460375"/>
          </a:xfrm>
        </p:grpSpPr>
        <p:sp>
          <p:nvSpPr>
            <p:cNvPr id="95"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18457"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1</a:t>
              </a:r>
            </a:p>
          </p:txBody>
        </p:sp>
      </p:grpSp>
      <p:grpSp>
        <p:nvGrpSpPr>
          <p:cNvPr id="18450" name="Group 44"/>
          <p:cNvGrpSpPr>
            <a:grpSpLocks/>
          </p:cNvGrpSpPr>
          <p:nvPr/>
        </p:nvGrpSpPr>
        <p:grpSpPr bwMode="auto">
          <a:xfrm>
            <a:off x="5327650" y="3660775"/>
            <a:ext cx="403225" cy="403225"/>
            <a:chOff x="3294062" y="1631156"/>
            <a:chExt cx="460375" cy="460375"/>
          </a:xfrm>
        </p:grpSpPr>
        <p:sp>
          <p:nvSpPr>
            <p:cNvPr id="98"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18455"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2</a:t>
              </a:r>
            </a:p>
          </p:txBody>
        </p:sp>
      </p:grpSp>
      <p:grpSp>
        <p:nvGrpSpPr>
          <p:cNvPr id="18451" name="Group 44"/>
          <p:cNvGrpSpPr>
            <a:grpSpLocks/>
          </p:cNvGrpSpPr>
          <p:nvPr/>
        </p:nvGrpSpPr>
        <p:grpSpPr bwMode="auto">
          <a:xfrm>
            <a:off x="5327650" y="4941888"/>
            <a:ext cx="403225" cy="403225"/>
            <a:chOff x="3294062" y="1631156"/>
            <a:chExt cx="460375" cy="460375"/>
          </a:xfrm>
        </p:grpSpPr>
        <p:sp>
          <p:nvSpPr>
            <p:cNvPr id="101"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18453"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3</a:t>
              </a:r>
            </a:p>
          </p:txBody>
        </p:sp>
      </p:grpSp>
      <p:sp>
        <p:nvSpPr>
          <p:cNvPr id="5" name="Subtitle 4"/>
          <p:cNvSpPr>
            <a:spLocks noGrp="1"/>
          </p:cNvSpPr>
          <p:nvPr>
            <p:ph type="subTitle" idx="1"/>
          </p:nvPr>
        </p:nvSpPr>
        <p:spPr>
          <a:xfrm>
            <a:off x="628650" y="866381"/>
            <a:ext cx="7891272" cy="552972"/>
          </a:xfrm>
        </p:spPr>
        <p:txBody>
          <a:bodyPr/>
          <a:lstStyle/>
          <a:p>
            <a:r>
              <a:rPr lang="en-US" dirty="0"/>
              <a:t>Replace this text</a:t>
            </a:r>
          </a:p>
          <a:p>
            <a:endParaRPr lang="en-US" dirty="0"/>
          </a:p>
        </p:txBody>
      </p:sp>
      <p:sp>
        <p:nvSpPr>
          <p:cNvPr id="4" name="Title 3"/>
          <p:cNvSpPr>
            <a:spLocks noGrp="1"/>
          </p:cNvSpPr>
          <p:nvPr>
            <p:ph type="title"/>
          </p:nvPr>
        </p:nvSpPr>
        <p:spPr/>
        <p:txBody>
          <a:bodyPr/>
          <a:lstStyle/>
          <a:p>
            <a:r>
              <a:rPr lang="en-US" dirty="0"/>
              <a:t>PORTERS </a:t>
            </a:r>
            <a:r>
              <a:rPr lang="en-US" dirty="0" smtClean="0"/>
              <a:t>5 </a:t>
            </a:r>
            <a:r>
              <a:rPr lang="en-US" dirty="0"/>
              <a:t>FORCES</a:t>
            </a:r>
          </a:p>
        </p:txBody>
      </p:sp>
      <p:sp>
        <p:nvSpPr>
          <p:cNvPr id="6" name="Date Placeholder 5"/>
          <p:cNvSpPr>
            <a:spLocks noGrp="1"/>
          </p:cNvSpPr>
          <p:nvPr>
            <p:ph type="dt" sz="half" idx="10"/>
          </p:nvPr>
        </p:nvSpPr>
        <p:spPr/>
        <p:txBody>
          <a:bodyPr/>
          <a:lstStyle/>
          <a:p>
            <a:r>
              <a:rPr lang="en-US" smtClean="0"/>
              <a:t>PRESENTER NAME</a:t>
            </a:r>
            <a:endParaRPr lang="en-US"/>
          </a:p>
        </p:txBody>
      </p:sp>
      <p:sp>
        <p:nvSpPr>
          <p:cNvPr id="7" name="Footer Placeholder 6"/>
          <p:cNvSpPr>
            <a:spLocks noGrp="1"/>
          </p:cNvSpPr>
          <p:nvPr>
            <p:ph type="ftr" sz="quarter" idx="11"/>
          </p:nvPr>
        </p:nvSpPr>
        <p:spPr/>
        <p:txBody>
          <a:bodyPr/>
          <a:lstStyle/>
          <a:p>
            <a:r>
              <a:rPr lang="en-US" smtClean="0"/>
              <a:t>COMPANY NAME</a:t>
            </a:r>
            <a:endParaRPr lang="en-US"/>
          </a:p>
        </p:txBody>
      </p:sp>
      <p:sp>
        <p:nvSpPr>
          <p:cNvPr id="12" name="Slide Number Placeholder 11"/>
          <p:cNvSpPr>
            <a:spLocks noGrp="1"/>
          </p:cNvSpPr>
          <p:nvPr>
            <p:ph type="sldNum" sz="quarter" idx="12"/>
          </p:nvPr>
        </p:nvSpPr>
        <p:spPr/>
        <p:txBody>
          <a:bodyPr/>
          <a:lstStyle/>
          <a:p>
            <a:fld id="{AACE8A1A-EF06-42BD-8183-7D22FECA910D}" type="slidenum">
              <a:rPr lang="en-US" smtClean="0"/>
              <a:pPr/>
              <a:t>54</a:t>
            </a:fld>
            <a:r>
              <a:rPr lang="en-US" smtClean="0"/>
              <a:t>|</a:t>
            </a:r>
            <a:endParaRPr lang="en-US" dirty="0"/>
          </a:p>
        </p:txBody>
      </p:sp>
    </p:spTree>
    <p:extLst>
      <p:ext uri="{BB962C8B-B14F-4D97-AF65-F5344CB8AC3E}">
        <p14:creationId xmlns:p14="http://schemas.microsoft.com/office/powerpoint/2010/main" val="331456011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60" name="Group 48"/>
          <p:cNvGrpSpPr>
            <a:grpSpLocks/>
          </p:cNvGrpSpPr>
          <p:nvPr/>
        </p:nvGrpSpPr>
        <p:grpSpPr bwMode="auto">
          <a:xfrm>
            <a:off x="4799013" y="2079625"/>
            <a:ext cx="4041775" cy="3251200"/>
            <a:chOff x="2878138" y="1716473"/>
            <a:chExt cx="4322762" cy="3476240"/>
          </a:xfrm>
        </p:grpSpPr>
        <p:sp>
          <p:nvSpPr>
            <p:cNvPr id="19482" name="Tekstboks 6"/>
            <p:cNvSpPr txBox="1">
              <a:spLocks noChangeArrowheads="1"/>
            </p:cNvSpPr>
            <p:nvPr/>
          </p:nvSpPr>
          <p:spPr bwMode="auto">
            <a:xfrm>
              <a:off x="3521075" y="3287713"/>
              <a:ext cx="2133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ctr" eaLnBrk="1" hangingPunct="1"/>
              <a:r>
                <a:rPr lang="da-DK" sz="1400" b="1">
                  <a:solidFill>
                    <a:srgbClr val="227088"/>
                  </a:solidFill>
                </a:rPr>
                <a:t>RIVALRY</a:t>
              </a:r>
            </a:p>
          </p:txBody>
        </p:sp>
        <p:sp>
          <p:nvSpPr>
            <p:cNvPr id="51" name="Donut 7"/>
            <p:cNvSpPr>
              <a:spLocks/>
            </p:cNvSpPr>
            <p:nvPr/>
          </p:nvSpPr>
          <p:spPr bwMode="auto">
            <a:xfrm rot="2700000">
              <a:off x="3246954" y="2120070"/>
              <a:ext cx="2678470" cy="2679230"/>
            </a:xfrm>
            <a:custGeom>
              <a:avLst/>
              <a:gdLst>
                <a:gd name="T0" fmla="*/ 0 w 2678113"/>
                <a:gd name="T1" fmla="*/ 1339850 h 2679700"/>
                <a:gd name="T2" fmla="*/ 1339057 w 2678113"/>
                <a:gd name="T3" fmla="*/ 0 h 2679700"/>
                <a:gd name="T4" fmla="*/ 2678114 w 2678113"/>
                <a:gd name="T5" fmla="*/ 1339850 h 2679700"/>
                <a:gd name="T6" fmla="*/ 1339057 w 2678113"/>
                <a:gd name="T7" fmla="*/ 2679700 h 2679700"/>
                <a:gd name="T8" fmla="*/ 0 w 2678113"/>
                <a:gd name="T9" fmla="*/ 1339850 h 2679700"/>
                <a:gd name="T10" fmla="*/ 322123 w 2678113"/>
                <a:gd name="T11" fmla="*/ 1339850 h 2679700"/>
                <a:gd name="T12" fmla="*/ 1339056 w 2678113"/>
                <a:gd name="T13" fmla="*/ 2357577 h 2679700"/>
                <a:gd name="T14" fmla="*/ 2355989 w 2678113"/>
                <a:gd name="T15" fmla="*/ 1339850 h 2679700"/>
                <a:gd name="T16" fmla="*/ 1339056 w 2678113"/>
                <a:gd name="T17" fmla="*/ 322123 h 2679700"/>
                <a:gd name="T18" fmla="*/ 322123 w 2678113"/>
                <a:gd name="T19" fmla="*/ 1339850 h 26797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78113" h="2679700">
                  <a:moveTo>
                    <a:pt x="0" y="1339850"/>
                  </a:moveTo>
                  <a:cubicBezTo>
                    <a:pt x="0" y="599871"/>
                    <a:pt x="599516" y="0"/>
                    <a:pt x="1339057" y="0"/>
                  </a:cubicBezTo>
                  <a:cubicBezTo>
                    <a:pt x="2078598" y="0"/>
                    <a:pt x="2678114" y="599871"/>
                    <a:pt x="2678114" y="1339850"/>
                  </a:cubicBezTo>
                  <a:cubicBezTo>
                    <a:pt x="2678114" y="2079829"/>
                    <a:pt x="2078598" y="2679700"/>
                    <a:pt x="1339057" y="2679700"/>
                  </a:cubicBezTo>
                  <a:cubicBezTo>
                    <a:pt x="599516" y="2679700"/>
                    <a:pt x="0" y="2079829"/>
                    <a:pt x="0" y="1339850"/>
                  </a:cubicBezTo>
                  <a:close/>
                  <a:moveTo>
                    <a:pt x="322123" y="1339850"/>
                  </a:moveTo>
                  <a:cubicBezTo>
                    <a:pt x="322123" y="1901925"/>
                    <a:pt x="777419" y="2357577"/>
                    <a:pt x="1339056" y="2357577"/>
                  </a:cubicBezTo>
                  <a:cubicBezTo>
                    <a:pt x="1900693" y="2357577"/>
                    <a:pt x="2355989" y="1901925"/>
                    <a:pt x="2355989" y="1339850"/>
                  </a:cubicBezTo>
                  <a:cubicBezTo>
                    <a:pt x="2355989" y="777775"/>
                    <a:pt x="1900693" y="322123"/>
                    <a:pt x="1339056" y="322123"/>
                  </a:cubicBezTo>
                  <a:cubicBezTo>
                    <a:pt x="777419" y="322123"/>
                    <a:pt x="322123" y="777775"/>
                    <a:pt x="322123" y="1339850"/>
                  </a:cubicBezTo>
                  <a:close/>
                </a:path>
              </a:pathLst>
            </a:custGeom>
            <a:solidFill>
              <a:srgbClr val="F2F2F2"/>
            </a:solidFill>
            <a:ln w="9525" cap="flat" cmpd="sng">
              <a:solidFill>
                <a:srgbClr val="4A7EBB"/>
              </a:solidFill>
              <a:prstDash val="solid"/>
              <a:round/>
              <a:headEnd/>
              <a:tailEnd/>
            </a:ln>
            <a:effectLst>
              <a:outerShdw blurRad="40000" dist="23000" dir="5400000" rotWithShape="0">
                <a:srgbClr val="000000">
                  <a:alpha val="34999"/>
                </a:srgbClr>
              </a:outerShdw>
            </a:effectLst>
          </p:spPr>
          <p:txBody>
            <a:bodyPr anchor="ctr"/>
            <a:lstStyle/>
            <a:p>
              <a:pPr>
                <a:defRPr/>
              </a:pPr>
              <a:endParaRPr lang="en-US"/>
            </a:p>
          </p:txBody>
        </p:sp>
        <p:grpSp>
          <p:nvGrpSpPr>
            <p:cNvPr id="19484" name="Group 67"/>
            <p:cNvGrpSpPr>
              <a:grpSpLocks/>
            </p:cNvGrpSpPr>
            <p:nvPr/>
          </p:nvGrpSpPr>
          <p:grpSpPr bwMode="auto">
            <a:xfrm>
              <a:off x="2878138" y="2911478"/>
              <a:ext cx="1122362" cy="1098550"/>
              <a:chOff x="2590806" y="2443937"/>
              <a:chExt cx="1362074" cy="1334317"/>
            </a:xfrm>
          </p:grpSpPr>
          <p:grpSp>
            <p:nvGrpSpPr>
              <p:cNvPr id="19513" name="Gruppe 83"/>
              <p:cNvGrpSpPr>
                <a:grpSpLocks/>
              </p:cNvGrpSpPr>
              <p:nvPr/>
            </p:nvGrpSpPr>
            <p:grpSpPr bwMode="auto">
              <a:xfrm rot="5400000">
                <a:off x="2604684" y="2430059"/>
                <a:ext cx="1334317" cy="1362074"/>
                <a:chOff x="3717577" y="1040361"/>
                <a:chExt cx="1708847" cy="1742936"/>
              </a:xfrm>
            </p:grpSpPr>
            <p:sp>
              <p:nvSpPr>
                <p:cNvPr id="77" name="Tåre 105"/>
                <p:cNvSpPr/>
                <p:nvPr/>
              </p:nvSpPr>
              <p:spPr bwMode="auto">
                <a:xfrm rot="18900000">
                  <a:off x="3717577" y="1067209"/>
                  <a:ext cx="1708847" cy="1716088"/>
                </a:xfrm>
                <a:prstGeom prst="teardrop">
                  <a:avLst/>
                </a:prstGeom>
                <a:gradFill flip="none" rotWithShape="1">
                  <a:gsLst>
                    <a:gs pos="0">
                      <a:schemeClr val="bg2"/>
                    </a:gs>
                    <a:gs pos="86000">
                      <a:srgbClr val="2A9B18"/>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0"/>
                    <a:cs typeface="ＭＳ Ｐゴシック" charset="0"/>
                  </a:endParaRPr>
                </a:p>
              </p:txBody>
            </p:sp>
            <p:sp>
              <p:nvSpPr>
                <p:cNvPr id="78"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79"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74" name="L-Shape 73"/>
              <p:cNvSpPr/>
              <p:nvPr/>
            </p:nvSpPr>
            <p:spPr>
              <a:xfrm>
                <a:off x="3048235" y="3052073"/>
                <a:ext cx="469792" cy="377285"/>
              </a:xfrm>
              <a:prstGeom prst="corner">
                <a:avLst>
                  <a:gd name="adj1" fmla="val 74088"/>
                  <a:gd name="adj2" fmla="val 3406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sp>
            <p:nvSpPr>
              <p:cNvPr id="75" name="Cloud 74"/>
              <p:cNvSpPr/>
              <p:nvPr/>
            </p:nvSpPr>
            <p:spPr>
              <a:xfrm rot="2580872">
                <a:off x="3103867" y="2660356"/>
                <a:ext cx="222533" cy="406148"/>
              </a:xfrm>
              <a:prstGeom prst="cloud">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grpSp>
        <p:sp>
          <p:nvSpPr>
            <p:cNvPr id="53" name="Tåre 105"/>
            <p:cNvSpPr/>
            <p:nvPr/>
          </p:nvSpPr>
          <p:spPr bwMode="auto">
            <a:xfrm rot="8100000">
              <a:off x="4036958" y="1716473"/>
              <a:ext cx="1098326" cy="1103903"/>
            </a:xfrm>
            <a:prstGeom prst="teardrop">
              <a:avLst/>
            </a:prstGeom>
            <a:gradFill flip="none" rotWithShape="1">
              <a:gsLst>
                <a:gs pos="0">
                  <a:schemeClr val="bg2"/>
                </a:gs>
                <a:gs pos="86000">
                  <a:srgbClr val="F0B71F"/>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54" name="Tåre 106"/>
            <p:cNvSpPr/>
            <p:nvPr/>
          </p:nvSpPr>
          <p:spPr bwMode="auto">
            <a:xfrm rot="8100000">
              <a:off x="4106230" y="1874214"/>
              <a:ext cx="958565" cy="963432"/>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55" name="Måne 107"/>
            <p:cNvSpPr/>
            <p:nvPr/>
          </p:nvSpPr>
          <p:spPr bwMode="auto">
            <a:xfrm rot="5245033">
              <a:off x="4394713" y="1452651"/>
              <a:ext cx="382819" cy="949338"/>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nvGrpSpPr>
            <p:cNvPr id="19494" name="Gruppe 46"/>
            <p:cNvGrpSpPr>
              <a:grpSpLocks/>
            </p:cNvGrpSpPr>
            <p:nvPr/>
          </p:nvGrpSpPr>
          <p:grpSpPr bwMode="auto">
            <a:xfrm>
              <a:off x="4260850" y="2017713"/>
              <a:ext cx="747713" cy="555625"/>
              <a:chOff x="4821610" y="587829"/>
              <a:chExt cx="2393544" cy="1781593"/>
            </a:xfrm>
          </p:grpSpPr>
          <p:sp>
            <p:nvSpPr>
              <p:cNvPr id="19509" name="Freeform 528"/>
              <p:cNvSpPr>
                <a:spLocks/>
              </p:cNvSpPr>
              <p:nvPr/>
            </p:nvSpPr>
            <p:spPr bwMode="auto">
              <a:xfrm>
                <a:off x="4821610" y="587829"/>
                <a:ext cx="2393544" cy="1781593"/>
              </a:xfrm>
              <a:custGeom>
                <a:avLst/>
                <a:gdLst>
                  <a:gd name="T0" fmla="*/ 2147483647 w 794"/>
                  <a:gd name="T1" fmla="*/ 2147483647 h 591"/>
                  <a:gd name="T2" fmla="*/ 2147483647 w 794"/>
                  <a:gd name="T3" fmla="*/ 2147483647 h 591"/>
                  <a:gd name="T4" fmla="*/ 2147483647 w 794"/>
                  <a:gd name="T5" fmla="*/ 2147483647 h 591"/>
                  <a:gd name="T6" fmla="*/ 2147483647 w 794"/>
                  <a:gd name="T7" fmla="*/ 2147483647 h 591"/>
                  <a:gd name="T8" fmla="*/ 2147483647 w 794"/>
                  <a:gd name="T9" fmla="*/ 2147483647 h 591"/>
                  <a:gd name="T10" fmla="*/ 2147483647 w 794"/>
                  <a:gd name="T11" fmla="*/ 2147483647 h 591"/>
                  <a:gd name="T12" fmla="*/ 2147483647 w 794"/>
                  <a:gd name="T13" fmla="*/ 2147483647 h 591"/>
                  <a:gd name="T14" fmla="*/ 2147483647 w 794"/>
                  <a:gd name="T15" fmla="*/ 2147483647 h 591"/>
                  <a:gd name="T16" fmla="*/ 2147483647 w 794"/>
                  <a:gd name="T17" fmla="*/ 2147483647 h 591"/>
                  <a:gd name="T18" fmla="*/ 2147483647 w 794"/>
                  <a:gd name="T19" fmla="*/ 2147483647 h 591"/>
                  <a:gd name="T20" fmla="*/ 2147483647 w 794"/>
                  <a:gd name="T21" fmla="*/ 2147483647 h 591"/>
                  <a:gd name="T22" fmla="*/ 2147483647 w 794"/>
                  <a:gd name="T23" fmla="*/ 2147483647 h 591"/>
                  <a:gd name="T24" fmla="*/ 2147483647 w 794"/>
                  <a:gd name="T25" fmla="*/ 2147483647 h 591"/>
                  <a:gd name="T26" fmla="*/ 2147483647 w 794"/>
                  <a:gd name="T27" fmla="*/ 2147483647 h 591"/>
                  <a:gd name="T28" fmla="*/ 2147483647 w 794"/>
                  <a:gd name="T29" fmla="*/ 2147483647 h 591"/>
                  <a:gd name="T30" fmla="*/ 2147483647 w 794"/>
                  <a:gd name="T31" fmla="*/ 2147483647 h 591"/>
                  <a:gd name="T32" fmla="*/ 2147483647 w 794"/>
                  <a:gd name="T33" fmla="*/ 2147483647 h 591"/>
                  <a:gd name="T34" fmla="*/ 2147483647 w 794"/>
                  <a:gd name="T35" fmla="*/ 2147483647 h 591"/>
                  <a:gd name="T36" fmla="*/ 2147483647 w 794"/>
                  <a:gd name="T37" fmla="*/ 2147483647 h 591"/>
                  <a:gd name="T38" fmla="*/ 2147483647 w 794"/>
                  <a:gd name="T39" fmla="*/ 2147483647 h 591"/>
                  <a:gd name="T40" fmla="*/ 2147483647 w 794"/>
                  <a:gd name="T41" fmla="*/ 2147483647 h 591"/>
                  <a:gd name="T42" fmla="*/ 2147483647 w 794"/>
                  <a:gd name="T43" fmla="*/ 0 h 591"/>
                  <a:gd name="T44" fmla="*/ 2147483647 w 794"/>
                  <a:gd name="T45" fmla="*/ 2147483647 h 591"/>
                  <a:gd name="T46" fmla="*/ 2147483647 w 794"/>
                  <a:gd name="T47" fmla="*/ 2147483647 h 591"/>
                  <a:gd name="T48" fmla="*/ 2147483647 w 794"/>
                  <a:gd name="T49" fmla="*/ 2147483647 h 591"/>
                  <a:gd name="T50" fmla="*/ 2147483647 w 794"/>
                  <a:gd name="T51" fmla="*/ 2147483647 h 591"/>
                  <a:gd name="T52" fmla="*/ 2147483647 w 794"/>
                  <a:gd name="T53" fmla="*/ 2147483647 h 591"/>
                  <a:gd name="T54" fmla="*/ 0 w 794"/>
                  <a:gd name="T55" fmla="*/ 2147483647 h 591"/>
                  <a:gd name="T56" fmla="*/ 2147483647 w 794"/>
                  <a:gd name="T57" fmla="*/ 2147483647 h 591"/>
                  <a:gd name="T58" fmla="*/ 2147483647 w 794"/>
                  <a:gd name="T59" fmla="*/ 2147483647 h 591"/>
                  <a:gd name="T60" fmla="*/ 2147483647 w 794"/>
                  <a:gd name="T61" fmla="*/ 2147483647 h 591"/>
                  <a:gd name="T62" fmla="*/ 2147483647 w 794"/>
                  <a:gd name="T63" fmla="*/ 2147483647 h 591"/>
                  <a:gd name="T64" fmla="*/ 2147483647 w 794"/>
                  <a:gd name="T65" fmla="*/ 2147483647 h 591"/>
                  <a:gd name="T66" fmla="*/ 2147483647 w 794"/>
                  <a:gd name="T67" fmla="*/ 2147483647 h 591"/>
                  <a:gd name="T68" fmla="*/ 2147483647 w 794"/>
                  <a:gd name="T69" fmla="*/ 2147483647 h 591"/>
                  <a:gd name="T70" fmla="*/ 2147483647 w 794"/>
                  <a:gd name="T71" fmla="*/ 2147483647 h 591"/>
                  <a:gd name="T72" fmla="*/ 2147483647 w 794"/>
                  <a:gd name="T73" fmla="*/ 2147483647 h 591"/>
                  <a:gd name="T74" fmla="*/ 2147483647 w 794"/>
                  <a:gd name="T75" fmla="*/ 2147483647 h 591"/>
                  <a:gd name="T76" fmla="*/ 2147483647 w 794"/>
                  <a:gd name="T77" fmla="*/ 2147483647 h 591"/>
                  <a:gd name="T78" fmla="*/ 2147483647 w 794"/>
                  <a:gd name="T79" fmla="*/ 2147483647 h 591"/>
                  <a:gd name="T80" fmla="*/ 2147483647 w 794"/>
                  <a:gd name="T81" fmla="*/ 2147483647 h 591"/>
                  <a:gd name="T82" fmla="*/ 2147483647 w 794"/>
                  <a:gd name="T83" fmla="*/ 2147483647 h 591"/>
                  <a:gd name="T84" fmla="*/ 2147483647 w 794"/>
                  <a:gd name="T85" fmla="*/ 2147483647 h 591"/>
                  <a:gd name="T86" fmla="*/ 2147483647 w 794"/>
                  <a:gd name="T87" fmla="*/ 2147483647 h 591"/>
                  <a:gd name="T88" fmla="*/ 2147483647 w 794"/>
                  <a:gd name="T89" fmla="*/ 2147483647 h 591"/>
                  <a:gd name="T90" fmla="*/ 2147483647 w 794"/>
                  <a:gd name="T91" fmla="*/ 2147483647 h 591"/>
                  <a:gd name="T92" fmla="*/ 2147483647 w 794"/>
                  <a:gd name="T93" fmla="*/ 2147483647 h 591"/>
                  <a:gd name="T94" fmla="*/ 2147483647 w 794"/>
                  <a:gd name="T95" fmla="*/ 2147483647 h 591"/>
                  <a:gd name="T96" fmla="*/ 2147483647 w 794"/>
                  <a:gd name="T97" fmla="*/ 2147483647 h 591"/>
                  <a:gd name="T98" fmla="*/ 2147483647 w 794"/>
                  <a:gd name="T99" fmla="*/ 2147483647 h 591"/>
                  <a:gd name="T100" fmla="*/ 2147483647 w 794"/>
                  <a:gd name="T101" fmla="*/ 2147483647 h 5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94"/>
                  <a:gd name="T154" fmla="*/ 0 h 591"/>
                  <a:gd name="T155" fmla="*/ 794 w 794"/>
                  <a:gd name="T156" fmla="*/ 591 h 5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94" h="591">
                    <a:moveTo>
                      <a:pt x="783" y="463"/>
                    </a:moveTo>
                    <a:lnTo>
                      <a:pt x="771" y="468"/>
                    </a:lnTo>
                    <a:lnTo>
                      <a:pt x="757" y="474"/>
                    </a:lnTo>
                    <a:lnTo>
                      <a:pt x="742" y="480"/>
                    </a:lnTo>
                    <a:lnTo>
                      <a:pt x="719" y="486"/>
                    </a:lnTo>
                    <a:lnTo>
                      <a:pt x="704" y="486"/>
                    </a:lnTo>
                    <a:lnTo>
                      <a:pt x="698" y="486"/>
                    </a:lnTo>
                    <a:lnTo>
                      <a:pt x="687" y="480"/>
                    </a:lnTo>
                    <a:lnTo>
                      <a:pt x="675" y="480"/>
                    </a:lnTo>
                    <a:lnTo>
                      <a:pt x="660" y="480"/>
                    </a:lnTo>
                    <a:lnTo>
                      <a:pt x="655" y="486"/>
                    </a:lnTo>
                    <a:lnTo>
                      <a:pt x="617" y="474"/>
                    </a:lnTo>
                    <a:lnTo>
                      <a:pt x="620" y="428"/>
                    </a:lnTo>
                    <a:lnTo>
                      <a:pt x="570" y="404"/>
                    </a:lnTo>
                    <a:lnTo>
                      <a:pt x="556" y="404"/>
                    </a:lnTo>
                    <a:lnTo>
                      <a:pt x="521" y="387"/>
                    </a:lnTo>
                    <a:lnTo>
                      <a:pt x="480" y="375"/>
                    </a:lnTo>
                    <a:lnTo>
                      <a:pt x="474" y="369"/>
                    </a:lnTo>
                    <a:lnTo>
                      <a:pt x="460" y="361"/>
                    </a:lnTo>
                    <a:lnTo>
                      <a:pt x="445" y="364"/>
                    </a:lnTo>
                    <a:lnTo>
                      <a:pt x="419" y="340"/>
                    </a:lnTo>
                    <a:lnTo>
                      <a:pt x="401" y="335"/>
                    </a:lnTo>
                    <a:lnTo>
                      <a:pt x="375" y="329"/>
                    </a:lnTo>
                    <a:lnTo>
                      <a:pt x="320" y="332"/>
                    </a:lnTo>
                    <a:lnTo>
                      <a:pt x="326" y="311"/>
                    </a:lnTo>
                    <a:lnTo>
                      <a:pt x="305" y="303"/>
                    </a:lnTo>
                    <a:lnTo>
                      <a:pt x="265" y="308"/>
                    </a:lnTo>
                    <a:lnTo>
                      <a:pt x="285" y="288"/>
                    </a:lnTo>
                    <a:lnTo>
                      <a:pt x="297" y="282"/>
                    </a:lnTo>
                    <a:lnTo>
                      <a:pt x="308" y="271"/>
                    </a:lnTo>
                    <a:lnTo>
                      <a:pt x="314" y="262"/>
                    </a:lnTo>
                    <a:lnTo>
                      <a:pt x="352" y="241"/>
                    </a:lnTo>
                    <a:lnTo>
                      <a:pt x="381" y="256"/>
                    </a:lnTo>
                    <a:lnTo>
                      <a:pt x="407" y="271"/>
                    </a:lnTo>
                    <a:lnTo>
                      <a:pt x="451" y="294"/>
                    </a:lnTo>
                    <a:lnTo>
                      <a:pt x="465" y="294"/>
                    </a:lnTo>
                    <a:lnTo>
                      <a:pt x="477" y="291"/>
                    </a:lnTo>
                    <a:lnTo>
                      <a:pt x="483" y="285"/>
                    </a:lnTo>
                    <a:lnTo>
                      <a:pt x="506" y="262"/>
                    </a:lnTo>
                    <a:lnTo>
                      <a:pt x="532" y="239"/>
                    </a:lnTo>
                    <a:lnTo>
                      <a:pt x="564" y="212"/>
                    </a:lnTo>
                    <a:lnTo>
                      <a:pt x="562" y="198"/>
                    </a:lnTo>
                    <a:lnTo>
                      <a:pt x="564" y="189"/>
                    </a:lnTo>
                    <a:lnTo>
                      <a:pt x="579" y="166"/>
                    </a:lnTo>
                    <a:lnTo>
                      <a:pt x="588" y="157"/>
                    </a:lnTo>
                    <a:lnTo>
                      <a:pt x="596" y="148"/>
                    </a:lnTo>
                    <a:lnTo>
                      <a:pt x="602" y="137"/>
                    </a:lnTo>
                    <a:lnTo>
                      <a:pt x="605" y="113"/>
                    </a:lnTo>
                    <a:lnTo>
                      <a:pt x="596" y="105"/>
                    </a:lnTo>
                    <a:lnTo>
                      <a:pt x="559" y="105"/>
                    </a:lnTo>
                    <a:lnTo>
                      <a:pt x="556" y="111"/>
                    </a:lnTo>
                    <a:lnTo>
                      <a:pt x="541" y="122"/>
                    </a:lnTo>
                    <a:lnTo>
                      <a:pt x="541" y="128"/>
                    </a:lnTo>
                    <a:lnTo>
                      <a:pt x="541" y="134"/>
                    </a:lnTo>
                    <a:lnTo>
                      <a:pt x="541" y="137"/>
                    </a:lnTo>
                    <a:lnTo>
                      <a:pt x="544" y="148"/>
                    </a:lnTo>
                    <a:lnTo>
                      <a:pt x="541" y="157"/>
                    </a:lnTo>
                    <a:lnTo>
                      <a:pt x="535" y="169"/>
                    </a:lnTo>
                    <a:lnTo>
                      <a:pt x="509" y="198"/>
                    </a:lnTo>
                    <a:lnTo>
                      <a:pt x="486" y="209"/>
                    </a:lnTo>
                    <a:lnTo>
                      <a:pt x="465" y="227"/>
                    </a:lnTo>
                    <a:lnTo>
                      <a:pt x="457" y="233"/>
                    </a:lnTo>
                    <a:lnTo>
                      <a:pt x="451" y="230"/>
                    </a:lnTo>
                    <a:lnTo>
                      <a:pt x="448" y="224"/>
                    </a:lnTo>
                    <a:lnTo>
                      <a:pt x="422" y="207"/>
                    </a:lnTo>
                    <a:lnTo>
                      <a:pt x="407" y="186"/>
                    </a:lnTo>
                    <a:lnTo>
                      <a:pt x="416" y="160"/>
                    </a:lnTo>
                    <a:lnTo>
                      <a:pt x="410" y="145"/>
                    </a:lnTo>
                    <a:lnTo>
                      <a:pt x="399" y="140"/>
                    </a:lnTo>
                    <a:lnTo>
                      <a:pt x="407" y="137"/>
                    </a:lnTo>
                    <a:lnTo>
                      <a:pt x="413" y="131"/>
                    </a:lnTo>
                    <a:lnTo>
                      <a:pt x="413" y="111"/>
                    </a:lnTo>
                    <a:lnTo>
                      <a:pt x="419" y="96"/>
                    </a:lnTo>
                    <a:lnTo>
                      <a:pt x="422" y="96"/>
                    </a:lnTo>
                    <a:lnTo>
                      <a:pt x="425" y="93"/>
                    </a:lnTo>
                    <a:lnTo>
                      <a:pt x="428" y="90"/>
                    </a:lnTo>
                    <a:lnTo>
                      <a:pt x="422" y="76"/>
                    </a:lnTo>
                    <a:lnTo>
                      <a:pt x="425" y="55"/>
                    </a:lnTo>
                    <a:lnTo>
                      <a:pt x="422" y="44"/>
                    </a:lnTo>
                    <a:lnTo>
                      <a:pt x="428" y="44"/>
                    </a:lnTo>
                    <a:lnTo>
                      <a:pt x="431" y="41"/>
                    </a:lnTo>
                    <a:lnTo>
                      <a:pt x="433" y="35"/>
                    </a:lnTo>
                    <a:lnTo>
                      <a:pt x="431" y="32"/>
                    </a:lnTo>
                    <a:lnTo>
                      <a:pt x="422" y="26"/>
                    </a:lnTo>
                    <a:lnTo>
                      <a:pt x="416" y="20"/>
                    </a:lnTo>
                    <a:lnTo>
                      <a:pt x="407" y="12"/>
                    </a:lnTo>
                    <a:lnTo>
                      <a:pt x="399" y="9"/>
                    </a:lnTo>
                    <a:lnTo>
                      <a:pt x="390" y="6"/>
                    </a:lnTo>
                    <a:lnTo>
                      <a:pt x="378" y="3"/>
                    </a:lnTo>
                    <a:lnTo>
                      <a:pt x="367" y="0"/>
                    </a:lnTo>
                    <a:lnTo>
                      <a:pt x="358" y="0"/>
                    </a:lnTo>
                    <a:lnTo>
                      <a:pt x="343" y="6"/>
                    </a:lnTo>
                    <a:lnTo>
                      <a:pt x="334" y="9"/>
                    </a:lnTo>
                    <a:lnTo>
                      <a:pt x="329" y="15"/>
                    </a:lnTo>
                    <a:lnTo>
                      <a:pt x="317" y="26"/>
                    </a:lnTo>
                    <a:lnTo>
                      <a:pt x="311" y="41"/>
                    </a:lnTo>
                    <a:lnTo>
                      <a:pt x="308" y="55"/>
                    </a:lnTo>
                    <a:lnTo>
                      <a:pt x="305" y="76"/>
                    </a:lnTo>
                    <a:lnTo>
                      <a:pt x="282" y="55"/>
                    </a:lnTo>
                    <a:lnTo>
                      <a:pt x="273" y="49"/>
                    </a:lnTo>
                    <a:lnTo>
                      <a:pt x="265" y="47"/>
                    </a:lnTo>
                    <a:lnTo>
                      <a:pt x="253" y="47"/>
                    </a:lnTo>
                    <a:lnTo>
                      <a:pt x="244" y="49"/>
                    </a:lnTo>
                    <a:lnTo>
                      <a:pt x="230" y="55"/>
                    </a:lnTo>
                    <a:lnTo>
                      <a:pt x="224" y="58"/>
                    </a:lnTo>
                    <a:lnTo>
                      <a:pt x="206" y="67"/>
                    </a:lnTo>
                    <a:lnTo>
                      <a:pt x="174" y="67"/>
                    </a:lnTo>
                    <a:lnTo>
                      <a:pt x="142" y="76"/>
                    </a:lnTo>
                    <a:lnTo>
                      <a:pt x="122" y="79"/>
                    </a:lnTo>
                    <a:lnTo>
                      <a:pt x="105" y="81"/>
                    </a:lnTo>
                    <a:lnTo>
                      <a:pt x="93" y="87"/>
                    </a:lnTo>
                    <a:lnTo>
                      <a:pt x="84" y="96"/>
                    </a:lnTo>
                    <a:lnTo>
                      <a:pt x="17" y="201"/>
                    </a:lnTo>
                    <a:lnTo>
                      <a:pt x="17" y="207"/>
                    </a:lnTo>
                    <a:lnTo>
                      <a:pt x="6" y="207"/>
                    </a:lnTo>
                    <a:lnTo>
                      <a:pt x="0" y="224"/>
                    </a:lnTo>
                    <a:lnTo>
                      <a:pt x="6" y="233"/>
                    </a:lnTo>
                    <a:lnTo>
                      <a:pt x="11" y="236"/>
                    </a:lnTo>
                    <a:lnTo>
                      <a:pt x="14" y="241"/>
                    </a:lnTo>
                    <a:lnTo>
                      <a:pt x="29" y="244"/>
                    </a:lnTo>
                    <a:lnTo>
                      <a:pt x="43" y="247"/>
                    </a:lnTo>
                    <a:lnTo>
                      <a:pt x="49" y="239"/>
                    </a:lnTo>
                    <a:lnTo>
                      <a:pt x="52" y="233"/>
                    </a:lnTo>
                    <a:lnTo>
                      <a:pt x="55" y="221"/>
                    </a:lnTo>
                    <a:lnTo>
                      <a:pt x="70" y="207"/>
                    </a:lnTo>
                    <a:lnTo>
                      <a:pt x="73" y="198"/>
                    </a:lnTo>
                    <a:lnTo>
                      <a:pt x="93" y="175"/>
                    </a:lnTo>
                    <a:lnTo>
                      <a:pt x="96" y="166"/>
                    </a:lnTo>
                    <a:lnTo>
                      <a:pt x="105" y="166"/>
                    </a:lnTo>
                    <a:lnTo>
                      <a:pt x="134" y="143"/>
                    </a:lnTo>
                    <a:lnTo>
                      <a:pt x="160" y="140"/>
                    </a:lnTo>
                    <a:lnTo>
                      <a:pt x="183" y="134"/>
                    </a:lnTo>
                    <a:lnTo>
                      <a:pt x="183" y="140"/>
                    </a:lnTo>
                    <a:lnTo>
                      <a:pt x="139" y="215"/>
                    </a:lnTo>
                    <a:lnTo>
                      <a:pt x="131" y="221"/>
                    </a:lnTo>
                    <a:lnTo>
                      <a:pt x="128" y="227"/>
                    </a:lnTo>
                    <a:lnTo>
                      <a:pt x="128" y="241"/>
                    </a:lnTo>
                    <a:lnTo>
                      <a:pt x="116" y="244"/>
                    </a:lnTo>
                    <a:lnTo>
                      <a:pt x="110" y="253"/>
                    </a:lnTo>
                    <a:lnTo>
                      <a:pt x="73" y="291"/>
                    </a:lnTo>
                    <a:lnTo>
                      <a:pt x="73" y="303"/>
                    </a:lnTo>
                    <a:lnTo>
                      <a:pt x="78" y="317"/>
                    </a:lnTo>
                    <a:lnTo>
                      <a:pt x="84" y="337"/>
                    </a:lnTo>
                    <a:lnTo>
                      <a:pt x="87" y="361"/>
                    </a:lnTo>
                    <a:lnTo>
                      <a:pt x="90" y="364"/>
                    </a:lnTo>
                    <a:lnTo>
                      <a:pt x="93" y="375"/>
                    </a:lnTo>
                    <a:lnTo>
                      <a:pt x="99" y="390"/>
                    </a:lnTo>
                    <a:lnTo>
                      <a:pt x="105" y="399"/>
                    </a:lnTo>
                    <a:lnTo>
                      <a:pt x="113" y="410"/>
                    </a:lnTo>
                    <a:lnTo>
                      <a:pt x="128" y="422"/>
                    </a:lnTo>
                    <a:lnTo>
                      <a:pt x="134" y="428"/>
                    </a:lnTo>
                    <a:lnTo>
                      <a:pt x="137" y="436"/>
                    </a:lnTo>
                    <a:lnTo>
                      <a:pt x="125" y="433"/>
                    </a:lnTo>
                    <a:lnTo>
                      <a:pt x="113" y="436"/>
                    </a:lnTo>
                    <a:lnTo>
                      <a:pt x="102" y="442"/>
                    </a:lnTo>
                    <a:lnTo>
                      <a:pt x="96" y="433"/>
                    </a:lnTo>
                    <a:lnTo>
                      <a:pt x="90" y="428"/>
                    </a:lnTo>
                    <a:lnTo>
                      <a:pt x="84" y="425"/>
                    </a:lnTo>
                    <a:lnTo>
                      <a:pt x="78" y="425"/>
                    </a:lnTo>
                    <a:lnTo>
                      <a:pt x="73" y="428"/>
                    </a:lnTo>
                    <a:lnTo>
                      <a:pt x="64" y="431"/>
                    </a:lnTo>
                    <a:lnTo>
                      <a:pt x="64" y="436"/>
                    </a:lnTo>
                    <a:lnTo>
                      <a:pt x="43" y="463"/>
                    </a:lnTo>
                    <a:lnTo>
                      <a:pt x="55" y="468"/>
                    </a:lnTo>
                    <a:lnTo>
                      <a:pt x="38" y="480"/>
                    </a:lnTo>
                    <a:lnTo>
                      <a:pt x="26" y="492"/>
                    </a:lnTo>
                    <a:lnTo>
                      <a:pt x="17" y="506"/>
                    </a:lnTo>
                    <a:lnTo>
                      <a:pt x="11" y="521"/>
                    </a:lnTo>
                    <a:lnTo>
                      <a:pt x="8" y="535"/>
                    </a:lnTo>
                    <a:lnTo>
                      <a:pt x="8" y="556"/>
                    </a:lnTo>
                    <a:lnTo>
                      <a:pt x="8" y="564"/>
                    </a:lnTo>
                    <a:lnTo>
                      <a:pt x="38" y="561"/>
                    </a:lnTo>
                    <a:lnTo>
                      <a:pt x="43" y="550"/>
                    </a:lnTo>
                    <a:lnTo>
                      <a:pt x="55" y="538"/>
                    </a:lnTo>
                    <a:lnTo>
                      <a:pt x="67" y="529"/>
                    </a:lnTo>
                    <a:lnTo>
                      <a:pt x="81" y="524"/>
                    </a:lnTo>
                    <a:lnTo>
                      <a:pt x="105" y="515"/>
                    </a:lnTo>
                    <a:lnTo>
                      <a:pt x="116" y="512"/>
                    </a:lnTo>
                    <a:lnTo>
                      <a:pt x="119" y="529"/>
                    </a:lnTo>
                    <a:lnTo>
                      <a:pt x="163" y="512"/>
                    </a:lnTo>
                    <a:lnTo>
                      <a:pt x="206" y="506"/>
                    </a:lnTo>
                    <a:lnTo>
                      <a:pt x="215" y="503"/>
                    </a:lnTo>
                    <a:lnTo>
                      <a:pt x="241" y="500"/>
                    </a:lnTo>
                    <a:lnTo>
                      <a:pt x="250" y="495"/>
                    </a:lnTo>
                    <a:lnTo>
                      <a:pt x="262" y="492"/>
                    </a:lnTo>
                    <a:lnTo>
                      <a:pt x="273" y="492"/>
                    </a:lnTo>
                    <a:lnTo>
                      <a:pt x="282" y="492"/>
                    </a:lnTo>
                    <a:lnTo>
                      <a:pt x="291" y="489"/>
                    </a:lnTo>
                    <a:lnTo>
                      <a:pt x="305" y="480"/>
                    </a:lnTo>
                    <a:lnTo>
                      <a:pt x="320" y="468"/>
                    </a:lnTo>
                    <a:lnTo>
                      <a:pt x="329" y="468"/>
                    </a:lnTo>
                    <a:lnTo>
                      <a:pt x="334" y="463"/>
                    </a:lnTo>
                    <a:lnTo>
                      <a:pt x="337" y="457"/>
                    </a:lnTo>
                    <a:lnTo>
                      <a:pt x="340" y="448"/>
                    </a:lnTo>
                    <a:lnTo>
                      <a:pt x="340" y="439"/>
                    </a:lnTo>
                    <a:lnTo>
                      <a:pt x="340" y="428"/>
                    </a:lnTo>
                    <a:lnTo>
                      <a:pt x="372" y="413"/>
                    </a:lnTo>
                    <a:lnTo>
                      <a:pt x="407" y="419"/>
                    </a:lnTo>
                    <a:lnTo>
                      <a:pt x="416" y="436"/>
                    </a:lnTo>
                    <a:lnTo>
                      <a:pt x="431" y="448"/>
                    </a:lnTo>
                    <a:lnTo>
                      <a:pt x="486" y="474"/>
                    </a:lnTo>
                    <a:lnTo>
                      <a:pt x="512" y="486"/>
                    </a:lnTo>
                    <a:lnTo>
                      <a:pt x="541" y="500"/>
                    </a:lnTo>
                    <a:lnTo>
                      <a:pt x="564" y="515"/>
                    </a:lnTo>
                    <a:lnTo>
                      <a:pt x="576" y="515"/>
                    </a:lnTo>
                    <a:lnTo>
                      <a:pt x="591" y="532"/>
                    </a:lnTo>
                    <a:lnTo>
                      <a:pt x="605" y="538"/>
                    </a:lnTo>
                    <a:lnTo>
                      <a:pt x="608" y="553"/>
                    </a:lnTo>
                    <a:lnTo>
                      <a:pt x="617" y="567"/>
                    </a:lnTo>
                    <a:lnTo>
                      <a:pt x="628" y="588"/>
                    </a:lnTo>
                    <a:lnTo>
                      <a:pt x="634" y="591"/>
                    </a:lnTo>
                    <a:lnTo>
                      <a:pt x="640" y="591"/>
                    </a:lnTo>
                    <a:lnTo>
                      <a:pt x="643" y="588"/>
                    </a:lnTo>
                    <a:lnTo>
                      <a:pt x="684" y="564"/>
                    </a:lnTo>
                    <a:lnTo>
                      <a:pt x="681" y="553"/>
                    </a:lnTo>
                    <a:lnTo>
                      <a:pt x="707" y="544"/>
                    </a:lnTo>
                    <a:lnTo>
                      <a:pt x="727" y="538"/>
                    </a:lnTo>
                    <a:lnTo>
                      <a:pt x="745" y="529"/>
                    </a:lnTo>
                    <a:lnTo>
                      <a:pt x="759" y="515"/>
                    </a:lnTo>
                    <a:lnTo>
                      <a:pt x="771" y="503"/>
                    </a:lnTo>
                    <a:lnTo>
                      <a:pt x="789" y="480"/>
                    </a:lnTo>
                    <a:lnTo>
                      <a:pt x="794" y="471"/>
                    </a:lnTo>
                    <a:lnTo>
                      <a:pt x="783" y="46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0" name="Freeform 590"/>
              <p:cNvSpPr>
                <a:spLocks/>
              </p:cNvSpPr>
              <p:nvPr/>
            </p:nvSpPr>
            <p:spPr bwMode="auto">
              <a:xfrm>
                <a:off x="5450003" y="939021"/>
                <a:ext cx="423940" cy="108852"/>
              </a:xfrm>
              <a:custGeom>
                <a:avLst/>
                <a:gdLst/>
                <a:ahLst/>
                <a:cxnLst>
                  <a:cxn ang="0">
                    <a:pos x="0" y="15"/>
                  </a:cxn>
                  <a:cxn ang="0">
                    <a:pos x="0" y="15"/>
                  </a:cxn>
                  <a:cxn ang="0">
                    <a:pos x="15" y="12"/>
                  </a:cxn>
                  <a:cxn ang="0">
                    <a:pos x="29" y="3"/>
                  </a:cxn>
                  <a:cxn ang="0">
                    <a:pos x="29" y="3"/>
                  </a:cxn>
                  <a:cxn ang="0">
                    <a:pos x="35" y="0"/>
                  </a:cxn>
                  <a:cxn ang="0">
                    <a:pos x="41" y="3"/>
                  </a:cxn>
                  <a:cxn ang="0">
                    <a:pos x="50" y="12"/>
                  </a:cxn>
                  <a:cxn ang="0">
                    <a:pos x="50" y="12"/>
                  </a:cxn>
                  <a:cxn ang="0">
                    <a:pos x="61" y="15"/>
                  </a:cxn>
                  <a:cxn ang="0">
                    <a:pos x="76" y="18"/>
                  </a:cxn>
                  <a:cxn ang="0">
                    <a:pos x="102" y="15"/>
                  </a:cxn>
                  <a:cxn ang="0">
                    <a:pos x="102" y="15"/>
                  </a:cxn>
                  <a:cxn ang="0">
                    <a:pos x="114" y="15"/>
                  </a:cxn>
                  <a:cxn ang="0">
                    <a:pos x="125" y="18"/>
                  </a:cxn>
                  <a:cxn ang="0">
                    <a:pos x="125" y="18"/>
                  </a:cxn>
                  <a:cxn ang="0">
                    <a:pos x="140" y="21"/>
                  </a:cxn>
                  <a:cxn ang="0">
                    <a:pos x="140" y="21"/>
                  </a:cxn>
                  <a:cxn ang="0">
                    <a:pos x="134" y="27"/>
                  </a:cxn>
                  <a:cxn ang="0">
                    <a:pos x="128" y="29"/>
                  </a:cxn>
                  <a:cxn ang="0">
                    <a:pos x="128" y="29"/>
                  </a:cxn>
                  <a:cxn ang="0">
                    <a:pos x="120" y="29"/>
                  </a:cxn>
                  <a:cxn ang="0">
                    <a:pos x="111" y="29"/>
                  </a:cxn>
                  <a:cxn ang="0">
                    <a:pos x="111" y="29"/>
                  </a:cxn>
                  <a:cxn ang="0">
                    <a:pos x="96" y="29"/>
                  </a:cxn>
                  <a:cxn ang="0">
                    <a:pos x="79" y="32"/>
                  </a:cxn>
                  <a:cxn ang="0">
                    <a:pos x="79" y="32"/>
                  </a:cxn>
                  <a:cxn ang="0">
                    <a:pos x="56" y="38"/>
                  </a:cxn>
                  <a:cxn ang="0">
                    <a:pos x="44" y="38"/>
                  </a:cxn>
                  <a:cxn ang="0">
                    <a:pos x="32" y="35"/>
                  </a:cxn>
                  <a:cxn ang="0">
                    <a:pos x="32" y="35"/>
                  </a:cxn>
                  <a:cxn ang="0">
                    <a:pos x="21" y="29"/>
                  </a:cxn>
                  <a:cxn ang="0">
                    <a:pos x="12" y="24"/>
                  </a:cxn>
                  <a:cxn ang="0">
                    <a:pos x="0" y="15"/>
                  </a:cxn>
                </a:cxnLst>
                <a:rect l="0" t="0" r="r" b="b"/>
                <a:pathLst>
                  <a:path w="140" h="38">
                    <a:moveTo>
                      <a:pt x="0" y="15"/>
                    </a:moveTo>
                    <a:lnTo>
                      <a:pt x="0" y="15"/>
                    </a:lnTo>
                    <a:lnTo>
                      <a:pt x="15" y="12"/>
                    </a:lnTo>
                    <a:lnTo>
                      <a:pt x="29" y="3"/>
                    </a:lnTo>
                    <a:lnTo>
                      <a:pt x="29" y="3"/>
                    </a:lnTo>
                    <a:lnTo>
                      <a:pt x="35" y="0"/>
                    </a:lnTo>
                    <a:lnTo>
                      <a:pt x="41" y="3"/>
                    </a:lnTo>
                    <a:lnTo>
                      <a:pt x="50" y="12"/>
                    </a:lnTo>
                    <a:lnTo>
                      <a:pt x="50" y="12"/>
                    </a:lnTo>
                    <a:lnTo>
                      <a:pt x="61" y="15"/>
                    </a:lnTo>
                    <a:lnTo>
                      <a:pt x="76" y="18"/>
                    </a:lnTo>
                    <a:lnTo>
                      <a:pt x="102" y="15"/>
                    </a:lnTo>
                    <a:lnTo>
                      <a:pt x="102" y="15"/>
                    </a:lnTo>
                    <a:lnTo>
                      <a:pt x="114" y="15"/>
                    </a:lnTo>
                    <a:lnTo>
                      <a:pt x="125" y="18"/>
                    </a:lnTo>
                    <a:lnTo>
                      <a:pt x="125" y="18"/>
                    </a:lnTo>
                    <a:lnTo>
                      <a:pt x="140" y="21"/>
                    </a:lnTo>
                    <a:lnTo>
                      <a:pt x="140" y="21"/>
                    </a:lnTo>
                    <a:lnTo>
                      <a:pt x="134" y="27"/>
                    </a:lnTo>
                    <a:lnTo>
                      <a:pt x="128" y="29"/>
                    </a:lnTo>
                    <a:lnTo>
                      <a:pt x="128" y="29"/>
                    </a:lnTo>
                    <a:lnTo>
                      <a:pt x="120" y="29"/>
                    </a:lnTo>
                    <a:lnTo>
                      <a:pt x="111" y="29"/>
                    </a:lnTo>
                    <a:lnTo>
                      <a:pt x="111" y="29"/>
                    </a:lnTo>
                    <a:lnTo>
                      <a:pt x="96" y="29"/>
                    </a:lnTo>
                    <a:lnTo>
                      <a:pt x="79" y="32"/>
                    </a:lnTo>
                    <a:lnTo>
                      <a:pt x="79" y="32"/>
                    </a:lnTo>
                    <a:lnTo>
                      <a:pt x="56" y="38"/>
                    </a:lnTo>
                    <a:lnTo>
                      <a:pt x="44" y="38"/>
                    </a:lnTo>
                    <a:lnTo>
                      <a:pt x="32" y="35"/>
                    </a:lnTo>
                    <a:lnTo>
                      <a:pt x="32" y="35"/>
                    </a:lnTo>
                    <a:lnTo>
                      <a:pt x="21" y="29"/>
                    </a:lnTo>
                    <a:lnTo>
                      <a:pt x="12" y="24"/>
                    </a:lnTo>
                    <a:lnTo>
                      <a:pt x="0" y="15"/>
                    </a:lnTo>
                    <a:close/>
                  </a:path>
                </a:pathLst>
              </a:custGeom>
              <a:solidFill>
                <a:schemeClr val="tx1">
                  <a:lumMod val="95000"/>
                  <a:lumOff val="5000"/>
                </a:schemeClr>
              </a:solidFill>
              <a:ln w="9525">
                <a:noFill/>
                <a:round/>
                <a:headEnd/>
                <a:tailEnd/>
              </a:ln>
            </p:spPr>
            <p:txBody>
              <a:bodyPr/>
              <a:lstStyle/>
              <a:p>
                <a:pPr fontAlgn="auto">
                  <a:spcBef>
                    <a:spcPts val="0"/>
                  </a:spcBef>
                  <a:spcAft>
                    <a:spcPts val="0"/>
                  </a:spcAft>
                  <a:defRPr/>
                </a:pPr>
                <a:endParaRPr lang="nb-NO">
                  <a:latin typeface="Calibri" charset="0"/>
                  <a:ea typeface="+mn-ea"/>
                </a:endParaRPr>
              </a:p>
            </p:txBody>
          </p:sp>
          <p:sp>
            <p:nvSpPr>
              <p:cNvPr id="71" name="Freeform 591"/>
              <p:cNvSpPr>
                <a:spLocks noEditPoints="1"/>
              </p:cNvSpPr>
              <p:nvPr/>
            </p:nvSpPr>
            <p:spPr bwMode="auto">
              <a:xfrm>
                <a:off x="5689149" y="873710"/>
                <a:ext cx="298930" cy="342885"/>
              </a:xfrm>
              <a:custGeom>
                <a:avLst/>
                <a:gdLst>
                  <a:gd name="T0" fmla="*/ 2147483647 w 99"/>
                  <a:gd name="T1" fmla="*/ 2147483647 h 113"/>
                  <a:gd name="T2" fmla="*/ 2147483647 w 99"/>
                  <a:gd name="T3" fmla="*/ 2147483647 h 113"/>
                  <a:gd name="T4" fmla="*/ 2147483647 w 99"/>
                  <a:gd name="T5" fmla="*/ 2147483647 h 113"/>
                  <a:gd name="T6" fmla="*/ 2147483647 w 99"/>
                  <a:gd name="T7" fmla="*/ 0 h 113"/>
                  <a:gd name="T8" fmla="*/ 2147483647 w 99"/>
                  <a:gd name="T9" fmla="*/ 2147483647 h 113"/>
                  <a:gd name="T10" fmla="*/ 2147483647 w 99"/>
                  <a:gd name="T11" fmla="*/ 2147483647 h 113"/>
                  <a:gd name="T12" fmla="*/ 2147483647 w 99"/>
                  <a:gd name="T13" fmla="*/ 2147483647 h 113"/>
                  <a:gd name="T14" fmla="*/ 2147483647 w 99"/>
                  <a:gd name="T15" fmla="*/ 2147483647 h 113"/>
                  <a:gd name="T16" fmla="*/ 0 w 99"/>
                  <a:gd name="T17" fmla="*/ 2147483647 h 113"/>
                  <a:gd name="T18" fmla="*/ 2147483647 w 99"/>
                  <a:gd name="T19" fmla="*/ 2147483647 h 113"/>
                  <a:gd name="T20" fmla="*/ 2147483647 w 99"/>
                  <a:gd name="T21" fmla="*/ 2147483647 h 113"/>
                  <a:gd name="T22" fmla="*/ 2147483647 w 99"/>
                  <a:gd name="T23" fmla="*/ 2147483647 h 113"/>
                  <a:gd name="T24" fmla="*/ 2147483647 w 99"/>
                  <a:gd name="T25" fmla="*/ 2147483647 h 113"/>
                  <a:gd name="T26" fmla="*/ 2147483647 w 99"/>
                  <a:gd name="T27" fmla="*/ 2147483647 h 113"/>
                  <a:gd name="T28" fmla="*/ 2147483647 w 99"/>
                  <a:gd name="T29" fmla="*/ 2147483647 h 113"/>
                  <a:gd name="T30" fmla="*/ 2147483647 w 99"/>
                  <a:gd name="T31" fmla="*/ 2147483647 h 113"/>
                  <a:gd name="T32" fmla="*/ 2147483647 w 99"/>
                  <a:gd name="T33" fmla="*/ 2147483647 h 113"/>
                  <a:gd name="T34" fmla="*/ 2147483647 w 99"/>
                  <a:gd name="T35" fmla="*/ 2147483647 h 113"/>
                  <a:gd name="T36" fmla="*/ 2147483647 w 99"/>
                  <a:gd name="T37" fmla="*/ 2147483647 h 113"/>
                  <a:gd name="T38" fmla="*/ 2147483647 w 99"/>
                  <a:gd name="T39" fmla="*/ 2147483647 h 113"/>
                  <a:gd name="T40" fmla="*/ 2147483647 w 99"/>
                  <a:gd name="T41" fmla="*/ 2147483647 h 113"/>
                  <a:gd name="T42" fmla="*/ 2147483647 w 99"/>
                  <a:gd name="T43" fmla="*/ 2147483647 h 113"/>
                  <a:gd name="T44" fmla="*/ 2147483647 w 99"/>
                  <a:gd name="T45" fmla="*/ 2147483647 h 113"/>
                  <a:gd name="T46" fmla="*/ 2147483647 w 99"/>
                  <a:gd name="T47" fmla="*/ 2147483647 h 113"/>
                  <a:gd name="T48" fmla="*/ 2147483647 w 99"/>
                  <a:gd name="T49" fmla="*/ 2147483647 h 113"/>
                  <a:gd name="T50" fmla="*/ 2147483647 w 99"/>
                  <a:gd name="T51" fmla="*/ 2147483647 h 113"/>
                  <a:gd name="T52" fmla="*/ 2147483647 w 99"/>
                  <a:gd name="T53" fmla="*/ 2147483647 h 113"/>
                  <a:gd name="T54" fmla="*/ 2147483647 w 99"/>
                  <a:gd name="T55" fmla="*/ 2147483647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9"/>
                  <a:gd name="T85" fmla="*/ 0 h 113"/>
                  <a:gd name="T86" fmla="*/ 99 w 99"/>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9" h="113">
                    <a:moveTo>
                      <a:pt x="73" y="38"/>
                    </a:moveTo>
                    <a:lnTo>
                      <a:pt x="70" y="29"/>
                    </a:lnTo>
                    <a:lnTo>
                      <a:pt x="64" y="12"/>
                    </a:lnTo>
                    <a:lnTo>
                      <a:pt x="38" y="0"/>
                    </a:lnTo>
                    <a:lnTo>
                      <a:pt x="41" y="17"/>
                    </a:lnTo>
                    <a:lnTo>
                      <a:pt x="35" y="32"/>
                    </a:lnTo>
                    <a:lnTo>
                      <a:pt x="26" y="49"/>
                    </a:lnTo>
                    <a:lnTo>
                      <a:pt x="6" y="79"/>
                    </a:lnTo>
                    <a:lnTo>
                      <a:pt x="0" y="113"/>
                    </a:lnTo>
                    <a:lnTo>
                      <a:pt x="3" y="108"/>
                    </a:lnTo>
                    <a:lnTo>
                      <a:pt x="17" y="102"/>
                    </a:lnTo>
                    <a:lnTo>
                      <a:pt x="32" y="96"/>
                    </a:lnTo>
                    <a:lnTo>
                      <a:pt x="46" y="93"/>
                    </a:lnTo>
                    <a:lnTo>
                      <a:pt x="58" y="90"/>
                    </a:lnTo>
                    <a:lnTo>
                      <a:pt x="64" y="90"/>
                    </a:lnTo>
                    <a:lnTo>
                      <a:pt x="81" y="79"/>
                    </a:lnTo>
                    <a:lnTo>
                      <a:pt x="93" y="61"/>
                    </a:lnTo>
                    <a:lnTo>
                      <a:pt x="99" y="41"/>
                    </a:lnTo>
                    <a:lnTo>
                      <a:pt x="73" y="38"/>
                    </a:lnTo>
                    <a:close/>
                    <a:moveTo>
                      <a:pt x="79" y="47"/>
                    </a:moveTo>
                    <a:lnTo>
                      <a:pt x="79" y="47"/>
                    </a:lnTo>
                    <a:close/>
                  </a:path>
                </a:pathLst>
              </a:custGeom>
              <a:solidFill>
                <a:schemeClr val="accent3">
                  <a:lumMod val="60000"/>
                  <a:lumOff val="40000"/>
                </a:schemeClr>
              </a:solidFill>
              <a:ln w="9525">
                <a:noFill/>
                <a:round/>
                <a:headEnd/>
                <a:tailEnd/>
              </a:ln>
            </p:spPr>
            <p:txBody>
              <a:bodyPr/>
              <a:lstStyle/>
              <a:p>
                <a:pPr fontAlgn="auto">
                  <a:spcBef>
                    <a:spcPts val="0"/>
                  </a:spcBef>
                  <a:spcAft>
                    <a:spcPts val="0"/>
                  </a:spcAft>
                  <a:defRPr/>
                </a:pPr>
                <a:endParaRPr lang="en-US">
                  <a:latin typeface="Calibri" charset="0"/>
                  <a:ea typeface="+mn-ea"/>
                </a:endParaRPr>
              </a:p>
            </p:txBody>
          </p:sp>
          <p:sp>
            <p:nvSpPr>
              <p:cNvPr id="19512" name="Freeform 592"/>
              <p:cNvSpPr>
                <a:spLocks/>
              </p:cNvSpPr>
              <p:nvPr/>
            </p:nvSpPr>
            <p:spPr bwMode="auto">
              <a:xfrm>
                <a:off x="5768176" y="982734"/>
                <a:ext cx="150727" cy="78378"/>
              </a:xfrm>
              <a:custGeom>
                <a:avLst/>
                <a:gdLst>
                  <a:gd name="T0" fmla="*/ 2147483647 w 50"/>
                  <a:gd name="T1" fmla="*/ 2147483647 h 26"/>
                  <a:gd name="T2" fmla="*/ 2147483647 w 50"/>
                  <a:gd name="T3" fmla="*/ 2147483647 h 26"/>
                  <a:gd name="T4" fmla="*/ 2147483647 w 50"/>
                  <a:gd name="T5" fmla="*/ 2147483647 h 26"/>
                  <a:gd name="T6" fmla="*/ 2147483647 w 50"/>
                  <a:gd name="T7" fmla="*/ 2147483647 h 26"/>
                  <a:gd name="T8" fmla="*/ 2147483647 w 50"/>
                  <a:gd name="T9" fmla="*/ 2147483647 h 26"/>
                  <a:gd name="T10" fmla="*/ 2147483647 w 50"/>
                  <a:gd name="T11" fmla="*/ 2147483647 h 26"/>
                  <a:gd name="T12" fmla="*/ 2147483647 w 50"/>
                  <a:gd name="T13" fmla="*/ 2147483647 h 26"/>
                  <a:gd name="T14" fmla="*/ 2147483647 w 50"/>
                  <a:gd name="T15" fmla="*/ 2147483647 h 26"/>
                  <a:gd name="T16" fmla="*/ 2147483647 w 50"/>
                  <a:gd name="T17" fmla="*/ 2147483647 h 26"/>
                  <a:gd name="T18" fmla="*/ 2147483647 w 50"/>
                  <a:gd name="T19" fmla="*/ 2147483647 h 26"/>
                  <a:gd name="T20" fmla="*/ 2147483647 w 50"/>
                  <a:gd name="T21" fmla="*/ 0 h 26"/>
                  <a:gd name="T22" fmla="*/ 2147483647 w 50"/>
                  <a:gd name="T23" fmla="*/ 0 h 26"/>
                  <a:gd name="T24" fmla="*/ 2147483647 w 50"/>
                  <a:gd name="T25" fmla="*/ 0 h 26"/>
                  <a:gd name="T26" fmla="*/ 2147483647 w 50"/>
                  <a:gd name="T27" fmla="*/ 0 h 26"/>
                  <a:gd name="T28" fmla="*/ 2147483647 w 50"/>
                  <a:gd name="T29" fmla="*/ 2147483647 h 26"/>
                  <a:gd name="T30" fmla="*/ 2147483647 w 50"/>
                  <a:gd name="T31" fmla="*/ 2147483647 h 26"/>
                  <a:gd name="T32" fmla="*/ 2147483647 w 50"/>
                  <a:gd name="T33" fmla="*/ 2147483647 h 26"/>
                  <a:gd name="T34" fmla="*/ 2147483647 w 50"/>
                  <a:gd name="T35" fmla="*/ 2147483647 h 26"/>
                  <a:gd name="T36" fmla="*/ 2147483647 w 50"/>
                  <a:gd name="T37" fmla="*/ 2147483647 h 26"/>
                  <a:gd name="T38" fmla="*/ 2147483647 w 50"/>
                  <a:gd name="T39" fmla="*/ 2147483647 h 26"/>
                  <a:gd name="T40" fmla="*/ 2147483647 w 50"/>
                  <a:gd name="T41" fmla="*/ 2147483647 h 26"/>
                  <a:gd name="T42" fmla="*/ 2147483647 w 50"/>
                  <a:gd name="T43" fmla="*/ 2147483647 h 26"/>
                  <a:gd name="T44" fmla="*/ 2147483647 w 50"/>
                  <a:gd name="T45" fmla="*/ 2147483647 h 26"/>
                  <a:gd name="T46" fmla="*/ 2147483647 w 50"/>
                  <a:gd name="T47" fmla="*/ 2147483647 h 26"/>
                  <a:gd name="T48" fmla="*/ 2147483647 w 50"/>
                  <a:gd name="T49" fmla="*/ 2147483647 h 26"/>
                  <a:gd name="T50" fmla="*/ 0 w 50"/>
                  <a:gd name="T51" fmla="*/ 2147483647 h 26"/>
                  <a:gd name="T52" fmla="*/ 0 w 50"/>
                  <a:gd name="T53" fmla="*/ 2147483647 h 26"/>
                  <a:gd name="T54" fmla="*/ 2147483647 w 50"/>
                  <a:gd name="T55" fmla="*/ 2147483647 h 26"/>
                  <a:gd name="T56" fmla="*/ 2147483647 w 50"/>
                  <a:gd name="T57" fmla="*/ 2147483647 h 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
                  <a:gd name="T88" fmla="*/ 0 h 26"/>
                  <a:gd name="T89" fmla="*/ 50 w 50"/>
                  <a:gd name="T90" fmla="*/ 26 h 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 h="26">
                    <a:moveTo>
                      <a:pt x="9" y="14"/>
                    </a:moveTo>
                    <a:lnTo>
                      <a:pt x="9" y="14"/>
                    </a:lnTo>
                    <a:lnTo>
                      <a:pt x="18" y="17"/>
                    </a:lnTo>
                    <a:lnTo>
                      <a:pt x="29" y="23"/>
                    </a:lnTo>
                    <a:lnTo>
                      <a:pt x="38" y="26"/>
                    </a:lnTo>
                    <a:lnTo>
                      <a:pt x="44" y="26"/>
                    </a:lnTo>
                    <a:lnTo>
                      <a:pt x="47" y="23"/>
                    </a:lnTo>
                    <a:lnTo>
                      <a:pt x="50" y="14"/>
                    </a:lnTo>
                    <a:lnTo>
                      <a:pt x="50" y="6"/>
                    </a:lnTo>
                    <a:lnTo>
                      <a:pt x="47" y="0"/>
                    </a:lnTo>
                    <a:lnTo>
                      <a:pt x="44" y="0"/>
                    </a:lnTo>
                    <a:lnTo>
                      <a:pt x="41" y="0"/>
                    </a:lnTo>
                    <a:lnTo>
                      <a:pt x="38" y="6"/>
                    </a:lnTo>
                    <a:lnTo>
                      <a:pt x="35" y="9"/>
                    </a:lnTo>
                    <a:lnTo>
                      <a:pt x="32" y="12"/>
                    </a:lnTo>
                    <a:lnTo>
                      <a:pt x="23" y="9"/>
                    </a:lnTo>
                    <a:lnTo>
                      <a:pt x="15" y="3"/>
                    </a:lnTo>
                    <a:lnTo>
                      <a:pt x="6" y="3"/>
                    </a:lnTo>
                    <a:lnTo>
                      <a:pt x="3" y="6"/>
                    </a:lnTo>
                    <a:lnTo>
                      <a:pt x="0" y="17"/>
                    </a:lnTo>
                    <a:lnTo>
                      <a:pt x="9" y="1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9495" name="Group 70"/>
            <p:cNvGrpSpPr>
              <a:grpSpLocks/>
            </p:cNvGrpSpPr>
            <p:nvPr/>
          </p:nvGrpSpPr>
          <p:grpSpPr bwMode="auto">
            <a:xfrm>
              <a:off x="4037013" y="4071938"/>
              <a:ext cx="1098550" cy="1120775"/>
              <a:chOff x="4547783" y="4021788"/>
              <a:chExt cx="1334317" cy="1362074"/>
            </a:xfrm>
          </p:grpSpPr>
          <p:grpSp>
            <p:nvGrpSpPr>
              <p:cNvPr id="19498" name="Gruppe 83"/>
              <p:cNvGrpSpPr>
                <a:grpSpLocks/>
              </p:cNvGrpSpPr>
              <p:nvPr/>
            </p:nvGrpSpPr>
            <p:grpSpPr bwMode="auto">
              <a:xfrm>
                <a:off x="4547783" y="4021788"/>
                <a:ext cx="1334317" cy="1362074"/>
                <a:chOff x="3717577" y="1040361"/>
                <a:chExt cx="1708847" cy="1742936"/>
              </a:xfrm>
            </p:grpSpPr>
            <p:sp>
              <p:nvSpPr>
                <p:cNvPr id="66" name="Tåre 105"/>
                <p:cNvSpPr/>
                <p:nvPr/>
              </p:nvSpPr>
              <p:spPr bwMode="auto">
                <a:xfrm rot="18900000">
                  <a:off x="3717577" y="1067209"/>
                  <a:ext cx="1708847" cy="1716088"/>
                </a:xfrm>
                <a:prstGeom prst="teardrop">
                  <a:avLst/>
                </a:prstGeom>
                <a:gradFill flip="none" rotWithShape="1">
                  <a:gsLst>
                    <a:gs pos="31000">
                      <a:schemeClr val="bg2">
                        <a:alpha val="21000"/>
                      </a:schemeClr>
                    </a:gs>
                    <a:gs pos="100000">
                      <a:schemeClr val="accent1">
                        <a:lumMod val="75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sz="1200">
                    <a:solidFill>
                      <a:srgbClr val="FFFFFF"/>
                    </a:solidFill>
                    <a:latin typeface="Calibri" charset="0"/>
                    <a:ea typeface="ＭＳ Ｐゴシック" charset="0"/>
                    <a:cs typeface="ＭＳ Ｐゴシック" charset="0"/>
                  </a:endParaRPr>
                </a:p>
              </p:txBody>
            </p:sp>
            <p:sp>
              <p:nvSpPr>
                <p:cNvPr id="67"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68"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63" name="&quot;No&quot; Symbol 62"/>
              <p:cNvSpPr/>
              <p:nvPr/>
            </p:nvSpPr>
            <p:spPr>
              <a:xfrm>
                <a:off x="4794122" y="4284378"/>
                <a:ext cx="845524" cy="847820"/>
              </a:xfrm>
              <a:prstGeom prst="noSmoking">
                <a:avLst>
                  <a:gd name="adj" fmla="val 1444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chemeClr val="tx1"/>
                  </a:solidFill>
                  <a:ea typeface="ＭＳ Ｐゴシック" charset="0"/>
                  <a:cs typeface="ＭＳ Ｐゴシック" charset="0"/>
                </a:endParaRPr>
              </a:p>
            </p:txBody>
          </p:sp>
        </p:grpSp>
        <p:sp>
          <p:nvSpPr>
            <p:cNvPr id="59" name="Tåre 105"/>
            <p:cNvSpPr/>
            <p:nvPr/>
          </p:nvSpPr>
          <p:spPr bwMode="auto">
            <a:xfrm rot="13500000">
              <a:off x="5365848" y="2551046"/>
              <a:ext cx="1809650" cy="1817823"/>
            </a:xfrm>
            <a:prstGeom prst="teardrop">
              <a:avLst/>
            </a:prstGeom>
            <a:gradFill flip="none" rotWithShape="1">
              <a:gsLst>
                <a:gs pos="0">
                  <a:schemeClr val="bg2"/>
                </a:gs>
                <a:gs pos="63000">
                  <a:srgbClr val="CE202A"/>
                </a:gs>
              </a:gsLst>
              <a:path path="shape">
                <a:fillToRect l="50000" t="50000" r="50000" b="50000"/>
              </a:path>
              <a:tileRect/>
            </a:gradFill>
            <a:ln w="9525" cap="flat" cmpd="sng" algn="ctr">
              <a:noFill/>
              <a:prstDash val="solid"/>
            </a:ln>
            <a:effectLst>
              <a:innerShdw blurRad="190500" dist="114300" dir="5640000">
                <a:srgbClr val="000000">
                  <a:alpha val="37000"/>
                </a:srgbClr>
              </a:innerShdw>
              <a:reflection stA="25000" endPos="35000" dist="12700" dir="5400000" sy="-100000" algn="bl" rotWithShape="0"/>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61" name="TextBox 9"/>
            <p:cNvSpPr txBox="1">
              <a:spLocks noChangeArrowheads="1"/>
            </p:cNvSpPr>
            <p:nvPr/>
          </p:nvSpPr>
          <p:spPr bwMode="auto">
            <a:xfrm>
              <a:off x="5212701" y="2950471"/>
              <a:ext cx="1988199" cy="1362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109" charset="0"/>
                  <a:ea typeface="ＭＳ Ｐゴシック" pitchFamily="-109" charset="-128"/>
                </a:defRPr>
              </a:lvl1pPr>
              <a:lvl2pPr marL="742950" indent="-285750">
                <a:defRPr>
                  <a:solidFill>
                    <a:schemeClr val="tx1"/>
                  </a:solidFill>
                  <a:latin typeface="Calibri" pitchFamily="-109" charset="0"/>
                  <a:ea typeface="ＭＳ Ｐゴシック" pitchFamily="-109" charset="-128"/>
                </a:defRPr>
              </a:lvl2pPr>
              <a:lvl3pPr marL="1143000" indent="-228600">
                <a:defRPr>
                  <a:solidFill>
                    <a:schemeClr val="tx1"/>
                  </a:solidFill>
                  <a:latin typeface="Calibri" pitchFamily="-109" charset="0"/>
                  <a:ea typeface="ＭＳ Ｐゴシック" pitchFamily="-109" charset="-128"/>
                </a:defRPr>
              </a:lvl3pPr>
              <a:lvl4pPr marL="1600200" indent="-228600">
                <a:defRPr>
                  <a:solidFill>
                    <a:schemeClr val="tx1"/>
                  </a:solidFill>
                  <a:latin typeface="Calibri" pitchFamily="-109" charset="0"/>
                  <a:ea typeface="ＭＳ Ｐゴシック" pitchFamily="-109" charset="-128"/>
                </a:defRPr>
              </a:lvl4pPr>
              <a:lvl5pPr marL="2057400" indent="-228600">
                <a:defRPr>
                  <a:solidFill>
                    <a:schemeClr val="tx1"/>
                  </a:solidFill>
                  <a:latin typeface="Calibri" pitchFamily="-109" charset="0"/>
                  <a:ea typeface="ＭＳ Ｐゴシック" pitchFamily="-109" charset="-128"/>
                </a:defRPr>
              </a:lvl5pPr>
              <a:lvl6pPr marL="2514600" indent="-228600" defTabSz="457200" fontAlgn="base">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fontAlgn="base">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fontAlgn="base">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fontAlgn="base">
                <a:spcBef>
                  <a:spcPct val="0"/>
                </a:spcBef>
                <a:spcAft>
                  <a:spcPct val="0"/>
                </a:spcAft>
                <a:defRPr>
                  <a:solidFill>
                    <a:schemeClr val="tx1"/>
                  </a:solidFill>
                  <a:latin typeface="Calibri" pitchFamily="-109" charset="0"/>
                  <a:ea typeface="ＭＳ Ｐゴシック" pitchFamily="-109" charset="-128"/>
                </a:defRPr>
              </a:lvl9pPr>
            </a:lstStyle>
            <a:p>
              <a:pPr algn="ctr">
                <a:defRPr/>
              </a:pPr>
              <a:r>
                <a:rPr lang="en-GB" sz="1050" b="1" dirty="0" smtClean="0">
                  <a:solidFill>
                    <a:srgbClr val="FFFFFF"/>
                  </a:solidFill>
                  <a:latin typeface="Arial" charset="0"/>
                </a:rPr>
                <a:t>Buyer power</a:t>
              </a:r>
            </a:p>
            <a:p>
              <a:pPr algn="ctr">
                <a:spcBef>
                  <a:spcPct val="20000"/>
                </a:spcBef>
                <a:buFont typeface="Arial" charset="0"/>
                <a:buChar char="•"/>
                <a:defRPr/>
              </a:pPr>
              <a:r>
                <a:rPr lang="en-GB" sz="1050" noProof="1" smtClean="0">
                  <a:solidFill>
                    <a:srgbClr val="FFFFFF"/>
                  </a:solidFill>
                  <a:cs typeface="Arial" charset="0"/>
                </a:rPr>
                <a:t>This is an example text</a:t>
              </a:r>
            </a:p>
            <a:p>
              <a:pPr algn="ctr">
                <a:spcBef>
                  <a:spcPct val="20000"/>
                </a:spcBef>
                <a:buFont typeface="Arial" charset="0"/>
                <a:buChar char="•"/>
                <a:defRPr/>
              </a:pPr>
              <a:r>
                <a:rPr lang="en-GB" sz="1050" noProof="1" smtClean="0">
                  <a:solidFill>
                    <a:srgbClr val="FFFFFF"/>
                  </a:solidFill>
                  <a:cs typeface="Arial" charset="0"/>
                </a:rPr>
                <a:t>Please replace with own text</a:t>
              </a:r>
            </a:p>
            <a:p>
              <a:pPr algn="ctr">
                <a:spcBef>
                  <a:spcPct val="20000"/>
                </a:spcBef>
                <a:buFont typeface="Arial" charset="0"/>
                <a:buChar char="•"/>
                <a:defRPr/>
              </a:pPr>
              <a:r>
                <a:rPr lang="en-GB" sz="1050" noProof="1" smtClean="0">
                  <a:solidFill>
                    <a:srgbClr val="FFFFFF"/>
                  </a:solidFill>
                  <a:cs typeface="Arial" charset="0"/>
                </a:rPr>
                <a:t>This is an example text. </a:t>
              </a:r>
            </a:p>
            <a:p>
              <a:pPr>
                <a:defRPr/>
              </a:pPr>
              <a:endParaRPr lang="nb-NO" sz="1050" dirty="0" smtClean="0">
                <a:solidFill>
                  <a:srgbClr val="353637"/>
                </a:solidFill>
                <a:latin typeface="Arial" charset="0"/>
              </a:endParaRPr>
            </a:p>
            <a:p>
              <a:pPr>
                <a:defRPr/>
              </a:pPr>
              <a:endParaRPr lang="nb-NO" sz="1600" dirty="0" smtClean="0">
                <a:latin typeface="Arial" charset="0"/>
              </a:endParaRPr>
            </a:p>
          </p:txBody>
        </p:sp>
      </p:grpSp>
      <p:sp>
        <p:nvSpPr>
          <p:cNvPr id="19461" name="Rounded Rectangle 44"/>
          <p:cNvSpPr>
            <a:spLocks noChangeArrowheads="1"/>
          </p:cNvSpPr>
          <p:nvPr/>
        </p:nvSpPr>
        <p:spPr bwMode="auto">
          <a:xfrm rot="16200000" flipH="1">
            <a:off x="1863726" y="3433762"/>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19462" name="Rounded Rectangle 38"/>
          <p:cNvSpPr>
            <a:spLocks noChangeArrowheads="1"/>
          </p:cNvSpPr>
          <p:nvPr/>
        </p:nvSpPr>
        <p:spPr bwMode="auto">
          <a:xfrm rot="16200000" flipH="1">
            <a:off x="1863726" y="2154237"/>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62" name="Round Same Side Corner Rectangle 61"/>
          <p:cNvSpPr/>
          <p:nvPr/>
        </p:nvSpPr>
        <p:spPr>
          <a:xfrm>
            <a:off x="836613" y="3192463"/>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65" name="Round Same Side Corner Rectangle 64"/>
          <p:cNvSpPr/>
          <p:nvPr/>
        </p:nvSpPr>
        <p:spPr>
          <a:xfrm>
            <a:off x="836613" y="4473575"/>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19465" name="Rounded Rectangle 27"/>
          <p:cNvSpPr>
            <a:spLocks noChangeArrowheads="1"/>
          </p:cNvSpPr>
          <p:nvPr/>
        </p:nvSpPr>
        <p:spPr bwMode="auto">
          <a:xfrm rot="16200000" flipH="1">
            <a:off x="1863726" y="866775"/>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80" name="Round Same Side Corner Rectangle 79"/>
          <p:cNvSpPr/>
          <p:nvPr/>
        </p:nvSpPr>
        <p:spPr>
          <a:xfrm>
            <a:off x="836613" y="1878013"/>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19467" name="Rektangel 76"/>
          <p:cNvSpPr>
            <a:spLocks noChangeArrowheads="1"/>
          </p:cNvSpPr>
          <p:nvPr/>
        </p:nvSpPr>
        <p:spPr bwMode="auto">
          <a:xfrm>
            <a:off x="969963" y="1906588"/>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19468" name="Rektangel 76"/>
          <p:cNvSpPr>
            <a:spLocks noChangeArrowheads="1"/>
          </p:cNvSpPr>
          <p:nvPr/>
        </p:nvSpPr>
        <p:spPr bwMode="auto">
          <a:xfrm>
            <a:off x="969963" y="3209925"/>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19469" name="Rektangel 76"/>
          <p:cNvSpPr>
            <a:spLocks noChangeArrowheads="1"/>
          </p:cNvSpPr>
          <p:nvPr/>
        </p:nvSpPr>
        <p:spPr bwMode="auto">
          <a:xfrm>
            <a:off x="969963" y="4491038"/>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19470" name="Tekstboks 72"/>
          <p:cNvSpPr txBox="1">
            <a:spLocks noChangeArrowheads="1"/>
          </p:cNvSpPr>
          <p:nvPr/>
        </p:nvSpPr>
        <p:spPr bwMode="auto">
          <a:xfrm>
            <a:off x="1739900" y="2374900"/>
            <a:ext cx="2124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sp>
        <p:nvSpPr>
          <p:cNvPr id="19471" name="Tekstboks 72"/>
          <p:cNvSpPr txBox="1">
            <a:spLocks noChangeArrowheads="1"/>
          </p:cNvSpPr>
          <p:nvPr/>
        </p:nvSpPr>
        <p:spPr bwMode="auto">
          <a:xfrm>
            <a:off x="1739900" y="3660775"/>
            <a:ext cx="2124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sp>
        <p:nvSpPr>
          <p:cNvPr id="19472" name="Tekstboks 72"/>
          <p:cNvSpPr txBox="1">
            <a:spLocks noChangeArrowheads="1"/>
          </p:cNvSpPr>
          <p:nvPr/>
        </p:nvSpPr>
        <p:spPr bwMode="auto">
          <a:xfrm>
            <a:off x="1739900" y="4941888"/>
            <a:ext cx="21240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grpSp>
        <p:nvGrpSpPr>
          <p:cNvPr id="19473" name="Group 44"/>
          <p:cNvGrpSpPr>
            <a:grpSpLocks/>
          </p:cNvGrpSpPr>
          <p:nvPr/>
        </p:nvGrpSpPr>
        <p:grpSpPr bwMode="auto">
          <a:xfrm>
            <a:off x="981075" y="2362200"/>
            <a:ext cx="403225" cy="403225"/>
            <a:chOff x="3294062" y="1631156"/>
            <a:chExt cx="460375" cy="460375"/>
          </a:xfrm>
        </p:grpSpPr>
        <p:sp>
          <p:nvSpPr>
            <p:cNvPr id="88"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19481"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1</a:t>
              </a:r>
            </a:p>
          </p:txBody>
        </p:sp>
      </p:grpSp>
      <p:grpSp>
        <p:nvGrpSpPr>
          <p:cNvPr id="19474" name="Group 44"/>
          <p:cNvGrpSpPr>
            <a:grpSpLocks/>
          </p:cNvGrpSpPr>
          <p:nvPr/>
        </p:nvGrpSpPr>
        <p:grpSpPr bwMode="auto">
          <a:xfrm>
            <a:off x="981075" y="3660775"/>
            <a:ext cx="403225" cy="403225"/>
            <a:chOff x="3294062" y="1631156"/>
            <a:chExt cx="460375" cy="460375"/>
          </a:xfrm>
        </p:grpSpPr>
        <p:sp>
          <p:nvSpPr>
            <p:cNvPr id="91"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19479"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2</a:t>
              </a:r>
            </a:p>
          </p:txBody>
        </p:sp>
      </p:grpSp>
      <p:grpSp>
        <p:nvGrpSpPr>
          <p:cNvPr id="19475" name="Group 44"/>
          <p:cNvGrpSpPr>
            <a:grpSpLocks/>
          </p:cNvGrpSpPr>
          <p:nvPr/>
        </p:nvGrpSpPr>
        <p:grpSpPr bwMode="auto">
          <a:xfrm>
            <a:off x="981075" y="4941888"/>
            <a:ext cx="403225" cy="403225"/>
            <a:chOff x="3294062" y="1631156"/>
            <a:chExt cx="460375" cy="460375"/>
          </a:xfrm>
        </p:grpSpPr>
        <p:sp>
          <p:nvSpPr>
            <p:cNvPr id="94"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19477"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3</a:t>
              </a:r>
            </a:p>
          </p:txBody>
        </p:sp>
      </p:grpSp>
      <p:sp>
        <p:nvSpPr>
          <p:cNvPr id="5" name="Subtitle 4"/>
          <p:cNvSpPr>
            <a:spLocks noGrp="1"/>
          </p:cNvSpPr>
          <p:nvPr>
            <p:ph type="subTitle" idx="1"/>
          </p:nvPr>
        </p:nvSpPr>
        <p:spPr>
          <a:xfrm>
            <a:off x="628650" y="866381"/>
            <a:ext cx="7891272" cy="552972"/>
          </a:xfrm>
        </p:spPr>
        <p:txBody>
          <a:bodyPr/>
          <a:lstStyle/>
          <a:p>
            <a:r>
              <a:rPr lang="en-US" dirty="0"/>
              <a:t>Replace this text</a:t>
            </a:r>
          </a:p>
          <a:p>
            <a:endParaRPr lang="en-US" dirty="0"/>
          </a:p>
        </p:txBody>
      </p:sp>
      <p:sp>
        <p:nvSpPr>
          <p:cNvPr id="4" name="Title 3"/>
          <p:cNvSpPr>
            <a:spLocks noGrp="1"/>
          </p:cNvSpPr>
          <p:nvPr>
            <p:ph type="title"/>
          </p:nvPr>
        </p:nvSpPr>
        <p:spPr/>
        <p:txBody>
          <a:bodyPr/>
          <a:lstStyle/>
          <a:p>
            <a:r>
              <a:rPr lang="en-US" dirty="0"/>
              <a:t>PORTERS 5 FORCES</a:t>
            </a:r>
          </a:p>
        </p:txBody>
      </p:sp>
      <p:sp>
        <p:nvSpPr>
          <p:cNvPr id="6" name="Date Placeholder 5"/>
          <p:cNvSpPr>
            <a:spLocks noGrp="1"/>
          </p:cNvSpPr>
          <p:nvPr>
            <p:ph type="dt" sz="half" idx="10"/>
          </p:nvPr>
        </p:nvSpPr>
        <p:spPr/>
        <p:txBody>
          <a:bodyPr/>
          <a:lstStyle/>
          <a:p>
            <a:r>
              <a:rPr lang="en-US" smtClean="0"/>
              <a:t>PRESENTER NAME</a:t>
            </a:r>
            <a:endParaRPr lang="en-US"/>
          </a:p>
        </p:txBody>
      </p:sp>
      <p:sp>
        <p:nvSpPr>
          <p:cNvPr id="7" name="Footer Placeholder 6"/>
          <p:cNvSpPr>
            <a:spLocks noGrp="1"/>
          </p:cNvSpPr>
          <p:nvPr>
            <p:ph type="ftr" sz="quarter" idx="11"/>
          </p:nvPr>
        </p:nvSpPr>
        <p:spPr/>
        <p:txBody>
          <a:bodyPr/>
          <a:lstStyle/>
          <a:p>
            <a:r>
              <a:rPr lang="en-US" smtClean="0"/>
              <a:t>COMPANY NAME</a:t>
            </a:r>
            <a:endParaRPr lang="en-US"/>
          </a:p>
        </p:txBody>
      </p:sp>
      <p:sp>
        <p:nvSpPr>
          <p:cNvPr id="8" name="Slide Number Placeholder 7"/>
          <p:cNvSpPr>
            <a:spLocks noGrp="1"/>
          </p:cNvSpPr>
          <p:nvPr>
            <p:ph type="sldNum" sz="quarter" idx="12"/>
          </p:nvPr>
        </p:nvSpPr>
        <p:spPr/>
        <p:txBody>
          <a:bodyPr/>
          <a:lstStyle/>
          <a:p>
            <a:fld id="{AACE8A1A-EF06-42BD-8183-7D22FECA910D}" type="slidenum">
              <a:rPr lang="en-US" smtClean="0"/>
              <a:pPr/>
              <a:t>55</a:t>
            </a:fld>
            <a:r>
              <a:rPr lang="en-US" smtClean="0"/>
              <a:t>|</a:t>
            </a:r>
            <a:endParaRPr lang="en-US" dirty="0"/>
          </a:p>
        </p:txBody>
      </p:sp>
    </p:spTree>
    <p:extLst>
      <p:ext uri="{BB962C8B-B14F-4D97-AF65-F5344CB8AC3E}">
        <p14:creationId xmlns:p14="http://schemas.microsoft.com/office/powerpoint/2010/main" val="206564784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482" name="Group 2"/>
          <p:cNvGrpSpPr>
            <a:grpSpLocks/>
          </p:cNvGrpSpPr>
          <p:nvPr/>
        </p:nvGrpSpPr>
        <p:grpSpPr bwMode="auto">
          <a:xfrm>
            <a:off x="742950" y="1590675"/>
            <a:ext cx="3403600" cy="4229100"/>
            <a:chOff x="2878138" y="963546"/>
            <a:chExt cx="3403600" cy="4229167"/>
          </a:xfrm>
        </p:grpSpPr>
        <p:sp>
          <p:nvSpPr>
            <p:cNvPr id="20506" name="Tekstboks 6"/>
            <p:cNvSpPr txBox="1">
              <a:spLocks noChangeArrowheads="1"/>
            </p:cNvSpPr>
            <p:nvPr/>
          </p:nvSpPr>
          <p:spPr bwMode="auto">
            <a:xfrm>
              <a:off x="3521075" y="3287713"/>
              <a:ext cx="2133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ctr" eaLnBrk="1" hangingPunct="1"/>
              <a:r>
                <a:rPr lang="da-DK" sz="1400" b="1">
                  <a:solidFill>
                    <a:srgbClr val="227088"/>
                  </a:solidFill>
                </a:rPr>
                <a:t>RIVALRY</a:t>
              </a:r>
            </a:p>
          </p:txBody>
        </p:sp>
        <p:sp>
          <p:nvSpPr>
            <p:cNvPr id="8" name="Donut 7"/>
            <p:cNvSpPr>
              <a:spLocks/>
            </p:cNvSpPr>
            <p:nvPr/>
          </p:nvSpPr>
          <p:spPr bwMode="auto">
            <a:xfrm rot="2700000">
              <a:off x="3247211" y="2120080"/>
              <a:ext cx="2678154" cy="2679700"/>
            </a:xfrm>
            <a:custGeom>
              <a:avLst/>
              <a:gdLst>
                <a:gd name="T0" fmla="*/ 0 w 2678113"/>
                <a:gd name="T1" fmla="*/ 1339850 h 2679700"/>
                <a:gd name="T2" fmla="*/ 1339057 w 2678113"/>
                <a:gd name="T3" fmla="*/ 0 h 2679700"/>
                <a:gd name="T4" fmla="*/ 2678114 w 2678113"/>
                <a:gd name="T5" fmla="*/ 1339850 h 2679700"/>
                <a:gd name="T6" fmla="*/ 1339057 w 2678113"/>
                <a:gd name="T7" fmla="*/ 2679700 h 2679700"/>
                <a:gd name="T8" fmla="*/ 0 w 2678113"/>
                <a:gd name="T9" fmla="*/ 1339850 h 2679700"/>
                <a:gd name="T10" fmla="*/ 322123 w 2678113"/>
                <a:gd name="T11" fmla="*/ 1339850 h 2679700"/>
                <a:gd name="T12" fmla="*/ 1339056 w 2678113"/>
                <a:gd name="T13" fmla="*/ 2357577 h 2679700"/>
                <a:gd name="T14" fmla="*/ 2355989 w 2678113"/>
                <a:gd name="T15" fmla="*/ 1339850 h 2679700"/>
                <a:gd name="T16" fmla="*/ 1339056 w 2678113"/>
                <a:gd name="T17" fmla="*/ 322123 h 2679700"/>
                <a:gd name="T18" fmla="*/ 322123 w 2678113"/>
                <a:gd name="T19" fmla="*/ 1339850 h 26797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78113" h="2679700">
                  <a:moveTo>
                    <a:pt x="0" y="1339850"/>
                  </a:moveTo>
                  <a:cubicBezTo>
                    <a:pt x="0" y="599871"/>
                    <a:pt x="599516" y="0"/>
                    <a:pt x="1339057" y="0"/>
                  </a:cubicBezTo>
                  <a:cubicBezTo>
                    <a:pt x="2078598" y="0"/>
                    <a:pt x="2678114" y="599871"/>
                    <a:pt x="2678114" y="1339850"/>
                  </a:cubicBezTo>
                  <a:cubicBezTo>
                    <a:pt x="2678114" y="2079829"/>
                    <a:pt x="2078598" y="2679700"/>
                    <a:pt x="1339057" y="2679700"/>
                  </a:cubicBezTo>
                  <a:cubicBezTo>
                    <a:pt x="599516" y="2679700"/>
                    <a:pt x="0" y="2079829"/>
                    <a:pt x="0" y="1339850"/>
                  </a:cubicBezTo>
                  <a:close/>
                  <a:moveTo>
                    <a:pt x="322123" y="1339850"/>
                  </a:moveTo>
                  <a:cubicBezTo>
                    <a:pt x="322123" y="1901925"/>
                    <a:pt x="777419" y="2357577"/>
                    <a:pt x="1339056" y="2357577"/>
                  </a:cubicBezTo>
                  <a:cubicBezTo>
                    <a:pt x="1900693" y="2357577"/>
                    <a:pt x="2355989" y="1901925"/>
                    <a:pt x="2355989" y="1339850"/>
                  </a:cubicBezTo>
                  <a:cubicBezTo>
                    <a:pt x="2355989" y="777775"/>
                    <a:pt x="1900693" y="322123"/>
                    <a:pt x="1339056" y="322123"/>
                  </a:cubicBezTo>
                  <a:cubicBezTo>
                    <a:pt x="777419" y="322123"/>
                    <a:pt x="322123" y="777775"/>
                    <a:pt x="322123" y="1339850"/>
                  </a:cubicBezTo>
                  <a:close/>
                </a:path>
              </a:pathLst>
            </a:custGeom>
            <a:solidFill>
              <a:srgbClr val="F2F2F2"/>
            </a:solidFill>
            <a:ln w="9525" cap="flat" cmpd="sng">
              <a:solidFill>
                <a:srgbClr val="4A7EBB"/>
              </a:solidFill>
              <a:prstDash val="solid"/>
              <a:round/>
              <a:headEnd/>
              <a:tailEnd/>
            </a:ln>
            <a:effectLst>
              <a:outerShdw blurRad="40000" dist="23000" dir="5400000" rotWithShape="0">
                <a:srgbClr val="000000">
                  <a:alpha val="34999"/>
                </a:srgbClr>
              </a:outerShdw>
            </a:effectLst>
          </p:spPr>
          <p:txBody>
            <a:bodyPr anchor="ctr"/>
            <a:lstStyle/>
            <a:p>
              <a:pPr>
                <a:defRPr/>
              </a:pPr>
              <a:endParaRPr lang="en-US"/>
            </a:p>
          </p:txBody>
        </p:sp>
        <p:grpSp>
          <p:nvGrpSpPr>
            <p:cNvPr id="20508" name="Group 67"/>
            <p:cNvGrpSpPr>
              <a:grpSpLocks/>
            </p:cNvGrpSpPr>
            <p:nvPr/>
          </p:nvGrpSpPr>
          <p:grpSpPr bwMode="auto">
            <a:xfrm>
              <a:off x="2878138" y="2911480"/>
              <a:ext cx="1122362" cy="1098550"/>
              <a:chOff x="2590806" y="2443939"/>
              <a:chExt cx="1362074" cy="1334317"/>
            </a:xfrm>
          </p:grpSpPr>
          <p:grpSp>
            <p:nvGrpSpPr>
              <p:cNvPr id="20535" name="Gruppe 83"/>
              <p:cNvGrpSpPr>
                <a:grpSpLocks/>
              </p:cNvGrpSpPr>
              <p:nvPr/>
            </p:nvGrpSpPr>
            <p:grpSpPr bwMode="auto">
              <a:xfrm rot="5400000">
                <a:off x="2604684" y="2430061"/>
                <a:ext cx="1334317" cy="1362074"/>
                <a:chOff x="3717577" y="1040361"/>
                <a:chExt cx="1708847" cy="1742936"/>
              </a:xfrm>
            </p:grpSpPr>
            <p:sp>
              <p:nvSpPr>
                <p:cNvPr id="14" name="Tåre 105"/>
                <p:cNvSpPr/>
                <p:nvPr/>
              </p:nvSpPr>
              <p:spPr bwMode="auto">
                <a:xfrm rot="18900000">
                  <a:off x="3717577" y="1067209"/>
                  <a:ext cx="1708847" cy="1716088"/>
                </a:xfrm>
                <a:prstGeom prst="teardrop">
                  <a:avLst/>
                </a:prstGeom>
                <a:gradFill flip="none" rotWithShape="1">
                  <a:gsLst>
                    <a:gs pos="0">
                      <a:schemeClr val="bg2"/>
                    </a:gs>
                    <a:gs pos="86000">
                      <a:srgbClr val="2A9B18"/>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0"/>
                    <a:cs typeface="ＭＳ Ｐゴシック" charset="0"/>
                  </a:endParaRPr>
                </a:p>
              </p:txBody>
            </p:sp>
            <p:sp>
              <p:nvSpPr>
                <p:cNvPr id="15"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16"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11" name="L-Shape 10"/>
              <p:cNvSpPr/>
              <p:nvPr/>
            </p:nvSpPr>
            <p:spPr>
              <a:xfrm>
                <a:off x="3047400" y="3053212"/>
                <a:ext cx="470079" cy="376005"/>
              </a:xfrm>
              <a:prstGeom prst="corner">
                <a:avLst>
                  <a:gd name="adj1" fmla="val 74088"/>
                  <a:gd name="adj2" fmla="val 3406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sp>
            <p:nvSpPr>
              <p:cNvPr id="12" name="Cloud 11"/>
              <p:cNvSpPr/>
              <p:nvPr/>
            </p:nvSpPr>
            <p:spPr>
              <a:xfrm rot="2580872">
                <a:off x="3103270" y="2659853"/>
                <a:ext cx="223480" cy="406857"/>
              </a:xfrm>
              <a:prstGeom prst="cloud">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grpSp>
        <p:grpSp>
          <p:nvGrpSpPr>
            <p:cNvPr id="20509" name="Group 70"/>
            <p:cNvGrpSpPr>
              <a:grpSpLocks/>
            </p:cNvGrpSpPr>
            <p:nvPr/>
          </p:nvGrpSpPr>
          <p:grpSpPr bwMode="auto">
            <a:xfrm>
              <a:off x="4037013" y="4071938"/>
              <a:ext cx="1098550" cy="1120775"/>
              <a:chOff x="4547783" y="4021788"/>
              <a:chExt cx="1334317" cy="1362074"/>
            </a:xfrm>
          </p:grpSpPr>
          <p:grpSp>
            <p:nvGrpSpPr>
              <p:cNvPr id="20524" name="Gruppe 83"/>
              <p:cNvGrpSpPr>
                <a:grpSpLocks/>
              </p:cNvGrpSpPr>
              <p:nvPr/>
            </p:nvGrpSpPr>
            <p:grpSpPr bwMode="auto">
              <a:xfrm>
                <a:off x="4547783" y="4021788"/>
                <a:ext cx="1334317" cy="1362074"/>
                <a:chOff x="3717577" y="1040361"/>
                <a:chExt cx="1708847" cy="1742936"/>
              </a:xfrm>
            </p:grpSpPr>
            <p:sp>
              <p:nvSpPr>
                <p:cNvPr id="22" name="Tåre 105"/>
                <p:cNvSpPr/>
                <p:nvPr/>
              </p:nvSpPr>
              <p:spPr bwMode="auto">
                <a:xfrm rot="18900000">
                  <a:off x="3717577" y="1067209"/>
                  <a:ext cx="1708847" cy="1716088"/>
                </a:xfrm>
                <a:prstGeom prst="teardrop">
                  <a:avLst/>
                </a:prstGeom>
                <a:gradFill flip="none" rotWithShape="1">
                  <a:gsLst>
                    <a:gs pos="31000">
                      <a:schemeClr val="bg2">
                        <a:alpha val="21000"/>
                      </a:schemeClr>
                    </a:gs>
                    <a:gs pos="100000">
                      <a:schemeClr val="accent1">
                        <a:lumMod val="75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sz="1200">
                    <a:solidFill>
                      <a:srgbClr val="FFFFFF"/>
                    </a:solidFill>
                    <a:latin typeface="Calibri" charset="0"/>
                    <a:ea typeface="ＭＳ Ｐゴシック" charset="0"/>
                    <a:cs typeface="ＭＳ Ｐゴシック" charset="0"/>
                  </a:endParaRPr>
                </a:p>
              </p:txBody>
            </p:sp>
            <p:sp>
              <p:nvSpPr>
                <p:cNvPr id="23"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24"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19" name="&quot;No&quot; Symbol 18"/>
              <p:cNvSpPr/>
              <p:nvPr/>
            </p:nvSpPr>
            <p:spPr>
              <a:xfrm>
                <a:off x="4792665" y="4284153"/>
                <a:ext cx="846481" cy="846970"/>
              </a:xfrm>
              <a:prstGeom prst="noSmoking">
                <a:avLst>
                  <a:gd name="adj" fmla="val 1444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chemeClr val="tx1"/>
                  </a:solidFill>
                  <a:ea typeface="ＭＳ Ｐゴシック" charset="0"/>
                  <a:cs typeface="ＭＳ Ｐゴシック" charset="0"/>
                </a:endParaRPr>
              </a:p>
            </p:txBody>
          </p:sp>
        </p:grpSp>
        <p:sp>
          <p:nvSpPr>
            <p:cNvPr id="25" name="Tåre 105"/>
            <p:cNvSpPr/>
            <p:nvPr/>
          </p:nvSpPr>
          <p:spPr bwMode="auto">
            <a:xfrm rot="8100000">
              <a:off x="3689449" y="963546"/>
              <a:ext cx="1809650" cy="1817823"/>
            </a:xfrm>
            <a:prstGeom prst="teardrop">
              <a:avLst/>
            </a:prstGeom>
            <a:gradFill flip="none" rotWithShape="1">
              <a:gsLst>
                <a:gs pos="0">
                  <a:schemeClr val="bg2"/>
                </a:gs>
                <a:gs pos="86000">
                  <a:srgbClr val="F0B71F"/>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grpSp>
          <p:nvGrpSpPr>
            <p:cNvPr id="20513" name="Group 65"/>
            <p:cNvGrpSpPr>
              <a:grpSpLocks/>
            </p:cNvGrpSpPr>
            <p:nvPr/>
          </p:nvGrpSpPr>
          <p:grpSpPr bwMode="auto">
            <a:xfrm>
              <a:off x="5160963" y="2911478"/>
              <a:ext cx="1120775" cy="1098550"/>
              <a:chOff x="6413505" y="2443937"/>
              <a:chExt cx="1362074" cy="1334317"/>
            </a:xfrm>
          </p:grpSpPr>
          <p:grpSp>
            <p:nvGrpSpPr>
              <p:cNvPr id="20515" name="Gruppe 83"/>
              <p:cNvGrpSpPr>
                <a:grpSpLocks/>
              </p:cNvGrpSpPr>
              <p:nvPr/>
            </p:nvGrpSpPr>
            <p:grpSpPr bwMode="auto">
              <a:xfrm rot="-5400000">
                <a:off x="6427383" y="2430059"/>
                <a:ext cx="1334317" cy="1362074"/>
                <a:chOff x="3717577" y="1040361"/>
                <a:chExt cx="1708847" cy="1742936"/>
              </a:xfrm>
            </p:grpSpPr>
            <p:sp>
              <p:nvSpPr>
                <p:cNvPr id="31" name="Tåre 105"/>
                <p:cNvSpPr/>
                <p:nvPr/>
              </p:nvSpPr>
              <p:spPr bwMode="auto">
                <a:xfrm rot="18900000">
                  <a:off x="3717577" y="1067209"/>
                  <a:ext cx="1708847" cy="1716088"/>
                </a:xfrm>
                <a:prstGeom prst="teardrop">
                  <a:avLst/>
                </a:prstGeom>
                <a:gradFill flip="none" rotWithShape="1">
                  <a:gsLst>
                    <a:gs pos="0">
                      <a:schemeClr val="bg2"/>
                    </a:gs>
                    <a:gs pos="63000">
                      <a:srgbClr val="CE202A"/>
                    </a:gs>
                  </a:gsLst>
                  <a:path path="shape">
                    <a:fillToRect l="50000" t="50000" r="50000" b="50000"/>
                  </a:path>
                  <a:tileRect/>
                </a:gradFill>
                <a:ln w="9525" cap="flat" cmpd="sng" algn="ctr">
                  <a:noFill/>
                  <a:prstDash val="solid"/>
                </a:ln>
                <a:effectLst>
                  <a:innerShdw blurRad="190500" dist="114300" dir="5640000">
                    <a:srgbClr val="000000">
                      <a:alpha val="37000"/>
                    </a:srgbClr>
                  </a:innerShdw>
                  <a:reflection stA="25000" endPos="35000" dist="12700" dir="5400000" sy="-100000" algn="bl" rotWithShape="0"/>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32"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33"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20516" name="Freeform 6"/>
              <p:cNvSpPr>
                <a:spLocks noEditPoints="1"/>
              </p:cNvSpPr>
              <p:nvPr/>
            </p:nvSpPr>
            <p:spPr bwMode="auto">
              <a:xfrm>
                <a:off x="6896100" y="2679700"/>
                <a:ext cx="462364" cy="911224"/>
              </a:xfrm>
              <a:custGeom>
                <a:avLst/>
                <a:gdLst>
                  <a:gd name="T0" fmla="*/ 2147483647 w 1746"/>
                  <a:gd name="T1" fmla="*/ 2147483647 h 3442"/>
                  <a:gd name="T2" fmla="*/ 2147483647 w 1746"/>
                  <a:gd name="T3" fmla="*/ 2147483647 h 3442"/>
                  <a:gd name="T4" fmla="*/ 2147483647 w 1746"/>
                  <a:gd name="T5" fmla="*/ 2147483647 h 3442"/>
                  <a:gd name="T6" fmla="*/ 2147483647 w 1746"/>
                  <a:gd name="T7" fmla="*/ 2147483647 h 3442"/>
                  <a:gd name="T8" fmla="*/ 2147483647 w 1746"/>
                  <a:gd name="T9" fmla="*/ 2147483647 h 3442"/>
                  <a:gd name="T10" fmla="*/ 2147483647 w 1746"/>
                  <a:gd name="T11" fmla="*/ 2147483647 h 3442"/>
                  <a:gd name="T12" fmla="*/ 2147483647 w 1746"/>
                  <a:gd name="T13" fmla="*/ 2147483647 h 3442"/>
                  <a:gd name="T14" fmla="*/ 2147483647 w 1746"/>
                  <a:gd name="T15" fmla="*/ 2147483647 h 3442"/>
                  <a:gd name="T16" fmla="*/ 2147483647 w 1746"/>
                  <a:gd name="T17" fmla="*/ 2147483647 h 3442"/>
                  <a:gd name="T18" fmla="*/ 2147483647 w 1746"/>
                  <a:gd name="T19" fmla="*/ 2147483647 h 3442"/>
                  <a:gd name="T20" fmla="*/ 2147483647 w 1746"/>
                  <a:gd name="T21" fmla="*/ 2147483647 h 3442"/>
                  <a:gd name="T22" fmla="*/ 2147483647 w 1746"/>
                  <a:gd name="T23" fmla="*/ 2147483647 h 3442"/>
                  <a:gd name="T24" fmla="*/ 2147483647 w 1746"/>
                  <a:gd name="T25" fmla="*/ 2147483647 h 3442"/>
                  <a:gd name="T26" fmla="*/ 2147483647 w 1746"/>
                  <a:gd name="T27" fmla="*/ 2147483647 h 3442"/>
                  <a:gd name="T28" fmla="*/ 2147483647 w 1746"/>
                  <a:gd name="T29" fmla="*/ 2147483647 h 3442"/>
                  <a:gd name="T30" fmla="*/ 2147483647 w 1746"/>
                  <a:gd name="T31" fmla="*/ 2147483647 h 3442"/>
                  <a:gd name="T32" fmla="*/ 2147483647 w 1746"/>
                  <a:gd name="T33" fmla="*/ 2147483647 h 3442"/>
                  <a:gd name="T34" fmla="*/ 2147483647 w 1746"/>
                  <a:gd name="T35" fmla="*/ 2147483647 h 3442"/>
                  <a:gd name="T36" fmla="*/ 2147483647 w 1746"/>
                  <a:gd name="T37" fmla="*/ 2147483647 h 3442"/>
                  <a:gd name="T38" fmla="*/ 0 w 1746"/>
                  <a:gd name="T39" fmla="*/ 2147483647 h 3442"/>
                  <a:gd name="T40" fmla="*/ 2147483647 w 1746"/>
                  <a:gd name="T41" fmla="*/ 2147483647 h 3442"/>
                  <a:gd name="T42" fmla="*/ 2147483647 w 1746"/>
                  <a:gd name="T43" fmla="*/ 2147483647 h 3442"/>
                  <a:gd name="T44" fmla="*/ 2147483647 w 1746"/>
                  <a:gd name="T45" fmla="*/ 2147483647 h 3442"/>
                  <a:gd name="T46" fmla="*/ 2147483647 w 1746"/>
                  <a:gd name="T47" fmla="*/ 2147483647 h 3442"/>
                  <a:gd name="T48" fmla="*/ 2147483647 w 1746"/>
                  <a:gd name="T49" fmla="*/ 2147483647 h 3442"/>
                  <a:gd name="T50" fmla="*/ 2147483647 w 1746"/>
                  <a:gd name="T51" fmla="*/ 2147483647 h 3442"/>
                  <a:gd name="T52" fmla="*/ 2147483647 w 1746"/>
                  <a:gd name="T53" fmla="*/ 2147483647 h 3442"/>
                  <a:gd name="T54" fmla="*/ 2147483647 w 1746"/>
                  <a:gd name="T55" fmla="*/ 2147483647 h 3442"/>
                  <a:gd name="T56" fmla="*/ 2147483647 w 1746"/>
                  <a:gd name="T57" fmla="*/ 2147483647 h 3442"/>
                  <a:gd name="T58" fmla="*/ 2147483647 w 1746"/>
                  <a:gd name="T59" fmla="*/ 2147483647 h 3442"/>
                  <a:gd name="T60" fmla="*/ 2147483647 w 1746"/>
                  <a:gd name="T61" fmla="*/ 2147483647 h 3442"/>
                  <a:gd name="T62" fmla="*/ 2147483647 w 1746"/>
                  <a:gd name="T63" fmla="*/ 2147483647 h 3442"/>
                  <a:gd name="T64" fmla="*/ 2147483647 w 1746"/>
                  <a:gd name="T65" fmla="*/ 2147483647 h 3442"/>
                  <a:gd name="T66" fmla="*/ 2147483647 w 1746"/>
                  <a:gd name="T67" fmla="*/ 2147483647 h 3442"/>
                  <a:gd name="T68" fmla="*/ 2147483647 w 1746"/>
                  <a:gd name="T69" fmla="*/ 2147483647 h 3442"/>
                  <a:gd name="T70" fmla="*/ 2147483647 w 1746"/>
                  <a:gd name="T71" fmla="*/ 2147483647 h 3442"/>
                  <a:gd name="T72" fmla="*/ 2147483647 w 1746"/>
                  <a:gd name="T73" fmla="*/ 2147483647 h 3442"/>
                  <a:gd name="T74" fmla="*/ 2147483647 w 1746"/>
                  <a:gd name="T75" fmla="*/ 2147483647 h 3442"/>
                  <a:gd name="T76" fmla="*/ 2147483647 w 1746"/>
                  <a:gd name="T77" fmla="*/ 2147483647 h 3442"/>
                  <a:gd name="T78" fmla="*/ 2147483647 w 1746"/>
                  <a:gd name="T79" fmla="*/ 2147483647 h 3442"/>
                  <a:gd name="T80" fmla="*/ 2147483647 w 1746"/>
                  <a:gd name="T81" fmla="*/ 2147483647 h 3442"/>
                  <a:gd name="T82" fmla="*/ 2147483647 w 1746"/>
                  <a:gd name="T83" fmla="*/ 2147483647 h 3442"/>
                  <a:gd name="T84" fmla="*/ 2147483647 w 1746"/>
                  <a:gd name="T85" fmla="*/ 2147483647 h 3442"/>
                  <a:gd name="T86" fmla="*/ 2147483647 w 1746"/>
                  <a:gd name="T87" fmla="*/ 2147483647 h 3442"/>
                  <a:gd name="T88" fmla="*/ 2147483647 w 1746"/>
                  <a:gd name="T89" fmla="*/ 2147483647 h 3442"/>
                  <a:gd name="T90" fmla="*/ 2147483647 w 1746"/>
                  <a:gd name="T91" fmla="*/ 2147483647 h 3442"/>
                  <a:gd name="T92" fmla="*/ 2147483647 w 1746"/>
                  <a:gd name="T93" fmla="*/ 2147483647 h 3442"/>
                  <a:gd name="T94" fmla="*/ 2147483647 w 1746"/>
                  <a:gd name="T95" fmla="*/ 2147483647 h 3442"/>
                  <a:gd name="T96" fmla="*/ 2147483647 w 1746"/>
                  <a:gd name="T97" fmla="*/ 2147483647 h 3442"/>
                  <a:gd name="T98" fmla="*/ 2147483647 w 1746"/>
                  <a:gd name="T99" fmla="*/ 2147483647 h 3442"/>
                  <a:gd name="T100" fmla="*/ 2147483647 w 1746"/>
                  <a:gd name="T101" fmla="*/ 2147483647 h 3442"/>
                  <a:gd name="T102" fmla="*/ 2147483647 w 1746"/>
                  <a:gd name="T103" fmla="*/ 2147483647 h 3442"/>
                  <a:gd name="T104" fmla="*/ 2147483647 w 1746"/>
                  <a:gd name="T105" fmla="*/ 2147483647 h 3442"/>
                  <a:gd name="T106" fmla="*/ 2147483647 w 1746"/>
                  <a:gd name="T107" fmla="*/ 2147483647 h 3442"/>
                  <a:gd name="T108" fmla="*/ 2147483647 w 1746"/>
                  <a:gd name="T109" fmla="*/ 2147483647 h 3442"/>
                  <a:gd name="T110" fmla="*/ 2147483647 w 1746"/>
                  <a:gd name="T111" fmla="*/ 2147483647 h 3442"/>
                  <a:gd name="T112" fmla="*/ 2147483647 w 1746"/>
                  <a:gd name="T113" fmla="*/ 2147483647 h 3442"/>
                  <a:gd name="T114" fmla="*/ 2147483647 w 1746"/>
                  <a:gd name="T115" fmla="*/ 2147483647 h 3442"/>
                  <a:gd name="T116" fmla="*/ 2147483647 w 1746"/>
                  <a:gd name="T117" fmla="*/ 2147483647 h 3442"/>
                  <a:gd name="T118" fmla="*/ 2147483647 w 1746"/>
                  <a:gd name="T119" fmla="*/ 2147483647 h 34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46"/>
                  <a:gd name="T181" fmla="*/ 0 h 3442"/>
                  <a:gd name="T182" fmla="*/ 1746 w 1746"/>
                  <a:gd name="T183" fmla="*/ 3442 h 34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46" h="3442">
                    <a:moveTo>
                      <a:pt x="1746" y="1446"/>
                    </a:moveTo>
                    <a:lnTo>
                      <a:pt x="1746" y="1446"/>
                    </a:lnTo>
                    <a:lnTo>
                      <a:pt x="1746" y="1392"/>
                    </a:lnTo>
                    <a:lnTo>
                      <a:pt x="1746" y="1266"/>
                    </a:lnTo>
                    <a:lnTo>
                      <a:pt x="1744" y="1240"/>
                    </a:lnTo>
                    <a:lnTo>
                      <a:pt x="1738" y="1214"/>
                    </a:lnTo>
                    <a:lnTo>
                      <a:pt x="1714" y="1146"/>
                    </a:lnTo>
                    <a:lnTo>
                      <a:pt x="1706" y="1120"/>
                    </a:lnTo>
                    <a:lnTo>
                      <a:pt x="1702" y="1094"/>
                    </a:lnTo>
                    <a:lnTo>
                      <a:pt x="1694" y="1002"/>
                    </a:lnTo>
                    <a:lnTo>
                      <a:pt x="1688" y="948"/>
                    </a:lnTo>
                    <a:lnTo>
                      <a:pt x="1670" y="822"/>
                    </a:lnTo>
                    <a:lnTo>
                      <a:pt x="1668" y="794"/>
                    </a:lnTo>
                    <a:lnTo>
                      <a:pt x="1666" y="766"/>
                    </a:lnTo>
                    <a:lnTo>
                      <a:pt x="1666" y="738"/>
                    </a:lnTo>
                    <a:lnTo>
                      <a:pt x="1664" y="714"/>
                    </a:lnTo>
                    <a:lnTo>
                      <a:pt x="1662" y="704"/>
                    </a:lnTo>
                    <a:lnTo>
                      <a:pt x="1658" y="696"/>
                    </a:lnTo>
                    <a:lnTo>
                      <a:pt x="1648" y="686"/>
                    </a:lnTo>
                    <a:lnTo>
                      <a:pt x="1636" y="678"/>
                    </a:lnTo>
                    <a:lnTo>
                      <a:pt x="1616" y="668"/>
                    </a:lnTo>
                    <a:lnTo>
                      <a:pt x="1602" y="660"/>
                    </a:lnTo>
                    <a:lnTo>
                      <a:pt x="1582" y="652"/>
                    </a:lnTo>
                    <a:lnTo>
                      <a:pt x="1426" y="588"/>
                    </a:lnTo>
                    <a:lnTo>
                      <a:pt x="1416" y="582"/>
                    </a:lnTo>
                    <a:lnTo>
                      <a:pt x="1406" y="574"/>
                    </a:lnTo>
                    <a:lnTo>
                      <a:pt x="1398" y="564"/>
                    </a:lnTo>
                    <a:lnTo>
                      <a:pt x="1394" y="554"/>
                    </a:lnTo>
                    <a:lnTo>
                      <a:pt x="1392" y="542"/>
                    </a:lnTo>
                    <a:lnTo>
                      <a:pt x="1394" y="532"/>
                    </a:lnTo>
                    <a:lnTo>
                      <a:pt x="1396" y="524"/>
                    </a:lnTo>
                    <a:lnTo>
                      <a:pt x="1402" y="516"/>
                    </a:lnTo>
                    <a:lnTo>
                      <a:pt x="1416" y="500"/>
                    </a:lnTo>
                    <a:lnTo>
                      <a:pt x="1430" y="480"/>
                    </a:lnTo>
                    <a:lnTo>
                      <a:pt x="1442" y="458"/>
                    </a:lnTo>
                    <a:lnTo>
                      <a:pt x="1448" y="446"/>
                    </a:lnTo>
                    <a:lnTo>
                      <a:pt x="1452" y="432"/>
                    </a:lnTo>
                    <a:lnTo>
                      <a:pt x="1456" y="418"/>
                    </a:lnTo>
                    <a:lnTo>
                      <a:pt x="1460" y="406"/>
                    </a:lnTo>
                    <a:lnTo>
                      <a:pt x="1468" y="340"/>
                    </a:lnTo>
                    <a:lnTo>
                      <a:pt x="1470" y="312"/>
                    </a:lnTo>
                    <a:lnTo>
                      <a:pt x="1472" y="286"/>
                    </a:lnTo>
                    <a:lnTo>
                      <a:pt x="1472" y="266"/>
                    </a:lnTo>
                    <a:lnTo>
                      <a:pt x="1470" y="244"/>
                    </a:lnTo>
                    <a:lnTo>
                      <a:pt x="1466" y="234"/>
                    </a:lnTo>
                    <a:lnTo>
                      <a:pt x="1464" y="228"/>
                    </a:lnTo>
                    <a:lnTo>
                      <a:pt x="1456" y="214"/>
                    </a:lnTo>
                    <a:lnTo>
                      <a:pt x="1448" y="198"/>
                    </a:lnTo>
                    <a:lnTo>
                      <a:pt x="1440" y="182"/>
                    </a:lnTo>
                    <a:lnTo>
                      <a:pt x="1430" y="168"/>
                    </a:lnTo>
                    <a:lnTo>
                      <a:pt x="1416" y="156"/>
                    </a:lnTo>
                    <a:lnTo>
                      <a:pt x="1402" y="148"/>
                    </a:lnTo>
                    <a:lnTo>
                      <a:pt x="1366" y="138"/>
                    </a:lnTo>
                    <a:lnTo>
                      <a:pt x="1356" y="136"/>
                    </a:lnTo>
                    <a:lnTo>
                      <a:pt x="1344" y="136"/>
                    </a:lnTo>
                    <a:lnTo>
                      <a:pt x="1332" y="140"/>
                    </a:lnTo>
                    <a:lnTo>
                      <a:pt x="1320" y="142"/>
                    </a:lnTo>
                    <a:lnTo>
                      <a:pt x="1316" y="144"/>
                    </a:lnTo>
                    <a:lnTo>
                      <a:pt x="1266" y="168"/>
                    </a:lnTo>
                    <a:lnTo>
                      <a:pt x="1246" y="178"/>
                    </a:lnTo>
                    <a:lnTo>
                      <a:pt x="1236" y="184"/>
                    </a:lnTo>
                    <a:lnTo>
                      <a:pt x="1226" y="192"/>
                    </a:lnTo>
                    <a:lnTo>
                      <a:pt x="1218" y="202"/>
                    </a:lnTo>
                    <a:lnTo>
                      <a:pt x="1214" y="210"/>
                    </a:lnTo>
                    <a:lnTo>
                      <a:pt x="1196" y="254"/>
                    </a:lnTo>
                    <a:lnTo>
                      <a:pt x="1188" y="274"/>
                    </a:lnTo>
                    <a:lnTo>
                      <a:pt x="1180" y="294"/>
                    </a:lnTo>
                    <a:lnTo>
                      <a:pt x="1176" y="298"/>
                    </a:lnTo>
                    <a:lnTo>
                      <a:pt x="1174" y="300"/>
                    </a:lnTo>
                    <a:lnTo>
                      <a:pt x="1168" y="302"/>
                    </a:lnTo>
                    <a:lnTo>
                      <a:pt x="1166" y="306"/>
                    </a:lnTo>
                    <a:lnTo>
                      <a:pt x="1164" y="316"/>
                    </a:lnTo>
                    <a:lnTo>
                      <a:pt x="1160" y="330"/>
                    </a:lnTo>
                    <a:lnTo>
                      <a:pt x="1156" y="340"/>
                    </a:lnTo>
                    <a:lnTo>
                      <a:pt x="1156" y="348"/>
                    </a:lnTo>
                    <a:lnTo>
                      <a:pt x="1156" y="358"/>
                    </a:lnTo>
                    <a:lnTo>
                      <a:pt x="1160" y="368"/>
                    </a:lnTo>
                    <a:lnTo>
                      <a:pt x="1164" y="382"/>
                    </a:lnTo>
                    <a:lnTo>
                      <a:pt x="1166" y="392"/>
                    </a:lnTo>
                    <a:lnTo>
                      <a:pt x="1168" y="392"/>
                    </a:lnTo>
                    <a:lnTo>
                      <a:pt x="1170" y="394"/>
                    </a:lnTo>
                    <a:lnTo>
                      <a:pt x="1180" y="392"/>
                    </a:lnTo>
                    <a:lnTo>
                      <a:pt x="1186" y="390"/>
                    </a:lnTo>
                    <a:lnTo>
                      <a:pt x="1190" y="396"/>
                    </a:lnTo>
                    <a:lnTo>
                      <a:pt x="1192" y="402"/>
                    </a:lnTo>
                    <a:lnTo>
                      <a:pt x="1194" y="412"/>
                    </a:lnTo>
                    <a:lnTo>
                      <a:pt x="1194" y="440"/>
                    </a:lnTo>
                    <a:lnTo>
                      <a:pt x="1192" y="452"/>
                    </a:lnTo>
                    <a:lnTo>
                      <a:pt x="1190" y="464"/>
                    </a:lnTo>
                    <a:lnTo>
                      <a:pt x="1186" y="476"/>
                    </a:lnTo>
                    <a:lnTo>
                      <a:pt x="1180" y="486"/>
                    </a:lnTo>
                    <a:lnTo>
                      <a:pt x="1152" y="522"/>
                    </a:lnTo>
                    <a:lnTo>
                      <a:pt x="1136" y="540"/>
                    </a:lnTo>
                    <a:lnTo>
                      <a:pt x="1114" y="556"/>
                    </a:lnTo>
                    <a:lnTo>
                      <a:pt x="1106" y="562"/>
                    </a:lnTo>
                    <a:lnTo>
                      <a:pt x="1082" y="576"/>
                    </a:lnTo>
                    <a:lnTo>
                      <a:pt x="1056" y="586"/>
                    </a:lnTo>
                    <a:lnTo>
                      <a:pt x="970" y="616"/>
                    </a:lnTo>
                    <a:lnTo>
                      <a:pt x="958" y="618"/>
                    </a:lnTo>
                    <a:lnTo>
                      <a:pt x="944" y="620"/>
                    </a:lnTo>
                    <a:lnTo>
                      <a:pt x="930" y="618"/>
                    </a:lnTo>
                    <a:lnTo>
                      <a:pt x="918" y="614"/>
                    </a:lnTo>
                    <a:lnTo>
                      <a:pt x="844" y="578"/>
                    </a:lnTo>
                    <a:lnTo>
                      <a:pt x="794" y="554"/>
                    </a:lnTo>
                    <a:lnTo>
                      <a:pt x="732" y="528"/>
                    </a:lnTo>
                    <a:lnTo>
                      <a:pt x="708" y="518"/>
                    </a:lnTo>
                    <a:lnTo>
                      <a:pt x="680" y="510"/>
                    </a:lnTo>
                    <a:lnTo>
                      <a:pt x="632" y="498"/>
                    </a:lnTo>
                    <a:lnTo>
                      <a:pt x="622" y="494"/>
                    </a:lnTo>
                    <a:lnTo>
                      <a:pt x="612" y="488"/>
                    </a:lnTo>
                    <a:lnTo>
                      <a:pt x="604" y="478"/>
                    </a:lnTo>
                    <a:lnTo>
                      <a:pt x="598" y="468"/>
                    </a:lnTo>
                    <a:lnTo>
                      <a:pt x="586" y="450"/>
                    </a:lnTo>
                    <a:lnTo>
                      <a:pt x="578" y="440"/>
                    </a:lnTo>
                    <a:lnTo>
                      <a:pt x="574" y="434"/>
                    </a:lnTo>
                    <a:lnTo>
                      <a:pt x="572" y="426"/>
                    </a:lnTo>
                    <a:lnTo>
                      <a:pt x="570" y="406"/>
                    </a:lnTo>
                    <a:lnTo>
                      <a:pt x="570" y="340"/>
                    </a:lnTo>
                    <a:lnTo>
                      <a:pt x="572" y="328"/>
                    </a:lnTo>
                    <a:lnTo>
                      <a:pt x="574" y="314"/>
                    </a:lnTo>
                    <a:lnTo>
                      <a:pt x="578" y="300"/>
                    </a:lnTo>
                    <a:lnTo>
                      <a:pt x="584" y="288"/>
                    </a:lnTo>
                    <a:lnTo>
                      <a:pt x="588" y="278"/>
                    </a:lnTo>
                    <a:lnTo>
                      <a:pt x="594" y="264"/>
                    </a:lnTo>
                    <a:lnTo>
                      <a:pt x="596" y="252"/>
                    </a:lnTo>
                    <a:lnTo>
                      <a:pt x="596" y="240"/>
                    </a:lnTo>
                    <a:lnTo>
                      <a:pt x="596" y="210"/>
                    </a:lnTo>
                    <a:lnTo>
                      <a:pt x="596" y="206"/>
                    </a:lnTo>
                    <a:lnTo>
                      <a:pt x="594" y="204"/>
                    </a:lnTo>
                    <a:lnTo>
                      <a:pt x="584" y="196"/>
                    </a:lnTo>
                    <a:lnTo>
                      <a:pt x="578" y="192"/>
                    </a:lnTo>
                    <a:lnTo>
                      <a:pt x="572" y="184"/>
                    </a:lnTo>
                    <a:lnTo>
                      <a:pt x="568" y="176"/>
                    </a:lnTo>
                    <a:lnTo>
                      <a:pt x="566" y="164"/>
                    </a:lnTo>
                    <a:lnTo>
                      <a:pt x="560" y="146"/>
                    </a:lnTo>
                    <a:lnTo>
                      <a:pt x="548" y="94"/>
                    </a:lnTo>
                    <a:lnTo>
                      <a:pt x="540" y="72"/>
                    </a:lnTo>
                    <a:lnTo>
                      <a:pt x="528" y="52"/>
                    </a:lnTo>
                    <a:lnTo>
                      <a:pt x="516" y="38"/>
                    </a:lnTo>
                    <a:lnTo>
                      <a:pt x="510" y="34"/>
                    </a:lnTo>
                    <a:lnTo>
                      <a:pt x="506" y="34"/>
                    </a:lnTo>
                    <a:lnTo>
                      <a:pt x="498" y="32"/>
                    </a:lnTo>
                    <a:lnTo>
                      <a:pt x="486" y="28"/>
                    </a:lnTo>
                    <a:lnTo>
                      <a:pt x="476" y="24"/>
                    </a:lnTo>
                    <a:lnTo>
                      <a:pt x="466" y="22"/>
                    </a:lnTo>
                    <a:lnTo>
                      <a:pt x="454" y="20"/>
                    </a:lnTo>
                    <a:lnTo>
                      <a:pt x="438" y="10"/>
                    </a:lnTo>
                    <a:lnTo>
                      <a:pt x="428" y="6"/>
                    </a:lnTo>
                    <a:lnTo>
                      <a:pt x="416" y="2"/>
                    </a:lnTo>
                    <a:lnTo>
                      <a:pt x="404" y="0"/>
                    </a:lnTo>
                    <a:lnTo>
                      <a:pt x="390" y="0"/>
                    </a:lnTo>
                    <a:lnTo>
                      <a:pt x="388" y="0"/>
                    </a:lnTo>
                    <a:lnTo>
                      <a:pt x="348" y="0"/>
                    </a:lnTo>
                    <a:lnTo>
                      <a:pt x="332" y="2"/>
                    </a:lnTo>
                    <a:lnTo>
                      <a:pt x="314" y="10"/>
                    </a:lnTo>
                    <a:lnTo>
                      <a:pt x="292" y="24"/>
                    </a:lnTo>
                    <a:lnTo>
                      <a:pt x="272" y="40"/>
                    </a:lnTo>
                    <a:lnTo>
                      <a:pt x="252" y="58"/>
                    </a:lnTo>
                    <a:lnTo>
                      <a:pt x="238" y="76"/>
                    </a:lnTo>
                    <a:lnTo>
                      <a:pt x="228" y="94"/>
                    </a:lnTo>
                    <a:lnTo>
                      <a:pt x="226" y="100"/>
                    </a:lnTo>
                    <a:lnTo>
                      <a:pt x="224" y="106"/>
                    </a:lnTo>
                    <a:lnTo>
                      <a:pt x="222" y="120"/>
                    </a:lnTo>
                    <a:lnTo>
                      <a:pt x="216" y="136"/>
                    </a:lnTo>
                    <a:lnTo>
                      <a:pt x="214" y="146"/>
                    </a:lnTo>
                    <a:lnTo>
                      <a:pt x="212" y="158"/>
                    </a:lnTo>
                    <a:lnTo>
                      <a:pt x="212" y="170"/>
                    </a:lnTo>
                    <a:lnTo>
                      <a:pt x="214" y="182"/>
                    </a:lnTo>
                    <a:lnTo>
                      <a:pt x="220" y="224"/>
                    </a:lnTo>
                    <a:lnTo>
                      <a:pt x="224" y="250"/>
                    </a:lnTo>
                    <a:lnTo>
                      <a:pt x="224" y="276"/>
                    </a:lnTo>
                    <a:lnTo>
                      <a:pt x="226" y="298"/>
                    </a:lnTo>
                    <a:lnTo>
                      <a:pt x="230" y="318"/>
                    </a:lnTo>
                    <a:lnTo>
                      <a:pt x="240" y="334"/>
                    </a:lnTo>
                    <a:lnTo>
                      <a:pt x="250" y="348"/>
                    </a:lnTo>
                    <a:lnTo>
                      <a:pt x="262" y="362"/>
                    </a:lnTo>
                    <a:lnTo>
                      <a:pt x="272" y="378"/>
                    </a:lnTo>
                    <a:lnTo>
                      <a:pt x="282" y="398"/>
                    </a:lnTo>
                    <a:lnTo>
                      <a:pt x="298" y="418"/>
                    </a:lnTo>
                    <a:lnTo>
                      <a:pt x="304" y="424"/>
                    </a:lnTo>
                    <a:lnTo>
                      <a:pt x="310" y="434"/>
                    </a:lnTo>
                    <a:lnTo>
                      <a:pt x="316" y="446"/>
                    </a:lnTo>
                    <a:lnTo>
                      <a:pt x="320" y="460"/>
                    </a:lnTo>
                    <a:lnTo>
                      <a:pt x="322" y="472"/>
                    </a:lnTo>
                    <a:lnTo>
                      <a:pt x="322" y="502"/>
                    </a:lnTo>
                    <a:lnTo>
                      <a:pt x="320" y="526"/>
                    </a:lnTo>
                    <a:lnTo>
                      <a:pt x="318" y="538"/>
                    </a:lnTo>
                    <a:lnTo>
                      <a:pt x="314" y="548"/>
                    </a:lnTo>
                    <a:lnTo>
                      <a:pt x="308" y="556"/>
                    </a:lnTo>
                    <a:lnTo>
                      <a:pt x="300" y="564"/>
                    </a:lnTo>
                    <a:lnTo>
                      <a:pt x="292" y="570"/>
                    </a:lnTo>
                    <a:lnTo>
                      <a:pt x="280" y="576"/>
                    </a:lnTo>
                    <a:lnTo>
                      <a:pt x="220" y="602"/>
                    </a:lnTo>
                    <a:lnTo>
                      <a:pt x="200" y="610"/>
                    </a:lnTo>
                    <a:lnTo>
                      <a:pt x="190" y="614"/>
                    </a:lnTo>
                    <a:lnTo>
                      <a:pt x="178" y="618"/>
                    </a:lnTo>
                    <a:lnTo>
                      <a:pt x="160" y="628"/>
                    </a:lnTo>
                    <a:lnTo>
                      <a:pt x="150" y="634"/>
                    </a:lnTo>
                    <a:lnTo>
                      <a:pt x="128" y="652"/>
                    </a:lnTo>
                    <a:lnTo>
                      <a:pt x="110" y="670"/>
                    </a:lnTo>
                    <a:lnTo>
                      <a:pt x="104" y="678"/>
                    </a:lnTo>
                    <a:lnTo>
                      <a:pt x="86" y="696"/>
                    </a:lnTo>
                    <a:lnTo>
                      <a:pt x="70" y="710"/>
                    </a:lnTo>
                    <a:lnTo>
                      <a:pt x="66" y="716"/>
                    </a:lnTo>
                    <a:lnTo>
                      <a:pt x="60" y="724"/>
                    </a:lnTo>
                    <a:lnTo>
                      <a:pt x="58" y="732"/>
                    </a:lnTo>
                    <a:lnTo>
                      <a:pt x="56" y="740"/>
                    </a:lnTo>
                    <a:lnTo>
                      <a:pt x="56" y="786"/>
                    </a:lnTo>
                    <a:lnTo>
                      <a:pt x="56" y="802"/>
                    </a:lnTo>
                    <a:lnTo>
                      <a:pt x="58" y="858"/>
                    </a:lnTo>
                    <a:lnTo>
                      <a:pt x="70" y="958"/>
                    </a:lnTo>
                    <a:lnTo>
                      <a:pt x="70" y="986"/>
                    </a:lnTo>
                    <a:lnTo>
                      <a:pt x="68" y="1014"/>
                    </a:lnTo>
                    <a:lnTo>
                      <a:pt x="48" y="1116"/>
                    </a:lnTo>
                    <a:lnTo>
                      <a:pt x="38" y="1170"/>
                    </a:lnTo>
                    <a:lnTo>
                      <a:pt x="6" y="1344"/>
                    </a:lnTo>
                    <a:lnTo>
                      <a:pt x="2" y="1370"/>
                    </a:lnTo>
                    <a:lnTo>
                      <a:pt x="0" y="1396"/>
                    </a:lnTo>
                    <a:lnTo>
                      <a:pt x="0" y="1444"/>
                    </a:lnTo>
                    <a:lnTo>
                      <a:pt x="2" y="1470"/>
                    </a:lnTo>
                    <a:lnTo>
                      <a:pt x="8" y="1494"/>
                    </a:lnTo>
                    <a:lnTo>
                      <a:pt x="16" y="1518"/>
                    </a:lnTo>
                    <a:lnTo>
                      <a:pt x="28" y="1542"/>
                    </a:lnTo>
                    <a:lnTo>
                      <a:pt x="30" y="1542"/>
                    </a:lnTo>
                    <a:lnTo>
                      <a:pt x="60" y="1588"/>
                    </a:lnTo>
                    <a:lnTo>
                      <a:pt x="70" y="1602"/>
                    </a:lnTo>
                    <a:lnTo>
                      <a:pt x="76" y="1614"/>
                    </a:lnTo>
                    <a:lnTo>
                      <a:pt x="82" y="1626"/>
                    </a:lnTo>
                    <a:lnTo>
                      <a:pt x="88" y="1640"/>
                    </a:lnTo>
                    <a:lnTo>
                      <a:pt x="90" y="1652"/>
                    </a:lnTo>
                    <a:lnTo>
                      <a:pt x="92" y="1660"/>
                    </a:lnTo>
                    <a:lnTo>
                      <a:pt x="96" y="1688"/>
                    </a:lnTo>
                    <a:lnTo>
                      <a:pt x="98" y="1714"/>
                    </a:lnTo>
                    <a:lnTo>
                      <a:pt x="98" y="1804"/>
                    </a:lnTo>
                    <a:lnTo>
                      <a:pt x="100" y="1830"/>
                    </a:lnTo>
                    <a:lnTo>
                      <a:pt x="104" y="1858"/>
                    </a:lnTo>
                    <a:lnTo>
                      <a:pt x="120" y="1924"/>
                    </a:lnTo>
                    <a:lnTo>
                      <a:pt x="132" y="1978"/>
                    </a:lnTo>
                    <a:lnTo>
                      <a:pt x="136" y="1996"/>
                    </a:lnTo>
                    <a:lnTo>
                      <a:pt x="138" y="2022"/>
                    </a:lnTo>
                    <a:lnTo>
                      <a:pt x="140" y="2050"/>
                    </a:lnTo>
                    <a:lnTo>
                      <a:pt x="140" y="2056"/>
                    </a:lnTo>
                    <a:lnTo>
                      <a:pt x="140" y="2102"/>
                    </a:lnTo>
                    <a:lnTo>
                      <a:pt x="142" y="2124"/>
                    </a:lnTo>
                    <a:lnTo>
                      <a:pt x="144" y="2148"/>
                    </a:lnTo>
                    <a:lnTo>
                      <a:pt x="164" y="2262"/>
                    </a:lnTo>
                    <a:lnTo>
                      <a:pt x="172" y="2318"/>
                    </a:lnTo>
                    <a:lnTo>
                      <a:pt x="180" y="2418"/>
                    </a:lnTo>
                    <a:lnTo>
                      <a:pt x="184" y="2472"/>
                    </a:lnTo>
                    <a:lnTo>
                      <a:pt x="194" y="2660"/>
                    </a:lnTo>
                    <a:lnTo>
                      <a:pt x="198" y="2686"/>
                    </a:lnTo>
                    <a:lnTo>
                      <a:pt x="206" y="2712"/>
                    </a:lnTo>
                    <a:lnTo>
                      <a:pt x="254" y="2842"/>
                    </a:lnTo>
                    <a:lnTo>
                      <a:pt x="256" y="2854"/>
                    </a:lnTo>
                    <a:lnTo>
                      <a:pt x="258" y="2868"/>
                    </a:lnTo>
                    <a:lnTo>
                      <a:pt x="256" y="2880"/>
                    </a:lnTo>
                    <a:lnTo>
                      <a:pt x="254" y="2892"/>
                    </a:lnTo>
                    <a:lnTo>
                      <a:pt x="234" y="2938"/>
                    </a:lnTo>
                    <a:lnTo>
                      <a:pt x="222" y="2962"/>
                    </a:lnTo>
                    <a:lnTo>
                      <a:pt x="206" y="2984"/>
                    </a:lnTo>
                    <a:lnTo>
                      <a:pt x="200" y="2990"/>
                    </a:lnTo>
                    <a:lnTo>
                      <a:pt x="194" y="3000"/>
                    </a:lnTo>
                    <a:lnTo>
                      <a:pt x="188" y="3014"/>
                    </a:lnTo>
                    <a:lnTo>
                      <a:pt x="184" y="3026"/>
                    </a:lnTo>
                    <a:lnTo>
                      <a:pt x="182" y="3038"/>
                    </a:lnTo>
                    <a:lnTo>
                      <a:pt x="182" y="3094"/>
                    </a:lnTo>
                    <a:lnTo>
                      <a:pt x="184" y="3104"/>
                    </a:lnTo>
                    <a:lnTo>
                      <a:pt x="190" y="3114"/>
                    </a:lnTo>
                    <a:lnTo>
                      <a:pt x="200" y="3120"/>
                    </a:lnTo>
                    <a:lnTo>
                      <a:pt x="210" y="3124"/>
                    </a:lnTo>
                    <a:lnTo>
                      <a:pt x="252" y="3128"/>
                    </a:lnTo>
                    <a:lnTo>
                      <a:pt x="264" y="3128"/>
                    </a:lnTo>
                    <a:lnTo>
                      <a:pt x="278" y="3126"/>
                    </a:lnTo>
                    <a:lnTo>
                      <a:pt x="290" y="3120"/>
                    </a:lnTo>
                    <a:lnTo>
                      <a:pt x="300" y="3114"/>
                    </a:lnTo>
                    <a:lnTo>
                      <a:pt x="314" y="3102"/>
                    </a:lnTo>
                    <a:lnTo>
                      <a:pt x="348" y="3072"/>
                    </a:lnTo>
                    <a:lnTo>
                      <a:pt x="360" y="3060"/>
                    </a:lnTo>
                    <a:lnTo>
                      <a:pt x="368" y="3048"/>
                    </a:lnTo>
                    <a:lnTo>
                      <a:pt x="372" y="3042"/>
                    </a:lnTo>
                    <a:lnTo>
                      <a:pt x="374" y="3034"/>
                    </a:lnTo>
                    <a:lnTo>
                      <a:pt x="376" y="3018"/>
                    </a:lnTo>
                    <a:lnTo>
                      <a:pt x="378" y="3000"/>
                    </a:lnTo>
                    <a:lnTo>
                      <a:pt x="384" y="2982"/>
                    </a:lnTo>
                    <a:lnTo>
                      <a:pt x="390" y="2968"/>
                    </a:lnTo>
                    <a:lnTo>
                      <a:pt x="394" y="2964"/>
                    </a:lnTo>
                    <a:lnTo>
                      <a:pt x="396" y="2964"/>
                    </a:lnTo>
                    <a:lnTo>
                      <a:pt x="406" y="2958"/>
                    </a:lnTo>
                    <a:lnTo>
                      <a:pt x="424" y="2946"/>
                    </a:lnTo>
                    <a:lnTo>
                      <a:pt x="424" y="2944"/>
                    </a:lnTo>
                    <a:lnTo>
                      <a:pt x="432" y="2936"/>
                    </a:lnTo>
                    <a:lnTo>
                      <a:pt x="440" y="2926"/>
                    </a:lnTo>
                    <a:lnTo>
                      <a:pt x="448" y="2914"/>
                    </a:lnTo>
                    <a:lnTo>
                      <a:pt x="452" y="2902"/>
                    </a:lnTo>
                    <a:lnTo>
                      <a:pt x="454" y="2892"/>
                    </a:lnTo>
                    <a:lnTo>
                      <a:pt x="452" y="2878"/>
                    </a:lnTo>
                    <a:lnTo>
                      <a:pt x="450" y="2866"/>
                    </a:lnTo>
                    <a:lnTo>
                      <a:pt x="446" y="2854"/>
                    </a:lnTo>
                    <a:lnTo>
                      <a:pt x="442" y="2844"/>
                    </a:lnTo>
                    <a:lnTo>
                      <a:pt x="438" y="2832"/>
                    </a:lnTo>
                    <a:lnTo>
                      <a:pt x="434" y="2818"/>
                    </a:lnTo>
                    <a:lnTo>
                      <a:pt x="432" y="2804"/>
                    </a:lnTo>
                    <a:lnTo>
                      <a:pt x="432" y="2792"/>
                    </a:lnTo>
                    <a:lnTo>
                      <a:pt x="432" y="2762"/>
                    </a:lnTo>
                    <a:lnTo>
                      <a:pt x="432" y="2708"/>
                    </a:lnTo>
                    <a:lnTo>
                      <a:pt x="432" y="2700"/>
                    </a:lnTo>
                    <a:lnTo>
                      <a:pt x="430" y="2674"/>
                    </a:lnTo>
                    <a:lnTo>
                      <a:pt x="424" y="2646"/>
                    </a:lnTo>
                    <a:lnTo>
                      <a:pt x="410" y="2592"/>
                    </a:lnTo>
                    <a:lnTo>
                      <a:pt x="404" y="2566"/>
                    </a:lnTo>
                    <a:lnTo>
                      <a:pt x="402" y="2538"/>
                    </a:lnTo>
                    <a:lnTo>
                      <a:pt x="402" y="2472"/>
                    </a:lnTo>
                    <a:lnTo>
                      <a:pt x="400" y="2418"/>
                    </a:lnTo>
                    <a:lnTo>
                      <a:pt x="392" y="2304"/>
                    </a:lnTo>
                    <a:lnTo>
                      <a:pt x="392" y="2276"/>
                    </a:lnTo>
                    <a:lnTo>
                      <a:pt x="396" y="2250"/>
                    </a:lnTo>
                    <a:lnTo>
                      <a:pt x="412" y="2160"/>
                    </a:lnTo>
                    <a:lnTo>
                      <a:pt x="416" y="2132"/>
                    </a:lnTo>
                    <a:lnTo>
                      <a:pt x="418" y="2104"/>
                    </a:lnTo>
                    <a:lnTo>
                      <a:pt x="418" y="2038"/>
                    </a:lnTo>
                    <a:lnTo>
                      <a:pt x="418" y="1984"/>
                    </a:lnTo>
                    <a:lnTo>
                      <a:pt x="418" y="1980"/>
                    </a:lnTo>
                    <a:lnTo>
                      <a:pt x="420" y="1956"/>
                    </a:lnTo>
                    <a:lnTo>
                      <a:pt x="422" y="1946"/>
                    </a:lnTo>
                    <a:lnTo>
                      <a:pt x="426" y="1938"/>
                    </a:lnTo>
                    <a:lnTo>
                      <a:pt x="428" y="1936"/>
                    </a:lnTo>
                    <a:lnTo>
                      <a:pt x="432" y="1934"/>
                    </a:lnTo>
                    <a:lnTo>
                      <a:pt x="436" y="1936"/>
                    </a:lnTo>
                    <a:lnTo>
                      <a:pt x="438" y="1938"/>
                    </a:lnTo>
                    <a:lnTo>
                      <a:pt x="446" y="1956"/>
                    </a:lnTo>
                    <a:lnTo>
                      <a:pt x="454" y="1978"/>
                    </a:lnTo>
                    <a:lnTo>
                      <a:pt x="492" y="2094"/>
                    </a:lnTo>
                    <a:lnTo>
                      <a:pt x="506" y="2144"/>
                    </a:lnTo>
                    <a:lnTo>
                      <a:pt x="512" y="2166"/>
                    </a:lnTo>
                    <a:lnTo>
                      <a:pt x="514" y="2186"/>
                    </a:lnTo>
                    <a:lnTo>
                      <a:pt x="514" y="2216"/>
                    </a:lnTo>
                    <a:lnTo>
                      <a:pt x="514" y="2256"/>
                    </a:lnTo>
                    <a:lnTo>
                      <a:pt x="514" y="2564"/>
                    </a:lnTo>
                    <a:lnTo>
                      <a:pt x="514" y="2618"/>
                    </a:lnTo>
                    <a:lnTo>
                      <a:pt x="514" y="2730"/>
                    </a:lnTo>
                    <a:lnTo>
                      <a:pt x="514" y="2758"/>
                    </a:lnTo>
                    <a:lnTo>
                      <a:pt x="518" y="2784"/>
                    </a:lnTo>
                    <a:lnTo>
                      <a:pt x="538" y="2924"/>
                    </a:lnTo>
                    <a:lnTo>
                      <a:pt x="546" y="2978"/>
                    </a:lnTo>
                    <a:lnTo>
                      <a:pt x="550" y="3010"/>
                    </a:lnTo>
                    <a:lnTo>
                      <a:pt x="556" y="3032"/>
                    </a:lnTo>
                    <a:lnTo>
                      <a:pt x="562" y="3048"/>
                    </a:lnTo>
                    <a:lnTo>
                      <a:pt x="578" y="3072"/>
                    </a:lnTo>
                    <a:lnTo>
                      <a:pt x="580" y="3076"/>
                    </a:lnTo>
                    <a:lnTo>
                      <a:pt x="580" y="3082"/>
                    </a:lnTo>
                    <a:lnTo>
                      <a:pt x="580" y="3086"/>
                    </a:lnTo>
                    <a:lnTo>
                      <a:pt x="578" y="3090"/>
                    </a:lnTo>
                    <a:lnTo>
                      <a:pt x="574" y="3094"/>
                    </a:lnTo>
                    <a:lnTo>
                      <a:pt x="572" y="3100"/>
                    </a:lnTo>
                    <a:lnTo>
                      <a:pt x="570" y="3114"/>
                    </a:lnTo>
                    <a:lnTo>
                      <a:pt x="570" y="3144"/>
                    </a:lnTo>
                    <a:lnTo>
                      <a:pt x="570" y="3168"/>
                    </a:lnTo>
                    <a:lnTo>
                      <a:pt x="572" y="3174"/>
                    </a:lnTo>
                    <a:lnTo>
                      <a:pt x="576" y="3182"/>
                    </a:lnTo>
                    <a:lnTo>
                      <a:pt x="588" y="3202"/>
                    </a:lnTo>
                    <a:lnTo>
                      <a:pt x="592" y="3206"/>
                    </a:lnTo>
                    <a:lnTo>
                      <a:pt x="600" y="3214"/>
                    </a:lnTo>
                    <a:lnTo>
                      <a:pt x="610" y="3222"/>
                    </a:lnTo>
                    <a:lnTo>
                      <a:pt x="618" y="3226"/>
                    </a:lnTo>
                    <a:lnTo>
                      <a:pt x="624" y="3228"/>
                    </a:lnTo>
                    <a:lnTo>
                      <a:pt x="630" y="3230"/>
                    </a:lnTo>
                    <a:lnTo>
                      <a:pt x="634" y="3236"/>
                    </a:lnTo>
                    <a:lnTo>
                      <a:pt x="638" y="3244"/>
                    </a:lnTo>
                    <a:lnTo>
                      <a:pt x="638" y="3256"/>
                    </a:lnTo>
                    <a:lnTo>
                      <a:pt x="638" y="3262"/>
                    </a:lnTo>
                    <a:lnTo>
                      <a:pt x="638" y="3308"/>
                    </a:lnTo>
                    <a:lnTo>
                      <a:pt x="640" y="3324"/>
                    </a:lnTo>
                    <a:lnTo>
                      <a:pt x="646" y="3338"/>
                    </a:lnTo>
                    <a:lnTo>
                      <a:pt x="666" y="3368"/>
                    </a:lnTo>
                    <a:lnTo>
                      <a:pt x="682" y="3386"/>
                    </a:lnTo>
                    <a:lnTo>
                      <a:pt x="702" y="3404"/>
                    </a:lnTo>
                    <a:lnTo>
                      <a:pt x="716" y="3416"/>
                    </a:lnTo>
                    <a:lnTo>
                      <a:pt x="742" y="3440"/>
                    </a:lnTo>
                    <a:lnTo>
                      <a:pt x="748" y="3442"/>
                    </a:lnTo>
                    <a:lnTo>
                      <a:pt x="756" y="3442"/>
                    </a:lnTo>
                    <a:lnTo>
                      <a:pt x="776" y="3442"/>
                    </a:lnTo>
                    <a:lnTo>
                      <a:pt x="848" y="3436"/>
                    </a:lnTo>
                    <a:lnTo>
                      <a:pt x="858" y="3434"/>
                    </a:lnTo>
                    <a:lnTo>
                      <a:pt x="868" y="3426"/>
                    </a:lnTo>
                    <a:lnTo>
                      <a:pt x="874" y="3418"/>
                    </a:lnTo>
                    <a:lnTo>
                      <a:pt x="876" y="3406"/>
                    </a:lnTo>
                    <a:lnTo>
                      <a:pt x="876" y="3354"/>
                    </a:lnTo>
                    <a:lnTo>
                      <a:pt x="874" y="3342"/>
                    </a:lnTo>
                    <a:lnTo>
                      <a:pt x="872" y="3328"/>
                    </a:lnTo>
                    <a:lnTo>
                      <a:pt x="866" y="3318"/>
                    </a:lnTo>
                    <a:lnTo>
                      <a:pt x="862" y="3308"/>
                    </a:lnTo>
                    <a:lnTo>
                      <a:pt x="848" y="3288"/>
                    </a:lnTo>
                    <a:lnTo>
                      <a:pt x="836" y="3264"/>
                    </a:lnTo>
                    <a:lnTo>
                      <a:pt x="802" y="3194"/>
                    </a:lnTo>
                    <a:lnTo>
                      <a:pt x="792" y="3170"/>
                    </a:lnTo>
                    <a:lnTo>
                      <a:pt x="784" y="3144"/>
                    </a:lnTo>
                    <a:lnTo>
                      <a:pt x="782" y="3134"/>
                    </a:lnTo>
                    <a:lnTo>
                      <a:pt x="782" y="3120"/>
                    </a:lnTo>
                    <a:lnTo>
                      <a:pt x="782" y="3106"/>
                    </a:lnTo>
                    <a:lnTo>
                      <a:pt x="782" y="3094"/>
                    </a:lnTo>
                    <a:lnTo>
                      <a:pt x="788" y="3064"/>
                    </a:lnTo>
                    <a:lnTo>
                      <a:pt x="790" y="3036"/>
                    </a:lnTo>
                    <a:lnTo>
                      <a:pt x="792" y="3010"/>
                    </a:lnTo>
                    <a:lnTo>
                      <a:pt x="792" y="2932"/>
                    </a:lnTo>
                    <a:lnTo>
                      <a:pt x="792" y="2904"/>
                    </a:lnTo>
                    <a:lnTo>
                      <a:pt x="796" y="2876"/>
                    </a:lnTo>
                    <a:lnTo>
                      <a:pt x="816" y="2750"/>
                    </a:lnTo>
                    <a:lnTo>
                      <a:pt x="818" y="2724"/>
                    </a:lnTo>
                    <a:lnTo>
                      <a:pt x="816" y="2696"/>
                    </a:lnTo>
                    <a:lnTo>
                      <a:pt x="796" y="2594"/>
                    </a:lnTo>
                    <a:lnTo>
                      <a:pt x="792" y="2566"/>
                    </a:lnTo>
                    <a:lnTo>
                      <a:pt x="792" y="2538"/>
                    </a:lnTo>
                    <a:lnTo>
                      <a:pt x="792" y="2462"/>
                    </a:lnTo>
                    <a:lnTo>
                      <a:pt x="790" y="2406"/>
                    </a:lnTo>
                    <a:lnTo>
                      <a:pt x="780" y="2280"/>
                    </a:lnTo>
                    <a:lnTo>
                      <a:pt x="780" y="2254"/>
                    </a:lnTo>
                    <a:lnTo>
                      <a:pt x="782" y="2226"/>
                    </a:lnTo>
                    <a:lnTo>
                      <a:pt x="788" y="2196"/>
                    </a:lnTo>
                    <a:lnTo>
                      <a:pt x="794" y="2142"/>
                    </a:lnTo>
                    <a:lnTo>
                      <a:pt x="800" y="2086"/>
                    </a:lnTo>
                    <a:lnTo>
                      <a:pt x="804" y="2060"/>
                    </a:lnTo>
                    <a:lnTo>
                      <a:pt x="804" y="2032"/>
                    </a:lnTo>
                    <a:lnTo>
                      <a:pt x="804" y="1894"/>
                    </a:lnTo>
                    <a:lnTo>
                      <a:pt x="804" y="1868"/>
                    </a:lnTo>
                    <a:lnTo>
                      <a:pt x="800" y="1840"/>
                    </a:lnTo>
                    <a:lnTo>
                      <a:pt x="794" y="1784"/>
                    </a:lnTo>
                    <a:lnTo>
                      <a:pt x="790" y="1758"/>
                    </a:lnTo>
                    <a:lnTo>
                      <a:pt x="782" y="1732"/>
                    </a:lnTo>
                    <a:lnTo>
                      <a:pt x="772" y="1700"/>
                    </a:lnTo>
                    <a:lnTo>
                      <a:pt x="764" y="1678"/>
                    </a:lnTo>
                    <a:lnTo>
                      <a:pt x="762" y="1662"/>
                    </a:lnTo>
                    <a:lnTo>
                      <a:pt x="764" y="1656"/>
                    </a:lnTo>
                    <a:lnTo>
                      <a:pt x="766" y="1650"/>
                    </a:lnTo>
                    <a:lnTo>
                      <a:pt x="772" y="1644"/>
                    </a:lnTo>
                    <a:lnTo>
                      <a:pt x="776" y="1638"/>
                    </a:lnTo>
                    <a:lnTo>
                      <a:pt x="784" y="1634"/>
                    </a:lnTo>
                    <a:lnTo>
                      <a:pt x="792" y="1630"/>
                    </a:lnTo>
                    <a:lnTo>
                      <a:pt x="800" y="1630"/>
                    </a:lnTo>
                    <a:lnTo>
                      <a:pt x="806" y="1632"/>
                    </a:lnTo>
                    <a:lnTo>
                      <a:pt x="812" y="1634"/>
                    </a:lnTo>
                    <a:lnTo>
                      <a:pt x="818" y="1634"/>
                    </a:lnTo>
                    <a:lnTo>
                      <a:pt x="822" y="1630"/>
                    </a:lnTo>
                    <a:lnTo>
                      <a:pt x="826" y="1626"/>
                    </a:lnTo>
                    <a:lnTo>
                      <a:pt x="836" y="1614"/>
                    </a:lnTo>
                    <a:lnTo>
                      <a:pt x="846" y="1602"/>
                    </a:lnTo>
                    <a:lnTo>
                      <a:pt x="852" y="1598"/>
                    </a:lnTo>
                    <a:lnTo>
                      <a:pt x="860" y="1600"/>
                    </a:lnTo>
                    <a:lnTo>
                      <a:pt x="868" y="1604"/>
                    </a:lnTo>
                    <a:lnTo>
                      <a:pt x="874" y="1612"/>
                    </a:lnTo>
                    <a:lnTo>
                      <a:pt x="902" y="1650"/>
                    </a:lnTo>
                    <a:lnTo>
                      <a:pt x="914" y="1666"/>
                    </a:lnTo>
                    <a:lnTo>
                      <a:pt x="920" y="1672"/>
                    </a:lnTo>
                    <a:lnTo>
                      <a:pt x="924" y="1674"/>
                    </a:lnTo>
                    <a:lnTo>
                      <a:pt x="926" y="1674"/>
                    </a:lnTo>
                    <a:lnTo>
                      <a:pt x="930" y="1678"/>
                    </a:lnTo>
                    <a:lnTo>
                      <a:pt x="936" y="1692"/>
                    </a:lnTo>
                    <a:lnTo>
                      <a:pt x="942" y="1712"/>
                    </a:lnTo>
                    <a:lnTo>
                      <a:pt x="944" y="1738"/>
                    </a:lnTo>
                    <a:lnTo>
                      <a:pt x="944" y="1744"/>
                    </a:lnTo>
                    <a:lnTo>
                      <a:pt x="944" y="1798"/>
                    </a:lnTo>
                    <a:lnTo>
                      <a:pt x="944" y="2068"/>
                    </a:lnTo>
                    <a:lnTo>
                      <a:pt x="940" y="2096"/>
                    </a:lnTo>
                    <a:lnTo>
                      <a:pt x="936" y="2122"/>
                    </a:lnTo>
                    <a:lnTo>
                      <a:pt x="926" y="2154"/>
                    </a:lnTo>
                    <a:lnTo>
                      <a:pt x="918" y="2180"/>
                    </a:lnTo>
                    <a:lnTo>
                      <a:pt x="912" y="2208"/>
                    </a:lnTo>
                    <a:lnTo>
                      <a:pt x="906" y="2238"/>
                    </a:lnTo>
                    <a:lnTo>
                      <a:pt x="902" y="2264"/>
                    </a:lnTo>
                    <a:lnTo>
                      <a:pt x="902" y="2292"/>
                    </a:lnTo>
                    <a:lnTo>
                      <a:pt x="902" y="2358"/>
                    </a:lnTo>
                    <a:lnTo>
                      <a:pt x="898" y="2386"/>
                    </a:lnTo>
                    <a:lnTo>
                      <a:pt x="892" y="2412"/>
                    </a:lnTo>
                    <a:lnTo>
                      <a:pt x="868" y="2480"/>
                    </a:lnTo>
                    <a:lnTo>
                      <a:pt x="862" y="2506"/>
                    </a:lnTo>
                    <a:lnTo>
                      <a:pt x="856" y="2534"/>
                    </a:lnTo>
                    <a:lnTo>
                      <a:pt x="850" y="2576"/>
                    </a:lnTo>
                    <a:lnTo>
                      <a:pt x="844" y="2630"/>
                    </a:lnTo>
                    <a:lnTo>
                      <a:pt x="836" y="2720"/>
                    </a:lnTo>
                    <a:lnTo>
                      <a:pt x="836" y="2732"/>
                    </a:lnTo>
                    <a:lnTo>
                      <a:pt x="838" y="2744"/>
                    </a:lnTo>
                    <a:lnTo>
                      <a:pt x="842" y="2756"/>
                    </a:lnTo>
                    <a:lnTo>
                      <a:pt x="846" y="2764"/>
                    </a:lnTo>
                    <a:lnTo>
                      <a:pt x="850" y="2774"/>
                    </a:lnTo>
                    <a:lnTo>
                      <a:pt x="852" y="2782"/>
                    </a:lnTo>
                    <a:lnTo>
                      <a:pt x="850" y="2792"/>
                    </a:lnTo>
                    <a:lnTo>
                      <a:pt x="846" y="2802"/>
                    </a:lnTo>
                    <a:lnTo>
                      <a:pt x="842" y="2810"/>
                    </a:lnTo>
                    <a:lnTo>
                      <a:pt x="842" y="2820"/>
                    </a:lnTo>
                    <a:lnTo>
                      <a:pt x="846" y="2830"/>
                    </a:lnTo>
                    <a:lnTo>
                      <a:pt x="852" y="2840"/>
                    </a:lnTo>
                    <a:lnTo>
                      <a:pt x="858" y="2846"/>
                    </a:lnTo>
                    <a:lnTo>
                      <a:pt x="864" y="2856"/>
                    </a:lnTo>
                    <a:lnTo>
                      <a:pt x="870" y="2870"/>
                    </a:lnTo>
                    <a:lnTo>
                      <a:pt x="874" y="2882"/>
                    </a:lnTo>
                    <a:lnTo>
                      <a:pt x="876" y="2894"/>
                    </a:lnTo>
                    <a:lnTo>
                      <a:pt x="876" y="3020"/>
                    </a:lnTo>
                    <a:lnTo>
                      <a:pt x="876" y="3054"/>
                    </a:lnTo>
                    <a:lnTo>
                      <a:pt x="878" y="3062"/>
                    </a:lnTo>
                    <a:lnTo>
                      <a:pt x="882" y="3072"/>
                    </a:lnTo>
                    <a:lnTo>
                      <a:pt x="892" y="3086"/>
                    </a:lnTo>
                    <a:lnTo>
                      <a:pt x="910" y="3102"/>
                    </a:lnTo>
                    <a:lnTo>
                      <a:pt x="920" y="3110"/>
                    </a:lnTo>
                    <a:lnTo>
                      <a:pt x="928" y="3116"/>
                    </a:lnTo>
                    <a:lnTo>
                      <a:pt x="936" y="3120"/>
                    </a:lnTo>
                    <a:lnTo>
                      <a:pt x="944" y="3120"/>
                    </a:lnTo>
                    <a:lnTo>
                      <a:pt x="978" y="3120"/>
                    </a:lnTo>
                    <a:lnTo>
                      <a:pt x="1014" y="3120"/>
                    </a:lnTo>
                    <a:lnTo>
                      <a:pt x="1028" y="3120"/>
                    </a:lnTo>
                    <a:lnTo>
                      <a:pt x="1040" y="3116"/>
                    </a:lnTo>
                    <a:lnTo>
                      <a:pt x="1046" y="3110"/>
                    </a:lnTo>
                    <a:lnTo>
                      <a:pt x="1052" y="3104"/>
                    </a:lnTo>
                    <a:lnTo>
                      <a:pt x="1058" y="3094"/>
                    </a:lnTo>
                    <a:lnTo>
                      <a:pt x="1062" y="3084"/>
                    </a:lnTo>
                    <a:lnTo>
                      <a:pt x="1068" y="3060"/>
                    </a:lnTo>
                    <a:lnTo>
                      <a:pt x="1070" y="3036"/>
                    </a:lnTo>
                    <a:lnTo>
                      <a:pt x="1068" y="3024"/>
                    </a:lnTo>
                    <a:lnTo>
                      <a:pt x="1066" y="3012"/>
                    </a:lnTo>
                    <a:lnTo>
                      <a:pt x="1062" y="2998"/>
                    </a:lnTo>
                    <a:lnTo>
                      <a:pt x="1058" y="2986"/>
                    </a:lnTo>
                    <a:lnTo>
                      <a:pt x="1052" y="2976"/>
                    </a:lnTo>
                    <a:lnTo>
                      <a:pt x="1028" y="2926"/>
                    </a:lnTo>
                    <a:lnTo>
                      <a:pt x="1024" y="2914"/>
                    </a:lnTo>
                    <a:lnTo>
                      <a:pt x="1020" y="2904"/>
                    </a:lnTo>
                    <a:lnTo>
                      <a:pt x="1020" y="2890"/>
                    </a:lnTo>
                    <a:lnTo>
                      <a:pt x="1022" y="2878"/>
                    </a:lnTo>
                    <a:lnTo>
                      <a:pt x="1028" y="2868"/>
                    </a:lnTo>
                    <a:lnTo>
                      <a:pt x="1038" y="2854"/>
                    </a:lnTo>
                    <a:lnTo>
                      <a:pt x="1044" y="2842"/>
                    </a:lnTo>
                    <a:lnTo>
                      <a:pt x="1050" y="2830"/>
                    </a:lnTo>
                    <a:lnTo>
                      <a:pt x="1052" y="2818"/>
                    </a:lnTo>
                    <a:lnTo>
                      <a:pt x="1054" y="2806"/>
                    </a:lnTo>
                    <a:lnTo>
                      <a:pt x="1054" y="2796"/>
                    </a:lnTo>
                    <a:lnTo>
                      <a:pt x="1058" y="2782"/>
                    </a:lnTo>
                    <a:lnTo>
                      <a:pt x="1062" y="2770"/>
                    </a:lnTo>
                    <a:lnTo>
                      <a:pt x="1066" y="2758"/>
                    </a:lnTo>
                    <a:lnTo>
                      <a:pt x="1084" y="2724"/>
                    </a:lnTo>
                    <a:lnTo>
                      <a:pt x="1094" y="2698"/>
                    </a:lnTo>
                    <a:lnTo>
                      <a:pt x="1102" y="2672"/>
                    </a:lnTo>
                    <a:lnTo>
                      <a:pt x="1144" y="2520"/>
                    </a:lnTo>
                    <a:lnTo>
                      <a:pt x="1156" y="2466"/>
                    </a:lnTo>
                    <a:lnTo>
                      <a:pt x="1188" y="2266"/>
                    </a:lnTo>
                    <a:lnTo>
                      <a:pt x="1200" y="2214"/>
                    </a:lnTo>
                    <a:lnTo>
                      <a:pt x="1228" y="2110"/>
                    </a:lnTo>
                    <a:lnTo>
                      <a:pt x="1240" y="2058"/>
                    </a:lnTo>
                    <a:lnTo>
                      <a:pt x="1256" y="1990"/>
                    </a:lnTo>
                    <a:lnTo>
                      <a:pt x="1258" y="1980"/>
                    </a:lnTo>
                    <a:lnTo>
                      <a:pt x="1262" y="1974"/>
                    </a:lnTo>
                    <a:lnTo>
                      <a:pt x="1266" y="1972"/>
                    </a:lnTo>
                    <a:lnTo>
                      <a:pt x="1268" y="1976"/>
                    </a:lnTo>
                    <a:lnTo>
                      <a:pt x="1272" y="1982"/>
                    </a:lnTo>
                    <a:lnTo>
                      <a:pt x="1274" y="1992"/>
                    </a:lnTo>
                    <a:lnTo>
                      <a:pt x="1276" y="2016"/>
                    </a:lnTo>
                    <a:lnTo>
                      <a:pt x="1276" y="2080"/>
                    </a:lnTo>
                    <a:lnTo>
                      <a:pt x="1278" y="2106"/>
                    </a:lnTo>
                    <a:lnTo>
                      <a:pt x="1282" y="2134"/>
                    </a:lnTo>
                    <a:lnTo>
                      <a:pt x="1284" y="2142"/>
                    </a:lnTo>
                    <a:lnTo>
                      <a:pt x="1286" y="2154"/>
                    </a:lnTo>
                    <a:lnTo>
                      <a:pt x="1286" y="2168"/>
                    </a:lnTo>
                    <a:lnTo>
                      <a:pt x="1282" y="2182"/>
                    </a:lnTo>
                    <a:lnTo>
                      <a:pt x="1278" y="2194"/>
                    </a:lnTo>
                    <a:lnTo>
                      <a:pt x="1274" y="2204"/>
                    </a:lnTo>
                    <a:lnTo>
                      <a:pt x="1268" y="2216"/>
                    </a:lnTo>
                    <a:lnTo>
                      <a:pt x="1264" y="2228"/>
                    </a:lnTo>
                    <a:lnTo>
                      <a:pt x="1262" y="2242"/>
                    </a:lnTo>
                    <a:lnTo>
                      <a:pt x="1262" y="2256"/>
                    </a:lnTo>
                    <a:lnTo>
                      <a:pt x="1262" y="2262"/>
                    </a:lnTo>
                    <a:lnTo>
                      <a:pt x="1262" y="2318"/>
                    </a:lnTo>
                    <a:lnTo>
                      <a:pt x="1262" y="2358"/>
                    </a:lnTo>
                    <a:lnTo>
                      <a:pt x="1258" y="2414"/>
                    </a:lnTo>
                    <a:lnTo>
                      <a:pt x="1252" y="2480"/>
                    </a:lnTo>
                    <a:lnTo>
                      <a:pt x="1246" y="2534"/>
                    </a:lnTo>
                    <a:lnTo>
                      <a:pt x="1238" y="2598"/>
                    </a:lnTo>
                    <a:lnTo>
                      <a:pt x="1234" y="2620"/>
                    </a:lnTo>
                    <a:lnTo>
                      <a:pt x="1228" y="2638"/>
                    </a:lnTo>
                    <a:lnTo>
                      <a:pt x="1222" y="2654"/>
                    </a:lnTo>
                    <a:lnTo>
                      <a:pt x="1214" y="2678"/>
                    </a:lnTo>
                    <a:lnTo>
                      <a:pt x="1212" y="2682"/>
                    </a:lnTo>
                    <a:lnTo>
                      <a:pt x="1212" y="2696"/>
                    </a:lnTo>
                    <a:lnTo>
                      <a:pt x="1212" y="2708"/>
                    </a:lnTo>
                    <a:lnTo>
                      <a:pt x="1216" y="2722"/>
                    </a:lnTo>
                    <a:lnTo>
                      <a:pt x="1220" y="2734"/>
                    </a:lnTo>
                    <a:lnTo>
                      <a:pt x="1226" y="2746"/>
                    </a:lnTo>
                    <a:lnTo>
                      <a:pt x="1230" y="2758"/>
                    </a:lnTo>
                    <a:lnTo>
                      <a:pt x="1234" y="2772"/>
                    </a:lnTo>
                    <a:lnTo>
                      <a:pt x="1234" y="2786"/>
                    </a:lnTo>
                    <a:lnTo>
                      <a:pt x="1234" y="2816"/>
                    </a:lnTo>
                    <a:lnTo>
                      <a:pt x="1236" y="2826"/>
                    </a:lnTo>
                    <a:lnTo>
                      <a:pt x="1242" y="2838"/>
                    </a:lnTo>
                    <a:lnTo>
                      <a:pt x="1250" y="2848"/>
                    </a:lnTo>
                    <a:lnTo>
                      <a:pt x="1260" y="2854"/>
                    </a:lnTo>
                    <a:lnTo>
                      <a:pt x="1266" y="2856"/>
                    </a:lnTo>
                    <a:lnTo>
                      <a:pt x="1284" y="2864"/>
                    </a:lnTo>
                    <a:lnTo>
                      <a:pt x="1296" y="2868"/>
                    </a:lnTo>
                    <a:lnTo>
                      <a:pt x="1300" y="2870"/>
                    </a:lnTo>
                    <a:lnTo>
                      <a:pt x="1306" y="2874"/>
                    </a:lnTo>
                    <a:lnTo>
                      <a:pt x="1318" y="2890"/>
                    </a:lnTo>
                    <a:lnTo>
                      <a:pt x="1330" y="2904"/>
                    </a:lnTo>
                    <a:lnTo>
                      <a:pt x="1344" y="2924"/>
                    </a:lnTo>
                    <a:lnTo>
                      <a:pt x="1360" y="2940"/>
                    </a:lnTo>
                    <a:lnTo>
                      <a:pt x="1374" y="2950"/>
                    </a:lnTo>
                    <a:lnTo>
                      <a:pt x="1388" y="2958"/>
                    </a:lnTo>
                    <a:lnTo>
                      <a:pt x="1414" y="2970"/>
                    </a:lnTo>
                    <a:lnTo>
                      <a:pt x="1456" y="2982"/>
                    </a:lnTo>
                    <a:lnTo>
                      <a:pt x="1458" y="2982"/>
                    </a:lnTo>
                    <a:lnTo>
                      <a:pt x="1470" y="2984"/>
                    </a:lnTo>
                    <a:lnTo>
                      <a:pt x="1484" y="2984"/>
                    </a:lnTo>
                    <a:lnTo>
                      <a:pt x="1498" y="2982"/>
                    </a:lnTo>
                    <a:lnTo>
                      <a:pt x="1510" y="2980"/>
                    </a:lnTo>
                    <a:lnTo>
                      <a:pt x="1526" y="2972"/>
                    </a:lnTo>
                    <a:lnTo>
                      <a:pt x="1538" y="2968"/>
                    </a:lnTo>
                    <a:lnTo>
                      <a:pt x="1548" y="2960"/>
                    </a:lnTo>
                    <a:lnTo>
                      <a:pt x="1556" y="2952"/>
                    </a:lnTo>
                    <a:lnTo>
                      <a:pt x="1560" y="2946"/>
                    </a:lnTo>
                    <a:lnTo>
                      <a:pt x="1562" y="2936"/>
                    </a:lnTo>
                    <a:lnTo>
                      <a:pt x="1560" y="2926"/>
                    </a:lnTo>
                    <a:lnTo>
                      <a:pt x="1556" y="2918"/>
                    </a:lnTo>
                    <a:lnTo>
                      <a:pt x="1548" y="2908"/>
                    </a:lnTo>
                    <a:lnTo>
                      <a:pt x="1534" y="2896"/>
                    </a:lnTo>
                    <a:lnTo>
                      <a:pt x="1494" y="2860"/>
                    </a:lnTo>
                    <a:lnTo>
                      <a:pt x="1474" y="2840"/>
                    </a:lnTo>
                    <a:lnTo>
                      <a:pt x="1458" y="2818"/>
                    </a:lnTo>
                    <a:lnTo>
                      <a:pt x="1442" y="2796"/>
                    </a:lnTo>
                    <a:lnTo>
                      <a:pt x="1438" y="2784"/>
                    </a:lnTo>
                    <a:lnTo>
                      <a:pt x="1434" y="2770"/>
                    </a:lnTo>
                    <a:lnTo>
                      <a:pt x="1430" y="2756"/>
                    </a:lnTo>
                    <a:lnTo>
                      <a:pt x="1430" y="2744"/>
                    </a:lnTo>
                    <a:lnTo>
                      <a:pt x="1430" y="2738"/>
                    </a:lnTo>
                    <a:lnTo>
                      <a:pt x="1432" y="2726"/>
                    </a:lnTo>
                    <a:lnTo>
                      <a:pt x="1436" y="2714"/>
                    </a:lnTo>
                    <a:lnTo>
                      <a:pt x="1442" y="2704"/>
                    </a:lnTo>
                    <a:lnTo>
                      <a:pt x="1450" y="2698"/>
                    </a:lnTo>
                    <a:lnTo>
                      <a:pt x="1458" y="2692"/>
                    </a:lnTo>
                    <a:lnTo>
                      <a:pt x="1466" y="2684"/>
                    </a:lnTo>
                    <a:lnTo>
                      <a:pt x="1470" y="2676"/>
                    </a:lnTo>
                    <a:lnTo>
                      <a:pt x="1472" y="2668"/>
                    </a:lnTo>
                    <a:lnTo>
                      <a:pt x="1474" y="2624"/>
                    </a:lnTo>
                    <a:lnTo>
                      <a:pt x="1480" y="2568"/>
                    </a:lnTo>
                    <a:lnTo>
                      <a:pt x="1486" y="2542"/>
                    </a:lnTo>
                    <a:lnTo>
                      <a:pt x="1492" y="2514"/>
                    </a:lnTo>
                    <a:lnTo>
                      <a:pt x="1506" y="2472"/>
                    </a:lnTo>
                    <a:lnTo>
                      <a:pt x="1512" y="2444"/>
                    </a:lnTo>
                    <a:lnTo>
                      <a:pt x="1516" y="2418"/>
                    </a:lnTo>
                    <a:lnTo>
                      <a:pt x="1524" y="2328"/>
                    </a:lnTo>
                    <a:lnTo>
                      <a:pt x="1528" y="2302"/>
                    </a:lnTo>
                    <a:lnTo>
                      <a:pt x="1536" y="2274"/>
                    </a:lnTo>
                    <a:lnTo>
                      <a:pt x="1572" y="2158"/>
                    </a:lnTo>
                    <a:lnTo>
                      <a:pt x="1588" y="2106"/>
                    </a:lnTo>
                    <a:lnTo>
                      <a:pt x="1616" y="1978"/>
                    </a:lnTo>
                    <a:lnTo>
                      <a:pt x="1630" y="1924"/>
                    </a:lnTo>
                    <a:lnTo>
                      <a:pt x="1660" y="1810"/>
                    </a:lnTo>
                    <a:lnTo>
                      <a:pt x="1664" y="1784"/>
                    </a:lnTo>
                    <a:lnTo>
                      <a:pt x="1666" y="1758"/>
                    </a:lnTo>
                    <a:lnTo>
                      <a:pt x="1668" y="1748"/>
                    </a:lnTo>
                    <a:lnTo>
                      <a:pt x="1672" y="1736"/>
                    </a:lnTo>
                    <a:lnTo>
                      <a:pt x="1678" y="1724"/>
                    </a:lnTo>
                    <a:lnTo>
                      <a:pt x="1684" y="1716"/>
                    </a:lnTo>
                    <a:lnTo>
                      <a:pt x="1728" y="1670"/>
                    </a:lnTo>
                    <a:lnTo>
                      <a:pt x="1734" y="1660"/>
                    </a:lnTo>
                    <a:lnTo>
                      <a:pt x="1740" y="1648"/>
                    </a:lnTo>
                    <a:lnTo>
                      <a:pt x="1744" y="1636"/>
                    </a:lnTo>
                    <a:lnTo>
                      <a:pt x="1746" y="1624"/>
                    </a:lnTo>
                    <a:lnTo>
                      <a:pt x="1746" y="1582"/>
                    </a:lnTo>
                    <a:lnTo>
                      <a:pt x="1746" y="1528"/>
                    </a:lnTo>
                    <a:lnTo>
                      <a:pt x="1746" y="1446"/>
                    </a:lnTo>
                    <a:close/>
                    <a:moveTo>
                      <a:pt x="190" y="614"/>
                    </a:moveTo>
                    <a:lnTo>
                      <a:pt x="190" y="614"/>
                    </a:lnTo>
                    <a:lnTo>
                      <a:pt x="186" y="614"/>
                    </a:lnTo>
                    <a:lnTo>
                      <a:pt x="190" y="614"/>
                    </a:lnTo>
                    <a:lnTo>
                      <a:pt x="192" y="614"/>
                    </a:lnTo>
                    <a:lnTo>
                      <a:pt x="190"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8207" name="TextBox 46"/>
            <p:cNvSpPr txBox="1">
              <a:spLocks noChangeArrowheads="1"/>
            </p:cNvSpPr>
            <p:nvPr/>
          </p:nvSpPr>
          <p:spPr bwMode="auto">
            <a:xfrm>
              <a:off x="3563938" y="1389003"/>
              <a:ext cx="2011363" cy="1274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109" charset="0"/>
                  <a:ea typeface="ＭＳ Ｐゴシック" pitchFamily="-109" charset="-128"/>
                </a:defRPr>
              </a:lvl1pPr>
              <a:lvl2pPr marL="742950" indent="-285750">
                <a:defRPr>
                  <a:solidFill>
                    <a:schemeClr val="tx1"/>
                  </a:solidFill>
                  <a:latin typeface="Calibri" pitchFamily="-109" charset="0"/>
                  <a:ea typeface="ＭＳ Ｐゴシック" pitchFamily="-109" charset="-128"/>
                </a:defRPr>
              </a:lvl2pPr>
              <a:lvl3pPr marL="1143000" indent="-228600">
                <a:defRPr>
                  <a:solidFill>
                    <a:schemeClr val="tx1"/>
                  </a:solidFill>
                  <a:latin typeface="Calibri" pitchFamily="-109" charset="0"/>
                  <a:ea typeface="ＭＳ Ｐゴシック" pitchFamily="-109" charset="-128"/>
                </a:defRPr>
              </a:lvl3pPr>
              <a:lvl4pPr marL="1600200" indent="-228600">
                <a:defRPr>
                  <a:solidFill>
                    <a:schemeClr val="tx1"/>
                  </a:solidFill>
                  <a:latin typeface="Calibri" pitchFamily="-109" charset="0"/>
                  <a:ea typeface="ＭＳ Ｐゴシック" pitchFamily="-109" charset="-128"/>
                </a:defRPr>
              </a:lvl4pPr>
              <a:lvl5pPr marL="2057400" indent="-228600">
                <a:defRPr>
                  <a:solidFill>
                    <a:schemeClr val="tx1"/>
                  </a:solidFill>
                  <a:latin typeface="Calibri" pitchFamily="-109" charset="0"/>
                  <a:ea typeface="ＭＳ Ｐゴシック" pitchFamily="-109" charset="-128"/>
                </a:defRPr>
              </a:lvl5pPr>
              <a:lvl6pPr marL="2514600" indent="-228600" defTabSz="457200" fontAlgn="base">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fontAlgn="base">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fontAlgn="base">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fontAlgn="base">
                <a:spcBef>
                  <a:spcPct val="0"/>
                </a:spcBef>
                <a:spcAft>
                  <a:spcPct val="0"/>
                </a:spcAft>
                <a:defRPr>
                  <a:solidFill>
                    <a:schemeClr val="tx1"/>
                  </a:solidFill>
                  <a:latin typeface="Calibri" pitchFamily="-109" charset="0"/>
                  <a:ea typeface="ＭＳ Ｐゴシック" pitchFamily="-109" charset="-128"/>
                </a:defRPr>
              </a:lvl9pPr>
            </a:lstStyle>
            <a:p>
              <a:pPr algn="ctr">
                <a:defRPr/>
              </a:pPr>
              <a:r>
                <a:rPr lang="en-GB" sz="1050" b="1" dirty="0" smtClean="0">
                  <a:solidFill>
                    <a:srgbClr val="FFFFFF"/>
                  </a:solidFill>
                  <a:latin typeface="Arial" charset="0"/>
                </a:rPr>
                <a:t>Threat of substitutes</a:t>
              </a:r>
            </a:p>
            <a:p>
              <a:pPr algn="ctr">
                <a:spcBef>
                  <a:spcPct val="20000"/>
                </a:spcBef>
                <a:buFont typeface="Arial" charset="0"/>
                <a:buChar char="•"/>
                <a:defRPr/>
              </a:pPr>
              <a:r>
                <a:rPr lang="en-GB" sz="1050" noProof="1" smtClean="0">
                  <a:solidFill>
                    <a:srgbClr val="FFFFFF"/>
                  </a:solidFill>
                  <a:cs typeface="Arial" charset="0"/>
                </a:rPr>
                <a:t>This is an example text</a:t>
              </a:r>
            </a:p>
            <a:p>
              <a:pPr algn="ctr">
                <a:spcBef>
                  <a:spcPct val="20000"/>
                </a:spcBef>
                <a:buFont typeface="Arial" charset="0"/>
                <a:buChar char="•"/>
                <a:defRPr/>
              </a:pPr>
              <a:r>
                <a:rPr lang="en-GB" sz="1050" noProof="1" smtClean="0">
                  <a:solidFill>
                    <a:srgbClr val="FFFFFF"/>
                  </a:solidFill>
                  <a:cs typeface="Arial" charset="0"/>
                </a:rPr>
                <a:t>Please replace with own text</a:t>
              </a:r>
            </a:p>
            <a:p>
              <a:pPr algn="ctr">
                <a:spcBef>
                  <a:spcPct val="20000"/>
                </a:spcBef>
                <a:buFont typeface="Arial" charset="0"/>
                <a:buChar char="•"/>
                <a:defRPr/>
              </a:pPr>
              <a:r>
                <a:rPr lang="en-GB" sz="1050" noProof="1" smtClean="0">
                  <a:solidFill>
                    <a:srgbClr val="FFFFFF"/>
                  </a:solidFill>
                  <a:cs typeface="Arial" charset="0"/>
                </a:rPr>
                <a:t>This is an example text. </a:t>
              </a:r>
            </a:p>
            <a:p>
              <a:pPr>
                <a:defRPr/>
              </a:pPr>
              <a:endParaRPr lang="nb-NO" sz="1050" dirty="0" smtClean="0">
                <a:solidFill>
                  <a:srgbClr val="353637"/>
                </a:solidFill>
                <a:latin typeface="Arial" charset="0"/>
              </a:endParaRPr>
            </a:p>
            <a:p>
              <a:pPr>
                <a:defRPr/>
              </a:pPr>
              <a:endParaRPr lang="nb-NO" sz="1600" dirty="0" smtClean="0">
                <a:latin typeface="Arial" charset="0"/>
              </a:endParaRPr>
            </a:p>
          </p:txBody>
        </p:sp>
      </p:grpSp>
      <p:sp>
        <p:nvSpPr>
          <p:cNvPr id="20485" name="Rounded Rectangle 44"/>
          <p:cNvSpPr>
            <a:spLocks noChangeArrowheads="1"/>
          </p:cNvSpPr>
          <p:nvPr/>
        </p:nvSpPr>
        <p:spPr bwMode="auto">
          <a:xfrm rot="16200000" flipH="1">
            <a:off x="6210301" y="3433762"/>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20486" name="Rounded Rectangle 38"/>
          <p:cNvSpPr>
            <a:spLocks noChangeArrowheads="1"/>
          </p:cNvSpPr>
          <p:nvPr/>
        </p:nvSpPr>
        <p:spPr bwMode="auto">
          <a:xfrm rot="16200000" flipH="1">
            <a:off x="6210301" y="2154237"/>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84" name="Round Same Side Corner Rectangle 83"/>
          <p:cNvSpPr/>
          <p:nvPr/>
        </p:nvSpPr>
        <p:spPr>
          <a:xfrm>
            <a:off x="5183188" y="3192463"/>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85" name="Round Same Side Corner Rectangle 84"/>
          <p:cNvSpPr/>
          <p:nvPr/>
        </p:nvSpPr>
        <p:spPr>
          <a:xfrm>
            <a:off x="5183188" y="4473575"/>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20489" name="Rounded Rectangle 27"/>
          <p:cNvSpPr>
            <a:spLocks noChangeArrowheads="1"/>
          </p:cNvSpPr>
          <p:nvPr/>
        </p:nvSpPr>
        <p:spPr bwMode="auto">
          <a:xfrm rot="16200000" flipH="1">
            <a:off x="6210301" y="866775"/>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87" name="Round Same Side Corner Rectangle 86"/>
          <p:cNvSpPr/>
          <p:nvPr/>
        </p:nvSpPr>
        <p:spPr>
          <a:xfrm>
            <a:off x="5183188" y="1878013"/>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20491" name="Rektangel 76"/>
          <p:cNvSpPr>
            <a:spLocks noChangeArrowheads="1"/>
          </p:cNvSpPr>
          <p:nvPr/>
        </p:nvSpPr>
        <p:spPr bwMode="auto">
          <a:xfrm>
            <a:off x="5316538" y="1906588"/>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20492" name="Rektangel 76"/>
          <p:cNvSpPr>
            <a:spLocks noChangeArrowheads="1"/>
          </p:cNvSpPr>
          <p:nvPr/>
        </p:nvSpPr>
        <p:spPr bwMode="auto">
          <a:xfrm>
            <a:off x="5316538" y="3209925"/>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20493" name="Rektangel 76"/>
          <p:cNvSpPr>
            <a:spLocks noChangeArrowheads="1"/>
          </p:cNvSpPr>
          <p:nvPr/>
        </p:nvSpPr>
        <p:spPr bwMode="auto">
          <a:xfrm>
            <a:off x="5316538" y="4491038"/>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20494" name="Tekstboks 72"/>
          <p:cNvSpPr txBox="1">
            <a:spLocks noChangeArrowheads="1"/>
          </p:cNvSpPr>
          <p:nvPr/>
        </p:nvSpPr>
        <p:spPr bwMode="auto">
          <a:xfrm>
            <a:off x="6086475" y="2374900"/>
            <a:ext cx="2124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sp>
        <p:nvSpPr>
          <p:cNvPr id="20495" name="Tekstboks 72"/>
          <p:cNvSpPr txBox="1">
            <a:spLocks noChangeArrowheads="1"/>
          </p:cNvSpPr>
          <p:nvPr/>
        </p:nvSpPr>
        <p:spPr bwMode="auto">
          <a:xfrm>
            <a:off x="6086475" y="3660775"/>
            <a:ext cx="2124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sp>
        <p:nvSpPr>
          <p:cNvPr id="20496" name="Tekstboks 72"/>
          <p:cNvSpPr txBox="1">
            <a:spLocks noChangeArrowheads="1"/>
          </p:cNvSpPr>
          <p:nvPr/>
        </p:nvSpPr>
        <p:spPr bwMode="auto">
          <a:xfrm>
            <a:off x="6086475" y="4941888"/>
            <a:ext cx="21240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grpSp>
        <p:nvGrpSpPr>
          <p:cNvPr id="20497" name="Group 44"/>
          <p:cNvGrpSpPr>
            <a:grpSpLocks/>
          </p:cNvGrpSpPr>
          <p:nvPr/>
        </p:nvGrpSpPr>
        <p:grpSpPr bwMode="auto">
          <a:xfrm>
            <a:off x="5327650" y="2362200"/>
            <a:ext cx="403225" cy="403225"/>
            <a:chOff x="3294062" y="1631156"/>
            <a:chExt cx="460375" cy="460375"/>
          </a:xfrm>
        </p:grpSpPr>
        <p:sp>
          <p:nvSpPr>
            <p:cNvPr id="95"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20505"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1</a:t>
              </a:r>
            </a:p>
          </p:txBody>
        </p:sp>
      </p:grpSp>
      <p:grpSp>
        <p:nvGrpSpPr>
          <p:cNvPr id="20498" name="Group 44"/>
          <p:cNvGrpSpPr>
            <a:grpSpLocks/>
          </p:cNvGrpSpPr>
          <p:nvPr/>
        </p:nvGrpSpPr>
        <p:grpSpPr bwMode="auto">
          <a:xfrm>
            <a:off x="5327650" y="3660775"/>
            <a:ext cx="403225" cy="403225"/>
            <a:chOff x="3294062" y="1631156"/>
            <a:chExt cx="460375" cy="460375"/>
          </a:xfrm>
        </p:grpSpPr>
        <p:sp>
          <p:nvSpPr>
            <p:cNvPr id="98"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20503"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2</a:t>
              </a:r>
            </a:p>
          </p:txBody>
        </p:sp>
      </p:grpSp>
      <p:grpSp>
        <p:nvGrpSpPr>
          <p:cNvPr id="20499" name="Group 44"/>
          <p:cNvGrpSpPr>
            <a:grpSpLocks/>
          </p:cNvGrpSpPr>
          <p:nvPr/>
        </p:nvGrpSpPr>
        <p:grpSpPr bwMode="auto">
          <a:xfrm>
            <a:off x="5327650" y="4941888"/>
            <a:ext cx="403225" cy="403225"/>
            <a:chOff x="3294062" y="1631156"/>
            <a:chExt cx="460375" cy="460375"/>
          </a:xfrm>
        </p:grpSpPr>
        <p:sp>
          <p:nvSpPr>
            <p:cNvPr id="101"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20501"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3</a:t>
              </a:r>
            </a:p>
          </p:txBody>
        </p:sp>
      </p:grpSp>
      <p:sp>
        <p:nvSpPr>
          <p:cNvPr id="5" name="Subtitle 4"/>
          <p:cNvSpPr>
            <a:spLocks noGrp="1"/>
          </p:cNvSpPr>
          <p:nvPr>
            <p:ph type="subTitle" idx="1"/>
          </p:nvPr>
        </p:nvSpPr>
        <p:spPr>
          <a:xfrm>
            <a:off x="628650" y="866381"/>
            <a:ext cx="7891272" cy="552972"/>
          </a:xfrm>
        </p:spPr>
        <p:txBody>
          <a:bodyPr/>
          <a:lstStyle/>
          <a:p>
            <a:r>
              <a:rPr lang="en-US" dirty="0"/>
              <a:t>Replace this text</a:t>
            </a:r>
          </a:p>
          <a:p>
            <a:endParaRPr lang="en-US" dirty="0"/>
          </a:p>
        </p:txBody>
      </p:sp>
      <p:sp>
        <p:nvSpPr>
          <p:cNvPr id="4" name="Title 3"/>
          <p:cNvSpPr>
            <a:spLocks noGrp="1"/>
          </p:cNvSpPr>
          <p:nvPr>
            <p:ph type="title"/>
          </p:nvPr>
        </p:nvSpPr>
        <p:spPr/>
        <p:txBody>
          <a:bodyPr/>
          <a:lstStyle/>
          <a:p>
            <a:r>
              <a:rPr lang="en-US" dirty="0"/>
              <a:t>PORTERS 5 FORCES</a:t>
            </a:r>
          </a:p>
        </p:txBody>
      </p:sp>
      <p:sp>
        <p:nvSpPr>
          <p:cNvPr id="6" name="Date Placeholder 5"/>
          <p:cNvSpPr>
            <a:spLocks noGrp="1"/>
          </p:cNvSpPr>
          <p:nvPr>
            <p:ph type="dt" sz="half" idx="10"/>
          </p:nvPr>
        </p:nvSpPr>
        <p:spPr/>
        <p:txBody>
          <a:bodyPr/>
          <a:lstStyle/>
          <a:p>
            <a:r>
              <a:rPr lang="en-US" smtClean="0"/>
              <a:t>PRESENTER NAME</a:t>
            </a:r>
            <a:endParaRPr lang="en-US"/>
          </a:p>
        </p:txBody>
      </p:sp>
      <p:sp>
        <p:nvSpPr>
          <p:cNvPr id="7" name="Footer Placeholder 6"/>
          <p:cNvSpPr>
            <a:spLocks noGrp="1"/>
          </p:cNvSpPr>
          <p:nvPr>
            <p:ph type="ftr" sz="quarter" idx="11"/>
          </p:nvPr>
        </p:nvSpPr>
        <p:spPr/>
        <p:txBody>
          <a:bodyPr/>
          <a:lstStyle/>
          <a:p>
            <a:r>
              <a:rPr lang="en-US" smtClean="0"/>
              <a:t>COMPANY NAME</a:t>
            </a:r>
            <a:endParaRPr lang="en-US"/>
          </a:p>
        </p:txBody>
      </p:sp>
      <p:sp>
        <p:nvSpPr>
          <p:cNvPr id="9" name="Slide Number Placeholder 8"/>
          <p:cNvSpPr>
            <a:spLocks noGrp="1"/>
          </p:cNvSpPr>
          <p:nvPr>
            <p:ph type="sldNum" sz="quarter" idx="12"/>
          </p:nvPr>
        </p:nvSpPr>
        <p:spPr/>
        <p:txBody>
          <a:bodyPr/>
          <a:lstStyle/>
          <a:p>
            <a:fld id="{AACE8A1A-EF06-42BD-8183-7D22FECA910D}" type="slidenum">
              <a:rPr lang="en-US" smtClean="0"/>
              <a:pPr/>
              <a:t>56</a:t>
            </a:fld>
            <a:r>
              <a:rPr lang="en-US" smtClean="0"/>
              <a:t>|</a:t>
            </a:r>
            <a:endParaRPr lang="en-US" dirty="0"/>
          </a:p>
        </p:txBody>
      </p:sp>
    </p:spTree>
    <p:extLst>
      <p:ext uri="{BB962C8B-B14F-4D97-AF65-F5344CB8AC3E}">
        <p14:creationId xmlns:p14="http://schemas.microsoft.com/office/powerpoint/2010/main" val="133429610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506" name="Group 36"/>
          <p:cNvGrpSpPr>
            <a:grpSpLocks/>
          </p:cNvGrpSpPr>
          <p:nvPr/>
        </p:nvGrpSpPr>
        <p:grpSpPr bwMode="auto">
          <a:xfrm>
            <a:off x="4970463" y="1514475"/>
            <a:ext cx="3403600" cy="4379913"/>
            <a:chOff x="2878138" y="1703773"/>
            <a:chExt cx="3403600" cy="4379527"/>
          </a:xfrm>
        </p:grpSpPr>
        <p:sp>
          <p:nvSpPr>
            <p:cNvPr id="21530" name="Tekstboks 6"/>
            <p:cNvSpPr txBox="1">
              <a:spLocks noChangeArrowheads="1"/>
            </p:cNvSpPr>
            <p:nvPr/>
          </p:nvSpPr>
          <p:spPr bwMode="auto">
            <a:xfrm>
              <a:off x="3521075" y="3275013"/>
              <a:ext cx="2133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ctr" eaLnBrk="1" hangingPunct="1"/>
              <a:r>
                <a:rPr lang="da-DK" sz="1400" b="1">
                  <a:solidFill>
                    <a:srgbClr val="227088"/>
                  </a:solidFill>
                </a:rPr>
                <a:t>RIVALRY</a:t>
              </a:r>
            </a:p>
          </p:txBody>
        </p:sp>
        <p:sp>
          <p:nvSpPr>
            <p:cNvPr id="39" name="Donut 7"/>
            <p:cNvSpPr>
              <a:spLocks/>
            </p:cNvSpPr>
            <p:nvPr/>
          </p:nvSpPr>
          <p:spPr bwMode="auto">
            <a:xfrm rot="2700000">
              <a:off x="3247350" y="2107638"/>
              <a:ext cx="2677876" cy="2679700"/>
            </a:xfrm>
            <a:custGeom>
              <a:avLst/>
              <a:gdLst>
                <a:gd name="T0" fmla="*/ 0 w 2678113"/>
                <a:gd name="T1" fmla="*/ 1339850 h 2679700"/>
                <a:gd name="T2" fmla="*/ 1339057 w 2678113"/>
                <a:gd name="T3" fmla="*/ 0 h 2679700"/>
                <a:gd name="T4" fmla="*/ 2678114 w 2678113"/>
                <a:gd name="T5" fmla="*/ 1339850 h 2679700"/>
                <a:gd name="T6" fmla="*/ 1339057 w 2678113"/>
                <a:gd name="T7" fmla="*/ 2679700 h 2679700"/>
                <a:gd name="T8" fmla="*/ 0 w 2678113"/>
                <a:gd name="T9" fmla="*/ 1339850 h 2679700"/>
                <a:gd name="T10" fmla="*/ 322123 w 2678113"/>
                <a:gd name="T11" fmla="*/ 1339850 h 2679700"/>
                <a:gd name="T12" fmla="*/ 1339056 w 2678113"/>
                <a:gd name="T13" fmla="*/ 2357577 h 2679700"/>
                <a:gd name="T14" fmla="*/ 2355989 w 2678113"/>
                <a:gd name="T15" fmla="*/ 1339850 h 2679700"/>
                <a:gd name="T16" fmla="*/ 1339056 w 2678113"/>
                <a:gd name="T17" fmla="*/ 322123 h 2679700"/>
                <a:gd name="T18" fmla="*/ 322123 w 2678113"/>
                <a:gd name="T19" fmla="*/ 1339850 h 26797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78113" h="2679700">
                  <a:moveTo>
                    <a:pt x="0" y="1339850"/>
                  </a:moveTo>
                  <a:cubicBezTo>
                    <a:pt x="0" y="599871"/>
                    <a:pt x="599516" y="0"/>
                    <a:pt x="1339057" y="0"/>
                  </a:cubicBezTo>
                  <a:cubicBezTo>
                    <a:pt x="2078598" y="0"/>
                    <a:pt x="2678114" y="599871"/>
                    <a:pt x="2678114" y="1339850"/>
                  </a:cubicBezTo>
                  <a:cubicBezTo>
                    <a:pt x="2678114" y="2079829"/>
                    <a:pt x="2078598" y="2679700"/>
                    <a:pt x="1339057" y="2679700"/>
                  </a:cubicBezTo>
                  <a:cubicBezTo>
                    <a:pt x="599516" y="2679700"/>
                    <a:pt x="0" y="2079829"/>
                    <a:pt x="0" y="1339850"/>
                  </a:cubicBezTo>
                  <a:close/>
                  <a:moveTo>
                    <a:pt x="322123" y="1339850"/>
                  </a:moveTo>
                  <a:cubicBezTo>
                    <a:pt x="322123" y="1901925"/>
                    <a:pt x="777419" y="2357577"/>
                    <a:pt x="1339056" y="2357577"/>
                  </a:cubicBezTo>
                  <a:cubicBezTo>
                    <a:pt x="1900693" y="2357577"/>
                    <a:pt x="2355989" y="1901925"/>
                    <a:pt x="2355989" y="1339850"/>
                  </a:cubicBezTo>
                  <a:cubicBezTo>
                    <a:pt x="2355989" y="777775"/>
                    <a:pt x="1900693" y="322123"/>
                    <a:pt x="1339056" y="322123"/>
                  </a:cubicBezTo>
                  <a:cubicBezTo>
                    <a:pt x="777419" y="322123"/>
                    <a:pt x="322123" y="777775"/>
                    <a:pt x="322123" y="1339850"/>
                  </a:cubicBezTo>
                  <a:close/>
                </a:path>
              </a:pathLst>
            </a:custGeom>
            <a:solidFill>
              <a:srgbClr val="F2F2F2"/>
            </a:solidFill>
            <a:ln w="9525" cap="flat" cmpd="sng">
              <a:solidFill>
                <a:srgbClr val="4A7EBB"/>
              </a:solidFill>
              <a:prstDash val="solid"/>
              <a:round/>
              <a:headEnd/>
              <a:tailEnd/>
            </a:ln>
            <a:effectLst>
              <a:outerShdw blurRad="40000" dist="23000" dir="5400000" rotWithShape="0">
                <a:srgbClr val="000000">
                  <a:alpha val="34999"/>
                </a:srgbClr>
              </a:outerShdw>
            </a:effectLst>
          </p:spPr>
          <p:txBody>
            <a:bodyPr anchor="ctr"/>
            <a:lstStyle/>
            <a:p>
              <a:pPr>
                <a:defRPr/>
              </a:pPr>
              <a:endParaRPr lang="en-US"/>
            </a:p>
          </p:txBody>
        </p:sp>
        <p:grpSp>
          <p:nvGrpSpPr>
            <p:cNvPr id="21532" name="Group 67"/>
            <p:cNvGrpSpPr>
              <a:grpSpLocks/>
            </p:cNvGrpSpPr>
            <p:nvPr/>
          </p:nvGrpSpPr>
          <p:grpSpPr bwMode="auto">
            <a:xfrm>
              <a:off x="2878138" y="2898778"/>
              <a:ext cx="1122362" cy="1098550"/>
              <a:chOff x="2590806" y="2443937"/>
              <a:chExt cx="1362074" cy="1334317"/>
            </a:xfrm>
          </p:grpSpPr>
          <p:grpSp>
            <p:nvGrpSpPr>
              <p:cNvPr id="21567" name="Gruppe 83"/>
              <p:cNvGrpSpPr>
                <a:grpSpLocks/>
              </p:cNvGrpSpPr>
              <p:nvPr/>
            </p:nvGrpSpPr>
            <p:grpSpPr bwMode="auto">
              <a:xfrm rot="5400000">
                <a:off x="2604684" y="2430059"/>
                <a:ext cx="1334317" cy="1362074"/>
                <a:chOff x="3717577" y="1040361"/>
                <a:chExt cx="1708847" cy="1742936"/>
              </a:xfrm>
            </p:grpSpPr>
            <p:sp>
              <p:nvSpPr>
                <p:cNvPr id="67" name="Tåre 105"/>
                <p:cNvSpPr/>
                <p:nvPr/>
              </p:nvSpPr>
              <p:spPr bwMode="auto">
                <a:xfrm rot="18900000">
                  <a:off x="3717577" y="1067209"/>
                  <a:ext cx="1708847" cy="1716088"/>
                </a:xfrm>
                <a:prstGeom prst="teardrop">
                  <a:avLst/>
                </a:prstGeom>
                <a:gradFill flip="none" rotWithShape="1">
                  <a:gsLst>
                    <a:gs pos="0">
                      <a:schemeClr val="bg2"/>
                    </a:gs>
                    <a:gs pos="86000">
                      <a:srgbClr val="2A9B18"/>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0"/>
                    <a:cs typeface="ＭＳ Ｐゴシック" charset="0"/>
                  </a:endParaRPr>
                </a:p>
              </p:txBody>
            </p:sp>
            <p:sp>
              <p:nvSpPr>
                <p:cNvPr id="68"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69"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64" name="L-Shape 63"/>
              <p:cNvSpPr/>
              <p:nvPr/>
            </p:nvSpPr>
            <p:spPr>
              <a:xfrm>
                <a:off x="3047399" y="3053533"/>
                <a:ext cx="470079" cy="375966"/>
              </a:xfrm>
              <a:prstGeom prst="corner">
                <a:avLst>
                  <a:gd name="adj1" fmla="val 74088"/>
                  <a:gd name="adj2" fmla="val 3406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sp>
            <p:nvSpPr>
              <p:cNvPr id="65" name="Cloud 64"/>
              <p:cNvSpPr/>
              <p:nvPr/>
            </p:nvSpPr>
            <p:spPr>
              <a:xfrm rot="2580872">
                <a:off x="3103270" y="2660214"/>
                <a:ext cx="223480" cy="406814"/>
              </a:xfrm>
              <a:prstGeom prst="cloud">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solidFill>
                    <a:srgbClr val="FFFFFF"/>
                  </a:solidFill>
                  <a:ea typeface="ＭＳ Ｐゴシック" charset="0"/>
                  <a:cs typeface="ＭＳ Ｐゴシック" charset="0"/>
                </a:endParaRPr>
              </a:p>
            </p:txBody>
          </p:sp>
        </p:grpSp>
        <p:grpSp>
          <p:nvGrpSpPr>
            <p:cNvPr id="21533" name="Group 65"/>
            <p:cNvGrpSpPr>
              <a:grpSpLocks/>
            </p:cNvGrpSpPr>
            <p:nvPr/>
          </p:nvGrpSpPr>
          <p:grpSpPr bwMode="auto">
            <a:xfrm>
              <a:off x="5160963" y="2898778"/>
              <a:ext cx="1120775" cy="1098550"/>
              <a:chOff x="6413505" y="2443937"/>
              <a:chExt cx="1362074" cy="1334317"/>
            </a:xfrm>
          </p:grpSpPr>
          <p:grpSp>
            <p:nvGrpSpPr>
              <p:cNvPr id="21558" name="Gruppe 83"/>
              <p:cNvGrpSpPr>
                <a:grpSpLocks/>
              </p:cNvGrpSpPr>
              <p:nvPr/>
            </p:nvGrpSpPr>
            <p:grpSpPr bwMode="auto">
              <a:xfrm rot="-5400000">
                <a:off x="6427383" y="2430059"/>
                <a:ext cx="1334317" cy="1362074"/>
                <a:chOff x="3717577" y="1040361"/>
                <a:chExt cx="1708847" cy="1742936"/>
              </a:xfrm>
            </p:grpSpPr>
            <p:sp>
              <p:nvSpPr>
                <p:cNvPr id="60" name="Tåre 105"/>
                <p:cNvSpPr/>
                <p:nvPr/>
              </p:nvSpPr>
              <p:spPr bwMode="auto">
                <a:xfrm rot="18900000">
                  <a:off x="3717577" y="1067209"/>
                  <a:ext cx="1708847" cy="1716088"/>
                </a:xfrm>
                <a:prstGeom prst="teardrop">
                  <a:avLst/>
                </a:prstGeom>
                <a:gradFill flip="none" rotWithShape="1">
                  <a:gsLst>
                    <a:gs pos="0">
                      <a:schemeClr val="bg2"/>
                    </a:gs>
                    <a:gs pos="63000">
                      <a:srgbClr val="CE202A"/>
                    </a:gs>
                  </a:gsLst>
                  <a:path path="shape">
                    <a:fillToRect l="50000" t="50000" r="50000" b="50000"/>
                  </a:path>
                  <a:tileRect/>
                </a:gradFill>
                <a:ln w="9525" cap="flat" cmpd="sng" algn="ctr">
                  <a:noFill/>
                  <a:prstDash val="solid"/>
                </a:ln>
                <a:effectLst>
                  <a:innerShdw blurRad="190500" dist="114300" dir="5640000">
                    <a:srgbClr val="000000">
                      <a:alpha val="37000"/>
                    </a:srgbClr>
                  </a:innerShdw>
                  <a:reflection stA="25000" endPos="35000" dist="12700" dir="5400000" sy="-100000" algn="bl" rotWithShape="0"/>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61" name="Tåre 106"/>
                <p:cNvSpPr/>
                <p:nvPr/>
              </p:nvSpPr>
              <p:spPr bwMode="auto">
                <a:xfrm rot="18900000">
                  <a:off x="3827250" y="1040361"/>
                  <a:ext cx="1491398" cy="1497717"/>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62" name="Måne 107"/>
                <p:cNvSpPr/>
                <p:nvPr/>
              </p:nvSpPr>
              <p:spPr bwMode="auto">
                <a:xfrm rot="16045033">
                  <a:off x="4274442" y="1717001"/>
                  <a:ext cx="595116" cy="1477042"/>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sp>
            <p:nvSpPr>
              <p:cNvPr id="21559" name="Freeform 6"/>
              <p:cNvSpPr>
                <a:spLocks noEditPoints="1"/>
              </p:cNvSpPr>
              <p:nvPr/>
            </p:nvSpPr>
            <p:spPr bwMode="auto">
              <a:xfrm>
                <a:off x="6896100" y="2679700"/>
                <a:ext cx="462364" cy="911224"/>
              </a:xfrm>
              <a:custGeom>
                <a:avLst/>
                <a:gdLst>
                  <a:gd name="T0" fmla="*/ 2147483647 w 1746"/>
                  <a:gd name="T1" fmla="*/ 2147483647 h 3442"/>
                  <a:gd name="T2" fmla="*/ 2147483647 w 1746"/>
                  <a:gd name="T3" fmla="*/ 2147483647 h 3442"/>
                  <a:gd name="T4" fmla="*/ 2147483647 w 1746"/>
                  <a:gd name="T5" fmla="*/ 2147483647 h 3442"/>
                  <a:gd name="T6" fmla="*/ 2147483647 w 1746"/>
                  <a:gd name="T7" fmla="*/ 2147483647 h 3442"/>
                  <a:gd name="T8" fmla="*/ 2147483647 w 1746"/>
                  <a:gd name="T9" fmla="*/ 2147483647 h 3442"/>
                  <a:gd name="T10" fmla="*/ 2147483647 w 1746"/>
                  <a:gd name="T11" fmla="*/ 2147483647 h 3442"/>
                  <a:gd name="T12" fmla="*/ 2147483647 w 1746"/>
                  <a:gd name="T13" fmla="*/ 2147483647 h 3442"/>
                  <a:gd name="T14" fmla="*/ 2147483647 w 1746"/>
                  <a:gd name="T15" fmla="*/ 2147483647 h 3442"/>
                  <a:gd name="T16" fmla="*/ 2147483647 w 1746"/>
                  <a:gd name="T17" fmla="*/ 2147483647 h 3442"/>
                  <a:gd name="T18" fmla="*/ 2147483647 w 1746"/>
                  <a:gd name="T19" fmla="*/ 2147483647 h 3442"/>
                  <a:gd name="T20" fmla="*/ 2147483647 w 1746"/>
                  <a:gd name="T21" fmla="*/ 2147483647 h 3442"/>
                  <a:gd name="T22" fmla="*/ 2147483647 w 1746"/>
                  <a:gd name="T23" fmla="*/ 2147483647 h 3442"/>
                  <a:gd name="T24" fmla="*/ 2147483647 w 1746"/>
                  <a:gd name="T25" fmla="*/ 2147483647 h 3442"/>
                  <a:gd name="T26" fmla="*/ 2147483647 w 1746"/>
                  <a:gd name="T27" fmla="*/ 2147483647 h 3442"/>
                  <a:gd name="T28" fmla="*/ 2147483647 w 1746"/>
                  <a:gd name="T29" fmla="*/ 2147483647 h 3442"/>
                  <a:gd name="T30" fmla="*/ 2147483647 w 1746"/>
                  <a:gd name="T31" fmla="*/ 2147483647 h 3442"/>
                  <a:gd name="T32" fmla="*/ 2147483647 w 1746"/>
                  <a:gd name="T33" fmla="*/ 2147483647 h 3442"/>
                  <a:gd name="T34" fmla="*/ 2147483647 w 1746"/>
                  <a:gd name="T35" fmla="*/ 2147483647 h 3442"/>
                  <a:gd name="T36" fmla="*/ 2147483647 w 1746"/>
                  <a:gd name="T37" fmla="*/ 2147483647 h 3442"/>
                  <a:gd name="T38" fmla="*/ 0 w 1746"/>
                  <a:gd name="T39" fmla="*/ 2147483647 h 3442"/>
                  <a:gd name="T40" fmla="*/ 2147483647 w 1746"/>
                  <a:gd name="T41" fmla="*/ 2147483647 h 3442"/>
                  <a:gd name="T42" fmla="*/ 2147483647 w 1746"/>
                  <a:gd name="T43" fmla="*/ 2147483647 h 3442"/>
                  <a:gd name="T44" fmla="*/ 2147483647 w 1746"/>
                  <a:gd name="T45" fmla="*/ 2147483647 h 3442"/>
                  <a:gd name="T46" fmla="*/ 2147483647 w 1746"/>
                  <a:gd name="T47" fmla="*/ 2147483647 h 3442"/>
                  <a:gd name="T48" fmla="*/ 2147483647 w 1746"/>
                  <a:gd name="T49" fmla="*/ 2147483647 h 3442"/>
                  <a:gd name="T50" fmla="*/ 2147483647 w 1746"/>
                  <a:gd name="T51" fmla="*/ 2147483647 h 3442"/>
                  <a:gd name="T52" fmla="*/ 2147483647 w 1746"/>
                  <a:gd name="T53" fmla="*/ 2147483647 h 3442"/>
                  <a:gd name="T54" fmla="*/ 2147483647 w 1746"/>
                  <a:gd name="T55" fmla="*/ 2147483647 h 3442"/>
                  <a:gd name="T56" fmla="*/ 2147483647 w 1746"/>
                  <a:gd name="T57" fmla="*/ 2147483647 h 3442"/>
                  <a:gd name="T58" fmla="*/ 2147483647 w 1746"/>
                  <a:gd name="T59" fmla="*/ 2147483647 h 3442"/>
                  <a:gd name="T60" fmla="*/ 2147483647 w 1746"/>
                  <a:gd name="T61" fmla="*/ 2147483647 h 3442"/>
                  <a:gd name="T62" fmla="*/ 2147483647 w 1746"/>
                  <a:gd name="T63" fmla="*/ 2147483647 h 3442"/>
                  <a:gd name="T64" fmla="*/ 2147483647 w 1746"/>
                  <a:gd name="T65" fmla="*/ 2147483647 h 3442"/>
                  <a:gd name="T66" fmla="*/ 2147483647 w 1746"/>
                  <a:gd name="T67" fmla="*/ 2147483647 h 3442"/>
                  <a:gd name="T68" fmla="*/ 2147483647 w 1746"/>
                  <a:gd name="T69" fmla="*/ 2147483647 h 3442"/>
                  <a:gd name="T70" fmla="*/ 2147483647 w 1746"/>
                  <a:gd name="T71" fmla="*/ 2147483647 h 3442"/>
                  <a:gd name="T72" fmla="*/ 2147483647 w 1746"/>
                  <a:gd name="T73" fmla="*/ 2147483647 h 3442"/>
                  <a:gd name="T74" fmla="*/ 2147483647 w 1746"/>
                  <a:gd name="T75" fmla="*/ 2147483647 h 3442"/>
                  <a:gd name="T76" fmla="*/ 2147483647 w 1746"/>
                  <a:gd name="T77" fmla="*/ 2147483647 h 3442"/>
                  <a:gd name="T78" fmla="*/ 2147483647 w 1746"/>
                  <a:gd name="T79" fmla="*/ 2147483647 h 3442"/>
                  <a:gd name="T80" fmla="*/ 2147483647 w 1746"/>
                  <a:gd name="T81" fmla="*/ 2147483647 h 3442"/>
                  <a:gd name="T82" fmla="*/ 2147483647 w 1746"/>
                  <a:gd name="T83" fmla="*/ 2147483647 h 3442"/>
                  <a:gd name="T84" fmla="*/ 2147483647 w 1746"/>
                  <a:gd name="T85" fmla="*/ 2147483647 h 3442"/>
                  <a:gd name="T86" fmla="*/ 2147483647 w 1746"/>
                  <a:gd name="T87" fmla="*/ 2147483647 h 3442"/>
                  <a:gd name="T88" fmla="*/ 2147483647 w 1746"/>
                  <a:gd name="T89" fmla="*/ 2147483647 h 3442"/>
                  <a:gd name="T90" fmla="*/ 2147483647 w 1746"/>
                  <a:gd name="T91" fmla="*/ 2147483647 h 3442"/>
                  <a:gd name="T92" fmla="*/ 2147483647 w 1746"/>
                  <a:gd name="T93" fmla="*/ 2147483647 h 3442"/>
                  <a:gd name="T94" fmla="*/ 2147483647 w 1746"/>
                  <a:gd name="T95" fmla="*/ 2147483647 h 3442"/>
                  <a:gd name="T96" fmla="*/ 2147483647 w 1746"/>
                  <a:gd name="T97" fmla="*/ 2147483647 h 3442"/>
                  <a:gd name="T98" fmla="*/ 2147483647 w 1746"/>
                  <a:gd name="T99" fmla="*/ 2147483647 h 3442"/>
                  <a:gd name="T100" fmla="*/ 2147483647 w 1746"/>
                  <a:gd name="T101" fmla="*/ 2147483647 h 3442"/>
                  <a:gd name="T102" fmla="*/ 2147483647 w 1746"/>
                  <a:gd name="T103" fmla="*/ 2147483647 h 3442"/>
                  <a:gd name="T104" fmla="*/ 2147483647 w 1746"/>
                  <a:gd name="T105" fmla="*/ 2147483647 h 3442"/>
                  <a:gd name="T106" fmla="*/ 2147483647 w 1746"/>
                  <a:gd name="T107" fmla="*/ 2147483647 h 3442"/>
                  <a:gd name="T108" fmla="*/ 2147483647 w 1746"/>
                  <a:gd name="T109" fmla="*/ 2147483647 h 3442"/>
                  <a:gd name="T110" fmla="*/ 2147483647 w 1746"/>
                  <a:gd name="T111" fmla="*/ 2147483647 h 3442"/>
                  <a:gd name="T112" fmla="*/ 2147483647 w 1746"/>
                  <a:gd name="T113" fmla="*/ 2147483647 h 3442"/>
                  <a:gd name="T114" fmla="*/ 2147483647 w 1746"/>
                  <a:gd name="T115" fmla="*/ 2147483647 h 3442"/>
                  <a:gd name="T116" fmla="*/ 2147483647 w 1746"/>
                  <a:gd name="T117" fmla="*/ 2147483647 h 3442"/>
                  <a:gd name="T118" fmla="*/ 2147483647 w 1746"/>
                  <a:gd name="T119" fmla="*/ 2147483647 h 34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46"/>
                  <a:gd name="T181" fmla="*/ 0 h 3442"/>
                  <a:gd name="T182" fmla="*/ 1746 w 1746"/>
                  <a:gd name="T183" fmla="*/ 3442 h 34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46" h="3442">
                    <a:moveTo>
                      <a:pt x="1746" y="1446"/>
                    </a:moveTo>
                    <a:lnTo>
                      <a:pt x="1746" y="1446"/>
                    </a:lnTo>
                    <a:lnTo>
                      <a:pt x="1746" y="1392"/>
                    </a:lnTo>
                    <a:lnTo>
                      <a:pt x="1746" y="1266"/>
                    </a:lnTo>
                    <a:lnTo>
                      <a:pt x="1744" y="1240"/>
                    </a:lnTo>
                    <a:lnTo>
                      <a:pt x="1738" y="1214"/>
                    </a:lnTo>
                    <a:lnTo>
                      <a:pt x="1714" y="1146"/>
                    </a:lnTo>
                    <a:lnTo>
                      <a:pt x="1706" y="1120"/>
                    </a:lnTo>
                    <a:lnTo>
                      <a:pt x="1702" y="1094"/>
                    </a:lnTo>
                    <a:lnTo>
                      <a:pt x="1694" y="1002"/>
                    </a:lnTo>
                    <a:lnTo>
                      <a:pt x="1688" y="948"/>
                    </a:lnTo>
                    <a:lnTo>
                      <a:pt x="1670" y="822"/>
                    </a:lnTo>
                    <a:lnTo>
                      <a:pt x="1668" y="794"/>
                    </a:lnTo>
                    <a:lnTo>
                      <a:pt x="1666" y="766"/>
                    </a:lnTo>
                    <a:lnTo>
                      <a:pt x="1666" y="738"/>
                    </a:lnTo>
                    <a:lnTo>
                      <a:pt x="1664" y="714"/>
                    </a:lnTo>
                    <a:lnTo>
                      <a:pt x="1662" y="704"/>
                    </a:lnTo>
                    <a:lnTo>
                      <a:pt x="1658" y="696"/>
                    </a:lnTo>
                    <a:lnTo>
                      <a:pt x="1648" y="686"/>
                    </a:lnTo>
                    <a:lnTo>
                      <a:pt x="1636" y="678"/>
                    </a:lnTo>
                    <a:lnTo>
                      <a:pt x="1616" y="668"/>
                    </a:lnTo>
                    <a:lnTo>
                      <a:pt x="1602" y="660"/>
                    </a:lnTo>
                    <a:lnTo>
                      <a:pt x="1582" y="652"/>
                    </a:lnTo>
                    <a:lnTo>
                      <a:pt x="1426" y="588"/>
                    </a:lnTo>
                    <a:lnTo>
                      <a:pt x="1416" y="582"/>
                    </a:lnTo>
                    <a:lnTo>
                      <a:pt x="1406" y="574"/>
                    </a:lnTo>
                    <a:lnTo>
                      <a:pt x="1398" y="564"/>
                    </a:lnTo>
                    <a:lnTo>
                      <a:pt x="1394" y="554"/>
                    </a:lnTo>
                    <a:lnTo>
                      <a:pt x="1392" y="542"/>
                    </a:lnTo>
                    <a:lnTo>
                      <a:pt x="1394" y="532"/>
                    </a:lnTo>
                    <a:lnTo>
                      <a:pt x="1396" y="524"/>
                    </a:lnTo>
                    <a:lnTo>
                      <a:pt x="1402" y="516"/>
                    </a:lnTo>
                    <a:lnTo>
                      <a:pt x="1416" y="500"/>
                    </a:lnTo>
                    <a:lnTo>
                      <a:pt x="1430" y="480"/>
                    </a:lnTo>
                    <a:lnTo>
                      <a:pt x="1442" y="458"/>
                    </a:lnTo>
                    <a:lnTo>
                      <a:pt x="1448" y="446"/>
                    </a:lnTo>
                    <a:lnTo>
                      <a:pt x="1452" y="432"/>
                    </a:lnTo>
                    <a:lnTo>
                      <a:pt x="1456" y="418"/>
                    </a:lnTo>
                    <a:lnTo>
                      <a:pt x="1460" y="406"/>
                    </a:lnTo>
                    <a:lnTo>
                      <a:pt x="1468" y="340"/>
                    </a:lnTo>
                    <a:lnTo>
                      <a:pt x="1470" y="312"/>
                    </a:lnTo>
                    <a:lnTo>
                      <a:pt x="1472" y="286"/>
                    </a:lnTo>
                    <a:lnTo>
                      <a:pt x="1472" y="266"/>
                    </a:lnTo>
                    <a:lnTo>
                      <a:pt x="1470" y="244"/>
                    </a:lnTo>
                    <a:lnTo>
                      <a:pt x="1466" y="234"/>
                    </a:lnTo>
                    <a:lnTo>
                      <a:pt x="1464" y="228"/>
                    </a:lnTo>
                    <a:lnTo>
                      <a:pt x="1456" y="214"/>
                    </a:lnTo>
                    <a:lnTo>
                      <a:pt x="1448" y="198"/>
                    </a:lnTo>
                    <a:lnTo>
                      <a:pt x="1440" y="182"/>
                    </a:lnTo>
                    <a:lnTo>
                      <a:pt x="1430" y="168"/>
                    </a:lnTo>
                    <a:lnTo>
                      <a:pt x="1416" y="156"/>
                    </a:lnTo>
                    <a:lnTo>
                      <a:pt x="1402" y="148"/>
                    </a:lnTo>
                    <a:lnTo>
                      <a:pt x="1366" y="138"/>
                    </a:lnTo>
                    <a:lnTo>
                      <a:pt x="1356" y="136"/>
                    </a:lnTo>
                    <a:lnTo>
                      <a:pt x="1344" y="136"/>
                    </a:lnTo>
                    <a:lnTo>
                      <a:pt x="1332" y="140"/>
                    </a:lnTo>
                    <a:lnTo>
                      <a:pt x="1320" y="142"/>
                    </a:lnTo>
                    <a:lnTo>
                      <a:pt x="1316" y="144"/>
                    </a:lnTo>
                    <a:lnTo>
                      <a:pt x="1266" y="168"/>
                    </a:lnTo>
                    <a:lnTo>
                      <a:pt x="1246" y="178"/>
                    </a:lnTo>
                    <a:lnTo>
                      <a:pt x="1236" y="184"/>
                    </a:lnTo>
                    <a:lnTo>
                      <a:pt x="1226" y="192"/>
                    </a:lnTo>
                    <a:lnTo>
                      <a:pt x="1218" y="202"/>
                    </a:lnTo>
                    <a:lnTo>
                      <a:pt x="1214" y="210"/>
                    </a:lnTo>
                    <a:lnTo>
                      <a:pt x="1196" y="254"/>
                    </a:lnTo>
                    <a:lnTo>
                      <a:pt x="1188" y="274"/>
                    </a:lnTo>
                    <a:lnTo>
                      <a:pt x="1180" y="294"/>
                    </a:lnTo>
                    <a:lnTo>
                      <a:pt x="1176" y="298"/>
                    </a:lnTo>
                    <a:lnTo>
                      <a:pt x="1174" y="300"/>
                    </a:lnTo>
                    <a:lnTo>
                      <a:pt x="1168" y="302"/>
                    </a:lnTo>
                    <a:lnTo>
                      <a:pt x="1166" y="306"/>
                    </a:lnTo>
                    <a:lnTo>
                      <a:pt x="1164" y="316"/>
                    </a:lnTo>
                    <a:lnTo>
                      <a:pt x="1160" y="330"/>
                    </a:lnTo>
                    <a:lnTo>
                      <a:pt x="1156" y="340"/>
                    </a:lnTo>
                    <a:lnTo>
                      <a:pt x="1156" y="348"/>
                    </a:lnTo>
                    <a:lnTo>
                      <a:pt x="1156" y="358"/>
                    </a:lnTo>
                    <a:lnTo>
                      <a:pt x="1160" y="368"/>
                    </a:lnTo>
                    <a:lnTo>
                      <a:pt x="1164" y="382"/>
                    </a:lnTo>
                    <a:lnTo>
                      <a:pt x="1166" y="392"/>
                    </a:lnTo>
                    <a:lnTo>
                      <a:pt x="1168" y="392"/>
                    </a:lnTo>
                    <a:lnTo>
                      <a:pt x="1170" y="394"/>
                    </a:lnTo>
                    <a:lnTo>
                      <a:pt x="1180" y="392"/>
                    </a:lnTo>
                    <a:lnTo>
                      <a:pt x="1186" y="390"/>
                    </a:lnTo>
                    <a:lnTo>
                      <a:pt x="1190" y="396"/>
                    </a:lnTo>
                    <a:lnTo>
                      <a:pt x="1192" y="402"/>
                    </a:lnTo>
                    <a:lnTo>
                      <a:pt x="1194" y="412"/>
                    </a:lnTo>
                    <a:lnTo>
                      <a:pt x="1194" y="440"/>
                    </a:lnTo>
                    <a:lnTo>
                      <a:pt x="1192" y="452"/>
                    </a:lnTo>
                    <a:lnTo>
                      <a:pt x="1190" y="464"/>
                    </a:lnTo>
                    <a:lnTo>
                      <a:pt x="1186" y="476"/>
                    </a:lnTo>
                    <a:lnTo>
                      <a:pt x="1180" y="486"/>
                    </a:lnTo>
                    <a:lnTo>
                      <a:pt x="1152" y="522"/>
                    </a:lnTo>
                    <a:lnTo>
                      <a:pt x="1136" y="540"/>
                    </a:lnTo>
                    <a:lnTo>
                      <a:pt x="1114" y="556"/>
                    </a:lnTo>
                    <a:lnTo>
                      <a:pt x="1106" y="562"/>
                    </a:lnTo>
                    <a:lnTo>
                      <a:pt x="1082" y="576"/>
                    </a:lnTo>
                    <a:lnTo>
                      <a:pt x="1056" y="586"/>
                    </a:lnTo>
                    <a:lnTo>
                      <a:pt x="970" y="616"/>
                    </a:lnTo>
                    <a:lnTo>
                      <a:pt x="958" y="618"/>
                    </a:lnTo>
                    <a:lnTo>
                      <a:pt x="944" y="620"/>
                    </a:lnTo>
                    <a:lnTo>
                      <a:pt x="930" y="618"/>
                    </a:lnTo>
                    <a:lnTo>
                      <a:pt x="918" y="614"/>
                    </a:lnTo>
                    <a:lnTo>
                      <a:pt x="844" y="578"/>
                    </a:lnTo>
                    <a:lnTo>
                      <a:pt x="794" y="554"/>
                    </a:lnTo>
                    <a:lnTo>
                      <a:pt x="732" y="528"/>
                    </a:lnTo>
                    <a:lnTo>
                      <a:pt x="708" y="518"/>
                    </a:lnTo>
                    <a:lnTo>
                      <a:pt x="680" y="510"/>
                    </a:lnTo>
                    <a:lnTo>
                      <a:pt x="632" y="498"/>
                    </a:lnTo>
                    <a:lnTo>
                      <a:pt x="622" y="494"/>
                    </a:lnTo>
                    <a:lnTo>
                      <a:pt x="612" y="488"/>
                    </a:lnTo>
                    <a:lnTo>
                      <a:pt x="604" y="478"/>
                    </a:lnTo>
                    <a:lnTo>
                      <a:pt x="598" y="468"/>
                    </a:lnTo>
                    <a:lnTo>
                      <a:pt x="586" y="450"/>
                    </a:lnTo>
                    <a:lnTo>
                      <a:pt x="578" y="440"/>
                    </a:lnTo>
                    <a:lnTo>
                      <a:pt x="574" y="434"/>
                    </a:lnTo>
                    <a:lnTo>
                      <a:pt x="572" y="426"/>
                    </a:lnTo>
                    <a:lnTo>
                      <a:pt x="570" y="406"/>
                    </a:lnTo>
                    <a:lnTo>
                      <a:pt x="570" y="340"/>
                    </a:lnTo>
                    <a:lnTo>
                      <a:pt x="572" y="328"/>
                    </a:lnTo>
                    <a:lnTo>
                      <a:pt x="574" y="314"/>
                    </a:lnTo>
                    <a:lnTo>
                      <a:pt x="578" y="300"/>
                    </a:lnTo>
                    <a:lnTo>
                      <a:pt x="584" y="288"/>
                    </a:lnTo>
                    <a:lnTo>
                      <a:pt x="588" y="278"/>
                    </a:lnTo>
                    <a:lnTo>
                      <a:pt x="594" y="264"/>
                    </a:lnTo>
                    <a:lnTo>
                      <a:pt x="596" y="252"/>
                    </a:lnTo>
                    <a:lnTo>
                      <a:pt x="596" y="240"/>
                    </a:lnTo>
                    <a:lnTo>
                      <a:pt x="596" y="210"/>
                    </a:lnTo>
                    <a:lnTo>
                      <a:pt x="596" y="206"/>
                    </a:lnTo>
                    <a:lnTo>
                      <a:pt x="594" y="204"/>
                    </a:lnTo>
                    <a:lnTo>
                      <a:pt x="584" y="196"/>
                    </a:lnTo>
                    <a:lnTo>
                      <a:pt x="578" y="192"/>
                    </a:lnTo>
                    <a:lnTo>
                      <a:pt x="572" y="184"/>
                    </a:lnTo>
                    <a:lnTo>
                      <a:pt x="568" y="176"/>
                    </a:lnTo>
                    <a:lnTo>
                      <a:pt x="566" y="164"/>
                    </a:lnTo>
                    <a:lnTo>
                      <a:pt x="560" y="146"/>
                    </a:lnTo>
                    <a:lnTo>
                      <a:pt x="548" y="94"/>
                    </a:lnTo>
                    <a:lnTo>
                      <a:pt x="540" y="72"/>
                    </a:lnTo>
                    <a:lnTo>
                      <a:pt x="528" y="52"/>
                    </a:lnTo>
                    <a:lnTo>
                      <a:pt x="516" y="38"/>
                    </a:lnTo>
                    <a:lnTo>
                      <a:pt x="510" y="34"/>
                    </a:lnTo>
                    <a:lnTo>
                      <a:pt x="506" y="34"/>
                    </a:lnTo>
                    <a:lnTo>
                      <a:pt x="498" y="32"/>
                    </a:lnTo>
                    <a:lnTo>
                      <a:pt x="486" y="28"/>
                    </a:lnTo>
                    <a:lnTo>
                      <a:pt x="476" y="24"/>
                    </a:lnTo>
                    <a:lnTo>
                      <a:pt x="466" y="22"/>
                    </a:lnTo>
                    <a:lnTo>
                      <a:pt x="454" y="20"/>
                    </a:lnTo>
                    <a:lnTo>
                      <a:pt x="438" y="10"/>
                    </a:lnTo>
                    <a:lnTo>
                      <a:pt x="428" y="6"/>
                    </a:lnTo>
                    <a:lnTo>
                      <a:pt x="416" y="2"/>
                    </a:lnTo>
                    <a:lnTo>
                      <a:pt x="404" y="0"/>
                    </a:lnTo>
                    <a:lnTo>
                      <a:pt x="390" y="0"/>
                    </a:lnTo>
                    <a:lnTo>
                      <a:pt x="388" y="0"/>
                    </a:lnTo>
                    <a:lnTo>
                      <a:pt x="348" y="0"/>
                    </a:lnTo>
                    <a:lnTo>
                      <a:pt x="332" y="2"/>
                    </a:lnTo>
                    <a:lnTo>
                      <a:pt x="314" y="10"/>
                    </a:lnTo>
                    <a:lnTo>
                      <a:pt x="292" y="24"/>
                    </a:lnTo>
                    <a:lnTo>
                      <a:pt x="272" y="40"/>
                    </a:lnTo>
                    <a:lnTo>
                      <a:pt x="252" y="58"/>
                    </a:lnTo>
                    <a:lnTo>
                      <a:pt x="238" y="76"/>
                    </a:lnTo>
                    <a:lnTo>
                      <a:pt x="228" y="94"/>
                    </a:lnTo>
                    <a:lnTo>
                      <a:pt x="226" y="100"/>
                    </a:lnTo>
                    <a:lnTo>
                      <a:pt x="224" y="106"/>
                    </a:lnTo>
                    <a:lnTo>
                      <a:pt x="222" y="120"/>
                    </a:lnTo>
                    <a:lnTo>
                      <a:pt x="216" y="136"/>
                    </a:lnTo>
                    <a:lnTo>
                      <a:pt x="214" y="146"/>
                    </a:lnTo>
                    <a:lnTo>
                      <a:pt x="212" y="158"/>
                    </a:lnTo>
                    <a:lnTo>
                      <a:pt x="212" y="170"/>
                    </a:lnTo>
                    <a:lnTo>
                      <a:pt x="214" y="182"/>
                    </a:lnTo>
                    <a:lnTo>
                      <a:pt x="220" y="224"/>
                    </a:lnTo>
                    <a:lnTo>
                      <a:pt x="224" y="250"/>
                    </a:lnTo>
                    <a:lnTo>
                      <a:pt x="224" y="276"/>
                    </a:lnTo>
                    <a:lnTo>
                      <a:pt x="226" y="298"/>
                    </a:lnTo>
                    <a:lnTo>
                      <a:pt x="230" y="318"/>
                    </a:lnTo>
                    <a:lnTo>
                      <a:pt x="240" y="334"/>
                    </a:lnTo>
                    <a:lnTo>
                      <a:pt x="250" y="348"/>
                    </a:lnTo>
                    <a:lnTo>
                      <a:pt x="262" y="362"/>
                    </a:lnTo>
                    <a:lnTo>
                      <a:pt x="272" y="378"/>
                    </a:lnTo>
                    <a:lnTo>
                      <a:pt x="282" y="398"/>
                    </a:lnTo>
                    <a:lnTo>
                      <a:pt x="298" y="418"/>
                    </a:lnTo>
                    <a:lnTo>
                      <a:pt x="304" y="424"/>
                    </a:lnTo>
                    <a:lnTo>
                      <a:pt x="310" y="434"/>
                    </a:lnTo>
                    <a:lnTo>
                      <a:pt x="316" y="446"/>
                    </a:lnTo>
                    <a:lnTo>
                      <a:pt x="320" y="460"/>
                    </a:lnTo>
                    <a:lnTo>
                      <a:pt x="322" y="472"/>
                    </a:lnTo>
                    <a:lnTo>
                      <a:pt x="322" y="502"/>
                    </a:lnTo>
                    <a:lnTo>
                      <a:pt x="320" y="526"/>
                    </a:lnTo>
                    <a:lnTo>
                      <a:pt x="318" y="538"/>
                    </a:lnTo>
                    <a:lnTo>
                      <a:pt x="314" y="548"/>
                    </a:lnTo>
                    <a:lnTo>
                      <a:pt x="308" y="556"/>
                    </a:lnTo>
                    <a:lnTo>
                      <a:pt x="300" y="564"/>
                    </a:lnTo>
                    <a:lnTo>
                      <a:pt x="292" y="570"/>
                    </a:lnTo>
                    <a:lnTo>
                      <a:pt x="280" y="576"/>
                    </a:lnTo>
                    <a:lnTo>
                      <a:pt x="220" y="602"/>
                    </a:lnTo>
                    <a:lnTo>
                      <a:pt x="200" y="610"/>
                    </a:lnTo>
                    <a:lnTo>
                      <a:pt x="190" y="614"/>
                    </a:lnTo>
                    <a:lnTo>
                      <a:pt x="178" y="618"/>
                    </a:lnTo>
                    <a:lnTo>
                      <a:pt x="160" y="628"/>
                    </a:lnTo>
                    <a:lnTo>
                      <a:pt x="150" y="634"/>
                    </a:lnTo>
                    <a:lnTo>
                      <a:pt x="128" y="652"/>
                    </a:lnTo>
                    <a:lnTo>
                      <a:pt x="110" y="670"/>
                    </a:lnTo>
                    <a:lnTo>
                      <a:pt x="104" y="678"/>
                    </a:lnTo>
                    <a:lnTo>
                      <a:pt x="86" y="696"/>
                    </a:lnTo>
                    <a:lnTo>
                      <a:pt x="70" y="710"/>
                    </a:lnTo>
                    <a:lnTo>
                      <a:pt x="66" y="716"/>
                    </a:lnTo>
                    <a:lnTo>
                      <a:pt x="60" y="724"/>
                    </a:lnTo>
                    <a:lnTo>
                      <a:pt x="58" y="732"/>
                    </a:lnTo>
                    <a:lnTo>
                      <a:pt x="56" y="740"/>
                    </a:lnTo>
                    <a:lnTo>
                      <a:pt x="56" y="786"/>
                    </a:lnTo>
                    <a:lnTo>
                      <a:pt x="56" y="802"/>
                    </a:lnTo>
                    <a:lnTo>
                      <a:pt x="58" y="858"/>
                    </a:lnTo>
                    <a:lnTo>
                      <a:pt x="70" y="958"/>
                    </a:lnTo>
                    <a:lnTo>
                      <a:pt x="70" y="986"/>
                    </a:lnTo>
                    <a:lnTo>
                      <a:pt x="68" y="1014"/>
                    </a:lnTo>
                    <a:lnTo>
                      <a:pt x="48" y="1116"/>
                    </a:lnTo>
                    <a:lnTo>
                      <a:pt x="38" y="1170"/>
                    </a:lnTo>
                    <a:lnTo>
                      <a:pt x="6" y="1344"/>
                    </a:lnTo>
                    <a:lnTo>
                      <a:pt x="2" y="1370"/>
                    </a:lnTo>
                    <a:lnTo>
                      <a:pt x="0" y="1396"/>
                    </a:lnTo>
                    <a:lnTo>
                      <a:pt x="0" y="1444"/>
                    </a:lnTo>
                    <a:lnTo>
                      <a:pt x="2" y="1470"/>
                    </a:lnTo>
                    <a:lnTo>
                      <a:pt x="8" y="1494"/>
                    </a:lnTo>
                    <a:lnTo>
                      <a:pt x="16" y="1518"/>
                    </a:lnTo>
                    <a:lnTo>
                      <a:pt x="28" y="1542"/>
                    </a:lnTo>
                    <a:lnTo>
                      <a:pt x="30" y="1542"/>
                    </a:lnTo>
                    <a:lnTo>
                      <a:pt x="60" y="1588"/>
                    </a:lnTo>
                    <a:lnTo>
                      <a:pt x="70" y="1602"/>
                    </a:lnTo>
                    <a:lnTo>
                      <a:pt x="76" y="1614"/>
                    </a:lnTo>
                    <a:lnTo>
                      <a:pt x="82" y="1626"/>
                    </a:lnTo>
                    <a:lnTo>
                      <a:pt x="88" y="1640"/>
                    </a:lnTo>
                    <a:lnTo>
                      <a:pt x="90" y="1652"/>
                    </a:lnTo>
                    <a:lnTo>
                      <a:pt x="92" y="1660"/>
                    </a:lnTo>
                    <a:lnTo>
                      <a:pt x="96" y="1688"/>
                    </a:lnTo>
                    <a:lnTo>
                      <a:pt x="98" y="1714"/>
                    </a:lnTo>
                    <a:lnTo>
                      <a:pt x="98" y="1804"/>
                    </a:lnTo>
                    <a:lnTo>
                      <a:pt x="100" y="1830"/>
                    </a:lnTo>
                    <a:lnTo>
                      <a:pt x="104" y="1858"/>
                    </a:lnTo>
                    <a:lnTo>
                      <a:pt x="120" y="1924"/>
                    </a:lnTo>
                    <a:lnTo>
                      <a:pt x="132" y="1978"/>
                    </a:lnTo>
                    <a:lnTo>
                      <a:pt x="136" y="1996"/>
                    </a:lnTo>
                    <a:lnTo>
                      <a:pt x="138" y="2022"/>
                    </a:lnTo>
                    <a:lnTo>
                      <a:pt x="140" y="2050"/>
                    </a:lnTo>
                    <a:lnTo>
                      <a:pt x="140" y="2056"/>
                    </a:lnTo>
                    <a:lnTo>
                      <a:pt x="140" y="2102"/>
                    </a:lnTo>
                    <a:lnTo>
                      <a:pt x="142" y="2124"/>
                    </a:lnTo>
                    <a:lnTo>
                      <a:pt x="144" y="2148"/>
                    </a:lnTo>
                    <a:lnTo>
                      <a:pt x="164" y="2262"/>
                    </a:lnTo>
                    <a:lnTo>
                      <a:pt x="172" y="2318"/>
                    </a:lnTo>
                    <a:lnTo>
                      <a:pt x="180" y="2418"/>
                    </a:lnTo>
                    <a:lnTo>
                      <a:pt x="184" y="2472"/>
                    </a:lnTo>
                    <a:lnTo>
                      <a:pt x="194" y="2660"/>
                    </a:lnTo>
                    <a:lnTo>
                      <a:pt x="198" y="2686"/>
                    </a:lnTo>
                    <a:lnTo>
                      <a:pt x="206" y="2712"/>
                    </a:lnTo>
                    <a:lnTo>
                      <a:pt x="254" y="2842"/>
                    </a:lnTo>
                    <a:lnTo>
                      <a:pt x="256" y="2854"/>
                    </a:lnTo>
                    <a:lnTo>
                      <a:pt x="258" y="2868"/>
                    </a:lnTo>
                    <a:lnTo>
                      <a:pt x="256" y="2880"/>
                    </a:lnTo>
                    <a:lnTo>
                      <a:pt x="254" y="2892"/>
                    </a:lnTo>
                    <a:lnTo>
                      <a:pt x="234" y="2938"/>
                    </a:lnTo>
                    <a:lnTo>
                      <a:pt x="222" y="2962"/>
                    </a:lnTo>
                    <a:lnTo>
                      <a:pt x="206" y="2984"/>
                    </a:lnTo>
                    <a:lnTo>
                      <a:pt x="200" y="2990"/>
                    </a:lnTo>
                    <a:lnTo>
                      <a:pt x="194" y="3000"/>
                    </a:lnTo>
                    <a:lnTo>
                      <a:pt x="188" y="3014"/>
                    </a:lnTo>
                    <a:lnTo>
                      <a:pt x="184" y="3026"/>
                    </a:lnTo>
                    <a:lnTo>
                      <a:pt x="182" y="3038"/>
                    </a:lnTo>
                    <a:lnTo>
                      <a:pt x="182" y="3094"/>
                    </a:lnTo>
                    <a:lnTo>
                      <a:pt x="184" y="3104"/>
                    </a:lnTo>
                    <a:lnTo>
                      <a:pt x="190" y="3114"/>
                    </a:lnTo>
                    <a:lnTo>
                      <a:pt x="200" y="3120"/>
                    </a:lnTo>
                    <a:lnTo>
                      <a:pt x="210" y="3124"/>
                    </a:lnTo>
                    <a:lnTo>
                      <a:pt x="252" y="3128"/>
                    </a:lnTo>
                    <a:lnTo>
                      <a:pt x="264" y="3128"/>
                    </a:lnTo>
                    <a:lnTo>
                      <a:pt x="278" y="3126"/>
                    </a:lnTo>
                    <a:lnTo>
                      <a:pt x="290" y="3120"/>
                    </a:lnTo>
                    <a:lnTo>
                      <a:pt x="300" y="3114"/>
                    </a:lnTo>
                    <a:lnTo>
                      <a:pt x="314" y="3102"/>
                    </a:lnTo>
                    <a:lnTo>
                      <a:pt x="348" y="3072"/>
                    </a:lnTo>
                    <a:lnTo>
                      <a:pt x="360" y="3060"/>
                    </a:lnTo>
                    <a:lnTo>
                      <a:pt x="368" y="3048"/>
                    </a:lnTo>
                    <a:lnTo>
                      <a:pt x="372" y="3042"/>
                    </a:lnTo>
                    <a:lnTo>
                      <a:pt x="374" y="3034"/>
                    </a:lnTo>
                    <a:lnTo>
                      <a:pt x="376" y="3018"/>
                    </a:lnTo>
                    <a:lnTo>
                      <a:pt x="378" y="3000"/>
                    </a:lnTo>
                    <a:lnTo>
                      <a:pt x="384" y="2982"/>
                    </a:lnTo>
                    <a:lnTo>
                      <a:pt x="390" y="2968"/>
                    </a:lnTo>
                    <a:lnTo>
                      <a:pt x="394" y="2964"/>
                    </a:lnTo>
                    <a:lnTo>
                      <a:pt x="396" y="2964"/>
                    </a:lnTo>
                    <a:lnTo>
                      <a:pt x="406" y="2958"/>
                    </a:lnTo>
                    <a:lnTo>
                      <a:pt x="424" y="2946"/>
                    </a:lnTo>
                    <a:lnTo>
                      <a:pt x="424" y="2944"/>
                    </a:lnTo>
                    <a:lnTo>
                      <a:pt x="432" y="2936"/>
                    </a:lnTo>
                    <a:lnTo>
                      <a:pt x="440" y="2926"/>
                    </a:lnTo>
                    <a:lnTo>
                      <a:pt x="448" y="2914"/>
                    </a:lnTo>
                    <a:lnTo>
                      <a:pt x="452" y="2902"/>
                    </a:lnTo>
                    <a:lnTo>
                      <a:pt x="454" y="2892"/>
                    </a:lnTo>
                    <a:lnTo>
                      <a:pt x="452" y="2878"/>
                    </a:lnTo>
                    <a:lnTo>
                      <a:pt x="450" y="2866"/>
                    </a:lnTo>
                    <a:lnTo>
                      <a:pt x="446" y="2854"/>
                    </a:lnTo>
                    <a:lnTo>
                      <a:pt x="442" y="2844"/>
                    </a:lnTo>
                    <a:lnTo>
                      <a:pt x="438" y="2832"/>
                    </a:lnTo>
                    <a:lnTo>
                      <a:pt x="434" y="2818"/>
                    </a:lnTo>
                    <a:lnTo>
                      <a:pt x="432" y="2804"/>
                    </a:lnTo>
                    <a:lnTo>
                      <a:pt x="432" y="2792"/>
                    </a:lnTo>
                    <a:lnTo>
                      <a:pt x="432" y="2762"/>
                    </a:lnTo>
                    <a:lnTo>
                      <a:pt x="432" y="2708"/>
                    </a:lnTo>
                    <a:lnTo>
                      <a:pt x="432" y="2700"/>
                    </a:lnTo>
                    <a:lnTo>
                      <a:pt x="430" y="2674"/>
                    </a:lnTo>
                    <a:lnTo>
                      <a:pt x="424" y="2646"/>
                    </a:lnTo>
                    <a:lnTo>
                      <a:pt x="410" y="2592"/>
                    </a:lnTo>
                    <a:lnTo>
                      <a:pt x="404" y="2566"/>
                    </a:lnTo>
                    <a:lnTo>
                      <a:pt x="402" y="2538"/>
                    </a:lnTo>
                    <a:lnTo>
                      <a:pt x="402" y="2472"/>
                    </a:lnTo>
                    <a:lnTo>
                      <a:pt x="400" y="2418"/>
                    </a:lnTo>
                    <a:lnTo>
                      <a:pt x="392" y="2304"/>
                    </a:lnTo>
                    <a:lnTo>
                      <a:pt x="392" y="2276"/>
                    </a:lnTo>
                    <a:lnTo>
                      <a:pt x="396" y="2250"/>
                    </a:lnTo>
                    <a:lnTo>
                      <a:pt x="412" y="2160"/>
                    </a:lnTo>
                    <a:lnTo>
                      <a:pt x="416" y="2132"/>
                    </a:lnTo>
                    <a:lnTo>
                      <a:pt x="418" y="2104"/>
                    </a:lnTo>
                    <a:lnTo>
                      <a:pt x="418" y="2038"/>
                    </a:lnTo>
                    <a:lnTo>
                      <a:pt x="418" y="1984"/>
                    </a:lnTo>
                    <a:lnTo>
                      <a:pt x="418" y="1980"/>
                    </a:lnTo>
                    <a:lnTo>
                      <a:pt x="420" y="1956"/>
                    </a:lnTo>
                    <a:lnTo>
                      <a:pt x="422" y="1946"/>
                    </a:lnTo>
                    <a:lnTo>
                      <a:pt x="426" y="1938"/>
                    </a:lnTo>
                    <a:lnTo>
                      <a:pt x="428" y="1936"/>
                    </a:lnTo>
                    <a:lnTo>
                      <a:pt x="432" y="1934"/>
                    </a:lnTo>
                    <a:lnTo>
                      <a:pt x="436" y="1936"/>
                    </a:lnTo>
                    <a:lnTo>
                      <a:pt x="438" y="1938"/>
                    </a:lnTo>
                    <a:lnTo>
                      <a:pt x="446" y="1956"/>
                    </a:lnTo>
                    <a:lnTo>
                      <a:pt x="454" y="1978"/>
                    </a:lnTo>
                    <a:lnTo>
                      <a:pt x="492" y="2094"/>
                    </a:lnTo>
                    <a:lnTo>
                      <a:pt x="506" y="2144"/>
                    </a:lnTo>
                    <a:lnTo>
                      <a:pt x="512" y="2166"/>
                    </a:lnTo>
                    <a:lnTo>
                      <a:pt x="514" y="2186"/>
                    </a:lnTo>
                    <a:lnTo>
                      <a:pt x="514" y="2216"/>
                    </a:lnTo>
                    <a:lnTo>
                      <a:pt x="514" y="2256"/>
                    </a:lnTo>
                    <a:lnTo>
                      <a:pt x="514" y="2564"/>
                    </a:lnTo>
                    <a:lnTo>
                      <a:pt x="514" y="2618"/>
                    </a:lnTo>
                    <a:lnTo>
                      <a:pt x="514" y="2730"/>
                    </a:lnTo>
                    <a:lnTo>
                      <a:pt x="514" y="2758"/>
                    </a:lnTo>
                    <a:lnTo>
                      <a:pt x="518" y="2784"/>
                    </a:lnTo>
                    <a:lnTo>
                      <a:pt x="538" y="2924"/>
                    </a:lnTo>
                    <a:lnTo>
                      <a:pt x="546" y="2978"/>
                    </a:lnTo>
                    <a:lnTo>
                      <a:pt x="550" y="3010"/>
                    </a:lnTo>
                    <a:lnTo>
                      <a:pt x="556" y="3032"/>
                    </a:lnTo>
                    <a:lnTo>
                      <a:pt x="562" y="3048"/>
                    </a:lnTo>
                    <a:lnTo>
                      <a:pt x="578" y="3072"/>
                    </a:lnTo>
                    <a:lnTo>
                      <a:pt x="580" y="3076"/>
                    </a:lnTo>
                    <a:lnTo>
                      <a:pt x="580" y="3082"/>
                    </a:lnTo>
                    <a:lnTo>
                      <a:pt x="580" y="3086"/>
                    </a:lnTo>
                    <a:lnTo>
                      <a:pt x="578" y="3090"/>
                    </a:lnTo>
                    <a:lnTo>
                      <a:pt x="574" y="3094"/>
                    </a:lnTo>
                    <a:lnTo>
                      <a:pt x="572" y="3100"/>
                    </a:lnTo>
                    <a:lnTo>
                      <a:pt x="570" y="3114"/>
                    </a:lnTo>
                    <a:lnTo>
                      <a:pt x="570" y="3144"/>
                    </a:lnTo>
                    <a:lnTo>
                      <a:pt x="570" y="3168"/>
                    </a:lnTo>
                    <a:lnTo>
                      <a:pt x="572" y="3174"/>
                    </a:lnTo>
                    <a:lnTo>
                      <a:pt x="576" y="3182"/>
                    </a:lnTo>
                    <a:lnTo>
                      <a:pt x="588" y="3202"/>
                    </a:lnTo>
                    <a:lnTo>
                      <a:pt x="592" y="3206"/>
                    </a:lnTo>
                    <a:lnTo>
                      <a:pt x="600" y="3214"/>
                    </a:lnTo>
                    <a:lnTo>
                      <a:pt x="610" y="3222"/>
                    </a:lnTo>
                    <a:lnTo>
                      <a:pt x="618" y="3226"/>
                    </a:lnTo>
                    <a:lnTo>
                      <a:pt x="624" y="3228"/>
                    </a:lnTo>
                    <a:lnTo>
                      <a:pt x="630" y="3230"/>
                    </a:lnTo>
                    <a:lnTo>
                      <a:pt x="634" y="3236"/>
                    </a:lnTo>
                    <a:lnTo>
                      <a:pt x="638" y="3244"/>
                    </a:lnTo>
                    <a:lnTo>
                      <a:pt x="638" y="3256"/>
                    </a:lnTo>
                    <a:lnTo>
                      <a:pt x="638" y="3262"/>
                    </a:lnTo>
                    <a:lnTo>
                      <a:pt x="638" y="3308"/>
                    </a:lnTo>
                    <a:lnTo>
                      <a:pt x="640" y="3324"/>
                    </a:lnTo>
                    <a:lnTo>
                      <a:pt x="646" y="3338"/>
                    </a:lnTo>
                    <a:lnTo>
                      <a:pt x="666" y="3368"/>
                    </a:lnTo>
                    <a:lnTo>
                      <a:pt x="682" y="3386"/>
                    </a:lnTo>
                    <a:lnTo>
                      <a:pt x="702" y="3404"/>
                    </a:lnTo>
                    <a:lnTo>
                      <a:pt x="716" y="3416"/>
                    </a:lnTo>
                    <a:lnTo>
                      <a:pt x="742" y="3440"/>
                    </a:lnTo>
                    <a:lnTo>
                      <a:pt x="748" y="3442"/>
                    </a:lnTo>
                    <a:lnTo>
                      <a:pt x="756" y="3442"/>
                    </a:lnTo>
                    <a:lnTo>
                      <a:pt x="776" y="3442"/>
                    </a:lnTo>
                    <a:lnTo>
                      <a:pt x="848" y="3436"/>
                    </a:lnTo>
                    <a:lnTo>
                      <a:pt x="858" y="3434"/>
                    </a:lnTo>
                    <a:lnTo>
                      <a:pt x="868" y="3426"/>
                    </a:lnTo>
                    <a:lnTo>
                      <a:pt x="874" y="3418"/>
                    </a:lnTo>
                    <a:lnTo>
                      <a:pt x="876" y="3406"/>
                    </a:lnTo>
                    <a:lnTo>
                      <a:pt x="876" y="3354"/>
                    </a:lnTo>
                    <a:lnTo>
                      <a:pt x="874" y="3342"/>
                    </a:lnTo>
                    <a:lnTo>
                      <a:pt x="872" y="3328"/>
                    </a:lnTo>
                    <a:lnTo>
                      <a:pt x="866" y="3318"/>
                    </a:lnTo>
                    <a:lnTo>
                      <a:pt x="862" y="3308"/>
                    </a:lnTo>
                    <a:lnTo>
                      <a:pt x="848" y="3288"/>
                    </a:lnTo>
                    <a:lnTo>
                      <a:pt x="836" y="3264"/>
                    </a:lnTo>
                    <a:lnTo>
                      <a:pt x="802" y="3194"/>
                    </a:lnTo>
                    <a:lnTo>
                      <a:pt x="792" y="3170"/>
                    </a:lnTo>
                    <a:lnTo>
                      <a:pt x="784" y="3144"/>
                    </a:lnTo>
                    <a:lnTo>
                      <a:pt x="782" y="3134"/>
                    </a:lnTo>
                    <a:lnTo>
                      <a:pt x="782" y="3120"/>
                    </a:lnTo>
                    <a:lnTo>
                      <a:pt x="782" y="3106"/>
                    </a:lnTo>
                    <a:lnTo>
                      <a:pt x="782" y="3094"/>
                    </a:lnTo>
                    <a:lnTo>
                      <a:pt x="788" y="3064"/>
                    </a:lnTo>
                    <a:lnTo>
                      <a:pt x="790" y="3036"/>
                    </a:lnTo>
                    <a:lnTo>
                      <a:pt x="792" y="3010"/>
                    </a:lnTo>
                    <a:lnTo>
                      <a:pt x="792" y="2932"/>
                    </a:lnTo>
                    <a:lnTo>
                      <a:pt x="792" y="2904"/>
                    </a:lnTo>
                    <a:lnTo>
                      <a:pt x="796" y="2876"/>
                    </a:lnTo>
                    <a:lnTo>
                      <a:pt x="816" y="2750"/>
                    </a:lnTo>
                    <a:lnTo>
                      <a:pt x="818" y="2724"/>
                    </a:lnTo>
                    <a:lnTo>
                      <a:pt x="816" y="2696"/>
                    </a:lnTo>
                    <a:lnTo>
                      <a:pt x="796" y="2594"/>
                    </a:lnTo>
                    <a:lnTo>
                      <a:pt x="792" y="2566"/>
                    </a:lnTo>
                    <a:lnTo>
                      <a:pt x="792" y="2538"/>
                    </a:lnTo>
                    <a:lnTo>
                      <a:pt x="792" y="2462"/>
                    </a:lnTo>
                    <a:lnTo>
                      <a:pt x="790" y="2406"/>
                    </a:lnTo>
                    <a:lnTo>
                      <a:pt x="780" y="2280"/>
                    </a:lnTo>
                    <a:lnTo>
                      <a:pt x="780" y="2254"/>
                    </a:lnTo>
                    <a:lnTo>
                      <a:pt x="782" y="2226"/>
                    </a:lnTo>
                    <a:lnTo>
                      <a:pt x="788" y="2196"/>
                    </a:lnTo>
                    <a:lnTo>
                      <a:pt x="794" y="2142"/>
                    </a:lnTo>
                    <a:lnTo>
                      <a:pt x="800" y="2086"/>
                    </a:lnTo>
                    <a:lnTo>
                      <a:pt x="804" y="2060"/>
                    </a:lnTo>
                    <a:lnTo>
                      <a:pt x="804" y="2032"/>
                    </a:lnTo>
                    <a:lnTo>
                      <a:pt x="804" y="1894"/>
                    </a:lnTo>
                    <a:lnTo>
                      <a:pt x="804" y="1868"/>
                    </a:lnTo>
                    <a:lnTo>
                      <a:pt x="800" y="1840"/>
                    </a:lnTo>
                    <a:lnTo>
                      <a:pt x="794" y="1784"/>
                    </a:lnTo>
                    <a:lnTo>
                      <a:pt x="790" y="1758"/>
                    </a:lnTo>
                    <a:lnTo>
                      <a:pt x="782" y="1732"/>
                    </a:lnTo>
                    <a:lnTo>
                      <a:pt x="772" y="1700"/>
                    </a:lnTo>
                    <a:lnTo>
                      <a:pt x="764" y="1678"/>
                    </a:lnTo>
                    <a:lnTo>
                      <a:pt x="762" y="1662"/>
                    </a:lnTo>
                    <a:lnTo>
                      <a:pt x="764" y="1656"/>
                    </a:lnTo>
                    <a:lnTo>
                      <a:pt x="766" y="1650"/>
                    </a:lnTo>
                    <a:lnTo>
                      <a:pt x="772" y="1644"/>
                    </a:lnTo>
                    <a:lnTo>
                      <a:pt x="776" y="1638"/>
                    </a:lnTo>
                    <a:lnTo>
                      <a:pt x="784" y="1634"/>
                    </a:lnTo>
                    <a:lnTo>
                      <a:pt x="792" y="1630"/>
                    </a:lnTo>
                    <a:lnTo>
                      <a:pt x="800" y="1630"/>
                    </a:lnTo>
                    <a:lnTo>
                      <a:pt x="806" y="1632"/>
                    </a:lnTo>
                    <a:lnTo>
                      <a:pt x="812" y="1634"/>
                    </a:lnTo>
                    <a:lnTo>
                      <a:pt x="818" y="1634"/>
                    </a:lnTo>
                    <a:lnTo>
                      <a:pt x="822" y="1630"/>
                    </a:lnTo>
                    <a:lnTo>
                      <a:pt x="826" y="1626"/>
                    </a:lnTo>
                    <a:lnTo>
                      <a:pt x="836" y="1614"/>
                    </a:lnTo>
                    <a:lnTo>
                      <a:pt x="846" y="1602"/>
                    </a:lnTo>
                    <a:lnTo>
                      <a:pt x="852" y="1598"/>
                    </a:lnTo>
                    <a:lnTo>
                      <a:pt x="860" y="1600"/>
                    </a:lnTo>
                    <a:lnTo>
                      <a:pt x="868" y="1604"/>
                    </a:lnTo>
                    <a:lnTo>
                      <a:pt x="874" y="1612"/>
                    </a:lnTo>
                    <a:lnTo>
                      <a:pt x="902" y="1650"/>
                    </a:lnTo>
                    <a:lnTo>
                      <a:pt x="914" y="1666"/>
                    </a:lnTo>
                    <a:lnTo>
                      <a:pt x="920" y="1672"/>
                    </a:lnTo>
                    <a:lnTo>
                      <a:pt x="924" y="1674"/>
                    </a:lnTo>
                    <a:lnTo>
                      <a:pt x="926" y="1674"/>
                    </a:lnTo>
                    <a:lnTo>
                      <a:pt x="930" y="1678"/>
                    </a:lnTo>
                    <a:lnTo>
                      <a:pt x="936" y="1692"/>
                    </a:lnTo>
                    <a:lnTo>
                      <a:pt x="942" y="1712"/>
                    </a:lnTo>
                    <a:lnTo>
                      <a:pt x="944" y="1738"/>
                    </a:lnTo>
                    <a:lnTo>
                      <a:pt x="944" y="1744"/>
                    </a:lnTo>
                    <a:lnTo>
                      <a:pt x="944" y="1798"/>
                    </a:lnTo>
                    <a:lnTo>
                      <a:pt x="944" y="2068"/>
                    </a:lnTo>
                    <a:lnTo>
                      <a:pt x="940" y="2096"/>
                    </a:lnTo>
                    <a:lnTo>
                      <a:pt x="936" y="2122"/>
                    </a:lnTo>
                    <a:lnTo>
                      <a:pt x="926" y="2154"/>
                    </a:lnTo>
                    <a:lnTo>
                      <a:pt x="918" y="2180"/>
                    </a:lnTo>
                    <a:lnTo>
                      <a:pt x="912" y="2208"/>
                    </a:lnTo>
                    <a:lnTo>
                      <a:pt x="906" y="2238"/>
                    </a:lnTo>
                    <a:lnTo>
                      <a:pt x="902" y="2264"/>
                    </a:lnTo>
                    <a:lnTo>
                      <a:pt x="902" y="2292"/>
                    </a:lnTo>
                    <a:lnTo>
                      <a:pt x="902" y="2358"/>
                    </a:lnTo>
                    <a:lnTo>
                      <a:pt x="898" y="2386"/>
                    </a:lnTo>
                    <a:lnTo>
                      <a:pt x="892" y="2412"/>
                    </a:lnTo>
                    <a:lnTo>
                      <a:pt x="868" y="2480"/>
                    </a:lnTo>
                    <a:lnTo>
                      <a:pt x="862" y="2506"/>
                    </a:lnTo>
                    <a:lnTo>
                      <a:pt x="856" y="2534"/>
                    </a:lnTo>
                    <a:lnTo>
                      <a:pt x="850" y="2576"/>
                    </a:lnTo>
                    <a:lnTo>
                      <a:pt x="844" y="2630"/>
                    </a:lnTo>
                    <a:lnTo>
                      <a:pt x="836" y="2720"/>
                    </a:lnTo>
                    <a:lnTo>
                      <a:pt x="836" y="2732"/>
                    </a:lnTo>
                    <a:lnTo>
                      <a:pt x="838" y="2744"/>
                    </a:lnTo>
                    <a:lnTo>
                      <a:pt x="842" y="2756"/>
                    </a:lnTo>
                    <a:lnTo>
                      <a:pt x="846" y="2764"/>
                    </a:lnTo>
                    <a:lnTo>
                      <a:pt x="850" y="2774"/>
                    </a:lnTo>
                    <a:lnTo>
                      <a:pt x="852" y="2782"/>
                    </a:lnTo>
                    <a:lnTo>
                      <a:pt x="850" y="2792"/>
                    </a:lnTo>
                    <a:lnTo>
                      <a:pt x="846" y="2802"/>
                    </a:lnTo>
                    <a:lnTo>
                      <a:pt x="842" y="2810"/>
                    </a:lnTo>
                    <a:lnTo>
                      <a:pt x="842" y="2820"/>
                    </a:lnTo>
                    <a:lnTo>
                      <a:pt x="846" y="2830"/>
                    </a:lnTo>
                    <a:lnTo>
                      <a:pt x="852" y="2840"/>
                    </a:lnTo>
                    <a:lnTo>
                      <a:pt x="858" y="2846"/>
                    </a:lnTo>
                    <a:lnTo>
                      <a:pt x="864" y="2856"/>
                    </a:lnTo>
                    <a:lnTo>
                      <a:pt x="870" y="2870"/>
                    </a:lnTo>
                    <a:lnTo>
                      <a:pt x="874" y="2882"/>
                    </a:lnTo>
                    <a:lnTo>
                      <a:pt x="876" y="2894"/>
                    </a:lnTo>
                    <a:lnTo>
                      <a:pt x="876" y="3020"/>
                    </a:lnTo>
                    <a:lnTo>
                      <a:pt x="876" y="3054"/>
                    </a:lnTo>
                    <a:lnTo>
                      <a:pt x="878" y="3062"/>
                    </a:lnTo>
                    <a:lnTo>
                      <a:pt x="882" y="3072"/>
                    </a:lnTo>
                    <a:lnTo>
                      <a:pt x="892" y="3086"/>
                    </a:lnTo>
                    <a:lnTo>
                      <a:pt x="910" y="3102"/>
                    </a:lnTo>
                    <a:lnTo>
                      <a:pt x="920" y="3110"/>
                    </a:lnTo>
                    <a:lnTo>
                      <a:pt x="928" y="3116"/>
                    </a:lnTo>
                    <a:lnTo>
                      <a:pt x="936" y="3120"/>
                    </a:lnTo>
                    <a:lnTo>
                      <a:pt x="944" y="3120"/>
                    </a:lnTo>
                    <a:lnTo>
                      <a:pt x="978" y="3120"/>
                    </a:lnTo>
                    <a:lnTo>
                      <a:pt x="1014" y="3120"/>
                    </a:lnTo>
                    <a:lnTo>
                      <a:pt x="1028" y="3120"/>
                    </a:lnTo>
                    <a:lnTo>
                      <a:pt x="1040" y="3116"/>
                    </a:lnTo>
                    <a:lnTo>
                      <a:pt x="1046" y="3110"/>
                    </a:lnTo>
                    <a:lnTo>
                      <a:pt x="1052" y="3104"/>
                    </a:lnTo>
                    <a:lnTo>
                      <a:pt x="1058" y="3094"/>
                    </a:lnTo>
                    <a:lnTo>
                      <a:pt x="1062" y="3084"/>
                    </a:lnTo>
                    <a:lnTo>
                      <a:pt x="1068" y="3060"/>
                    </a:lnTo>
                    <a:lnTo>
                      <a:pt x="1070" y="3036"/>
                    </a:lnTo>
                    <a:lnTo>
                      <a:pt x="1068" y="3024"/>
                    </a:lnTo>
                    <a:lnTo>
                      <a:pt x="1066" y="3012"/>
                    </a:lnTo>
                    <a:lnTo>
                      <a:pt x="1062" y="2998"/>
                    </a:lnTo>
                    <a:lnTo>
                      <a:pt x="1058" y="2986"/>
                    </a:lnTo>
                    <a:lnTo>
                      <a:pt x="1052" y="2976"/>
                    </a:lnTo>
                    <a:lnTo>
                      <a:pt x="1028" y="2926"/>
                    </a:lnTo>
                    <a:lnTo>
                      <a:pt x="1024" y="2914"/>
                    </a:lnTo>
                    <a:lnTo>
                      <a:pt x="1020" y="2904"/>
                    </a:lnTo>
                    <a:lnTo>
                      <a:pt x="1020" y="2890"/>
                    </a:lnTo>
                    <a:lnTo>
                      <a:pt x="1022" y="2878"/>
                    </a:lnTo>
                    <a:lnTo>
                      <a:pt x="1028" y="2868"/>
                    </a:lnTo>
                    <a:lnTo>
                      <a:pt x="1038" y="2854"/>
                    </a:lnTo>
                    <a:lnTo>
                      <a:pt x="1044" y="2842"/>
                    </a:lnTo>
                    <a:lnTo>
                      <a:pt x="1050" y="2830"/>
                    </a:lnTo>
                    <a:lnTo>
                      <a:pt x="1052" y="2818"/>
                    </a:lnTo>
                    <a:lnTo>
                      <a:pt x="1054" y="2806"/>
                    </a:lnTo>
                    <a:lnTo>
                      <a:pt x="1054" y="2796"/>
                    </a:lnTo>
                    <a:lnTo>
                      <a:pt x="1058" y="2782"/>
                    </a:lnTo>
                    <a:lnTo>
                      <a:pt x="1062" y="2770"/>
                    </a:lnTo>
                    <a:lnTo>
                      <a:pt x="1066" y="2758"/>
                    </a:lnTo>
                    <a:lnTo>
                      <a:pt x="1084" y="2724"/>
                    </a:lnTo>
                    <a:lnTo>
                      <a:pt x="1094" y="2698"/>
                    </a:lnTo>
                    <a:lnTo>
                      <a:pt x="1102" y="2672"/>
                    </a:lnTo>
                    <a:lnTo>
                      <a:pt x="1144" y="2520"/>
                    </a:lnTo>
                    <a:lnTo>
                      <a:pt x="1156" y="2466"/>
                    </a:lnTo>
                    <a:lnTo>
                      <a:pt x="1188" y="2266"/>
                    </a:lnTo>
                    <a:lnTo>
                      <a:pt x="1200" y="2214"/>
                    </a:lnTo>
                    <a:lnTo>
                      <a:pt x="1228" y="2110"/>
                    </a:lnTo>
                    <a:lnTo>
                      <a:pt x="1240" y="2058"/>
                    </a:lnTo>
                    <a:lnTo>
                      <a:pt x="1256" y="1990"/>
                    </a:lnTo>
                    <a:lnTo>
                      <a:pt x="1258" y="1980"/>
                    </a:lnTo>
                    <a:lnTo>
                      <a:pt x="1262" y="1974"/>
                    </a:lnTo>
                    <a:lnTo>
                      <a:pt x="1266" y="1972"/>
                    </a:lnTo>
                    <a:lnTo>
                      <a:pt x="1268" y="1976"/>
                    </a:lnTo>
                    <a:lnTo>
                      <a:pt x="1272" y="1982"/>
                    </a:lnTo>
                    <a:lnTo>
                      <a:pt x="1274" y="1992"/>
                    </a:lnTo>
                    <a:lnTo>
                      <a:pt x="1276" y="2016"/>
                    </a:lnTo>
                    <a:lnTo>
                      <a:pt x="1276" y="2080"/>
                    </a:lnTo>
                    <a:lnTo>
                      <a:pt x="1278" y="2106"/>
                    </a:lnTo>
                    <a:lnTo>
                      <a:pt x="1282" y="2134"/>
                    </a:lnTo>
                    <a:lnTo>
                      <a:pt x="1284" y="2142"/>
                    </a:lnTo>
                    <a:lnTo>
                      <a:pt x="1286" y="2154"/>
                    </a:lnTo>
                    <a:lnTo>
                      <a:pt x="1286" y="2168"/>
                    </a:lnTo>
                    <a:lnTo>
                      <a:pt x="1282" y="2182"/>
                    </a:lnTo>
                    <a:lnTo>
                      <a:pt x="1278" y="2194"/>
                    </a:lnTo>
                    <a:lnTo>
                      <a:pt x="1274" y="2204"/>
                    </a:lnTo>
                    <a:lnTo>
                      <a:pt x="1268" y="2216"/>
                    </a:lnTo>
                    <a:lnTo>
                      <a:pt x="1264" y="2228"/>
                    </a:lnTo>
                    <a:lnTo>
                      <a:pt x="1262" y="2242"/>
                    </a:lnTo>
                    <a:lnTo>
                      <a:pt x="1262" y="2256"/>
                    </a:lnTo>
                    <a:lnTo>
                      <a:pt x="1262" y="2262"/>
                    </a:lnTo>
                    <a:lnTo>
                      <a:pt x="1262" y="2318"/>
                    </a:lnTo>
                    <a:lnTo>
                      <a:pt x="1262" y="2358"/>
                    </a:lnTo>
                    <a:lnTo>
                      <a:pt x="1258" y="2414"/>
                    </a:lnTo>
                    <a:lnTo>
                      <a:pt x="1252" y="2480"/>
                    </a:lnTo>
                    <a:lnTo>
                      <a:pt x="1246" y="2534"/>
                    </a:lnTo>
                    <a:lnTo>
                      <a:pt x="1238" y="2598"/>
                    </a:lnTo>
                    <a:lnTo>
                      <a:pt x="1234" y="2620"/>
                    </a:lnTo>
                    <a:lnTo>
                      <a:pt x="1228" y="2638"/>
                    </a:lnTo>
                    <a:lnTo>
                      <a:pt x="1222" y="2654"/>
                    </a:lnTo>
                    <a:lnTo>
                      <a:pt x="1214" y="2678"/>
                    </a:lnTo>
                    <a:lnTo>
                      <a:pt x="1212" y="2682"/>
                    </a:lnTo>
                    <a:lnTo>
                      <a:pt x="1212" y="2696"/>
                    </a:lnTo>
                    <a:lnTo>
                      <a:pt x="1212" y="2708"/>
                    </a:lnTo>
                    <a:lnTo>
                      <a:pt x="1216" y="2722"/>
                    </a:lnTo>
                    <a:lnTo>
                      <a:pt x="1220" y="2734"/>
                    </a:lnTo>
                    <a:lnTo>
                      <a:pt x="1226" y="2746"/>
                    </a:lnTo>
                    <a:lnTo>
                      <a:pt x="1230" y="2758"/>
                    </a:lnTo>
                    <a:lnTo>
                      <a:pt x="1234" y="2772"/>
                    </a:lnTo>
                    <a:lnTo>
                      <a:pt x="1234" y="2786"/>
                    </a:lnTo>
                    <a:lnTo>
                      <a:pt x="1234" y="2816"/>
                    </a:lnTo>
                    <a:lnTo>
                      <a:pt x="1236" y="2826"/>
                    </a:lnTo>
                    <a:lnTo>
                      <a:pt x="1242" y="2838"/>
                    </a:lnTo>
                    <a:lnTo>
                      <a:pt x="1250" y="2848"/>
                    </a:lnTo>
                    <a:lnTo>
                      <a:pt x="1260" y="2854"/>
                    </a:lnTo>
                    <a:lnTo>
                      <a:pt x="1266" y="2856"/>
                    </a:lnTo>
                    <a:lnTo>
                      <a:pt x="1284" y="2864"/>
                    </a:lnTo>
                    <a:lnTo>
                      <a:pt x="1296" y="2868"/>
                    </a:lnTo>
                    <a:lnTo>
                      <a:pt x="1300" y="2870"/>
                    </a:lnTo>
                    <a:lnTo>
                      <a:pt x="1306" y="2874"/>
                    </a:lnTo>
                    <a:lnTo>
                      <a:pt x="1318" y="2890"/>
                    </a:lnTo>
                    <a:lnTo>
                      <a:pt x="1330" y="2904"/>
                    </a:lnTo>
                    <a:lnTo>
                      <a:pt x="1344" y="2924"/>
                    </a:lnTo>
                    <a:lnTo>
                      <a:pt x="1360" y="2940"/>
                    </a:lnTo>
                    <a:lnTo>
                      <a:pt x="1374" y="2950"/>
                    </a:lnTo>
                    <a:lnTo>
                      <a:pt x="1388" y="2958"/>
                    </a:lnTo>
                    <a:lnTo>
                      <a:pt x="1414" y="2970"/>
                    </a:lnTo>
                    <a:lnTo>
                      <a:pt x="1456" y="2982"/>
                    </a:lnTo>
                    <a:lnTo>
                      <a:pt x="1458" y="2982"/>
                    </a:lnTo>
                    <a:lnTo>
                      <a:pt x="1470" y="2984"/>
                    </a:lnTo>
                    <a:lnTo>
                      <a:pt x="1484" y="2984"/>
                    </a:lnTo>
                    <a:lnTo>
                      <a:pt x="1498" y="2982"/>
                    </a:lnTo>
                    <a:lnTo>
                      <a:pt x="1510" y="2980"/>
                    </a:lnTo>
                    <a:lnTo>
                      <a:pt x="1526" y="2972"/>
                    </a:lnTo>
                    <a:lnTo>
                      <a:pt x="1538" y="2968"/>
                    </a:lnTo>
                    <a:lnTo>
                      <a:pt x="1548" y="2960"/>
                    </a:lnTo>
                    <a:lnTo>
                      <a:pt x="1556" y="2952"/>
                    </a:lnTo>
                    <a:lnTo>
                      <a:pt x="1560" y="2946"/>
                    </a:lnTo>
                    <a:lnTo>
                      <a:pt x="1562" y="2936"/>
                    </a:lnTo>
                    <a:lnTo>
                      <a:pt x="1560" y="2926"/>
                    </a:lnTo>
                    <a:lnTo>
                      <a:pt x="1556" y="2918"/>
                    </a:lnTo>
                    <a:lnTo>
                      <a:pt x="1548" y="2908"/>
                    </a:lnTo>
                    <a:lnTo>
                      <a:pt x="1534" y="2896"/>
                    </a:lnTo>
                    <a:lnTo>
                      <a:pt x="1494" y="2860"/>
                    </a:lnTo>
                    <a:lnTo>
                      <a:pt x="1474" y="2840"/>
                    </a:lnTo>
                    <a:lnTo>
                      <a:pt x="1458" y="2818"/>
                    </a:lnTo>
                    <a:lnTo>
                      <a:pt x="1442" y="2796"/>
                    </a:lnTo>
                    <a:lnTo>
                      <a:pt x="1438" y="2784"/>
                    </a:lnTo>
                    <a:lnTo>
                      <a:pt x="1434" y="2770"/>
                    </a:lnTo>
                    <a:lnTo>
                      <a:pt x="1430" y="2756"/>
                    </a:lnTo>
                    <a:lnTo>
                      <a:pt x="1430" y="2744"/>
                    </a:lnTo>
                    <a:lnTo>
                      <a:pt x="1430" y="2738"/>
                    </a:lnTo>
                    <a:lnTo>
                      <a:pt x="1432" y="2726"/>
                    </a:lnTo>
                    <a:lnTo>
                      <a:pt x="1436" y="2714"/>
                    </a:lnTo>
                    <a:lnTo>
                      <a:pt x="1442" y="2704"/>
                    </a:lnTo>
                    <a:lnTo>
                      <a:pt x="1450" y="2698"/>
                    </a:lnTo>
                    <a:lnTo>
                      <a:pt x="1458" y="2692"/>
                    </a:lnTo>
                    <a:lnTo>
                      <a:pt x="1466" y="2684"/>
                    </a:lnTo>
                    <a:lnTo>
                      <a:pt x="1470" y="2676"/>
                    </a:lnTo>
                    <a:lnTo>
                      <a:pt x="1472" y="2668"/>
                    </a:lnTo>
                    <a:lnTo>
                      <a:pt x="1474" y="2624"/>
                    </a:lnTo>
                    <a:lnTo>
                      <a:pt x="1480" y="2568"/>
                    </a:lnTo>
                    <a:lnTo>
                      <a:pt x="1486" y="2542"/>
                    </a:lnTo>
                    <a:lnTo>
                      <a:pt x="1492" y="2514"/>
                    </a:lnTo>
                    <a:lnTo>
                      <a:pt x="1506" y="2472"/>
                    </a:lnTo>
                    <a:lnTo>
                      <a:pt x="1512" y="2444"/>
                    </a:lnTo>
                    <a:lnTo>
                      <a:pt x="1516" y="2418"/>
                    </a:lnTo>
                    <a:lnTo>
                      <a:pt x="1524" y="2328"/>
                    </a:lnTo>
                    <a:lnTo>
                      <a:pt x="1528" y="2302"/>
                    </a:lnTo>
                    <a:lnTo>
                      <a:pt x="1536" y="2274"/>
                    </a:lnTo>
                    <a:lnTo>
                      <a:pt x="1572" y="2158"/>
                    </a:lnTo>
                    <a:lnTo>
                      <a:pt x="1588" y="2106"/>
                    </a:lnTo>
                    <a:lnTo>
                      <a:pt x="1616" y="1978"/>
                    </a:lnTo>
                    <a:lnTo>
                      <a:pt x="1630" y="1924"/>
                    </a:lnTo>
                    <a:lnTo>
                      <a:pt x="1660" y="1810"/>
                    </a:lnTo>
                    <a:lnTo>
                      <a:pt x="1664" y="1784"/>
                    </a:lnTo>
                    <a:lnTo>
                      <a:pt x="1666" y="1758"/>
                    </a:lnTo>
                    <a:lnTo>
                      <a:pt x="1668" y="1748"/>
                    </a:lnTo>
                    <a:lnTo>
                      <a:pt x="1672" y="1736"/>
                    </a:lnTo>
                    <a:lnTo>
                      <a:pt x="1678" y="1724"/>
                    </a:lnTo>
                    <a:lnTo>
                      <a:pt x="1684" y="1716"/>
                    </a:lnTo>
                    <a:lnTo>
                      <a:pt x="1728" y="1670"/>
                    </a:lnTo>
                    <a:lnTo>
                      <a:pt x="1734" y="1660"/>
                    </a:lnTo>
                    <a:lnTo>
                      <a:pt x="1740" y="1648"/>
                    </a:lnTo>
                    <a:lnTo>
                      <a:pt x="1744" y="1636"/>
                    </a:lnTo>
                    <a:lnTo>
                      <a:pt x="1746" y="1624"/>
                    </a:lnTo>
                    <a:lnTo>
                      <a:pt x="1746" y="1582"/>
                    </a:lnTo>
                    <a:lnTo>
                      <a:pt x="1746" y="1528"/>
                    </a:lnTo>
                    <a:lnTo>
                      <a:pt x="1746" y="1446"/>
                    </a:lnTo>
                    <a:close/>
                    <a:moveTo>
                      <a:pt x="190" y="614"/>
                    </a:moveTo>
                    <a:lnTo>
                      <a:pt x="190" y="614"/>
                    </a:lnTo>
                    <a:lnTo>
                      <a:pt x="186" y="614"/>
                    </a:lnTo>
                    <a:lnTo>
                      <a:pt x="190" y="614"/>
                    </a:lnTo>
                    <a:lnTo>
                      <a:pt x="192" y="614"/>
                    </a:lnTo>
                    <a:lnTo>
                      <a:pt x="190"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42" name="Tåre 105"/>
            <p:cNvSpPr/>
            <p:nvPr/>
          </p:nvSpPr>
          <p:spPr bwMode="auto">
            <a:xfrm rot="8100000">
              <a:off x="4036958" y="1703773"/>
              <a:ext cx="1098326" cy="1103903"/>
            </a:xfrm>
            <a:prstGeom prst="teardrop">
              <a:avLst/>
            </a:prstGeom>
            <a:gradFill flip="none" rotWithShape="1">
              <a:gsLst>
                <a:gs pos="0">
                  <a:schemeClr val="bg2"/>
                </a:gs>
                <a:gs pos="86000">
                  <a:srgbClr val="F0B71F"/>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a:solidFill>
                  <a:srgbClr val="FFFFFF"/>
                </a:solidFill>
                <a:latin typeface="Calibri" charset="0"/>
                <a:ea typeface="ＭＳ Ｐゴシック" charset="-128"/>
                <a:cs typeface="ＭＳ Ｐゴシック" charset="-128"/>
              </a:endParaRPr>
            </a:p>
          </p:txBody>
        </p:sp>
        <p:sp>
          <p:nvSpPr>
            <p:cNvPr id="43" name="Tåre 106"/>
            <p:cNvSpPr/>
            <p:nvPr/>
          </p:nvSpPr>
          <p:spPr bwMode="auto">
            <a:xfrm rot="8100000">
              <a:off x="4106230" y="1861514"/>
              <a:ext cx="958565" cy="963432"/>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44" name="Måne 107"/>
            <p:cNvSpPr/>
            <p:nvPr/>
          </p:nvSpPr>
          <p:spPr bwMode="auto">
            <a:xfrm rot="5245033">
              <a:off x="4394713" y="1439951"/>
              <a:ext cx="382819" cy="949338"/>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grpSp>
          <p:nvGrpSpPr>
            <p:cNvPr id="21543" name="Gruppe 46"/>
            <p:cNvGrpSpPr>
              <a:grpSpLocks/>
            </p:cNvGrpSpPr>
            <p:nvPr/>
          </p:nvGrpSpPr>
          <p:grpSpPr bwMode="auto">
            <a:xfrm>
              <a:off x="4260850" y="2005013"/>
              <a:ext cx="747713" cy="555625"/>
              <a:chOff x="4821610" y="587829"/>
              <a:chExt cx="2393544" cy="1781593"/>
            </a:xfrm>
          </p:grpSpPr>
          <p:sp>
            <p:nvSpPr>
              <p:cNvPr id="21554" name="Freeform 528"/>
              <p:cNvSpPr>
                <a:spLocks/>
              </p:cNvSpPr>
              <p:nvPr/>
            </p:nvSpPr>
            <p:spPr bwMode="auto">
              <a:xfrm>
                <a:off x="4821610" y="587829"/>
                <a:ext cx="2393544" cy="1781593"/>
              </a:xfrm>
              <a:custGeom>
                <a:avLst/>
                <a:gdLst>
                  <a:gd name="T0" fmla="*/ 2147483647 w 794"/>
                  <a:gd name="T1" fmla="*/ 2147483647 h 591"/>
                  <a:gd name="T2" fmla="*/ 2147483647 w 794"/>
                  <a:gd name="T3" fmla="*/ 2147483647 h 591"/>
                  <a:gd name="T4" fmla="*/ 2147483647 w 794"/>
                  <a:gd name="T5" fmla="*/ 2147483647 h 591"/>
                  <a:gd name="T6" fmla="*/ 2147483647 w 794"/>
                  <a:gd name="T7" fmla="*/ 2147483647 h 591"/>
                  <a:gd name="T8" fmla="*/ 2147483647 w 794"/>
                  <a:gd name="T9" fmla="*/ 2147483647 h 591"/>
                  <a:gd name="T10" fmla="*/ 2147483647 w 794"/>
                  <a:gd name="T11" fmla="*/ 2147483647 h 591"/>
                  <a:gd name="T12" fmla="*/ 2147483647 w 794"/>
                  <a:gd name="T13" fmla="*/ 2147483647 h 591"/>
                  <a:gd name="T14" fmla="*/ 2147483647 w 794"/>
                  <a:gd name="T15" fmla="*/ 2147483647 h 591"/>
                  <a:gd name="T16" fmla="*/ 2147483647 w 794"/>
                  <a:gd name="T17" fmla="*/ 2147483647 h 591"/>
                  <a:gd name="T18" fmla="*/ 2147483647 w 794"/>
                  <a:gd name="T19" fmla="*/ 2147483647 h 591"/>
                  <a:gd name="T20" fmla="*/ 2147483647 w 794"/>
                  <a:gd name="T21" fmla="*/ 2147483647 h 591"/>
                  <a:gd name="T22" fmla="*/ 2147483647 w 794"/>
                  <a:gd name="T23" fmla="*/ 2147483647 h 591"/>
                  <a:gd name="T24" fmla="*/ 2147483647 w 794"/>
                  <a:gd name="T25" fmla="*/ 2147483647 h 591"/>
                  <a:gd name="T26" fmla="*/ 2147483647 w 794"/>
                  <a:gd name="T27" fmla="*/ 2147483647 h 591"/>
                  <a:gd name="T28" fmla="*/ 2147483647 w 794"/>
                  <a:gd name="T29" fmla="*/ 2147483647 h 591"/>
                  <a:gd name="T30" fmla="*/ 2147483647 w 794"/>
                  <a:gd name="T31" fmla="*/ 2147483647 h 591"/>
                  <a:gd name="T32" fmla="*/ 2147483647 w 794"/>
                  <a:gd name="T33" fmla="*/ 2147483647 h 591"/>
                  <a:gd name="T34" fmla="*/ 2147483647 w 794"/>
                  <a:gd name="T35" fmla="*/ 2147483647 h 591"/>
                  <a:gd name="T36" fmla="*/ 2147483647 w 794"/>
                  <a:gd name="T37" fmla="*/ 2147483647 h 591"/>
                  <a:gd name="T38" fmla="*/ 2147483647 w 794"/>
                  <a:gd name="T39" fmla="*/ 2147483647 h 591"/>
                  <a:gd name="T40" fmla="*/ 2147483647 w 794"/>
                  <a:gd name="T41" fmla="*/ 2147483647 h 591"/>
                  <a:gd name="T42" fmla="*/ 2147483647 w 794"/>
                  <a:gd name="T43" fmla="*/ 0 h 591"/>
                  <a:gd name="T44" fmla="*/ 2147483647 w 794"/>
                  <a:gd name="T45" fmla="*/ 2147483647 h 591"/>
                  <a:gd name="T46" fmla="*/ 2147483647 w 794"/>
                  <a:gd name="T47" fmla="*/ 2147483647 h 591"/>
                  <a:gd name="T48" fmla="*/ 2147483647 w 794"/>
                  <a:gd name="T49" fmla="*/ 2147483647 h 591"/>
                  <a:gd name="T50" fmla="*/ 2147483647 w 794"/>
                  <a:gd name="T51" fmla="*/ 2147483647 h 591"/>
                  <a:gd name="T52" fmla="*/ 2147483647 w 794"/>
                  <a:gd name="T53" fmla="*/ 2147483647 h 591"/>
                  <a:gd name="T54" fmla="*/ 0 w 794"/>
                  <a:gd name="T55" fmla="*/ 2147483647 h 591"/>
                  <a:gd name="T56" fmla="*/ 2147483647 w 794"/>
                  <a:gd name="T57" fmla="*/ 2147483647 h 591"/>
                  <a:gd name="T58" fmla="*/ 2147483647 w 794"/>
                  <a:gd name="T59" fmla="*/ 2147483647 h 591"/>
                  <a:gd name="T60" fmla="*/ 2147483647 w 794"/>
                  <a:gd name="T61" fmla="*/ 2147483647 h 591"/>
                  <a:gd name="T62" fmla="*/ 2147483647 w 794"/>
                  <a:gd name="T63" fmla="*/ 2147483647 h 591"/>
                  <a:gd name="T64" fmla="*/ 2147483647 w 794"/>
                  <a:gd name="T65" fmla="*/ 2147483647 h 591"/>
                  <a:gd name="T66" fmla="*/ 2147483647 w 794"/>
                  <a:gd name="T67" fmla="*/ 2147483647 h 591"/>
                  <a:gd name="T68" fmla="*/ 2147483647 w 794"/>
                  <a:gd name="T69" fmla="*/ 2147483647 h 591"/>
                  <a:gd name="T70" fmla="*/ 2147483647 w 794"/>
                  <a:gd name="T71" fmla="*/ 2147483647 h 591"/>
                  <a:gd name="T72" fmla="*/ 2147483647 w 794"/>
                  <a:gd name="T73" fmla="*/ 2147483647 h 591"/>
                  <a:gd name="T74" fmla="*/ 2147483647 w 794"/>
                  <a:gd name="T75" fmla="*/ 2147483647 h 591"/>
                  <a:gd name="T76" fmla="*/ 2147483647 w 794"/>
                  <a:gd name="T77" fmla="*/ 2147483647 h 591"/>
                  <a:gd name="T78" fmla="*/ 2147483647 w 794"/>
                  <a:gd name="T79" fmla="*/ 2147483647 h 591"/>
                  <a:gd name="T80" fmla="*/ 2147483647 w 794"/>
                  <a:gd name="T81" fmla="*/ 2147483647 h 591"/>
                  <a:gd name="T82" fmla="*/ 2147483647 w 794"/>
                  <a:gd name="T83" fmla="*/ 2147483647 h 591"/>
                  <a:gd name="T84" fmla="*/ 2147483647 w 794"/>
                  <a:gd name="T85" fmla="*/ 2147483647 h 591"/>
                  <a:gd name="T86" fmla="*/ 2147483647 w 794"/>
                  <a:gd name="T87" fmla="*/ 2147483647 h 591"/>
                  <a:gd name="T88" fmla="*/ 2147483647 w 794"/>
                  <a:gd name="T89" fmla="*/ 2147483647 h 591"/>
                  <a:gd name="T90" fmla="*/ 2147483647 w 794"/>
                  <a:gd name="T91" fmla="*/ 2147483647 h 591"/>
                  <a:gd name="T92" fmla="*/ 2147483647 w 794"/>
                  <a:gd name="T93" fmla="*/ 2147483647 h 591"/>
                  <a:gd name="T94" fmla="*/ 2147483647 w 794"/>
                  <a:gd name="T95" fmla="*/ 2147483647 h 591"/>
                  <a:gd name="T96" fmla="*/ 2147483647 w 794"/>
                  <a:gd name="T97" fmla="*/ 2147483647 h 591"/>
                  <a:gd name="T98" fmla="*/ 2147483647 w 794"/>
                  <a:gd name="T99" fmla="*/ 2147483647 h 591"/>
                  <a:gd name="T100" fmla="*/ 2147483647 w 794"/>
                  <a:gd name="T101" fmla="*/ 2147483647 h 5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94"/>
                  <a:gd name="T154" fmla="*/ 0 h 591"/>
                  <a:gd name="T155" fmla="*/ 794 w 794"/>
                  <a:gd name="T156" fmla="*/ 591 h 5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94" h="591">
                    <a:moveTo>
                      <a:pt x="783" y="463"/>
                    </a:moveTo>
                    <a:lnTo>
                      <a:pt x="771" y="468"/>
                    </a:lnTo>
                    <a:lnTo>
                      <a:pt x="757" y="474"/>
                    </a:lnTo>
                    <a:lnTo>
                      <a:pt x="742" y="480"/>
                    </a:lnTo>
                    <a:lnTo>
                      <a:pt x="719" y="486"/>
                    </a:lnTo>
                    <a:lnTo>
                      <a:pt x="704" y="486"/>
                    </a:lnTo>
                    <a:lnTo>
                      <a:pt x="698" y="486"/>
                    </a:lnTo>
                    <a:lnTo>
                      <a:pt x="687" y="480"/>
                    </a:lnTo>
                    <a:lnTo>
                      <a:pt x="675" y="480"/>
                    </a:lnTo>
                    <a:lnTo>
                      <a:pt x="660" y="480"/>
                    </a:lnTo>
                    <a:lnTo>
                      <a:pt x="655" y="486"/>
                    </a:lnTo>
                    <a:lnTo>
                      <a:pt x="617" y="474"/>
                    </a:lnTo>
                    <a:lnTo>
                      <a:pt x="620" y="428"/>
                    </a:lnTo>
                    <a:lnTo>
                      <a:pt x="570" y="404"/>
                    </a:lnTo>
                    <a:lnTo>
                      <a:pt x="556" y="404"/>
                    </a:lnTo>
                    <a:lnTo>
                      <a:pt x="521" y="387"/>
                    </a:lnTo>
                    <a:lnTo>
                      <a:pt x="480" y="375"/>
                    </a:lnTo>
                    <a:lnTo>
                      <a:pt x="474" y="369"/>
                    </a:lnTo>
                    <a:lnTo>
                      <a:pt x="460" y="361"/>
                    </a:lnTo>
                    <a:lnTo>
                      <a:pt x="445" y="364"/>
                    </a:lnTo>
                    <a:lnTo>
                      <a:pt x="419" y="340"/>
                    </a:lnTo>
                    <a:lnTo>
                      <a:pt x="401" y="335"/>
                    </a:lnTo>
                    <a:lnTo>
                      <a:pt x="375" y="329"/>
                    </a:lnTo>
                    <a:lnTo>
                      <a:pt x="320" y="332"/>
                    </a:lnTo>
                    <a:lnTo>
                      <a:pt x="326" y="311"/>
                    </a:lnTo>
                    <a:lnTo>
                      <a:pt x="305" y="303"/>
                    </a:lnTo>
                    <a:lnTo>
                      <a:pt x="265" y="308"/>
                    </a:lnTo>
                    <a:lnTo>
                      <a:pt x="285" y="288"/>
                    </a:lnTo>
                    <a:lnTo>
                      <a:pt x="297" y="282"/>
                    </a:lnTo>
                    <a:lnTo>
                      <a:pt x="308" y="271"/>
                    </a:lnTo>
                    <a:lnTo>
                      <a:pt x="314" y="262"/>
                    </a:lnTo>
                    <a:lnTo>
                      <a:pt x="352" y="241"/>
                    </a:lnTo>
                    <a:lnTo>
                      <a:pt x="381" y="256"/>
                    </a:lnTo>
                    <a:lnTo>
                      <a:pt x="407" y="271"/>
                    </a:lnTo>
                    <a:lnTo>
                      <a:pt x="451" y="294"/>
                    </a:lnTo>
                    <a:lnTo>
                      <a:pt x="465" y="294"/>
                    </a:lnTo>
                    <a:lnTo>
                      <a:pt x="477" y="291"/>
                    </a:lnTo>
                    <a:lnTo>
                      <a:pt x="483" y="285"/>
                    </a:lnTo>
                    <a:lnTo>
                      <a:pt x="506" y="262"/>
                    </a:lnTo>
                    <a:lnTo>
                      <a:pt x="532" y="239"/>
                    </a:lnTo>
                    <a:lnTo>
                      <a:pt x="564" y="212"/>
                    </a:lnTo>
                    <a:lnTo>
                      <a:pt x="562" y="198"/>
                    </a:lnTo>
                    <a:lnTo>
                      <a:pt x="564" y="189"/>
                    </a:lnTo>
                    <a:lnTo>
                      <a:pt x="579" y="166"/>
                    </a:lnTo>
                    <a:lnTo>
                      <a:pt x="588" y="157"/>
                    </a:lnTo>
                    <a:lnTo>
                      <a:pt x="596" y="148"/>
                    </a:lnTo>
                    <a:lnTo>
                      <a:pt x="602" y="137"/>
                    </a:lnTo>
                    <a:lnTo>
                      <a:pt x="605" y="113"/>
                    </a:lnTo>
                    <a:lnTo>
                      <a:pt x="596" y="105"/>
                    </a:lnTo>
                    <a:lnTo>
                      <a:pt x="559" y="105"/>
                    </a:lnTo>
                    <a:lnTo>
                      <a:pt x="556" y="111"/>
                    </a:lnTo>
                    <a:lnTo>
                      <a:pt x="541" y="122"/>
                    </a:lnTo>
                    <a:lnTo>
                      <a:pt x="541" y="128"/>
                    </a:lnTo>
                    <a:lnTo>
                      <a:pt x="541" y="134"/>
                    </a:lnTo>
                    <a:lnTo>
                      <a:pt x="541" y="137"/>
                    </a:lnTo>
                    <a:lnTo>
                      <a:pt x="544" y="148"/>
                    </a:lnTo>
                    <a:lnTo>
                      <a:pt x="541" y="157"/>
                    </a:lnTo>
                    <a:lnTo>
                      <a:pt x="535" y="169"/>
                    </a:lnTo>
                    <a:lnTo>
                      <a:pt x="509" y="198"/>
                    </a:lnTo>
                    <a:lnTo>
                      <a:pt x="486" y="209"/>
                    </a:lnTo>
                    <a:lnTo>
                      <a:pt x="465" y="227"/>
                    </a:lnTo>
                    <a:lnTo>
                      <a:pt x="457" y="233"/>
                    </a:lnTo>
                    <a:lnTo>
                      <a:pt x="451" y="230"/>
                    </a:lnTo>
                    <a:lnTo>
                      <a:pt x="448" y="224"/>
                    </a:lnTo>
                    <a:lnTo>
                      <a:pt x="422" y="207"/>
                    </a:lnTo>
                    <a:lnTo>
                      <a:pt x="407" y="186"/>
                    </a:lnTo>
                    <a:lnTo>
                      <a:pt x="416" y="160"/>
                    </a:lnTo>
                    <a:lnTo>
                      <a:pt x="410" y="145"/>
                    </a:lnTo>
                    <a:lnTo>
                      <a:pt x="399" y="140"/>
                    </a:lnTo>
                    <a:lnTo>
                      <a:pt x="407" y="137"/>
                    </a:lnTo>
                    <a:lnTo>
                      <a:pt x="413" y="131"/>
                    </a:lnTo>
                    <a:lnTo>
                      <a:pt x="413" y="111"/>
                    </a:lnTo>
                    <a:lnTo>
                      <a:pt x="419" y="96"/>
                    </a:lnTo>
                    <a:lnTo>
                      <a:pt x="422" y="96"/>
                    </a:lnTo>
                    <a:lnTo>
                      <a:pt x="425" y="93"/>
                    </a:lnTo>
                    <a:lnTo>
                      <a:pt x="428" y="90"/>
                    </a:lnTo>
                    <a:lnTo>
                      <a:pt x="422" y="76"/>
                    </a:lnTo>
                    <a:lnTo>
                      <a:pt x="425" y="55"/>
                    </a:lnTo>
                    <a:lnTo>
                      <a:pt x="422" y="44"/>
                    </a:lnTo>
                    <a:lnTo>
                      <a:pt x="428" y="44"/>
                    </a:lnTo>
                    <a:lnTo>
                      <a:pt x="431" y="41"/>
                    </a:lnTo>
                    <a:lnTo>
                      <a:pt x="433" y="35"/>
                    </a:lnTo>
                    <a:lnTo>
                      <a:pt x="431" y="32"/>
                    </a:lnTo>
                    <a:lnTo>
                      <a:pt x="422" y="26"/>
                    </a:lnTo>
                    <a:lnTo>
                      <a:pt x="416" y="20"/>
                    </a:lnTo>
                    <a:lnTo>
                      <a:pt x="407" y="12"/>
                    </a:lnTo>
                    <a:lnTo>
                      <a:pt x="399" y="9"/>
                    </a:lnTo>
                    <a:lnTo>
                      <a:pt x="390" y="6"/>
                    </a:lnTo>
                    <a:lnTo>
                      <a:pt x="378" y="3"/>
                    </a:lnTo>
                    <a:lnTo>
                      <a:pt x="367" y="0"/>
                    </a:lnTo>
                    <a:lnTo>
                      <a:pt x="358" y="0"/>
                    </a:lnTo>
                    <a:lnTo>
                      <a:pt x="343" y="6"/>
                    </a:lnTo>
                    <a:lnTo>
                      <a:pt x="334" y="9"/>
                    </a:lnTo>
                    <a:lnTo>
                      <a:pt x="329" y="15"/>
                    </a:lnTo>
                    <a:lnTo>
                      <a:pt x="317" y="26"/>
                    </a:lnTo>
                    <a:lnTo>
                      <a:pt x="311" y="41"/>
                    </a:lnTo>
                    <a:lnTo>
                      <a:pt x="308" y="55"/>
                    </a:lnTo>
                    <a:lnTo>
                      <a:pt x="305" y="76"/>
                    </a:lnTo>
                    <a:lnTo>
                      <a:pt x="282" y="55"/>
                    </a:lnTo>
                    <a:lnTo>
                      <a:pt x="273" y="49"/>
                    </a:lnTo>
                    <a:lnTo>
                      <a:pt x="265" y="47"/>
                    </a:lnTo>
                    <a:lnTo>
                      <a:pt x="253" y="47"/>
                    </a:lnTo>
                    <a:lnTo>
                      <a:pt x="244" y="49"/>
                    </a:lnTo>
                    <a:lnTo>
                      <a:pt x="230" y="55"/>
                    </a:lnTo>
                    <a:lnTo>
                      <a:pt x="224" y="58"/>
                    </a:lnTo>
                    <a:lnTo>
                      <a:pt x="206" y="67"/>
                    </a:lnTo>
                    <a:lnTo>
                      <a:pt x="174" y="67"/>
                    </a:lnTo>
                    <a:lnTo>
                      <a:pt x="142" y="76"/>
                    </a:lnTo>
                    <a:lnTo>
                      <a:pt x="122" y="79"/>
                    </a:lnTo>
                    <a:lnTo>
                      <a:pt x="105" y="81"/>
                    </a:lnTo>
                    <a:lnTo>
                      <a:pt x="93" y="87"/>
                    </a:lnTo>
                    <a:lnTo>
                      <a:pt x="84" y="96"/>
                    </a:lnTo>
                    <a:lnTo>
                      <a:pt x="17" y="201"/>
                    </a:lnTo>
                    <a:lnTo>
                      <a:pt x="17" y="207"/>
                    </a:lnTo>
                    <a:lnTo>
                      <a:pt x="6" y="207"/>
                    </a:lnTo>
                    <a:lnTo>
                      <a:pt x="0" y="224"/>
                    </a:lnTo>
                    <a:lnTo>
                      <a:pt x="6" y="233"/>
                    </a:lnTo>
                    <a:lnTo>
                      <a:pt x="11" y="236"/>
                    </a:lnTo>
                    <a:lnTo>
                      <a:pt x="14" y="241"/>
                    </a:lnTo>
                    <a:lnTo>
                      <a:pt x="29" y="244"/>
                    </a:lnTo>
                    <a:lnTo>
                      <a:pt x="43" y="247"/>
                    </a:lnTo>
                    <a:lnTo>
                      <a:pt x="49" y="239"/>
                    </a:lnTo>
                    <a:lnTo>
                      <a:pt x="52" y="233"/>
                    </a:lnTo>
                    <a:lnTo>
                      <a:pt x="55" y="221"/>
                    </a:lnTo>
                    <a:lnTo>
                      <a:pt x="70" y="207"/>
                    </a:lnTo>
                    <a:lnTo>
                      <a:pt x="73" y="198"/>
                    </a:lnTo>
                    <a:lnTo>
                      <a:pt x="93" y="175"/>
                    </a:lnTo>
                    <a:lnTo>
                      <a:pt x="96" y="166"/>
                    </a:lnTo>
                    <a:lnTo>
                      <a:pt x="105" y="166"/>
                    </a:lnTo>
                    <a:lnTo>
                      <a:pt x="134" y="143"/>
                    </a:lnTo>
                    <a:lnTo>
                      <a:pt x="160" y="140"/>
                    </a:lnTo>
                    <a:lnTo>
                      <a:pt x="183" y="134"/>
                    </a:lnTo>
                    <a:lnTo>
                      <a:pt x="183" y="140"/>
                    </a:lnTo>
                    <a:lnTo>
                      <a:pt x="139" y="215"/>
                    </a:lnTo>
                    <a:lnTo>
                      <a:pt x="131" y="221"/>
                    </a:lnTo>
                    <a:lnTo>
                      <a:pt x="128" y="227"/>
                    </a:lnTo>
                    <a:lnTo>
                      <a:pt x="128" y="241"/>
                    </a:lnTo>
                    <a:lnTo>
                      <a:pt x="116" y="244"/>
                    </a:lnTo>
                    <a:lnTo>
                      <a:pt x="110" y="253"/>
                    </a:lnTo>
                    <a:lnTo>
                      <a:pt x="73" y="291"/>
                    </a:lnTo>
                    <a:lnTo>
                      <a:pt x="73" y="303"/>
                    </a:lnTo>
                    <a:lnTo>
                      <a:pt x="78" y="317"/>
                    </a:lnTo>
                    <a:lnTo>
                      <a:pt x="84" y="337"/>
                    </a:lnTo>
                    <a:lnTo>
                      <a:pt x="87" y="361"/>
                    </a:lnTo>
                    <a:lnTo>
                      <a:pt x="90" y="364"/>
                    </a:lnTo>
                    <a:lnTo>
                      <a:pt x="93" y="375"/>
                    </a:lnTo>
                    <a:lnTo>
                      <a:pt x="99" y="390"/>
                    </a:lnTo>
                    <a:lnTo>
                      <a:pt x="105" y="399"/>
                    </a:lnTo>
                    <a:lnTo>
                      <a:pt x="113" y="410"/>
                    </a:lnTo>
                    <a:lnTo>
                      <a:pt x="128" y="422"/>
                    </a:lnTo>
                    <a:lnTo>
                      <a:pt x="134" y="428"/>
                    </a:lnTo>
                    <a:lnTo>
                      <a:pt x="137" y="436"/>
                    </a:lnTo>
                    <a:lnTo>
                      <a:pt x="125" y="433"/>
                    </a:lnTo>
                    <a:lnTo>
                      <a:pt x="113" y="436"/>
                    </a:lnTo>
                    <a:lnTo>
                      <a:pt x="102" y="442"/>
                    </a:lnTo>
                    <a:lnTo>
                      <a:pt x="96" y="433"/>
                    </a:lnTo>
                    <a:lnTo>
                      <a:pt x="90" y="428"/>
                    </a:lnTo>
                    <a:lnTo>
                      <a:pt x="84" y="425"/>
                    </a:lnTo>
                    <a:lnTo>
                      <a:pt x="78" y="425"/>
                    </a:lnTo>
                    <a:lnTo>
                      <a:pt x="73" y="428"/>
                    </a:lnTo>
                    <a:lnTo>
                      <a:pt x="64" y="431"/>
                    </a:lnTo>
                    <a:lnTo>
                      <a:pt x="64" y="436"/>
                    </a:lnTo>
                    <a:lnTo>
                      <a:pt x="43" y="463"/>
                    </a:lnTo>
                    <a:lnTo>
                      <a:pt x="55" y="468"/>
                    </a:lnTo>
                    <a:lnTo>
                      <a:pt x="38" y="480"/>
                    </a:lnTo>
                    <a:lnTo>
                      <a:pt x="26" y="492"/>
                    </a:lnTo>
                    <a:lnTo>
                      <a:pt x="17" y="506"/>
                    </a:lnTo>
                    <a:lnTo>
                      <a:pt x="11" y="521"/>
                    </a:lnTo>
                    <a:lnTo>
                      <a:pt x="8" y="535"/>
                    </a:lnTo>
                    <a:lnTo>
                      <a:pt x="8" y="556"/>
                    </a:lnTo>
                    <a:lnTo>
                      <a:pt x="8" y="564"/>
                    </a:lnTo>
                    <a:lnTo>
                      <a:pt x="38" y="561"/>
                    </a:lnTo>
                    <a:lnTo>
                      <a:pt x="43" y="550"/>
                    </a:lnTo>
                    <a:lnTo>
                      <a:pt x="55" y="538"/>
                    </a:lnTo>
                    <a:lnTo>
                      <a:pt x="67" y="529"/>
                    </a:lnTo>
                    <a:lnTo>
                      <a:pt x="81" y="524"/>
                    </a:lnTo>
                    <a:lnTo>
                      <a:pt x="105" y="515"/>
                    </a:lnTo>
                    <a:lnTo>
                      <a:pt x="116" y="512"/>
                    </a:lnTo>
                    <a:lnTo>
                      <a:pt x="119" y="529"/>
                    </a:lnTo>
                    <a:lnTo>
                      <a:pt x="163" y="512"/>
                    </a:lnTo>
                    <a:lnTo>
                      <a:pt x="206" y="506"/>
                    </a:lnTo>
                    <a:lnTo>
                      <a:pt x="215" y="503"/>
                    </a:lnTo>
                    <a:lnTo>
                      <a:pt x="241" y="500"/>
                    </a:lnTo>
                    <a:lnTo>
                      <a:pt x="250" y="495"/>
                    </a:lnTo>
                    <a:lnTo>
                      <a:pt x="262" y="492"/>
                    </a:lnTo>
                    <a:lnTo>
                      <a:pt x="273" y="492"/>
                    </a:lnTo>
                    <a:lnTo>
                      <a:pt x="282" y="492"/>
                    </a:lnTo>
                    <a:lnTo>
                      <a:pt x="291" y="489"/>
                    </a:lnTo>
                    <a:lnTo>
                      <a:pt x="305" y="480"/>
                    </a:lnTo>
                    <a:lnTo>
                      <a:pt x="320" y="468"/>
                    </a:lnTo>
                    <a:lnTo>
                      <a:pt x="329" y="468"/>
                    </a:lnTo>
                    <a:lnTo>
                      <a:pt x="334" y="463"/>
                    </a:lnTo>
                    <a:lnTo>
                      <a:pt x="337" y="457"/>
                    </a:lnTo>
                    <a:lnTo>
                      <a:pt x="340" y="448"/>
                    </a:lnTo>
                    <a:lnTo>
                      <a:pt x="340" y="439"/>
                    </a:lnTo>
                    <a:lnTo>
                      <a:pt x="340" y="428"/>
                    </a:lnTo>
                    <a:lnTo>
                      <a:pt x="372" y="413"/>
                    </a:lnTo>
                    <a:lnTo>
                      <a:pt x="407" y="419"/>
                    </a:lnTo>
                    <a:lnTo>
                      <a:pt x="416" y="436"/>
                    </a:lnTo>
                    <a:lnTo>
                      <a:pt x="431" y="448"/>
                    </a:lnTo>
                    <a:lnTo>
                      <a:pt x="486" y="474"/>
                    </a:lnTo>
                    <a:lnTo>
                      <a:pt x="512" y="486"/>
                    </a:lnTo>
                    <a:lnTo>
                      <a:pt x="541" y="500"/>
                    </a:lnTo>
                    <a:lnTo>
                      <a:pt x="564" y="515"/>
                    </a:lnTo>
                    <a:lnTo>
                      <a:pt x="576" y="515"/>
                    </a:lnTo>
                    <a:lnTo>
                      <a:pt x="591" y="532"/>
                    </a:lnTo>
                    <a:lnTo>
                      <a:pt x="605" y="538"/>
                    </a:lnTo>
                    <a:lnTo>
                      <a:pt x="608" y="553"/>
                    </a:lnTo>
                    <a:lnTo>
                      <a:pt x="617" y="567"/>
                    </a:lnTo>
                    <a:lnTo>
                      <a:pt x="628" y="588"/>
                    </a:lnTo>
                    <a:lnTo>
                      <a:pt x="634" y="591"/>
                    </a:lnTo>
                    <a:lnTo>
                      <a:pt x="640" y="591"/>
                    </a:lnTo>
                    <a:lnTo>
                      <a:pt x="643" y="588"/>
                    </a:lnTo>
                    <a:lnTo>
                      <a:pt x="684" y="564"/>
                    </a:lnTo>
                    <a:lnTo>
                      <a:pt x="681" y="553"/>
                    </a:lnTo>
                    <a:lnTo>
                      <a:pt x="707" y="544"/>
                    </a:lnTo>
                    <a:lnTo>
                      <a:pt x="727" y="538"/>
                    </a:lnTo>
                    <a:lnTo>
                      <a:pt x="745" y="529"/>
                    </a:lnTo>
                    <a:lnTo>
                      <a:pt x="759" y="515"/>
                    </a:lnTo>
                    <a:lnTo>
                      <a:pt x="771" y="503"/>
                    </a:lnTo>
                    <a:lnTo>
                      <a:pt x="789" y="480"/>
                    </a:lnTo>
                    <a:lnTo>
                      <a:pt x="794" y="471"/>
                    </a:lnTo>
                    <a:lnTo>
                      <a:pt x="783" y="46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590"/>
              <p:cNvSpPr>
                <a:spLocks/>
              </p:cNvSpPr>
              <p:nvPr/>
            </p:nvSpPr>
            <p:spPr bwMode="auto">
              <a:xfrm>
                <a:off x="5451757" y="940176"/>
                <a:ext cx="421794" cy="111976"/>
              </a:xfrm>
              <a:custGeom>
                <a:avLst/>
                <a:gdLst/>
                <a:ahLst/>
                <a:cxnLst>
                  <a:cxn ang="0">
                    <a:pos x="0" y="15"/>
                  </a:cxn>
                  <a:cxn ang="0">
                    <a:pos x="0" y="15"/>
                  </a:cxn>
                  <a:cxn ang="0">
                    <a:pos x="15" y="12"/>
                  </a:cxn>
                  <a:cxn ang="0">
                    <a:pos x="29" y="3"/>
                  </a:cxn>
                  <a:cxn ang="0">
                    <a:pos x="29" y="3"/>
                  </a:cxn>
                  <a:cxn ang="0">
                    <a:pos x="35" y="0"/>
                  </a:cxn>
                  <a:cxn ang="0">
                    <a:pos x="41" y="3"/>
                  </a:cxn>
                  <a:cxn ang="0">
                    <a:pos x="50" y="12"/>
                  </a:cxn>
                  <a:cxn ang="0">
                    <a:pos x="50" y="12"/>
                  </a:cxn>
                  <a:cxn ang="0">
                    <a:pos x="61" y="15"/>
                  </a:cxn>
                  <a:cxn ang="0">
                    <a:pos x="76" y="18"/>
                  </a:cxn>
                  <a:cxn ang="0">
                    <a:pos x="102" y="15"/>
                  </a:cxn>
                  <a:cxn ang="0">
                    <a:pos x="102" y="15"/>
                  </a:cxn>
                  <a:cxn ang="0">
                    <a:pos x="114" y="15"/>
                  </a:cxn>
                  <a:cxn ang="0">
                    <a:pos x="125" y="18"/>
                  </a:cxn>
                  <a:cxn ang="0">
                    <a:pos x="125" y="18"/>
                  </a:cxn>
                  <a:cxn ang="0">
                    <a:pos x="140" y="21"/>
                  </a:cxn>
                  <a:cxn ang="0">
                    <a:pos x="140" y="21"/>
                  </a:cxn>
                  <a:cxn ang="0">
                    <a:pos x="134" y="27"/>
                  </a:cxn>
                  <a:cxn ang="0">
                    <a:pos x="128" y="29"/>
                  </a:cxn>
                  <a:cxn ang="0">
                    <a:pos x="128" y="29"/>
                  </a:cxn>
                  <a:cxn ang="0">
                    <a:pos x="120" y="29"/>
                  </a:cxn>
                  <a:cxn ang="0">
                    <a:pos x="111" y="29"/>
                  </a:cxn>
                  <a:cxn ang="0">
                    <a:pos x="111" y="29"/>
                  </a:cxn>
                  <a:cxn ang="0">
                    <a:pos x="96" y="29"/>
                  </a:cxn>
                  <a:cxn ang="0">
                    <a:pos x="79" y="32"/>
                  </a:cxn>
                  <a:cxn ang="0">
                    <a:pos x="79" y="32"/>
                  </a:cxn>
                  <a:cxn ang="0">
                    <a:pos x="56" y="38"/>
                  </a:cxn>
                  <a:cxn ang="0">
                    <a:pos x="44" y="38"/>
                  </a:cxn>
                  <a:cxn ang="0">
                    <a:pos x="32" y="35"/>
                  </a:cxn>
                  <a:cxn ang="0">
                    <a:pos x="32" y="35"/>
                  </a:cxn>
                  <a:cxn ang="0">
                    <a:pos x="21" y="29"/>
                  </a:cxn>
                  <a:cxn ang="0">
                    <a:pos x="12" y="24"/>
                  </a:cxn>
                  <a:cxn ang="0">
                    <a:pos x="0" y="15"/>
                  </a:cxn>
                </a:cxnLst>
                <a:rect l="0" t="0" r="r" b="b"/>
                <a:pathLst>
                  <a:path w="140" h="38">
                    <a:moveTo>
                      <a:pt x="0" y="15"/>
                    </a:moveTo>
                    <a:lnTo>
                      <a:pt x="0" y="15"/>
                    </a:lnTo>
                    <a:lnTo>
                      <a:pt x="15" y="12"/>
                    </a:lnTo>
                    <a:lnTo>
                      <a:pt x="29" y="3"/>
                    </a:lnTo>
                    <a:lnTo>
                      <a:pt x="29" y="3"/>
                    </a:lnTo>
                    <a:lnTo>
                      <a:pt x="35" y="0"/>
                    </a:lnTo>
                    <a:lnTo>
                      <a:pt x="41" y="3"/>
                    </a:lnTo>
                    <a:lnTo>
                      <a:pt x="50" y="12"/>
                    </a:lnTo>
                    <a:lnTo>
                      <a:pt x="50" y="12"/>
                    </a:lnTo>
                    <a:lnTo>
                      <a:pt x="61" y="15"/>
                    </a:lnTo>
                    <a:lnTo>
                      <a:pt x="76" y="18"/>
                    </a:lnTo>
                    <a:lnTo>
                      <a:pt x="102" y="15"/>
                    </a:lnTo>
                    <a:lnTo>
                      <a:pt x="102" y="15"/>
                    </a:lnTo>
                    <a:lnTo>
                      <a:pt x="114" y="15"/>
                    </a:lnTo>
                    <a:lnTo>
                      <a:pt x="125" y="18"/>
                    </a:lnTo>
                    <a:lnTo>
                      <a:pt x="125" y="18"/>
                    </a:lnTo>
                    <a:lnTo>
                      <a:pt x="140" y="21"/>
                    </a:lnTo>
                    <a:lnTo>
                      <a:pt x="140" y="21"/>
                    </a:lnTo>
                    <a:lnTo>
                      <a:pt x="134" y="27"/>
                    </a:lnTo>
                    <a:lnTo>
                      <a:pt x="128" y="29"/>
                    </a:lnTo>
                    <a:lnTo>
                      <a:pt x="128" y="29"/>
                    </a:lnTo>
                    <a:lnTo>
                      <a:pt x="120" y="29"/>
                    </a:lnTo>
                    <a:lnTo>
                      <a:pt x="111" y="29"/>
                    </a:lnTo>
                    <a:lnTo>
                      <a:pt x="111" y="29"/>
                    </a:lnTo>
                    <a:lnTo>
                      <a:pt x="96" y="29"/>
                    </a:lnTo>
                    <a:lnTo>
                      <a:pt x="79" y="32"/>
                    </a:lnTo>
                    <a:lnTo>
                      <a:pt x="79" y="32"/>
                    </a:lnTo>
                    <a:lnTo>
                      <a:pt x="56" y="38"/>
                    </a:lnTo>
                    <a:lnTo>
                      <a:pt x="44" y="38"/>
                    </a:lnTo>
                    <a:lnTo>
                      <a:pt x="32" y="35"/>
                    </a:lnTo>
                    <a:lnTo>
                      <a:pt x="32" y="35"/>
                    </a:lnTo>
                    <a:lnTo>
                      <a:pt x="21" y="29"/>
                    </a:lnTo>
                    <a:lnTo>
                      <a:pt x="12" y="24"/>
                    </a:lnTo>
                    <a:lnTo>
                      <a:pt x="0" y="15"/>
                    </a:lnTo>
                    <a:close/>
                  </a:path>
                </a:pathLst>
              </a:custGeom>
              <a:solidFill>
                <a:schemeClr val="tx1">
                  <a:lumMod val="95000"/>
                  <a:lumOff val="5000"/>
                </a:schemeClr>
              </a:solidFill>
              <a:ln w="9525">
                <a:noFill/>
                <a:round/>
                <a:headEnd/>
                <a:tailEnd/>
              </a:ln>
            </p:spPr>
            <p:txBody>
              <a:bodyPr/>
              <a:lstStyle/>
              <a:p>
                <a:pPr fontAlgn="auto">
                  <a:spcBef>
                    <a:spcPts val="0"/>
                  </a:spcBef>
                  <a:spcAft>
                    <a:spcPts val="0"/>
                  </a:spcAft>
                  <a:defRPr/>
                </a:pPr>
                <a:endParaRPr lang="nb-NO">
                  <a:latin typeface="Calibri" charset="0"/>
                  <a:ea typeface="+mn-ea"/>
                </a:endParaRPr>
              </a:p>
            </p:txBody>
          </p:sp>
          <p:sp>
            <p:nvSpPr>
              <p:cNvPr id="54" name="Freeform 591"/>
              <p:cNvSpPr>
                <a:spLocks noEditPoints="1"/>
              </p:cNvSpPr>
              <p:nvPr/>
            </p:nvSpPr>
            <p:spPr bwMode="auto">
              <a:xfrm>
                <a:off x="5690605" y="879098"/>
                <a:ext cx="299826" cy="341016"/>
              </a:xfrm>
              <a:custGeom>
                <a:avLst/>
                <a:gdLst>
                  <a:gd name="T0" fmla="*/ 2147483647 w 99"/>
                  <a:gd name="T1" fmla="*/ 2147483647 h 113"/>
                  <a:gd name="T2" fmla="*/ 2147483647 w 99"/>
                  <a:gd name="T3" fmla="*/ 2147483647 h 113"/>
                  <a:gd name="T4" fmla="*/ 2147483647 w 99"/>
                  <a:gd name="T5" fmla="*/ 2147483647 h 113"/>
                  <a:gd name="T6" fmla="*/ 2147483647 w 99"/>
                  <a:gd name="T7" fmla="*/ 0 h 113"/>
                  <a:gd name="T8" fmla="*/ 2147483647 w 99"/>
                  <a:gd name="T9" fmla="*/ 2147483647 h 113"/>
                  <a:gd name="T10" fmla="*/ 2147483647 w 99"/>
                  <a:gd name="T11" fmla="*/ 2147483647 h 113"/>
                  <a:gd name="T12" fmla="*/ 2147483647 w 99"/>
                  <a:gd name="T13" fmla="*/ 2147483647 h 113"/>
                  <a:gd name="T14" fmla="*/ 2147483647 w 99"/>
                  <a:gd name="T15" fmla="*/ 2147483647 h 113"/>
                  <a:gd name="T16" fmla="*/ 0 w 99"/>
                  <a:gd name="T17" fmla="*/ 2147483647 h 113"/>
                  <a:gd name="T18" fmla="*/ 2147483647 w 99"/>
                  <a:gd name="T19" fmla="*/ 2147483647 h 113"/>
                  <a:gd name="T20" fmla="*/ 2147483647 w 99"/>
                  <a:gd name="T21" fmla="*/ 2147483647 h 113"/>
                  <a:gd name="T22" fmla="*/ 2147483647 w 99"/>
                  <a:gd name="T23" fmla="*/ 2147483647 h 113"/>
                  <a:gd name="T24" fmla="*/ 2147483647 w 99"/>
                  <a:gd name="T25" fmla="*/ 2147483647 h 113"/>
                  <a:gd name="T26" fmla="*/ 2147483647 w 99"/>
                  <a:gd name="T27" fmla="*/ 2147483647 h 113"/>
                  <a:gd name="T28" fmla="*/ 2147483647 w 99"/>
                  <a:gd name="T29" fmla="*/ 2147483647 h 113"/>
                  <a:gd name="T30" fmla="*/ 2147483647 w 99"/>
                  <a:gd name="T31" fmla="*/ 2147483647 h 113"/>
                  <a:gd name="T32" fmla="*/ 2147483647 w 99"/>
                  <a:gd name="T33" fmla="*/ 2147483647 h 113"/>
                  <a:gd name="T34" fmla="*/ 2147483647 w 99"/>
                  <a:gd name="T35" fmla="*/ 2147483647 h 113"/>
                  <a:gd name="T36" fmla="*/ 2147483647 w 99"/>
                  <a:gd name="T37" fmla="*/ 2147483647 h 113"/>
                  <a:gd name="T38" fmla="*/ 2147483647 w 99"/>
                  <a:gd name="T39" fmla="*/ 2147483647 h 113"/>
                  <a:gd name="T40" fmla="*/ 2147483647 w 99"/>
                  <a:gd name="T41" fmla="*/ 2147483647 h 113"/>
                  <a:gd name="T42" fmla="*/ 2147483647 w 99"/>
                  <a:gd name="T43" fmla="*/ 2147483647 h 113"/>
                  <a:gd name="T44" fmla="*/ 2147483647 w 99"/>
                  <a:gd name="T45" fmla="*/ 2147483647 h 113"/>
                  <a:gd name="T46" fmla="*/ 2147483647 w 99"/>
                  <a:gd name="T47" fmla="*/ 2147483647 h 113"/>
                  <a:gd name="T48" fmla="*/ 2147483647 w 99"/>
                  <a:gd name="T49" fmla="*/ 2147483647 h 113"/>
                  <a:gd name="T50" fmla="*/ 2147483647 w 99"/>
                  <a:gd name="T51" fmla="*/ 2147483647 h 113"/>
                  <a:gd name="T52" fmla="*/ 2147483647 w 99"/>
                  <a:gd name="T53" fmla="*/ 2147483647 h 113"/>
                  <a:gd name="T54" fmla="*/ 2147483647 w 99"/>
                  <a:gd name="T55" fmla="*/ 2147483647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9"/>
                  <a:gd name="T85" fmla="*/ 0 h 113"/>
                  <a:gd name="T86" fmla="*/ 99 w 99"/>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9" h="113">
                    <a:moveTo>
                      <a:pt x="73" y="38"/>
                    </a:moveTo>
                    <a:lnTo>
                      <a:pt x="70" y="29"/>
                    </a:lnTo>
                    <a:lnTo>
                      <a:pt x="64" y="12"/>
                    </a:lnTo>
                    <a:lnTo>
                      <a:pt x="38" y="0"/>
                    </a:lnTo>
                    <a:lnTo>
                      <a:pt x="41" y="17"/>
                    </a:lnTo>
                    <a:lnTo>
                      <a:pt x="35" y="32"/>
                    </a:lnTo>
                    <a:lnTo>
                      <a:pt x="26" y="49"/>
                    </a:lnTo>
                    <a:lnTo>
                      <a:pt x="6" y="79"/>
                    </a:lnTo>
                    <a:lnTo>
                      <a:pt x="0" y="113"/>
                    </a:lnTo>
                    <a:lnTo>
                      <a:pt x="3" y="108"/>
                    </a:lnTo>
                    <a:lnTo>
                      <a:pt x="17" y="102"/>
                    </a:lnTo>
                    <a:lnTo>
                      <a:pt x="32" y="96"/>
                    </a:lnTo>
                    <a:lnTo>
                      <a:pt x="46" y="93"/>
                    </a:lnTo>
                    <a:lnTo>
                      <a:pt x="58" y="90"/>
                    </a:lnTo>
                    <a:lnTo>
                      <a:pt x="64" y="90"/>
                    </a:lnTo>
                    <a:lnTo>
                      <a:pt x="81" y="79"/>
                    </a:lnTo>
                    <a:lnTo>
                      <a:pt x="93" y="61"/>
                    </a:lnTo>
                    <a:lnTo>
                      <a:pt x="99" y="41"/>
                    </a:lnTo>
                    <a:lnTo>
                      <a:pt x="73" y="38"/>
                    </a:lnTo>
                    <a:close/>
                    <a:moveTo>
                      <a:pt x="79" y="47"/>
                    </a:moveTo>
                    <a:lnTo>
                      <a:pt x="79" y="47"/>
                    </a:lnTo>
                    <a:close/>
                  </a:path>
                </a:pathLst>
              </a:custGeom>
              <a:solidFill>
                <a:schemeClr val="accent3">
                  <a:lumMod val="60000"/>
                  <a:lumOff val="40000"/>
                </a:schemeClr>
              </a:solidFill>
              <a:ln w="9525">
                <a:noFill/>
                <a:round/>
                <a:headEnd/>
                <a:tailEnd/>
              </a:ln>
            </p:spPr>
            <p:txBody>
              <a:bodyPr/>
              <a:lstStyle/>
              <a:p>
                <a:pPr fontAlgn="auto">
                  <a:spcBef>
                    <a:spcPts val="0"/>
                  </a:spcBef>
                  <a:spcAft>
                    <a:spcPts val="0"/>
                  </a:spcAft>
                  <a:defRPr/>
                </a:pPr>
                <a:endParaRPr lang="en-US">
                  <a:latin typeface="Calibri" charset="0"/>
                  <a:ea typeface="+mn-ea"/>
                </a:endParaRPr>
              </a:p>
            </p:txBody>
          </p:sp>
          <p:sp>
            <p:nvSpPr>
              <p:cNvPr id="21557" name="Freeform 592"/>
              <p:cNvSpPr>
                <a:spLocks/>
              </p:cNvSpPr>
              <p:nvPr/>
            </p:nvSpPr>
            <p:spPr bwMode="auto">
              <a:xfrm>
                <a:off x="5768176" y="982734"/>
                <a:ext cx="150727" cy="78378"/>
              </a:xfrm>
              <a:custGeom>
                <a:avLst/>
                <a:gdLst>
                  <a:gd name="T0" fmla="*/ 2147483647 w 50"/>
                  <a:gd name="T1" fmla="*/ 2147483647 h 26"/>
                  <a:gd name="T2" fmla="*/ 2147483647 w 50"/>
                  <a:gd name="T3" fmla="*/ 2147483647 h 26"/>
                  <a:gd name="T4" fmla="*/ 2147483647 w 50"/>
                  <a:gd name="T5" fmla="*/ 2147483647 h 26"/>
                  <a:gd name="T6" fmla="*/ 2147483647 w 50"/>
                  <a:gd name="T7" fmla="*/ 2147483647 h 26"/>
                  <a:gd name="T8" fmla="*/ 2147483647 w 50"/>
                  <a:gd name="T9" fmla="*/ 2147483647 h 26"/>
                  <a:gd name="T10" fmla="*/ 2147483647 w 50"/>
                  <a:gd name="T11" fmla="*/ 2147483647 h 26"/>
                  <a:gd name="T12" fmla="*/ 2147483647 w 50"/>
                  <a:gd name="T13" fmla="*/ 2147483647 h 26"/>
                  <a:gd name="T14" fmla="*/ 2147483647 w 50"/>
                  <a:gd name="T15" fmla="*/ 2147483647 h 26"/>
                  <a:gd name="T16" fmla="*/ 2147483647 w 50"/>
                  <a:gd name="T17" fmla="*/ 2147483647 h 26"/>
                  <a:gd name="T18" fmla="*/ 2147483647 w 50"/>
                  <a:gd name="T19" fmla="*/ 2147483647 h 26"/>
                  <a:gd name="T20" fmla="*/ 2147483647 w 50"/>
                  <a:gd name="T21" fmla="*/ 0 h 26"/>
                  <a:gd name="T22" fmla="*/ 2147483647 w 50"/>
                  <a:gd name="T23" fmla="*/ 0 h 26"/>
                  <a:gd name="T24" fmla="*/ 2147483647 w 50"/>
                  <a:gd name="T25" fmla="*/ 0 h 26"/>
                  <a:gd name="T26" fmla="*/ 2147483647 w 50"/>
                  <a:gd name="T27" fmla="*/ 0 h 26"/>
                  <a:gd name="T28" fmla="*/ 2147483647 w 50"/>
                  <a:gd name="T29" fmla="*/ 2147483647 h 26"/>
                  <a:gd name="T30" fmla="*/ 2147483647 w 50"/>
                  <a:gd name="T31" fmla="*/ 2147483647 h 26"/>
                  <a:gd name="T32" fmla="*/ 2147483647 w 50"/>
                  <a:gd name="T33" fmla="*/ 2147483647 h 26"/>
                  <a:gd name="T34" fmla="*/ 2147483647 w 50"/>
                  <a:gd name="T35" fmla="*/ 2147483647 h 26"/>
                  <a:gd name="T36" fmla="*/ 2147483647 w 50"/>
                  <a:gd name="T37" fmla="*/ 2147483647 h 26"/>
                  <a:gd name="T38" fmla="*/ 2147483647 w 50"/>
                  <a:gd name="T39" fmla="*/ 2147483647 h 26"/>
                  <a:gd name="T40" fmla="*/ 2147483647 w 50"/>
                  <a:gd name="T41" fmla="*/ 2147483647 h 26"/>
                  <a:gd name="T42" fmla="*/ 2147483647 w 50"/>
                  <a:gd name="T43" fmla="*/ 2147483647 h 26"/>
                  <a:gd name="T44" fmla="*/ 2147483647 w 50"/>
                  <a:gd name="T45" fmla="*/ 2147483647 h 26"/>
                  <a:gd name="T46" fmla="*/ 2147483647 w 50"/>
                  <a:gd name="T47" fmla="*/ 2147483647 h 26"/>
                  <a:gd name="T48" fmla="*/ 2147483647 w 50"/>
                  <a:gd name="T49" fmla="*/ 2147483647 h 26"/>
                  <a:gd name="T50" fmla="*/ 0 w 50"/>
                  <a:gd name="T51" fmla="*/ 2147483647 h 26"/>
                  <a:gd name="T52" fmla="*/ 0 w 50"/>
                  <a:gd name="T53" fmla="*/ 2147483647 h 26"/>
                  <a:gd name="T54" fmla="*/ 2147483647 w 50"/>
                  <a:gd name="T55" fmla="*/ 2147483647 h 26"/>
                  <a:gd name="T56" fmla="*/ 2147483647 w 50"/>
                  <a:gd name="T57" fmla="*/ 2147483647 h 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
                  <a:gd name="T88" fmla="*/ 0 h 26"/>
                  <a:gd name="T89" fmla="*/ 50 w 50"/>
                  <a:gd name="T90" fmla="*/ 26 h 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 h="26">
                    <a:moveTo>
                      <a:pt x="9" y="14"/>
                    </a:moveTo>
                    <a:lnTo>
                      <a:pt x="9" y="14"/>
                    </a:lnTo>
                    <a:lnTo>
                      <a:pt x="18" y="17"/>
                    </a:lnTo>
                    <a:lnTo>
                      <a:pt x="29" y="23"/>
                    </a:lnTo>
                    <a:lnTo>
                      <a:pt x="38" y="26"/>
                    </a:lnTo>
                    <a:lnTo>
                      <a:pt x="44" y="26"/>
                    </a:lnTo>
                    <a:lnTo>
                      <a:pt x="47" y="23"/>
                    </a:lnTo>
                    <a:lnTo>
                      <a:pt x="50" y="14"/>
                    </a:lnTo>
                    <a:lnTo>
                      <a:pt x="50" y="6"/>
                    </a:lnTo>
                    <a:lnTo>
                      <a:pt x="47" y="0"/>
                    </a:lnTo>
                    <a:lnTo>
                      <a:pt x="44" y="0"/>
                    </a:lnTo>
                    <a:lnTo>
                      <a:pt x="41" y="0"/>
                    </a:lnTo>
                    <a:lnTo>
                      <a:pt x="38" y="6"/>
                    </a:lnTo>
                    <a:lnTo>
                      <a:pt x="35" y="9"/>
                    </a:lnTo>
                    <a:lnTo>
                      <a:pt x="32" y="12"/>
                    </a:lnTo>
                    <a:lnTo>
                      <a:pt x="23" y="9"/>
                    </a:lnTo>
                    <a:lnTo>
                      <a:pt x="15" y="3"/>
                    </a:lnTo>
                    <a:lnTo>
                      <a:pt x="6" y="3"/>
                    </a:lnTo>
                    <a:lnTo>
                      <a:pt x="3" y="6"/>
                    </a:lnTo>
                    <a:lnTo>
                      <a:pt x="0" y="17"/>
                    </a:lnTo>
                    <a:lnTo>
                      <a:pt x="9" y="1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46" name="Tåre 105"/>
            <p:cNvSpPr/>
            <p:nvPr/>
          </p:nvSpPr>
          <p:spPr bwMode="auto">
            <a:xfrm rot="18900000">
              <a:off x="3752950" y="4265477"/>
              <a:ext cx="1809650" cy="1817823"/>
            </a:xfrm>
            <a:prstGeom prst="teardrop">
              <a:avLst/>
            </a:prstGeom>
            <a:gradFill flip="none" rotWithShape="1">
              <a:gsLst>
                <a:gs pos="31000">
                  <a:schemeClr val="bg2">
                    <a:alpha val="21000"/>
                  </a:schemeClr>
                </a:gs>
                <a:gs pos="100000">
                  <a:schemeClr val="accent1">
                    <a:lumMod val="75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marL="342900" indent="-342900" algn="ctr" fontAlgn="auto">
                <a:spcBef>
                  <a:spcPts val="0"/>
                </a:spcBef>
                <a:spcAft>
                  <a:spcPts val="0"/>
                </a:spcAft>
                <a:buFont typeface="Calibri" charset="0"/>
                <a:buAutoNum type="arabicPeriod"/>
                <a:defRPr/>
              </a:pPr>
              <a:endParaRPr lang="nb-NO" sz="1200">
                <a:solidFill>
                  <a:srgbClr val="FFFFFF"/>
                </a:solidFill>
                <a:latin typeface="Calibri" charset="0"/>
                <a:ea typeface="ＭＳ Ｐゴシック" charset="0"/>
                <a:cs typeface="ＭＳ Ｐゴシック" charset="0"/>
              </a:endParaRPr>
            </a:p>
          </p:txBody>
        </p:sp>
        <p:sp>
          <p:nvSpPr>
            <p:cNvPr id="47" name="Tåre 106"/>
            <p:cNvSpPr/>
            <p:nvPr/>
          </p:nvSpPr>
          <p:spPr bwMode="auto">
            <a:xfrm rot="18900000">
              <a:off x="3869092" y="4237038"/>
              <a:ext cx="1579374" cy="1586506"/>
            </a:xfrm>
            <a:prstGeom prst="teardrop">
              <a:avLst/>
            </a:prstGeom>
            <a:gradFill flip="none" rotWithShape="1">
              <a:gsLst>
                <a:gs pos="45000">
                  <a:srgbClr val="FFFFFF">
                    <a:lumMod val="40000"/>
                    <a:lumOff val="60000"/>
                    <a:alpha val="0"/>
                  </a:srgbClr>
                </a:gs>
                <a:gs pos="100000">
                  <a:srgbClr val="FFFCF9">
                    <a:alpha val="75000"/>
                  </a:srgbClr>
                </a:gs>
              </a:gsLst>
              <a:lin ang="18900000" scaled="1"/>
              <a:tileRect/>
            </a:gradFill>
            <a:ln w="9525" cap="flat" cmpd="sng" algn="ctr">
              <a:noFill/>
              <a:prstDash val="solid"/>
            </a:ln>
            <a:effectLst/>
          </p:spPr>
          <p:txBody>
            <a:bodyPr anchor="ctr"/>
            <a:lstStyle>
              <a:lvl1pPr marL="342900" indent="-342900"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buFont typeface="Calibri" charset="0"/>
                <a:buAutoNum type="arabicPeriod"/>
                <a:defRPr/>
              </a:pPr>
              <a:endParaRPr lang="nb-NO" sz="1800" smtClean="0">
                <a:solidFill>
                  <a:srgbClr val="FFFFFF"/>
                </a:solidFill>
                <a:latin typeface="Calibri" charset="0"/>
              </a:endParaRPr>
            </a:p>
          </p:txBody>
        </p:sp>
        <p:sp>
          <p:nvSpPr>
            <p:cNvPr id="48" name="Måne 107"/>
            <p:cNvSpPr/>
            <p:nvPr/>
          </p:nvSpPr>
          <p:spPr bwMode="auto">
            <a:xfrm rot="16045033">
              <a:off x="4342576" y="4954008"/>
              <a:ext cx="630396" cy="1564171"/>
            </a:xfrm>
            <a:prstGeom prst="moon">
              <a:avLst>
                <a:gd name="adj" fmla="val 18952"/>
              </a:avLst>
            </a:prstGeom>
            <a:gradFill flip="none" rotWithShape="1">
              <a:gsLst>
                <a:gs pos="24000">
                  <a:sysClr val="windowText" lastClr="000000">
                    <a:alpha val="8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auto" hangingPunct="1">
                <a:spcBef>
                  <a:spcPts val="0"/>
                </a:spcBef>
                <a:spcAft>
                  <a:spcPts val="0"/>
                </a:spcAft>
                <a:defRPr/>
              </a:pPr>
              <a:endParaRPr lang="nb-NO" sz="1800" smtClean="0">
                <a:solidFill>
                  <a:srgbClr val="FFFFFF"/>
                </a:solidFill>
                <a:latin typeface="Calibri" charset="0"/>
              </a:endParaRPr>
            </a:p>
          </p:txBody>
        </p:sp>
        <p:sp>
          <p:nvSpPr>
            <p:cNvPr id="21553" name="TextBox 15"/>
            <p:cNvSpPr txBox="1">
              <a:spLocks noChangeArrowheads="1"/>
            </p:cNvSpPr>
            <p:nvPr/>
          </p:nvSpPr>
          <p:spPr bwMode="auto">
            <a:xfrm>
              <a:off x="3500438" y="4745038"/>
              <a:ext cx="2298700"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ctr" eaLnBrk="1" hangingPunct="1"/>
              <a:r>
                <a:rPr lang="en-GB" sz="1100" b="1">
                  <a:solidFill>
                    <a:schemeClr val="bg2"/>
                  </a:solidFill>
                  <a:latin typeface="Arial" charset="0"/>
                </a:rPr>
                <a:t>Barriers to entry</a:t>
              </a:r>
            </a:p>
            <a:p>
              <a:pPr algn="ctr" eaLnBrk="1" hangingPunct="1">
                <a:spcBef>
                  <a:spcPct val="20000"/>
                </a:spcBef>
                <a:buFont typeface="Arial" charset="0"/>
                <a:buChar char="•"/>
              </a:pPr>
              <a:r>
                <a:rPr lang="en-GB" sz="1100" noProof="1">
                  <a:solidFill>
                    <a:schemeClr val="bg2"/>
                  </a:solidFill>
                  <a:cs typeface="Arial" charset="0"/>
                </a:rPr>
                <a:t>This is an example text</a:t>
              </a:r>
            </a:p>
            <a:p>
              <a:pPr algn="ctr" eaLnBrk="1" hangingPunct="1">
                <a:spcBef>
                  <a:spcPct val="20000"/>
                </a:spcBef>
                <a:buFont typeface="Arial" charset="0"/>
                <a:buChar char="•"/>
              </a:pPr>
              <a:r>
                <a:rPr lang="en-GB" sz="1100" noProof="1">
                  <a:solidFill>
                    <a:schemeClr val="bg2"/>
                  </a:solidFill>
                  <a:cs typeface="Arial" charset="0"/>
                </a:rPr>
                <a:t>Please replace with own text</a:t>
              </a:r>
            </a:p>
            <a:p>
              <a:pPr algn="ctr" eaLnBrk="1" hangingPunct="1">
                <a:spcBef>
                  <a:spcPct val="20000"/>
                </a:spcBef>
                <a:buFont typeface="Arial" charset="0"/>
                <a:buChar char="•"/>
              </a:pPr>
              <a:r>
                <a:rPr lang="en-GB" sz="1100" noProof="1">
                  <a:solidFill>
                    <a:schemeClr val="bg2"/>
                  </a:solidFill>
                  <a:cs typeface="Arial" charset="0"/>
                </a:rPr>
                <a:t>This is an example text. </a:t>
              </a:r>
            </a:p>
            <a:p>
              <a:pPr eaLnBrk="1" hangingPunct="1"/>
              <a:endParaRPr lang="nb-NO" sz="1100">
                <a:solidFill>
                  <a:srgbClr val="353637"/>
                </a:solidFill>
                <a:latin typeface="Arial" charset="0"/>
              </a:endParaRPr>
            </a:p>
            <a:p>
              <a:pPr eaLnBrk="1" hangingPunct="1"/>
              <a:endParaRPr lang="nb-NO">
                <a:latin typeface="Arial" charset="0"/>
              </a:endParaRPr>
            </a:p>
          </p:txBody>
        </p:sp>
      </p:grpSp>
      <p:sp>
        <p:nvSpPr>
          <p:cNvPr id="21509" name="Rounded Rectangle 44"/>
          <p:cNvSpPr>
            <a:spLocks noChangeArrowheads="1"/>
          </p:cNvSpPr>
          <p:nvPr/>
        </p:nvSpPr>
        <p:spPr bwMode="auto">
          <a:xfrm rot="16200000" flipH="1">
            <a:off x="1863726" y="3433762"/>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21510" name="Rounded Rectangle 38"/>
          <p:cNvSpPr>
            <a:spLocks noChangeArrowheads="1"/>
          </p:cNvSpPr>
          <p:nvPr/>
        </p:nvSpPr>
        <p:spPr bwMode="auto">
          <a:xfrm rot="16200000" flipH="1">
            <a:off x="1863726" y="2154237"/>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81" name="Round Same Side Corner Rectangle 80"/>
          <p:cNvSpPr/>
          <p:nvPr/>
        </p:nvSpPr>
        <p:spPr>
          <a:xfrm>
            <a:off x="836613" y="3192463"/>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82" name="Round Same Side Corner Rectangle 81"/>
          <p:cNvSpPr/>
          <p:nvPr/>
        </p:nvSpPr>
        <p:spPr>
          <a:xfrm>
            <a:off x="836613" y="4473575"/>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21513" name="Rounded Rectangle 27"/>
          <p:cNvSpPr>
            <a:spLocks noChangeArrowheads="1"/>
          </p:cNvSpPr>
          <p:nvPr/>
        </p:nvSpPr>
        <p:spPr bwMode="auto">
          <a:xfrm rot="16200000" flipH="1">
            <a:off x="1863726" y="866775"/>
            <a:ext cx="1079500" cy="3133725"/>
          </a:xfrm>
          <a:prstGeom prst="roundRect">
            <a:avLst>
              <a:gd name="adj" fmla="val 7870"/>
            </a:avLst>
          </a:prstGeom>
          <a:solidFill>
            <a:srgbClr val="FFFFFF"/>
          </a:solidFill>
          <a:ln w="6350">
            <a:solidFill>
              <a:srgbClr val="D9D9D9"/>
            </a:solidFill>
            <a:round/>
            <a:headEnd/>
            <a:tailEnd/>
          </a:ln>
        </p:spPr>
        <p:txBody>
          <a:bodyPr anchor="ctr"/>
          <a:lstStyle/>
          <a:p>
            <a:pPr algn="ctr" defTabSz="914400"/>
            <a:endParaRPr lang="nb-NO">
              <a:solidFill>
                <a:srgbClr val="FFFFFF"/>
              </a:solidFill>
            </a:endParaRPr>
          </a:p>
        </p:txBody>
      </p:sp>
      <p:sp>
        <p:nvSpPr>
          <p:cNvPr id="84" name="Round Same Side Corner Rectangle 83"/>
          <p:cNvSpPr/>
          <p:nvPr/>
        </p:nvSpPr>
        <p:spPr>
          <a:xfrm>
            <a:off x="836613" y="1878013"/>
            <a:ext cx="3133725" cy="314325"/>
          </a:xfrm>
          <a:prstGeom prst="round2SameRect">
            <a:avLst>
              <a:gd name="adj1" fmla="val 27778"/>
              <a:gd name="adj2" fmla="val 0"/>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9525">
            <a:noFill/>
            <a:miter lim="800000"/>
            <a:headEnd/>
            <a:tailEnd/>
          </a:ln>
          <a:effectLst/>
        </p:spPr>
        <p:txBody>
          <a:bodyPr anchor="ctr"/>
          <a:lstStyle/>
          <a:p>
            <a:pPr algn="ctr">
              <a:defRPr/>
            </a:pPr>
            <a:endParaRPr lang="nb-NO">
              <a:solidFill>
                <a:srgbClr val="FFFFFF"/>
              </a:solidFill>
              <a:latin typeface="Calibri" charset="0"/>
              <a:ea typeface="ＭＳ Ｐゴシック" charset="-128"/>
            </a:endParaRPr>
          </a:p>
        </p:txBody>
      </p:sp>
      <p:sp>
        <p:nvSpPr>
          <p:cNvPr id="21515" name="Rektangel 76"/>
          <p:cNvSpPr>
            <a:spLocks noChangeArrowheads="1"/>
          </p:cNvSpPr>
          <p:nvPr/>
        </p:nvSpPr>
        <p:spPr bwMode="auto">
          <a:xfrm>
            <a:off x="969963" y="1906588"/>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21516" name="Rektangel 76"/>
          <p:cNvSpPr>
            <a:spLocks noChangeArrowheads="1"/>
          </p:cNvSpPr>
          <p:nvPr/>
        </p:nvSpPr>
        <p:spPr bwMode="auto">
          <a:xfrm>
            <a:off x="969963" y="3209925"/>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21517" name="Rektangel 76"/>
          <p:cNvSpPr>
            <a:spLocks noChangeArrowheads="1"/>
          </p:cNvSpPr>
          <p:nvPr/>
        </p:nvSpPr>
        <p:spPr bwMode="auto">
          <a:xfrm>
            <a:off x="969963" y="4491038"/>
            <a:ext cx="2435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spcAft>
                <a:spcPts val="600"/>
              </a:spcAft>
            </a:pPr>
            <a:r>
              <a:rPr lang="en-US" sz="1100" b="1" noProof="1">
                <a:solidFill>
                  <a:srgbClr val="FFFFFF"/>
                </a:solidFill>
              </a:rPr>
              <a:t>Example text</a:t>
            </a:r>
          </a:p>
        </p:txBody>
      </p:sp>
      <p:sp>
        <p:nvSpPr>
          <p:cNvPr id="21518" name="Tekstboks 72"/>
          <p:cNvSpPr txBox="1">
            <a:spLocks noChangeArrowheads="1"/>
          </p:cNvSpPr>
          <p:nvPr/>
        </p:nvSpPr>
        <p:spPr bwMode="auto">
          <a:xfrm>
            <a:off x="1739900" y="2374900"/>
            <a:ext cx="2124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sp>
        <p:nvSpPr>
          <p:cNvPr id="21519" name="Tekstboks 72"/>
          <p:cNvSpPr txBox="1">
            <a:spLocks noChangeArrowheads="1"/>
          </p:cNvSpPr>
          <p:nvPr/>
        </p:nvSpPr>
        <p:spPr bwMode="auto">
          <a:xfrm>
            <a:off x="1739900" y="3660775"/>
            <a:ext cx="2124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sp>
        <p:nvSpPr>
          <p:cNvPr id="21520" name="Tekstboks 72"/>
          <p:cNvSpPr txBox="1">
            <a:spLocks noChangeArrowheads="1"/>
          </p:cNvSpPr>
          <p:nvPr/>
        </p:nvSpPr>
        <p:spPr bwMode="auto">
          <a:xfrm>
            <a:off x="1739900" y="4941888"/>
            <a:ext cx="21240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algn="just" eaLnBrk="1" hangingPunct="1"/>
            <a:r>
              <a:rPr lang="en-US" sz="1100">
                <a:solidFill>
                  <a:srgbClr val="000000"/>
                </a:solidFill>
              </a:rPr>
              <a:t>This is an example text. Example text. Go ahead and replace it.</a:t>
            </a:r>
          </a:p>
          <a:p>
            <a:pPr algn="just" eaLnBrk="1" hangingPunct="1"/>
            <a:endParaRPr lang="da-DK" sz="1100">
              <a:solidFill>
                <a:srgbClr val="000000"/>
              </a:solidFill>
            </a:endParaRPr>
          </a:p>
        </p:txBody>
      </p:sp>
      <p:grpSp>
        <p:nvGrpSpPr>
          <p:cNvPr id="21521" name="Group 44"/>
          <p:cNvGrpSpPr>
            <a:grpSpLocks/>
          </p:cNvGrpSpPr>
          <p:nvPr/>
        </p:nvGrpSpPr>
        <p:grpSpPr bwMode="auto">
          <a:xfrm>
            <a:off x="981075" y="2362200"/>
            <a:ext cx="403225" cy="403225"/>
            <a:chOff x="3294062" y="1631156"/>
            <a:chExt cx="460375" cy="460375"/>
          </a:xfrm>
        </p:grpSpPr>
        <p:sp>
          <p:nvSpPr>
            <p:cNvPr id="92"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21529"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1</a:t>
              </a:r>
            </a:p>
          </p:txBody>
        </p:sp>
      </p:grpSp>
      <p:grpSp>
        <p:nvGrpSpPr>
          <p:cNvPr id="21522" name="Group 44"/>
          <p:cNvGrpSpPr>
            <a:grpSpLocks/>
          </p:cNvGrpSpPr>
          <p:nvPr/>
        </p:nvGrpSpPr>
        <p:grpSpPr bwMode="auto">
          <a:xfrm>
            <a:off x="981075" y="3660775"/>
            <a:ext cx="403225" cy="403225"/>
            <a:chOff x="3294062" y="1631156"/>
            <a:chExt cx="460375" cy="460375"/>
          </a:xfrm>
        </p:grpSpPr>
        <p:sp>
          <p:nvSpPr>
            <p:cNvPr id="95"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21527"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2</a:t>
              </a:r>
            </a:p>
          </p:txBody>
        </p:sp>
      </p:grpSp>
      <p:grpSp>
        <p:nvGrpSpPr>
          <p:cNvPr id="21523" name="Group 44"/>
          <p:cNvGrpSpPr>
            <a:grpSpLocks/>
          </p:cNvGrpSpPr>
          <p:nvPr/>
        </p:nvGrpSpPr>
        <p:grpSpPr bwMode="auto">
          <a:xfrm>
            <a:off x="981075" y="4941888"/>
            <a:ext cx="403225" cy="403225"/>
            <a:chOff x="3294062" y="1631156"/>
            <a:chExt cx="460375" cy="460375"/>
          </a:xfrm>
        </p:grpSpPr>
        <p:sp>
          <p:nvSpPr>
            <p:cNvPr id="98" name="Ellipse 53"/>
            <p:cNvSpPr>
              <a:spLocks noChangeArrowheads="1"/>
            </p:cNvSpPr>
            <p:nvPr/>
          </p:nvSpPr>
          <p:spPr bwMode="auto">
            <a:xfrm>
              <a:off x="3294062" y="1631156"/>
              <a:ext cx="460375" cy="460375"/>
            </a:xfrm>
            <a:prstGeom prst="ellipse">
              <a:avLst/>
            </a:prstGeom>
            <a:solidFill>
              <a:srgbClr val="FFFFFF">
                <a:alpha val="61960"/>
              </a:srgbClr>
            </a:solidFill>
            <a:ln w="9525">
              <a:solidFill>
                <a:srgbClr val="FFFFFF"/>
              </a:solidFill>
              <a:round/>
              <a:headEnd/>
              <a:tailEnd/>
            </a:ln>
            <a:effectLst>
              <a:outerShdw blurRad="50800" dist="38100" dir="2700000" algn="tl" rotWithShape="0">
                <a:srgbClr val="808080">
                  <a:alpha val="39999"/>
                </a:srgbClr>
              </a:outerShdw>
            </a:effectLst>
          </p:spPr>
          <p:txBody>
            <a:bodyPr anchor="ctr"/>
            <a:lstStyle/>
            <a:p>
              <a:pPr algn="ctr">
                <a:defRPr/>
              </a:pPr>
              <a:endParaRPr lang="nb-NO">
                <a:solidFill>
                  <a:srgbClr val="FFFFFF"/>
                </a:solidFill>
                <a:latin typeface="Calibri" charset="0"/>
                <a:ea typeface="ＭＳ Ｐゴシック" charset="-128"/>
              </a:endParaRPr>
            </a:p>
          </p:txBody>
        </p:sp>
        <p:sp>
          <p:nvSpPr>
            <p:cNvPr id="21525" name="Tekstboks 54"/>
            <p:cNvSpPr txBox="1">
              <a:spLocks noChangeArrowheads="1"/>
            </p:cNvSpPr>
            <p:nvPr/>
          </p:nvSpPr>
          <p:spPr bwMode="auto">
            <a:xfrm>
              <a:off x="3384687" y="1638406"/>
              <a:ext cx="344375" cy="42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109" charset="0"/>
                  <a:ea typeface="ＭＳ Ｐゴシック" pitchFamily="-109" charset="-128"/>
                </a:defRPr>
              </a:lvl1pPr>
              <a:lvl2pPr marL="742950" indent="-285750" eaLnBrk="0" hangingPunct="0">
                <a:defRPr>
                  <a:solidFill>
                    <a:schemeClr val="tx1"/>
                  </a:solidFill>
                  <a:latin typeface="Calibri" pitchFamily="-109" charset="0"/>
                  <a:ea typeface="ＭＳ Ｐゴシック" pitchFamily="-109" charset="-128"/>
                </a:defRPr>
              </a:lvl2pPr>
              <a:lvl3pPr marL="1143000" indent="-228600" eaLnBrk="0" hangingPunct="0">
                <a:defRPr>
                  <a:solidFill>
                    <a:schemeClr val="tx1"/>
                  </a:solidFill>
                  <a:latin typeface="Calibri" pitchFamily="-109" charset="0"/>
                  <a:ea typeface="ＭＳ Ｐゴシック" pitchFamily="-109" charset="-128"/>
                </a:defRPr>
              </a:lvl3pPr>
              <a:lvl4pPr marL="1600200" indent="-228600" eaLnBrk="0" hangingPunct="0">
                <a:defRPr>
                  <a:solidFill>
                    <a:schemeClr val="tx1"/>
                  </a:solidFill>
                  <a:latin typeface="Calibri" pitchFamily="-109" charset="0"/>
                  <a:ea typeface="ＭＳ Ｐゴシック" pitchFamily="-109" charset="-128"/>
                </a:defRPr>
              </a:lvl4pPr>
              <a:lvl5pPr marL="2057400" indent="-228600" eaLnBrk="0" hangingPunct="0">
                <a:defRPr>
                  <a:solidFill>
                    <a:schemeClr val="tx1"/>
                  </a:solidFill>
                  <a:latin typeface="Calibri" pitchFamily="-109"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Calibri" pitchFamily="-109" charset="0"/>
                  <a:ea typeface="ＭＳ Ｐゴシック" pitchFamily="-109" charset="-128"/>
                </a:defRPr>
              </a:lvl9pPr>
            </a:lstStyle>
            <a:p>
              <a:pPr eaLnBrk="1" hangingPunct="1"/>
              <a:r>
                <a:rPr lang="da-DK">
                  <a:solidFill>
                    <a:srgbClr val="151616"/>
                  </a:solidFill>
                </a:rPr>
                <a:t>3</a:t>
              </a:r>
            </a:p>
          </p:txBody>
        </p:sp>
      </p:grpSp>
      <p:sp>
        <p:nvSpPr>
          <p:cNvPr id="5" name="Subtitle 4"/>
          <p:cNvSpPr>
            <a:spLocks noGrp="1"/>
          </p:cNvSpPr>
          <p:nvPr>
            <p:ph type="subTitle" idx="1"/>
          </p:nvPr>
        </p:nvSpPr>
        <p:spPr>
          <a:xfrm>
            <a:off x="628650" y="866381"/>
            <a:ext cx="7891272" cy="552972"/>
          </a:xfrm>
        </p:spPr>
        <p:txBody>
          <a:bodyPr/>
          <a:lstStyle/>
          <a:p>
            <a:r>
              <a:rPr lang="en-US" dirty="0"/>
              <a:t>Replace this text</a:t>
            </a:r>
          </a:p>
          <a:p>
            <a:endParaRPr lang="en-US" dirty="0"/>
          </a:p>
        </p:txBody>
      </p:sp>
      <p:sp>
        <p:nvSpPr>
          <p:cNvPr id="4" name="Title 3"/>
          <p:cNvSpPr>
            <a:spLocks noGrp="1"/>
          </p:cNvSpPr>
          <p:nvPr>
            <p:ph type="title"/>
          </p:nvPr>
        </p:nvSpPr>
        <p:spPr/>
        <p:txBody>
          <a:bodyPr/>
          <a:lstStyle/>
          <a:p>
            <a:r>
              <a:rPr lang="en-US" dirty="0"/>
              <a:t>PORTERS 5 FORCES</a:t>
            </a:r>
          </a:p>
        </p:txBody>
      </p:sp>
      <p:sp>
        <p:nvSpPr>
          <p:cNvPr id="6" name="Date Placeholder 5"/>
          <p:cNvSpPr>
            <a:spLocks noGrp="1"/>
          </p:cNvSpPr>
          <p:nvPr>
            <p:ph type="dt" sz="half" idx="10"/>
          </p:nvPr>
        </p:nvSpPr>
        <p:spPr/>
        <p:txBody>
          <a:bodyPr/>
          <a:lstStyle/>
          <a:p>
            <a:r>
              <a:rPr lang="en-US" smtClean="0"/>
              <a:t>PRESENTER NAME</a:t>
            </a:r>
            <a:endParaRPr lang="en-US"/>
          </a:p>
        </p:txBody>
      </p:sp>
      <p:sp>
        <p:nvSpPr>
          <p:cNvPr id="7" name="Footer Placeholder 6"/>
          <p:cNvSpPr>
            <a:spLocks noGrp="1"/>
          </p:cNvSpPr>
          <p:nvPr>
            <p:ph type="ftr" sz="quarter" idx="11"/>
          </p:nvPr>
        </p:nvSpPr>
        <p:spPr/>
        <p:txBody>
          <a:bodyPr/>
          <a:lstStyle/>
          <a:p>
            <a:r>
              <a:rPr lang="en-US" smtClean="0"/>
              <a:t>COMPANY NAME</a:t>
            </a:r>
            <a:endParaRPr lang="en-US"/>
          </a:p>
        </p:txBody>
      </p:sp>
      <p:sp>
        <p:nvSpPr>
          <p:cNvPr id="8" name="Slide Number Placeholder 7"/>
          <p:cNvSpPr>
            <a:spLocks noGrp="1"/>
          </p:cNvSpPr>
          <p:nvPr>
            <p:ph type="sldNum" sz="quarter" idx="12"/>
          </p:nvPr>
        </p:nvSpPr>
        <p:spPr/>
        <p:txBody>
          <a:bodyPr/>
          <a:lstStyle/>
          <a:p>
            <a:fld id="{AACE8A1A-EF06-42BD-8183-7D22FECA910D}" type="slidenum">
              <a:rPr lang="en-US" smtClean="0"/>
              <a:pPr/>
              <a:t>57</a:t>
            </a:fld>
            <a:r>
              <a:rPr lang="en-US" smtClean="0"/>
              <a:t>|</a:t>
            </a:r>
            <a:endParaRPr lang="en-US" dirty="0"/>
          </a:p>
        </p:txBody>
      </p:sp>
    </p:spTree>
    <p:extLst>
      <p:ext uri="{BB962C8B-B14F-4D97-AF65-F5344CB8AC3E}">
        <p14:creationId xmlns:p14="http://schemas.microsoft.com/office/powerpoint/2010/main" val="10093107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6</a:t>
            </a:fld>
            <a:endParaRPr lang="en-US"/>
          </a:p>
        </p:txBody>
      </p:sp>
      <p:sp>
        <p:nvSpPr>
          <p:cNvPr id="237" name="Rectangle 236"/>
          <p:cNvSpPr/>
          <p:nvPr/>
        </p:nvSpPr>
        <p:spPr>
          <a:xfrm>
            <a:off x="695469" y="1480922"/>
            <a:ext cx="1605463" cy="276999"/>
          </a:xfrm>
          <a:prstGeom prst="rect">
            <a:avLst/>
          </a:prstGeom>
        </p:spPr>
        <p:txBody>
          <a:bodyPr wrap="square">
            <a:spAutoFit/>
          </a:bodyPr>
          <a:lstStyle/>
          <a:p>
            <a:r>
              <a:rPr lang="fr-FR" sz="1200" b="1" dirty="0" smtClean="0">
                <a:solidFill>
                  <a:schemeClr val="tx2">
                    <a:lumMod val="60000"/>
                    <a:lumOff val="40000"/>
                  </a:schemeClr>
                </a:solidFill>
                <a:latin typeface="Calibri Light" panose="020F0302020204030204" pitchFamily="34" charset="0"/>
              </a:rPr>
              <a:t>COUTS</a:t>
            </a:r>
            <a:r>
              <a:rPr lang="en-US" sz="1100" dirty="0" smtClean="0">
                <a:solidFill>
                  <a:srgbClr val="7F8C8D"/>
                </a:solidFill>
                <a:latin typeface="Calibri Light" pitchFamily="34" charset="0"/>
              </a:rPr>
              <a:t> </a:t>
            </a:r>
            <a:endParaRPr lang="en-US" sz="1100" dirty="0">
              <a:solidFill>
                <a:srgbClr val="7F8C8D"/>
              </a:solidFill>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087469"/>
            <a:ext cx="941884" cy="646331"/>
          </a:xfrm>
          <a:prstGeom prst="rect">
            <a:avLst/>
          </a:prstGeom>
        </p:spPr>
        <p:txBody>
          <a:bodyPr wrap="square">
            <a:spAutoFit/>
          </a:bodyPr>
          <a:lstStyle/>
          <a:p>
            <a:pPr algn="ctr"/>
            <a:r>
              <a:rPr lang="fr-FR" sz="1200" b="1" dirty="0" smtClean="0">
                <a:solidFill>
                  <a:schemeClr val="bg1"/>
                </a:solidFill>
                <a:latin typeface="Calibri Light" panose="020F0302020204030204" pitchFamily="34" charset="0"/>
              </a:rPr>
              <a:t>La valeur ajoutée </a:t>
            </a:r>
            <a:r>
              <a:rPr lang="fr-FR" sz="1200" b="1" dirty="0" err="1" smtClean="0">
                <a:solidFill>
                  <a:schemeClr val="bg1"/>
                </a:solidFill>
                <a:latin typeface="Calibri Light" panose="020F0302020204030204" pitchFamily="34" charset="0"/>
              </a:rPr>
              <a:t>DataNest</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98" name="Rectangle 97"/>
          <p:cNvSpPr/>
          <p:nvPr/>
        </p:nvSpPr>
        <p:spPr>
          <a:xfrm>
            <a:off x="695469" y="2413251"/>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ASSISE CLIENTELE</a:t>
            </a:r>
            <a:endParaRPr lang="id-ID" sz="1200" dirty="0" smtClean="0">
              <a:solidFill>
                <a:srgbClr val="7F8C8D"/>
              </a:solidFill>
              <a:latin typeface="Calibri Light" pitchFamily="34" charset="0"/>
            </a:endParaRPr>
          </a:p>
        </p:txBody>
      </p:sp>
      <p:sp>
        <p:nvSpPr>
          <p:cNvPr id="99" name="Rectangle 98"/>
          <p:cNvSpPr/>
          <p:nvPr/>
        </p:nvSpPr>
        <p:spPr>
          <a:xfrm>
            <a:off x="695469" y="3238005"/>
            <a:ext cx="1605463" cy="461665"/>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APITAL SOCIAL MESURABLE</a:t>
            </a:r>
            <a:endParaRPr lang="id-ID" sz="1200" dirty="0" smtClean="0">
              <a:solidFill>
                <a:srgbClr val="7F8C8D"/>
              </a:solidFill>
              <a:latin typeface="Calibri Light" pitchFamily="34" charset="0"/>
            </a:endParaRPr>
          </a:p>
        </p:txBody>
      </p:sp>
      <p:sp>
        <p:nvSpPr>
          <p:cNvPr id="100" name="Rectangle 99"/>
          <p:cNvSpPr/>
          <p:nvPr/>
        </p:nvSpPr>
        <p:spPr>
          <a:xfrm>
            <a:off x="695469" y="4170334"/>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DONNEES FIABLES</a:t>
            </a:r>
            <a:endParaRPr lang="id-ID" sz="1200" dirty="0" smtClean="0">
              <a:solidFill>
                <a:srgbClr val="7F8C8D"/>
              </a:solidFill>
              <a:latin typeface="Calibri Light" pitchFamily="34" charset="0"/>
            </a:endParaRPr>
          </a:p>
        </p:txBody>
      </p:sp>
      <p:sp>
        <p:nvSpPr>
          <p:cNvPr id="101"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102"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103"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104" name="Rectangle 103"/>
          <p:cNvSpPr/>
          <p:nvPr/>
        </p:nvSpPr>
        <p:spPr>
          <a:xfrm>
            <a:off x="6842468" y="1480922"/>
            <a:ext cx="1605463" cy="276999"/>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Ingénierie Clientèle</a:t>
            </a:r>
            <a:endParaRPr lang="id-ID" sz="1200" dirty="0" smtClean="0">
              <a:solidFill>
                <a:srgbClr val="7F8C8D"/>
              </a:solidFill>
              <a:latin typeface="Calibri Light" pitchFamily="34" charset="0"/>
            </a:endParaRPr>
          </a:p>
        </p:txBody>
      </p:sp>
      <p:sp>
        <p:nvSpPr>
          <p:cNvPr id="105" name="Rectangle 104"/>
          <p:cNvSpPr/>
          <p:nvPr/>
        </p:nvSpPr>
        <p:spPr>
          <a:xfrm>
            <a:off x="6842468" y="2413251"/>
            <a:ext cx="1605463" cy="461665"/>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FLUIDITE COMMERCIALE</a:t>
            </a:r>
            <a:endParaRPr lang="id-ID" sz="1200" dirty="0" smtClean="0">
              <a:solidFill>
                <a:srgbClr val="7F8C8D"/>
              </a:solidFill>
              <a:latin typeface="Calibri Light" pitchFamily="34" charset="0"/>
            </a:endParaRPr>
          </a:p>
        </p:txBody>
      </p:sp>
      <p:sp>
        <p:nvSpPr>
          <p:cNvPr id="106" name="Rectangle 105"/>
          <p:cNvSpPr/>
          <p:nvPr/>
        </p:nvSpPr>
        <p:spPr>
          <a:xfrm>
            <a:off x="6842468" y="3238005"/>
            <a:ext cx="1605463" cy="276999"/>
          </a:xfrm>
          <a:prstGeom prst="rect">
            <a:avLst/>
          </a:prstGeom>
        </p:spPr>
        <p:txBody>
          <a:bodyPr wrap="square">
            <a:spAutoFit/>
          </a:bodyPr>
          <a:lstStyle/>
          <a:p>
            <a:pPr algn="r"/>
            <a:r>
              <a:rPr lang="id-ID" sz="1200" b="1" dirty="0">
                <a:solidFill>
                  <a:srgbClr val="7F8C8D"/>
                </a:solidFill>
                <a:latin typeface="Calibri Light" panose="020F0302020204030204" pitchFamily="34" charset="0"/>
              </a:rPr>
              <a:t>SERVICES</a:t>
            </a:r>
            <a:r>
              <a:rPr lang="fr-FR" sz="1200" b="1" dirty="0">
                <a:solidFill>
                  <a:srgbClr val="7F8C8D"/>
                </a:solidFill>
                <a:latin typeface="Calibri Light" panose="020F0302020204030204" pitchFamily="34" charset="0"/>
              </a:rPr>
              <a:t> </a:t>
            </a:r>
            <a:r>
              <a:rPr lang="fr-FR" sz="1200" b="1" dirty="0" smtClean="0">
                <a:solidFill>
                  <a:srgbClr val="7F8C8D"/>
                </a:solidFill>
                <a:latin typeface="Calibri Light" panose="020F0302020204030204" pitchFamily="34" charset="0"/>
              </a:rPr>
              <a:t>ADAPTES</a:t>
            </a:r>
            <a:endParaRPr lang="id-ID" sz="1200" dirty="0">
              <a:solidFill>
                <a:srgbClr val="7F8C8D"/>
              </a:solidFill>
              <a:latin typeface="Calibri Light" pitchFamily="34" charset="0"/>
            </a:endParaRPr>
          </a:p>
        </p:txBody>
      </p:sp>
      <p:sp>
        <p:nvSpPr>
          <p:cNvPr id="107" name="Rectangle 106"/>
          <p:cNvSpPr/>
          <p:nvPr/>
        </p:nvSpPr>
        <p:spPr>
          <a:xfrm>
            <a:off x="6842468" y="4170334"/>
            <a:ext cx="1605463" cy="276999"/>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MANAGEMENT</a:t>
            </a:r>
            <a:endParaRPr lang="id-ID" sz="1200" dirty="0" smtClean="0">
              <a:solidFill>
                <a:srgbClr val="7F8C8D"/>
              </a:solidFill>
              <a:latin typeface="Calibri Light" pitchFamily="34" charset="0"/>
            </a:endParaRPr>
          </a:p>
        </p:txBody>
      </p:sp>
      <p:sp>
        <p:nvSpPr>
          <p:cNvPr id="108"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109"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110"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111"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5" name="Rectangle 4"/>
          <p:cNvSpPr/>
          <p:nvPr/>
        </p:nvSpPr>
        <p:spPr>
          <a:xfrm>
            <a:off x="2675396" y="5715000"/>
            <a:ext cx="3924472" cy="923330"/>
          </a:xfrm>
          <a:prstGeom prst="rect">
            <a:avLst/>
          </a:prstGeom>
          <a:noFill/>
        </p:spPr>
        <p:txBody>
          <a:bodyPr wrap="none" lIns="91440" tIns="45720" rIns="91440" bIns="45720">
            <a:spAutoFit/>
          </a:bodyPr>
          <a:lstStyle/>
          <a:p>
            <a:pPr algn="ct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Cost</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 </a:t>
            </a: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effectiv</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t>
            </a:r>
            <a:endParaRPr lang="fr-FR" sz="5400" b="1" cap="none" spc="0" dirty="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endParaRPr>
          </a:p>
        </p:txBody>
      </p:sp>
    </p:spTree>
    <p:extLst>
      <p:ext uri="{BB962C8B-B14F-4D97-AF65-F5344CB8AC3E}">
        <p14:creationId xmlns:p14="http://schemas.microsoft.com/office/powerpoint/2010/main" val="8355569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7</a:t>
            </a:fld>
            <a:endParaRPr lang="en-US"/>
          </a:p>
        </p:txBody>
      </p:sp>
      <p:sp>
        <p:nvSpPr>
          <p:cNvPr id="237" name="Rectangle 236"/>
          <p:cNvSpPr/>
          <p:nvPr/>
        </p:nvSpPr>
        <p:spPr>
          <a:xfrm>
            <a:off x="695469" y="1480922"/>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OUTS</a:t>
            </a:r>
            <a:endParaRPr lang="id-ID" sz="1200" dirty="0" smtClean="0">
              <a:solidFill>
                <a:srgbClr val="7F8C8D"/>
              </a:solidFill>
              <a:latin typeface="Calibri Light" pitchFamily="34" charset="0"/>
            </a:endParaRPr>
          </a:p>
        </p:txBody>
      </p:sp>
      <p:sp>
        <p:nvSpPr>
          <p:cNvPr id="238" name="Rectangle 237"/>
          <p:cNvSpPr/>
          <p:nvPr/>
        </p:nvSpPr>
        <p:spPr>
          <a:xfrm>
            <a:off x="695469" y="2413251"/>
            <a:ext cx="1605463" cy="276999"/>
          </a:xfrm>
          <a:prstGeom prst="rect">
            <a:avLst/>
          </a:prstGeom>
        </p:spPr>
        <p:txBody>
          <a:bodyPr wrap="square">
            <a:spAutoFit/>
          </a:bodyPr>
          <a:lstStyle/>
          <a:p>
            <a:r>
              <a:rPr lang="fr-FR" sz="1200" b="1" dirty="0" smtClean="0">
                <a:solidFill>
                  <a:schemeClr val="tx2">
                    <a:lumMod val="60000"/>
                    <a:lumOff val="40000"/>
                  </a:schemeClr>
                </a:solidFill>
                <a:latin typeface="Calibri Light" panose="020F0302020204030204" pitchFamily="34" charset="0"/>
              </a:rPr>
              <a:t>ASSISE CLIENTELE</a:t>
            </a:r>
            <a:endParaRPr lang="id-ID" sz="1200" dirty="0" smtClean="0">
              <a:solidFill>
                <a:schemeClr val="tx2">
                  <a:lumMod val="60000"/>
                  <a:lumOff val="40000"/>
                </a:schemeClr>
              </a:solidFill>
              <a:latin typeface="Calibri Light" pitchFamily="34" charset="0"/>
            </a:endParaRPr>
          </a:p>
        </p:txBody>
      </p:sp>
      <p:sp>
        <p:nvSpPr>
          <p:cNvPr id="239" name="Rectangle 238"/>
          <p:cNvSpPr/>
          <p:nvPr/>
        </p:nvSpPr>
        <p:spPr>
          <a:xfrm>
            <a:off x="695469" y="3238005"/>
            <a:ext cx="1605463" cy="461665"/>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APITAL SOCIAL MESURABLE</a:t>
            </a:r>
            <a:endParaRPr lang="id-ID" sz="1200" dirty="0" smtClean="0">
              <a:solidFill>
                <a:srgbClr val="7F8C8D"/>
              </a:solidFill>
              <a:latin typeface="Calibri Light" pitchFamily="34" charset="0"/>
            </a:endParaRPr>
          </a:p>
        </p:txBody>
      </p:sp>
      <p:sp>
        <p:nvSpPr>
          <p:cNvPr id="240" name="Rectangle 239"/>
          <p:cNvSpPr/>
          <p:nvPr/>
        </p:nvSpPr>
        <p:spPr>
          <a:xfrm>
            <a:off x="695469" y="4170334"/>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DONNEES FIABLES</a:t>
            </a:r>
            <a:endParaRPr lang="id-ID" sz="1200" dirty="0" smtClean="0">
              <a:solidFill>
                <a:srgbClr val="7F8C8D"/>
              </a:solidFill>
              <a:latin typeface="Calibri Light" pitchFamily="34" charset="0"/>
            </a:endParaRPr>
          </a:p>
        </p:txBody>
      </p:sp>
      <p:sp>
        <p:nvSpPr>
          <p:cNvPr id="245" name="Rectangle 244"/>
          <p:cNvSpPr/>
          <p:nvPr/>
        </p:nvSpPr>
        <p:spPr>
          <a:xfrm>
            <a:off x="6842468" y="1480922"/>
            <a:ext cx="1605463" cy="276999"/>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Ingénierie Clientèle</a:t>
            </a:r>
            <a:endParaRPr lang="id-ID" sz="1200" dirty="0" smtClean="0">
              <a:solidFill>
                <a:srgbClr val="7F8C8D"/>
              </a:solidFill>
              <a:latin typeface="Calibri Light" pitchFamily="34" charset="0"/>
            </a:endParaRPr>
          </a:p>
        </p:txBody>
      </p:sp>
      <p:sp>
        <p:nvSpPr>
          <p:cNvPr id="246" name="Rectangle 245"/>
          <p:cNvSpPr/>
          <p:nvPr/>
        </p:nvSpPr>
        <p:spPr>
          <a:xfrm>
            <a:off x="6842468" y="2413251"/>
            <a:ext cx="1605463" cy="461665"/>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FLUIDITE COMMERCIALE</a:t>
            </a:r>
            <a:endParaRPr lang="id-ID" sz="1200" dirty="0" smtClean="0">
              <a:solidFill>
                <a:srgbClr val="7F8C8D"/>
              </a:solidFill>
              <a:latin typeface="Calibri Light" pitchFamily="34" charset="0"/>
            </a:endParaRPr>
          </a:p>
        </p:txBody>
      </p:sp>
      <p:sp>
        <p:nvSpPr>
          <p:cNvPr id="247" name="Rectangle 246"/>
          <p:cNvSpPr/>
          <p:nvPr/>
        </p:nvSpPr>
        <p:spPr>
          <a:xfrm>
            <a:off x="6842468" y="3238005"/>
            <a:ext cx="1605463" cy="276999"/>
          </a:xfrm>
          <a:prstGeom prst="rect">
            <a:avLst/>
          </a:prstGeom>
        </p:spPr>
        <p:txBody>
          <a:bodyPr wrap="square">
            <a:spAutoFit/>
          </a:bodyPr>
          <a:lstStyle/>
          <a:p>
            <a:pPr algn="r"/>
            <a:r>
              <a:rPr lang="id-ID" sz="1200" b="1" dirty="0">
                <a:solidFill>
                  <a:srgbClr val="7F8C8D"/>
                </a:solidFill>
                <a:latin typeface="Calibri Light" panose="020F0302020204030204" pitchFamily="34" charset="0"/>
              </a:rPr>
              <a:t>SERVICES</a:t>
            </a:r>
            <a:r>
              <a:rPr lang="fr-FR" sz="1200" b="1" dirty="0">
                <a:solidFill>
                  <a:srgbClr val="7F8C8D"/>
                </a:solidFill>
                <a:latin typeface="Calibri Light" panose="020F0302020204030204" pitchFamily="34" charset="0"/>
              </a:rPr>
              <a:t> </a:t>
            </a:r>
            <a:r>
              <a:rPr lang="fr-FR" sz="1200" b="1" dirty="0" smtClean="0">
                <a:solidFill>
                  <a:srgbClr val="7F8C8D"/>
                </a:solidFill>
                <a:latin typeface="Calibri Light" panose="020F0302020204030204" pitchFamily="34" charset="0"/>
              </a:rPr>
              <a:t>ADAPTES</a:t>
            </a:r>
            <a:endParaRPr lang="id-ID" sz="1200" dirty="0">
              <a:solidFill>
                <a:srgbClr val="7F8C8D"/>
              </a:solidFill>
              <a:latin typeface="Calibri Light" pitchFamily="34" charset="0"/>
            </a:endParaRPr>
          </a:p>
        </p:txBody>
      </p:sp>
      <p:sp>
        <p:nvSpPr>
          <p:cNvPr id="248" name="Rectangle 247"/>
          <p:cNvSpPr/>
          <p:nvPr/>
        </p:nvSpPr>
        <p:spPr>
          <a:xfrm>
            <a:off x="6842468" y="4170334"/>
            <a:ext cx="1605463" cy="276999"/>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MANAGEMENT</a:t>
            </a:r>
            <a:endParaRPr lang="id-ID" sz="1200" dirty="0" smtClean="0">
              <a:solidFill>
                <a:srgbClr val="7F8C8D"/>
              </a:solidFill>
              <a:latin typeface="Calibri Light" pitchFamily="34" charset="0"/>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087469"/>
            <a:ext cx="941884" cy="646331"/>
          </a:xfrm>
          <a:prstGeom prst="rect">
            <a:avLst/>
          </a:prstGeom>
        </p:spPr>
        <p:txBody>
          <a:bodyPr wrap="square">
            <a:spAutoFit/>
          </a:bodyPr>
          <a:lstStyle/>
          <a:p>
            <a:pPr algn="ctr"/>
            <a:r>
              <a:rPr lang="fr-FR" sz="1200" b="1" dirty="0" smtClean="0">
                <a:solidFill>
                  <a:schemeClr val="bg1"/>
                </a:solidFill>
                <a:latin typeface="Calibri Light" panose="020F0302020204030204" pitchFamily="34" charset="0"/>
              </a:rPr>
              <a:t>La valeur ajoutée </a:t>
            </a:r>
            <a:r>
              <a:rPr lang="fr-FR" sz="1200" b="1" dirty="0" err="1" smtClean="0">
                <a:solidFill>
                  <a:schemeClr val="bg1"/>
                </a:solidFill>
                <a:latin typeface="Calibri Light" panose="020F0302020204030204" pitchFamily="34" charset="0"/>
              </a:rPr>
              <a:t>DataNest</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309"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310"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311"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312"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313"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314"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315"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97" name="Rectangle 96"/>
          <p:cNvSpPr/>
          <p:nvPr/>
        </p:nvSpPr>
        <p:spPr>
          <a:xfrm>
            <a:off x="2265828" y="5715000"/>
            <a:ext cx="4743607" cy="923330"/>
          </a:xfrm>
          <a:prstGeom prst="rect">
            <a:avLst/>
          </a:prstGeom>
          <a:noFill/>
        </p:spPr>
        <p:txBody>
          <a:bodyPr wrap="none" lIns="91440" tIns="45720" rIns="91440" bIns="45720">
            <a:spAutoFit/>
          </a:bodyPr>
          <a:lstStyle/>
          <a:p>
            <a:pPr algn="ctr"/>
            <a:r>
              <a:rPr lang="fr-FR" sz="5400" b="1"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Human</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 </a:t>
            </a: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effectiv</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t>
            </a:r>
            <a:endParaRPr lang="fr-FR" sz="5400" b="1" cap="none" spc="0" dirty="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endParaRPr>
          </a:p>
        </p:txBody>
      </p:sp>
    </p:spTree>
    <p:extLst>
      <p:ext uri="{BB962C8B-B14F-4D97-AF65-F5344CB8AC3E}">
        <p14:creationId xmlns:p14="http://schemas.microsoft.com/office/powerpoint/2010/main" val="39995436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8</a:t>
            </a:fld>
            <a:endParaRPr lang="en-US"/>
          </a:p>
        </p:txBody>
      </p:sp>
      <p:sp>
        <p:nvSpPr>
          <p:cNvPr id="237" name="Rectangle 236"/>
          <p:cNvSpPr/>
          <p:nvPr/>
        </p:nvSpPr>
        <p:spPr>
          <a:xfrm>
            <a:off x="695469" y="1480922"/>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OUTS</a:t>
            </a:r>
            <a:endParaRPr lang="id-ID" sz="1200" dirty="0" smtClean="0">
              <a:solidFill>
                <a:srgbClr val="7F8C8D"/>
              </a:solidFill>
              <a:latin typeface="Calibri Light" pitchFamily="34" charset="0"/>
            </a:endParaRPr>
          </a:p>
        </p:txBody>
      </p:sp>
      <p:sp>
        <p:nvSpPr>
          <p:cNvPr id="238" name="Rectangle 237"/>
          <p:cNvSpPr/>
          <p:nvPr/>
        </p:nvSpPr>
        <p:spPr>
          <a:xfrm>
            <a:off x="695469" y="2413251"/>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ASSISE CLIENTELE</a:t>
            </a:r>
            <a:endParaRPr lang="id-ID" sz="1200" dirty="0" smtClean="0">
              <a:solidFill>
                <a:srgbClr val="7F8C8D"/>
              </a:solidFill>
              <a:latin typeface="Calibri Light" pitchFamily="34" charset="0"/>
            </a:endParaRPr>
          </a:p>
        </p:txBody>
      </p:sp>
      <p:sp>
        <p:nvSpPr>
          <p:cNvPr id="239" name="Rectangle 238"/>
          <p:cNvSpPr/>
          <p:nvPr/>
        </p:nvSpPr>
        <p:spPr>
          <a:xfrm>
            <a:off x="695469" y="3238005"/>
            <a:ext cx="1605463" cy="461665"/>
          </a:xfrm>
          <a:prstGeom prst="rect">
            <a:avLst/>
          </a:prstGeom>
        </p:spPr>
        <p:txBody>
          <a:bodyPr wrap="square">
            <a:spAutoFit/>
          </a:bodyPr>
          <a:lstStyle/>
          <a:p>
            <a:r>
              <a:rPr lang="fr-FR" sz="1200" b="1" dirty="0" smtClean="0">
                <a:solidFill>
                  <a:schemeClr val="tx2">
                    <a:lumMod val="60000"/>
                    <a:lumOff val="40000"/>
                  </a:schemeClr>
                </a:solidFill>
                <a:latin typeface="Calibri Light" panose="020F0302020204030204" pitchFamily="34" charset="0"/>
              </a:rPr>
              <a:t>CAPITAL SOCIAL MESURABLE</a:t>
            </a:r>
            <a:endParaRPr lang="id-ID" sz="1200" dirty="0" smtClean="0">
              <a:solidFill>
                <a:schemeClr val="tx2">
                  <a:lumMod val="60000"/>
                  <a:lumOff val="40000"/>
                </a:schemeClr>
              </a:solidFill>
              <a:latin typeface="Calibri Light" pitchFamily="34" charset="0"/>
            </a:endParaRPr>
          </a:p>
        </p:txBody>
      </p:sp>
      <p:sp>
        <p:nvSpPr>
          <p:cNvPr id="240" name="Rectangle 239"/>
          <p:cNvSpPr/>
          <p:nvPr/>
        </p:nvSpPr>
        <p:spPr>
          <a:xfrm>
            <a:off x="695469" y="4170334"/>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DONNEES FIABLES</a:t>
            </a:r>
            <a:endParaRPr lang="id-ID" sz="1200" dirty="0" smtClean="0">
              <a:solidFill>
                <a:srgbClr val="7F8C8D"/>
              </a:solidFill>
              <a:latin typeface="Calibri Light" pitchFamily="34" charset="0"/>
            </a:endParaRPr>
          </a:p>
        </p:txBody>
      </p:sp>
      <p:sp>
        <p:nvSpPr>
          <p:cNvPr id="245" name="Rectangle 244"/>
          <p:cNvSpPr/>
          <p:nvPr/>
        </p:nvSpPr>
        <p:spPr>
          <a:xfrm>
            <a:off x="6842468" y="1480922"/>
            <a:ext cx="1605463" cy="276999"/>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Ingénierie Clientèle</a:t>
            </a:r>
            <a:endParaRPr lang="id-ID" sz="1200" dirty="0" smtClean="0">
              <a:solidFill>
                <a:srgbClr val="7F8C8D"/>
              </a:solidFill>
              <a:latin typeface="Calibri Light" pitchFamily="34" charset="0"/>
            </a:endParaRPr>
          </a:p>
        </p:txBody>
      </p:sp>
      <p:sp>
        <p:nvSpPr>
          <p:cNvPr id="246" name="Rectangle 245"/>
          <p:cNvSpPr/>
          <p:nvPr/>
        </p:nvSpPr>
        <p:spPr>
          <a:xfrm>
            <a:off x="6842468" y="2413251"/>
            <a:ext cx="1605463" cy="461665"/>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FLUIDITE COMMERCIALE</a:t>
            </a:r>
            <a:endParaRPr lang="id-ID" sz="1200" dirty="0" smtClean="0">
              <a:solidFill>
                <a:srgbClr val="7F8C8D"/>
              </a:solidFill>
              <a:latin typeface="Calibri Light" pitchFamily="34" charset="0"/>
            </a:endParaRPr>
          </a:p>
        </p:txBody>
      </p:sp>
      <p:sp>
        <p:nvSpPr>
          <p:cNvPr id="247" name="Rectangle 246"/>
          <p:cNvSpPr/>
          <p:nvPr/>
        </p:nvSpPr>
        <p:spPr>
          <a:xfrm>
            <a:off x="6842468" y="3238005"/>
            <a:ext cx="1605463" cy="276999"/>
          </a:xfrm>
          <a:prstGeom prst="rect">
            <a:avLst/>
          </a:prstGeom>
        </p:spPr>
        <p:txBody>
          <a:bodyPr wrap="square">
            <a:spAutoFit/>
          </a:bodyPr>
          <a:lstStyle/>
          <a:p>
            <a:pPr algn="r"/>
            <a:r>
              <a:rPr lang="id-ID" sz="1200" b="1" dirty="0">
                <a:solidFill>
                  <a:srgbClr val="7F8C8D"/>
                </a:solidFill>
                <a:latin typeface="Calibri Light" panose="020F0302020204030204" pitchFamily="34" charset="0"/>
              </a:rPr>
              <a:t>SERVICES</a:t>
            </a:r>
            <a:r>
              <a:rPr lang="fr-FR" sz="1200" b="1" dirty="0">
                <a:solidFill>
                  <a:srgbClr val="7F8C8D"/>
                </a:solidFill>
                <a:latin typeface="Calibri Light" panose="020F0302020204030204" pitchFamily="34" charset="0"/>
              </a:rPr>
              <a:t> </a:t>
            </a:r>
            <a:r>
              <a:rPr lang="fr-FR" sz="1200" b="1" dirty="0" smtClean="0">
                <a:solidFill>
                  <a:srgbClr val="7F8C8D"/>
                </a:solidFill>
                <a:latin typeface="Calibri Light" panose="020F0302020204030204" pitchFamily="34" charset="0"/>
              </a:rPr>
              <a:t>ADAPTES</a:t>
            </a:r>
            <a:endParaRPr lang="id-ID" sz="1200" dirty="0">
              <a:solidFill>
                <a:srgbClr val="7F8C8D"/>
              </a:solidFill>
              <a:latin typeface="Calibri Light" pitchFamily="34" charset="0"/>
            </a:endParaRPr>
          </a:p>
        </p:txBody>
      </p:sp>
      <p:sp>
        <p:nvSpPr>
          <p:cNvPr id="248" name="Rectangle 247"/>
          <p:cNvSpPr/>
          <p:nvPr/>
        </p:nvSpPr>
        <p:spPr>
          <a:xfrm>
            <a:off x="6842468" y="4170334"/>
            <a:ext cx="1605463" cy="276999"/>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MANAGEMENT</a:t>
            </a:r>
            <a:endParaRPr lang="id-ID" sz="1200" dirty="0" smtClean="0">
              <a:solidFill>
                <a:srgbClr val="7F8C8D"/>
              </a:solidFill>
              <a:latin typeface="Calibri Light" pitchFamily="34" charset="0"/>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087469"/>
            <a:ext cx="941884" cy="646331"/>
          </a:xfrm>
          <a:prstGeom prst="rect">
            <a:avLst/>
          </a:prstGeom>
        </p:spPr>
        <p:txBody>
          <a:bodyPr wrap="square">
            <a:spAutoFit/>
          </a:bodyPr>
          <a:lstStyle/>
          <a:p>
            <a:pPr algn="ctr"/>
            <a:r>
              <a:rPr lang="fr-FR" sz="1200" b="1" dirty="0" smtClean="0">
                <a:solidFill>
                  <a:schemeClr val="bg1"/>
                </a:solidFill>
                <a:latin typeface="Calibri Light" panose="020F0302020204030204" pitchFamily="34" charset="0"/>
              </a:rPr>
              <a:t>La valeur ajoutée </a:t>
            </a:r>
            <a:r>
              <a:rPr lang="fr-FR" sz="1200" b="1" dirty="0" err="1" smtClean="0">
                <a:solidFill>
                  <a:schemeClr val="bg1"/>
                </a:solidFill>
                <a:latin typeface="Calibri Light" panose="020F0302020204030204" pitchFamily="34" charset="0"/>
              </a:rPr>
              <a:t>DataNest</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309"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310"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311"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312"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313"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314"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315"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95" name="Rectangle 94"/>
          <p:cNvSpPr/>
          <p:nvPr/>
        </p:nvSpPr>
        <p:spPr>
          <a:xfrm>
            <a:off x="2795621" y="5715000"/>
            <a:ext cx="3684022" cy="923330"/>
          </a:xfrm>
          <a:prstGeom prst="rect">
            <a:avLst/>
          </a:prstGeom>
          <a:noFill/>
        </p:spPr>
        <p:txBody>
          <a:bodyPr wrap="none" lIns="91440" tIns="45720" rIns="91440" bIns="45720">
            <a:spAutoFit/>
          </a:bodyPr>
          <a:lstStyle/>
          <a:p>
            <a:pPr algn="ct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ROI </a:t>
            </a: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effectiv</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t>
            </a:r>
            <a:endParaRPr lang="fr-FR" sz="5400" b="1" cap="none" spc="0" dirty="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endParaRPr>
          </a:p>
        </p:txBody>
      </p:sp>
    </p:spTree>
    <p:extLst>
      <p:ext uri="{BB962C8B-B14F-4D97-AF65-F5344CB8AC3E}">
        <p14:creationId xmlns:p14="http://schemas.microsoft.com/office/powerpoint/2010/main" val="22830290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flipH="1">
            <a:off x="0" y="5486400"/>
            <a:ext cx="9144000" cy="0"/>
          </a:xfrm>
          <a:prstGeom prst="line">
            <a:avLst/>
          </a:prstGeom>
          <a:ln w="12700">
            <a:solidFill>
              <a:srgbClr val="7F8C8D"/>
            </a:solidFill>
          </a:ln>
        </p:spPr>
        <p:style>
          <a:lnRef idx="1">
            <a:schemeClr val="accent1"/>
          </a:lnRef>
          <a:fillRef idx="0">
            <a:schemeClr val="accent1"/>
          </a:fillRef>
          <a:effectRef idx="0">
            <a:schemeClr val="accent1"/>
          </a:effectRef>
          <a:fontRef idx="minor">
            <a:schemeClr val="tx1"/>
          </a:fontRef>
        </p:style>
      </p:cxnSp>
      <p:sp>
        <p:nvSpPr>
          <p:cNvPr id="52" name="Text Placeholder 51"/>
          <p:cNvSpPr>
            <a:spLocks noGrp="1"/>
          </p:cNvSpPr>
          <p:nvPr>
            <p:ph type="body" sz="quarter" idx="13"/>
          </p:nvPr>
        </p:nvSpPr>
        <p:spPr/>
        <p:txBody>
          <a:bodyPr/>
          <a:lstStyle/>
          <a:p>
            <a:r>
              <a:rPr lang="en-US" dirty="0"/>
              <a:t>REPLACE YOUR OWN TEXT</a:t>
            </a:r>
          </a:p>
        </p:txBody>
      </p:sp>
      <p:sp>
        <p:nvSpPr>
          <p:cNvPr id="2" name="Text Placeholder 1"/>
          <p:cNvSpPr>
            <a:spLocks noGrp="1"/>
          </p:cNvSpPr>
          <p:nvPr>
            <p:ph type="body" sz="quarter" idx="14"/>
          </p:nvPr>
        </p:nvSpPr>
        <p:spPr/>
        <p:txBody>
          <a:bodyPr/>
          <a:lstStyle/>
          <a:p>
            <a:r>
              <a:rPr lang="en-US" dirty="0"/>
              <a:t>BUSINESS </a:t>
            </a:r>
            <a:r>
              <a:rPr lang="id-ID" dirty="0"/>
              <a:t>PROCESS</a:t>
            </a:r>
            <a:endParaRPr lang="en-US" dirty="0"/>
          </a:p>
        </p:txBody>
      </p:sp>
      <p:sp>
        <p:nvSpPr>
          <p:cNvPr id="4" name="Date Placeholder 3"/>
          <p:cNvSpPr>
            <a:spLocks noGrp="1"/>
          </p:cNvSpPr>
          <p:nvPr>
            <p:ph type="dt" sz="half" idx="15"/>
          </p:nvPr>
        </p:nvSpPr>
        <p:spPr/>
        <p:txBody>
          <a:bodyPr/>
          <a:lstStyle/>
          <a:p>
            <a:r>
              <a:rPr lang="en-US" smtClean="0"/>
              <a:t>www.domainname.com</a:t>
            </a:r>
            <a:endParaRPr lang="en-US"/>
          </a:p>
        </p:txBody>
      </p:sp>
      <p:sp>
        <p:nvSpPr>
          <p:cNvPr id="22" name="Footer Placeholder 21"/>
          <p:cNvSpPr>
            <a:spLocks noGrp="1"/>
          </p:cNvSpPr>
          <p:nvPr>
            <p:ph type="ftr" sz="quarter" idx="16"/>
          </p:nvPr>
        </p:nvSpPr>
        <p:spPr/>
        <p:txBody>
          <a:bodyPr/>
          <a:lstStyle/>
          <a:p>
            <a:r>
              <a:rPr lang="en-US" dirty="0" smtClean="0"/>
              <a:t>Logo Company</a:t>
            </a:r>
          </a:p>
        </p:txBody>
      </p:sp>
      <p:sp>
        <p:nvSpPr>
          <p:cNvPr id="37" name="Slide Number Placeholder 36"/>
          <p:cNvSpPr>
            <a:spLocks noGrp="1"/>
          </p:cNvSpPr>
          <p:nvPr>
            <p:ph type="sldNum" sz="quarter" idx="17"/>
          </p:nvPr>
        </p:nvSpPr>
        <p:spPr/>
        <p:txBody>
          <a:bodyPr/>
          <a:lstStyle/>
          <a:p>
            <a:fld id="{3101D46F-57A9-43DB-8B55-C38BE2226748}" type="slidenum">
              <a:rPr lang="en-US" smtClean="0"/>
              <a:t>9</a:t>
            </a:fld>
            <a:endParaRPr lang="en-US"/>
          </a:p>
        </p:txBody>
      </p:sp>
      <p:sp>
        <p:nvSpPr>
          <p:cNvPr id="237" name="Rectangle 236"/>
          <p:cNvSpPr/>
          <p:nvPr/>
        </p:nvSpPr>
        <p:spPr>
          <a:xfrm>
            <a:off x="695469" y="1480922"/>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OUTS</a:t>
            </a:r>
            <a:endParaRPr lang="id-ID" sz="1200" dirty="0" smtClean="0">
              <a:solidFill>
                <a:srgbClr val="7F8C8D"/>
              </a:solidFill>
              <a:latin typeface="Calibri Light" pitchFamily="34" charset="0"/>
            </a:endParaRPr>
          </a:p>
        </p:txBody>
      </p:sp>
      <p:sp>
        <p:nvSpPr>
          <p:cNvPr id="238" name="Rectangle 237"/>
          <p:cNvSpPr/>
          <p:nvPr/>
        </p:nvSpPr>
        <p:spPr>
          <a:xfrm>
            <a:off x="695469" y="2413251"/>
            <a:ext cx="1605463" cy="276999"/>
          </a:xfrm>
          <a:prstGeom prst="rect">
            <a:avLst/>
          </a:prstGeom>
        </p:spPr>
        <p:txBody>
          <a:bodyPr wrap="square">
            <a:spAutoFit/>
          </a:bodyPr>
          <a:lstStyle/>
          <a:p>
            <a:r>
              <a:rPr lang="fr-FR" sz="1200" b="1" dirty="0" smtClean="0">
                <a:solidFill>
                  <a:srgbClr val="7F8C8D"/>
                </a:solidFill>
                <a:latin typeface="Calibri Light" panose="020F0302020204030204" pitchFamily="34" charset="0"/>
              </a:rPr>
              <a:t>ASSISE CLIENTELE</a:t>
            </a:r>
            <a:endParaRPr lang="id-ID" sz="1200" dirty="0" smtClean="0">
              <a:solidFill>
                <a:srgbClr val="7F8C8D"/>
              </a:solidFill>
              <a:latin typeface="Calibri Light" pitchFamily="34" charset="0"/>
            </a:endParaRPr>
          </a:p>
        </p:txBody>
      </p:sp>
      <p:sp>
        <p:nvSpPr>
          <p:cNvPr id="239" name="Rectangle 238"/>
          <p:cNvSpPr/>
          <p:nvPr/>
        </p:nvSpPr>
        <p:spPr>
          <a:xfrm>
            <a:off x="695469" y="3238005"/>
            <a:ext cx="1605463" cy="461665"/>
          </a:xfrm>
          <a:prstGeom prst="rect">
            <a:avLst/>
          </a:prstGeom>
        </p:spPr>
        <p:txBody>
          <a:bodyPr wrap="square">
            <a:spAutoFit/>
          </a:bodyPr>
          <a:lstStyle/>
          <a:p>
            <a:r>
              <a:rPr lang="fr-FR" sz="1200" b="1" dirty="0" smtClean="0">
                <a:solidFill>
                  <a:srgbClr val="7F8C8D"/>
                </a:solidFill>
                <a:latin typeface="Calibri Light" panose="020F0302020204030204" pitchFamily="34" charset="0"/>
              </a:rPr>
              <a:t>CAPITAL SOCIAL MESURABLE</a:t>
            </a:r>
            <a:endParaRPr lang="id-ID" sz="1200" dirty="0" smtClean="0">
              <a:solidFill>
                <a:srgbClr val="7F8C8D"/>
              </a:solidFill>
              <a:latin typeface="Calibri Light" pitchFamily="34" charset="0"/>
            </a:endParaRPr>
          </a:p>
        </p:txBody>
      </p:sp>
      <p:sp>
        <p:nvSpPr>
          <p:cNvPr id="240" name="Rectangle 239"/>
          <p:cNvSpPr/>
          <p:nvPr/>
        </p:nvSpPr>
        <p:spPr>
          <a:xfrm>
            <a:off x="695469" y="4170334"/>
            <a:ext cx="1605463" cy="276999"/>
          </a:xfrm>
          <a:prstGeom prst="rect">
            <a:avLst/>
          </a:prstGeom>
        </p:spPr>
        <p:txBody>
          <a:bodyPr wrap="square">
            <a:spAutoFit/>
          </a:bodyPr>
          <a:lstStyle/>
          <a:p>
            <a:r>
              <a:rPr lang="fr-FR" sz="1200" b="1" dirty="0" smtClean="0">
                <a:solidFill>
                  <a:schemeClr val="tx2">
                    <a:lumMod val="60000"/>
                    <a:lumOff val="40000"/>
                  </a:schemeClr>
                </a:solidFill>
                <a:latin typeface="Calibri Light" panose="020F0302020204030204" pitchFamily="34" charset="0"/>
              </a:rPr>
              <a:t>DONNEES FIABLES</a:t>
            </a:r>
            <a:endParaRPr lang="id-ID" sz="1200" dirty="0" smtClean="0">
              <a:solidFill>
                <a:schemeClr val="tx2">
                  <a:lumMod val="60000"/>
                  <a:lumOff val="40000"/>
                </a:schemeClr>
              </a:solidFill>
              <a:latin typeface="Calibri Light" pitchFamily="34" charset="0"/>
            </a:endParaRPr>
          </a:p>
        </p:txBody>
      </p:sp>
      <p:sp>
        <p:nvSpPr>
          <p:cNvPr id="245" name="Rectangle 244"/>
          <p:cNvSpPr/>
          <p:nvPr/>
        </p:nvSpPr>
        <p:spPr>
          <a:xfrm>
            <a:off x="6842468" y="1480922"/>
            <a:ext cx="1605463" cy="276999"/>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Ingénierie Clientèle</a:t>
            </a:r>
            <a:endParaRPr lang="id-ID" sz="1200" dirty="0" smtClean="0">
              <a:solidFill>
                <a:srgbClr val="7F8C8D"/>
              </a:solidFill>
              <a:latin typeface="Calibri Light" pitchFamily="34" charset="0"/>
            </a:endParaRPr>
          </a:p>
        </p:txBody>
      </p:sp>
      <p:sp>
        <p:nvSpPr>
          <p:cNvPr id="246" name="Rectangle 245"/>
          <p:cNvSpPr/>
          <p:nvPr/>
        </p:nvSpPr>
        <p:spPr>
          <a:xfrm>
            <a:off x="6842468" y="2413251"/>
            <a:ext cx="1605463" cy="461665"/>
          </a:xfrm>
          <a:prstGeom prst="rect">
            <a:avLst/>
          </a:prstGeom>
        </p:spPr>
        <p:txBody>
          <a:bodyPr wrap="square">
            <a:spAutoFit/>
          </a:bodyPr>
          <a:lstStyle/>
          <a:p>
            <a:pPr algn="r"/>
            <a:r>
              <a:rPr lang="fr-FR" sz="1200" b="1" dirty="0" smtClean="0">
                <a:solidFill>
                  <a:srgbClr val="7F8C8D"/>
                </a:solidFill>
                <a:latin typeface="Calibri Light" panose="020F0302020204030204" pitchFamily="34" charset="0"/>
              </a:rPr>
              <a:t>FLUIDITE COMMERCIALE</a:t>
            </a:r>
            <a:endParaRPr lang="id-ID" sz="1200" dirty="0" smtClean="0">
              <a:solidFill>
                <a:srgbClr val="7F8C8D"/>
              </a:solidFill>
              <a:latin typeface="Calibri Light" pitchFamily="34" charset="0"/>
            </a:endParaRPr>
          </a:p>
        </p:txBody>
      </p:sp>
      <p:sp>
        <p:nvSpPr>
          <p:cNvPr id="247" name="Rectangle 246"/>
          <p:cNvSpPr/>
          <p:nvPr/>
        </p:nvSpPr>
        <p:spPr>
          <a:xfrm>
            <a:off x="6842468" y="3238005"/>
            <a:ext cx="1605463" cy="276999"/>
          </a:xfrm>
          <a:prstGeom prst="rect">
            <a:avLst/>
          </a:prstGeom>
        </p:spPr>
        <p:txBody>
          <a:bodyPr wrap="square">
            <a:spAutoFit/>
          </a:bodyPr>
          <a:lstStyle/>
          <a:p>
            <a:pPr algn="r"/>
            <a:r>
              <a:rPr lang="id-ID" sz="1200" b="1" dirty="0">
                <a:solidFill>
                  <a:srgbClr val="7F8C8D"/>
                </a:solidFill>
                <a:latin typeface="Calibri Light" panose="020F0302020204030204" pitchFamily="34" charset="0"/>
              </a:rPr>
              <a:t>SERVICES</a:t>
            </a:r>
            <a:r>
              <a:rPr lang="fr-FR" sz="1200" b="1" dirty="0">
                <a:solidFill>
                  <a:srgbClr val="7F8C8D"/>
                </a:solidFill>
                <a:latin typeface="Calibri Light" panose="020F0302020204030204" pitchFamily="34" charset="0"/>
              </a:rPr>
              <a:t> </a:t>
            </a:r>
            <a:r>
              <a:rPr lang="fr-FR" sz="1200" b="1" dirty="0" smtClean="0">
                <a:solidFill>
                  <a:srgbClr val="7F8C8D"/>
                </a:solidFill>
                <a:latin typeface="Calibri Light" panose="020F0302020204030204" pitchFamily="34" charset="0"/>
              </a:rPr>
              <a:t>ADAPTES</a:t>
            </a:r>
            <a:endParaRPr lang="id-ID" sz="1200" dirty="0">
              <a:solidFill>
                <a:srgbClr val="7F8C8D"/>
              </a:solidFill>
              <a:latin typeface="Calibri Light" pitchFamily="34" charset="0"/>
            </a:endParaRPr>
          </a:p>
        </p:txBody>
      </p:sp>
      <p:sp>
        <p:nvSpPr>
          <p:cNvPr id="248" name="Rectangle 247"/>
          <p:cNvSpPr/>
          <p:nvPr/>
        </p:nvSpPr>
        <p:spPr>
          <a:xfrm>
            <a:off x="6842468" y="4170334"/>
            <a:ext cx="1605463" cy="276999"/>
          </a:xfrm>
          <a:prstGeom prst="rect">
            <a:avLst/>
          </a:prstGeom>
        </p:spPr>
        <p:txBody>
          <a:bodyPr wrap="square">
            <a:spAutoFit/>
          </a:bodyPr>
          <a:lstStyle/>
          <a:p>
            <a:pPr algn="r"/>
            <a:r>
              <a:rPr lang="id-ID" sz="1200" b="1" dirty="0" smtClean="0">
                <a:solidFill>
                  <a:srgbClr val="7F8C8D"/>
                </a:solidFill>
                <a:latin typeface="Calibri Light" panose="020F0302020204030204" pitchFamily="34" charset="0"/>
              </a:rPr>
              <a:t>MANAGEMENT</a:t>
            </a:r>
            <a:endParaRPr lang="id-ID" sz="1200" dirty="0" smtClean="0">
              <a:solidFill>
                <a:srgbClr val="7F8C8D"/>
              </a:solidFill>
              <a:latin typeface="Calibri Light" pitchFamily="34" charset="0"/>
            </a:endParaRPr>
          </a:p>
        </p:txBody>
      </p:sp>
      <p:sp>
        <p:nvSpPr>
          <p:cNvPr id="26" name="Oval 25"/>
          <p:cNvSpPr/>
          <p:nvPr/>
        </p:nvSpPr>
        <p:spPr>
          <a:xfrm>
            <a:off x="3268135" y="2092933"/>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15" name="Group 214"/>
          <p:cNvGrpSpPr/>
          <p:nvPr/>
        </p:nvGrpSpPr>
        <p:grpSpPr>
          <a:xfrm>
            <a:off x="4018921" y="2843718"/>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90" name="Oval 189"/>
          <p:cNvSpPr/>
          <p:nvPr/>
        </p:nvSpPr>
        <p:spPr>
          <a:xfrm>
            <a:off x="2915368"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9" name="Oval 198"/>
          <p:cNvSpPr/>
          <p:nvPr/>
        </p:nvSpPr>
        <p:spPr>
          <a:xfrm>
            <a:off x="5494514" y="30297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52" name="Oval 151"/>
          <p:cNvSpPr/>
          <p:nvPr/>
        </p:nvSpPr>
        <p:spPr>
          <a:xfrm>
            <a:off x="3307530" y="2191537"/>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3" name="Oval 192"/>
          <p:cNvSpPr/>
          <p:nvPr/>
        </p:nvSpPr>
        <p:spPr>
          <a:xfrm>
            <a:off x="3307530" y="3867938"/>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196" name="Oval 195"/>
          <p:cNvSpPr/>
          <p:nvPr/>
        </p:nvSpPr>
        <p:spPr>
          <a:xfrm>
            <a:off x="5033265" y="2184825"/>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2" name="Oval 201"/>
          <p:cNvSpPr/>
          <p:nvPr/>
        </p:nvSpPr>
        <p:spPr>
          <a:xfrm>
            <a:off x="5033265" y="3874651"/>
            <a:ext cx="740020" cy="74002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5" name="Oval 204"/>
          <p:cNvSpPr/>
          <p:nvPr/>
        </p:nvSpPr>
        <p:spPr>
          <a:xfrm>
            <a:off x="4170397" y="4305034"/>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08" name="Oval 207"/>
          <p:cNvSpPr/>
          <p:nvPr/>
        </p:nvSpPr>
        <p:spPr>
          <a:xfrm>
            <a:off x="4170397" y="1754442"/>
            <a:ext cx="740020" cy="740020"/>
          </a:xfrm>
          <a:prstGeom prst="ellipse">
            <a:avLst/>
          </a:prstGeom>
          <a:solidFill>
            <a:srgbClr val="7F8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p>
        </p:txBody>
      </p:sp>
      <p:sp>
        <p:nvSpPr>
          <p:cNvPr id="214" name="Rectangle 213"/>
          <p:cNvSpPr/>
          <p:nvPr/>
        </p:nvSpPr>
        <p:spPr>
          <a:xfrm>
            <a:off x="4104009" y="3087469"/>
            <a:ext cx="941884" cy="646331"/>
          </a:xfrm>
          <a:prstGeom prst="rect">
            <a:avLst/>
          </a:prstGeom>
        </p:spPr>
        <p:txBody>
          <a:bodyPr wrap="square">
            <a:spAutoFit/>
          </a:bodyPr>
          <a:lstStyle/>
          <a:p>
            <a:pPr algn="ctr"/>
            <a:r>
              <a:rPr lang="fr-FR" sz="1200" b="1" dirty="0" smtClean="0">
                <a:solidFill>
                  <a:schemeClr val="bg1"/>
                </a:solidFill>
                <a:latin typeface="Calibri Light" panose="020F0302020204030204" pitchFamily="34" charset="0"/>
              </a:rPr>
              <a:t>La valeur ajoutée </a:t>
            </a:r>
            <a:r>
              <a:rPr lang="fr-FR" sz="1200" b="1" dirty="0" err="1" smtClean="0">
                <a:solidFill>
                  <a:schemeClr val="bg1"/>
                </a:solidFill>
                <a:latin typeface="Calibri Light" panose="020F0302020204030204" pitchFamily="34" charset="0"/>
              </a:rPr>
              <a:t>DataNest</a:t>
            </a:r>
            <a:endParaRPr lang="id-ID" sz="1200" b="1" dirty="0">
              <a:solidFill>
                <a:schemeClr val="bg1"/>
              </a:solidFill>
            </a:endParaRPr>
          </a:p>
        </p:txBody>
      </p:sp>
      <p:sp>
        <p:nvSpPr>
          <p:cNvPr id="218" name="Oval 217"/>
          <p:cNvSpPr/>
          <p:nvPr/>
        </p:nvSpPr>
        <p:spPr>
          <a:xfrm>
            <a:off x="3254123"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219" name="Oval 218"/>
          <p:cNvSpPr/>
          <p:nvPr/>
        </p:nvSpPr>
        <p:spPr>
          <a:xfrm>
            <a:off x="5575084" y="2198862"/>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220" name="Oval 219"/>
          <p:cNvSpPr/>
          <p:nvPr/>
        </p:nvSpPr>
        <p:spPr>
          <a:xfrm>
            <a:off x="4408109" y="164390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221" name="Oval 220"/>
          <p:cNvSpPr/>
          <p:nvPr/>
        </p:nvSpPr>
        <p:spPr>
          <a:xfrm>
            <a:off x="4412443" y="490035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222" name="Oval 221"/>
          <p:cNvSpPr/>
          <p:nvPr/>
        </p:nvSpPr>
        <p:spPr>
          <a:xfrm>
            <a:off x="2808783"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223" name="Oval 222"/>
          <p:cNvSpPr/>
          <p:nvPr/>
        </p:nvSpPr>
        <p:spPr>
          <a:xfrm>
            <a:off x="6070620" y="3267450"/>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224" name="Oval 223"/>
          <p:cNvSpPr/>
          <p:nvPr/>
        </p:nvSpPr>
        <p:spPr>
          <a:xfrm>
            <a:off x="3254123"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225" name="Oval 224"/>
          <p:cNvSpPr/>
          <p:nvPr/>
        </p:nvSpPr>
        <p:spPr>
          <a:xfrm>
            <a:off x="5575084" y="43167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grpSp>
        <p:nvGrpSpPr>
          <p:cNvPr id="249" name="Group 248"/>
          <p:cNvGrpSpPr/>
          <p:nvPr/>
        </p:nvGrpSpPr>
        <p:grpSpPr>
          <a:xfrm>
            <a:off x="5700938" y="3237441"/>
            <a:ext cx="351793" cy="308952"/>
            <a:chOff x="0" y="4483101"/>
            <a:chExt cx="677863" cy="595313"/>
          </a:xfrm>
          <a:solidFill>
            <a:schemeClr val="bg1"/>
          </a:solidFill>
        </p:grpSpPr>
        <p:sp>
          <p:nvSpPr>
            <p:cNvPr id="250" name="Freeform 201"/>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02"/>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03"/>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04"/>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p:cNvGrpSpPr/>
          <p:nvPr/>
        </p:nvGrpSpPr>
        <p:grpSpPr>
          <a:xfrm>
            <a:off x="5222317" y="4028278"/>
            <a:ext cx="373931" cy="354645"/>
            <a:chOff x="4478338" y="3613151"/>
            <a:chExt cx="554038" cy="525463"/>
          </a:xfrm>
          <a:solidFill>
            <a:schemeClr val="bg1"/>
          </a:solidFill>
        </p:grpSpPr>
        <p:sp>
          <p:nvSpPr>
            <p:cNvPr id="255" name="Freeform 164"/>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5"/>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6"/>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9"/>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70"/>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 name="Group 259"/>
          <p:cNvGrpSpPr/>
          <p:nvPr/>
        </p:nvGrpSpPr>
        <p:grpSpPr>
          <a:xfrm>
            <a:off x="4348245" y="1962655"/>
            <a:ext cx="384324" cy="384324"/>
            <a:chOff x="5370928" y="4037271"/>
            <a:chExt cx="664188" cy="664189"/>
          </a:xfrm>
          <a:solidFill>
            <a:schemeClr val="bg1"/>
          </a:solidFill>
        </p:grpSpPr>
        <p:sp>
          <p:nvSpPr>
            <p:cNvPr id="261" name="Freeform 41"/>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42"/>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 262"/>
          <p:cNvGrpSpPr/>
          <p:nvPr/>
        </p:nvGrpSpPr>
        <p:grpSpPr>
          <a:xfrm>
            <a:off x="4315312" y="4544054"/>
            <a:ext cx="437686" cy="250107"/>
            <a:chOff x="1720850" y="1023938"/>
            <a:chExt cx="788988" cy="450851"/>
          </a:xfrm>
          <a:solidFill>
            <a:schemeClr val="bg1"/>
          </a:solidFill>
        </p:grpSpPr>
        <p:sp>
          <p:nvSpPr>
            <p:cNvPr id="264" name="Freeform 16"/>
            <p:cNvSpPr>
              <a:spLocks noEditPoints="1"/>
            </p:cNvSpPr>
            <p:nvPr/>
          </p:nvSpPr>
          <p:spPr bwMode="auto">
            <a:xfrm>
              <a:off x="2005013" y="1023938"/>
              <a:ext cx="220663" cy="239713"/>
            </a:xfrm>
            <a:custGeom>
              <a:avLst/>
              <a:gdLst>
                <a:gd name="T0" fmla="*/ 177 w 416"/>
                <a:gd name="T1" fmla="*/ 57 h 453"/>
                <a:gd name="T2" fmla="*/ 134 w 416"/>
                <a:gd name="T3" fmla="*/ 74 h 453"/>
                <a:gd name="T4" fmla="*/ 98 w 416"/>
                <a:gd name="T5" fmla="*/ 104 h 453"/>
                <a:gd name="T6" fmla="*/ 72 w 416"/>
                <a:gd name="T7" fmla="*/ 144 h 453"/>
                <a:gd name="T8" fmla="*/ 56 w 416"/>
                <a:gd name="T9" fmla="*/ 192 h 453"/>
                <a:gd name="T10" fmla="*/ 53 w 416"/>
                <a:gd name="T11" fmla="*/ 244 h 453"/>
                <a:gd name="T12" fmla="*/ 65 w 416"/>
                <a:gd name="T13" fmla="*/ 294 h 453"/>
                <a:gd name="T14" fmla="*/ 88 w 416"/>
                <a:gd name="T15" fmla="*/ 337 h 453"/>
                <a:gd name="T16" fmla="*/ 121 w 416"/>
                <a:gd name="T17" fmla="*/ 371 h 453"/>
                <a:gd name="T18" fmla="*/ 161 w 416"/>
                <a:gd name="T19" fmla="*/ 392 h 453"/>
                <a:gd name="T20" fmla="*/ 207 w 416"/>
                <a:gd name="T21" fmla="*/ 399 h 453"/>
                <a:gd name="T22" fmla="*/ 254 w 416"/>
                <a:gd name="T23" fmla="*/ 392 h 453"/>
                <a:gd name="T24" fmla="*/ 295 w 416"/>
                <a:gd name="T25" fmla="*/ 371 h 453"/>
                <a:gd name="T26" fmla="*/ 328 w 416"/>
                <a:gd name="T27" fmla="*/ 337 h 453"/>
                <a:gd name="T28" fmla="*/ 351 w 416"/>
                <a:gd name="T29" fmla="*/ 294 h 453"/>
                <a:gd name="T30" fmla="*/ 363 w 416"/>
                <a:gd name="T31" fmla="*/ 244 h 453"/>
                <a:gd name="T32" fmla="*/ 360 w 416"/>
                <a:gd name="T33" fmla="*/ 192 h 453"/>
                <a:gd name="T34" fmla="*/ 344 w 416"/>
                <a:gd name="T35" fmla="*/ 144 h 453"/>
                <a:gd name="T36" fmla="*/ 318 w 416"/>
                <a:gd name="T37" fmla="*/ 104 h 453"/>
                <a:gd name="T38" fmla="*/ 282 w 416"/>
                <a:gd name="T39" fmla="*/ 74 h 453"/>
                <a:gd name="T40" fmla="*/ 239 w 416"/>
                <a:gd name="T41" fmla="*/ 57 h 453"/>
                <a:gd name="T42" fmla="*/ 207 w 416"/>
                <a:gd name="T43" fmla="*/ 453 h 453"/>
                <a:gd name="T44" fmla="*/ 147 w 416"/>
                <a:gd name="T45" fmla="*/ 443 h 453"/>
                <a:gd name="T46" fmla="*/ 92 w 416"/>
                <a:gd name="T47" fmla="*/ 414 h 453"/>
                <a:gd name="T48" fmla="*/ 48 w 416"/>
                <a:gd name="T49" fmla="*/ 371 h 453"/>
                <a:gd name="T50" fmla="*/ 17 w 416"/>
                <a:gd name="T51" fmla="*/ 314 h 453"/>
                <a:gd name="T52" fmla="*/ 2 w 416"/>
                <a:gd name="T53" fmla="*/ 250 h 453"/>
                <a:gd name="T54" fmla="*/ 4 w 416"/>
                <a:gd name="T55" fmla="*/ 180 h 453"/>
                <a:gd name="T56" fmla="*/ 26 w 416"/>
                <a:gd name="T57" fmla="*/ 119 h 453"/>
                <a:gd name="T58" fmla="*/ 62 w 416"/>
                <a:gd name="T59" fmla="*/ 67 h 453"/>
                <a:gd name="T60" fmla="*/ 110 w 416"/>
                <a:gd name="T61" fmla="*/ 28 h 453"/>
                <a:gd name="T62" fmla="*/ 166 w 416"/>
                <a:gd name="T63" fmla="*/ 6 h 453"/>
                <a:gd name="T64" fmla="*/ 229 w 416"/>
                <a:gd name="T65" fmla="*/ 2 h 453"/>
                <a:gd name="T66" fmla="*/ 288 w 416"/>
                <a:gd name="T67" fmla="*/ 19 h 453"/>
                <a:gd name="T68" fmla="*/ 340 w 416"/>
                <a:gd name="T69" fmla="*/ 52 h 453"/>
                <a:gd name="T70" fmla="*/ 380 w 416"/>
                <a:gd name="T71" fmla="*/ 100 h 453"/>
                <a:gd name="T72" fmla="*/ 406 w 416"/>
                <a:gd name="T73" fmla="*/ 159 h 453"/>
                <a:gd name="T74" fmla="*/ 416 w 416"/>
                <a:gd name="T75" fmla="*/ 227 h 453"/>
                <a:gd name="T76" fmla="*/ 406 w 416"/>
                <a:gd name="T77" fmla="*/ 294 h 453"/>
                <a:gd name="T78" fmla="*/ 380 w 416"/>
                <a:gd name="T79" fmla="*/ 353 h 453"/>
                <a:gd name="T80" fmla="*/ 340 w 416"/>
                <a:gd name="T81" fmla="*/ 401 h 453"/>
                <a:gd name="T82" fmla="*/ 288 w 416"/>
                <a:gd name="T83" fmla="*/ 434 h 453"/>
                <a:gd name="T84" fmla="*/ 229 w 416"/>
                <a:gd name="T85" fmla="*/ 45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3">
                  <a:moveTo>
                    <a:pt x="207" y="54"/>
                  </a:moveTo>
                  <a:lnTo>
                    <a:pt x="192" y="54"/>
                  </a:lnTo>
                  <a:lnTo>
                    <a:pt x="177" y="57"/>
                  </a:lnTo>
                  <a:lnTo>
                    <a:pt x="161" y="61"/>
                  </a:lnTo>
                  <a:lnTo>
                    <a:pt x="148" y="67"/>
                  </a:lnTo>
                  <a:lnTo>
                    <a:pt x="134" y="74"/>
                  </a:lnTo>
                  <a:lnTo>
                    <a:pt x="121" y="83"/>
                  </a:lnTo>
                  <a:lnTo>
                    <a:pt x="110" y="93"/>
                  </a:lnTo>
                  <a:lnTo>
                    <a:pt x="98" y="104"/>
                  </a:lnTo>
                  <a:lnTo>
                    <a:pt x="88" y="116"/>
                  </a:lnTo>
                  <a:lnTo>
                    <a:pt x="79" y="130"/>
                  </a:lnTo>
                  <a:lnTo>
                    <a:pt x="72" y="144"/>
                  </a:lnTo>
                  <a:lnTo>
                    <a:pt x="65" y="159"/>
                  </a:lnTo>
                  <a:lnTo>
                    <a:pt x="59" y="175"/>
                  </a:lnTo>
                  <a:lnTo>
                    <a:pt x="56" y="192"/>
                  </a:lnTo>
                  <a:lnTo>
                    <a:pt x="53" y="209"/>
                  </a:lnTo>
                  <a:lnTo>
                    <a:pt x="53" y="227"/>
                  </a:lnTo>
                  <a:lnTo>
                    <a:pt x="53" y="244"/>
                  </a:lnTo>
                  <a:lnTo>
                    <a:pt x="56" y="261"/>
                  </a:lnTo>
                  <a:lnTo>
                    <a:pt x="59" y="278"/>
                  </a:lnTo>
                  <a:lnTo>
                    <a:pt x="65" y="294"/>
                  </a:lnTo>
                  <a:lnTo>
                    <a:pt x="72" y="309"/>
                  </a:lnTo>
                  <a:lnTo>
                    <a:pt x="79" y="323"/>
                  </a:lnTo>
                  <a:lnTo>
                    <a:pt x="88" y="337"/>
                  </a:lnTo>
                  <a:lnTo>
                    <a:pt x="98" y="349"/>
                  </a:lnTo>
                  <a:lnTo>
                    <a:pt x="110" y="360"/>
                  </a:lnTo>
                  <a:lnTo>
                    <a:pt x="121" y="371"/>
                  </a:lnTo>
                  <a:lnTo>
                    <a:pt x="134" y="379"/>
                  </a:lnTo>
                  <a:lnTo>
                    <a:pt x="148" y="386"/>
                  </a:lnTo>
                  <a:lnTo>
                    <a:pt x="161" y="392"/>
                  </a:lnTo>
                  <a:lnTo>
                    <a:pt x="177" y="396"/>
                  </a:lnTo>
                  <a:lnTo>
                    <a:pt x="192" y="399"/>
                  </a:lnTo>
                  <a:lnTo>
                    <a:pt x="207" y="399"/>
                  </a:lnTo>
                  <a:lnTo>
                    <a:pt x="223" y="399"/>
                  </a:lnTo>
                  <a:lnTo>
                    <a:pt x="239" y="396"/>
                  </a:lnTo>
                  <a:lnTo>
                    <a:pt x="254" y="392"/>
                  </a:lnTo>
                  <a:lnTo>
                    <a:pt x="268" y="386"/>
                  </a:lnTo>
                  <a:lnTo>
                    <a:pt x="282" y="379"/>
                  </a:lnTo>
                  <a:lnTo>
                    <a:pt x="295" y="371"/>
                  </a:lnTo>
                  <a:lnTo>
                    <a:pt x="307" y="360"/>
                  </a:lnTo>
                  <a:lnTo>
                    <a:pt x="318" y="349"/>
                  </a:lnTo>
                  <a:lnTo>
                    <a:pt x="328" y="337"/>
                  </a:lnTo>
                  <a:lnTo>
                    <a:pt x="337" y="323"/>
                  </a:lnTo>
                  <a:lnTo>
                    <a:pt x="344" y="309"/>
                  </a:lnTo>
                  <a:lnTo>
                    <a:pt x="351" y="294"/>
                  </a:lnTo>
                  <a:lnTo>
                    <a:pt x="356" y="278"/>
                  </a:lnTo>
                  <a:lnTo>
                    <a:pt x="360" y="261"/>
                  </a:lnTo>
                  <a:lnTo>
                    <a:pt x="363" y="244"/>
                  </a:lnTo>
                  <a:lnTo>
                    <a:pt x="363" y="227"/>
                  </a:lnTo>
                  <a:lnTo>
                    <a:pt x="363" y="209"/>
                  </a:lnTo>
                  <a:lnTo>
                    <a:pt x="360" y="192"/>
                  </a:lnTo>
                  <a:lnTo>
                    <a:pt x="356" y="175"/>
                  </a:lnTo>
                  <a:lnTo>
                    <a:pt x="351" y="159"/>
                  </a:lnTo>
                  <a:lnTo>
                    <a:pt x="344" y="144"/>
                  </a:lnTo>
                  <a:lnTo>
                    <a:pt x="337" y="130"/>
                  </a:lnTo>
                  <a:lnTo>
                    <a:pt x="328" y="116"/>
                  </a:lnTo>
                  <a:lnTo>
                    <a:pt x="318" y="104"/>
                  </a:lnTo>
                  <a:lnTo>
                    <a:pt x="307" y="93"/>
                  </a:lnTo>
                  <a:lnTo>
                    <a:pt x="295" y="83"/>
                  </a:lnTo>
                  <a:lnTo>
                    <a:pt x="282" y="74"/>
                  </a:lnTo>
                  <a:lnTo>
                    <a:pt x="268" y="67"/>
                  </a:lnTo>
                  <a:lnTo>
                    <a:pt x="254" y="61"/>
                  </a:lnTo>
                  <a:lnTo>
                    <a:pt x="239" y="57"/>
                  </a:lnTo>
                  <a:lnTo>
                    <a:pt x="223" y="54"/>
                  </a:lnTo>
                  <a:lnTo>
                    <a:pt x="207" y="54"/>
                  </a:lnTo>
                  <a:close/>
                  <a:moveTo>
                    <a:pt x="207" y="453"/>
                  </a:moveTo>
                  <a:lnTo>
                    <a:pt x="187" y="451"/>
                  </a:lnTo>
                  <a:lnTo>
                    <a:pt x="166" y="448"/>
                  </a:lnTo>
                  <a:lnTo>
                    <a:pt x="147" y="443"/>
                  </a:lnTo>
                  <a:lnTo>
                    <a:pt x="127" y="434"/>
                  </a:lnTo>
                  <a:lnTo>
                    <a:pt x="110" y="425"/>
                  </a:lnTo>
                  <a:lnTo>
                    <a:pt x="92" y="414"/>
                  </a:lnTo>
                  <a:lnTo>
                    <a:pt x="76" y="401"/>
                  </a:lnTo>
                  <a:lnTo>
                    <a:pt x="62" y="386"/>
                  </a:lnTo>
                  <a:lnTo>
                    <a:pt x="48" y="371"/>
                  </a:lnTo>
                  <a:lnTo>
                    <a:pt x="36" y="353"/>
                  </a:lnTo>
                  <a:lnTo>
                    <a:pt x="26" y="335"/>
                  </a:lnTo>
                  <a:lnTo>
                    <a:pt x="17" y="314"/>
                  </a:lnTo>
                  <a:lnTo>
                    <a:pt x="10" y="294"/>
                  </a:lnTo>
                  <a:lnTo>
                    <a:pt x="4" y="273"/>
                  </a:lnTo>
                  <a:lnTo>
                    <a:pt x="2" y="250"/>
                  </a:lnTo>
                  <a:lnTo>
                    <a:pt x="0" y="227"/>
                  </a:lnTo>
                  <a:lnTo>
                    <a:pt x="2" y="204"/>
                  </a:lnTo>
                  <a:lnTo>
                    <a:pt x="4" y="180"/>
                  </a:lnTo>
                  <a:lnTo>
                    <a:pt x="10" y="159"/>
                  </a:lnTo>
                  <a:lnTo>
                    <a:pt x="17" y="139"/>
                  </a:lnTo>
                  <a:lnTo>
                    <a:pt x="26" y="119"/>
                  </a:lnTo>
                  <a:lnTo>
                    <a:pt x="36" y="100"/>
                  </a:lnTo>
                  <a:lnTo>
                    <a:pt x="48" y="83"/>
                  </a:lnTo>
                  <a:lnTo>
                    <a:pt x="62" y="67"/>
                  </a:lnTo>
                  <a:lnTo>
                    <a:pt x="76" y="52"/>
                  </a:lnTo>
                  <a:lnTo>
                    <a:pt x="92" y="39"/>
                  </a:lnTo>
                  <a:lnTo>
                    <a:pt x="110" y="28"/>
                  </a:lnTo>
                  <a:lnTo>
                    <a:pt x="127" y="19"/>
                  </a:lnTo>
                  <a:lnTo>
                    <a:pt x="147" y="11"/>
                  </a:lnTo>
                  <a:lnTo>
                    <a:pt x="166" y="6"/>
                  </a:lnTo>
                  <a:lnTo>
                    <a:pt x="187" y="2"/>
                  </a:lnTo>
                  <a:lnTo>
                    <a:pt x="207" y="0"/>
                  </a:lnTo>
                  <a:lnTo>
                    <a:pt x="229" y="2"/>
                  </a:lnTo>
                  <a:lnTo>
                    <a:pt x="249" y="6"/>
                  </a:lnTo>
                  <a:lnTo>
                    <a:pt x="269" y="11"/>
                  </a:lnTo>
                  <a:lnTo>
                    <a:pt x="288" y="19"/>
                  </a:lnTo>
                  <a:lnTo>
                    <a:pt x="307" y="28"/>
                  </a:lnTo>
                  <a:lnTo>
                    <a:pt x="324" y="39"/>
                  </a:lnTo>
                  <a:lnTo>
                    <a:pt x="340" y="52"/>
                  </a:lnTo>
                  <a:lnTo>
                    <a:pt x="354" y="67"/>
                  </a:lnTo>
                  <a:lnTo>
                    <a:pt x="369" y="83"/>
                  </a:lnTo>
                  <a:lnTo>
                    <a:pt x="380" y="100"/>
                  </a:lnTo>
                  <a:lnTo>
                    <a:pt x="390" y="119"/>
                  </a:lnTo>
                  <a:lnTo>
                    <a:pt x="399" y="139"/>
                  </a:lnTo>
                  <a:lnTo>
                    <a:pt x="406" y="159"/>
                  </a:lnTo>
                  <a:lnTo>
                    <a:pt x="412" y="180"/>
                  </a:lnTo>
                  <a:lnTo>
                    <a:pt x="415" y="204"/>
                  </a:lnTo>
                  <a:lnTo>
                    <a:pt x="416" y="227"/>
                  </a:lnTo>
                  <a:lnTo>
                    <a:pt x="415" y="250"/>
                  </a:lnTo>
                  <a:lnTo>
                    <a:pt x="412" y="273"/>
                  </a:lnTo>
                  <a:lnTo>
                    <a:pt x="406" y="294"/>
                  </a:lnTo>
                  <a:lnTo>
                    <a:pt x="399" y="314"/>
                  </a:lnTo>
                  <a:lnTo>
                    <a:pt x="390" y="335"/>
                  </a:lnTo>
                  <a:lnTo>
                    <a:pt x="380" y="353"/>
                  </a:lnTo>
                  <a:lnTo>
                    <a:pt x="369" y="371"/>
                  </a:lnTo>
                  <a:lnTo>
                    <a:pt x="354" y="386"/>
                  </a:lnTo>
                  <a:lnTo>
                    <a:pt x="340" y="401"/>
                  </a:lnTo>
                  <a:lnTo>
                    <a:pt x="324" y="414"/>
                  </a:lnTo>
                  <a:lnTo>
                    <a:pt x="307" y="425"/>
                  </a:lnTo>
                  <a:lnTo>
                    <a:pt x="288" y="434"/>
                  </a:lnTo>
                  <a:lnTo>
                    <a:pt x="269" y="443"/>
                  </a:lnTo>
                  <a:lnTo>
                    <a:pt x="249" y="448"/>
                  </a:lnTo>
                  <a:lnTo>
                    <a:pt x="229" y="451"/>
                  </a:lnTo>
                  <a:lnTo>
                    <a:pt x="207" y="4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
            <p:cNvSpPr>
              <a:spLocks/>
            </p:cNvSpPr>
            <p:nvPr/>
          </p:nvSpPr>
          <p:spPr bwMode="auto">
            <a:xfrm>
              <a:off x="1928813" y="1239838"/>
              <a:ext cx="373063" cy="234950"/>
            </a:xfrm>
            <a:custGeom>
              <a:avLst/>
              <a:gdLst>
                <a:gd name="T0" fmla="*/ 0 w 704"/>
                <a:gd name="T1" fmla="*/ 444 h 444"/>
                <a:gd name="T2" fmla="*/ 0 w 704"/>
                <a:gd name="T3" fmla="*/ 217 h 444"/>
                <a:gd name="T4" fmla="*/ 6 w 704"/>
                <a:gd name="T5" fmla="*/ 184 h 444"/>
                <a:gd name="T6" fmla="*/ 17 w 704"/>
                <a:gd name="T7" fmla="*/ 156 h 444"/>
                <a:gd name="T8" fmla="*/ 35 w 704"/>
                <a:gd name="T9" fmla="*/ 136 h 444"/>
                <a:gd name="T10" fmla="*/ 55 w 704"/>
                <a:gd name="T11" fmla="*/ 119 h 444"/>
                <a:gd name="T12" fmla="*/ 79 w 704"/>
                <a:gd name="T13" fmla="*/ 106 h 444"/>
                <a:gd name="T14" fmla="*/ 120 w 704"/>
                <a:gd name="T15" fmla="*/ 92 h 444"/>
                <a:gd name="T16" fmla="*/ 161 w 704"/>
                <a:gd name="T17" fmla="*/ 79 h 444"/>
                <a:gd name="T18" fmla="*/ 186 w 704"/>
                <a:gd name="T19" fmla="*/ 72 h 444"/>
                <a:gd name="T20" fmla="*/ 209 w 704"/>
                <a:gd name="T21" fmla="*/ 63 h 444"/>
                <a:gd name="T22" fmla="*/ 225 w 704"/>
                <a:gd name="T23" fmla="*/ 54 h 444"/>
                <a:gd name="T24" fmla="*/ 241 w 704"/>
                <a:gd name="T25" fmla="*/ 38 h 444"/>
                <a:gd name="T26" fmla="*/ 254 w 704"/>
                <a:gd name="T27" fmla="*/ 10 h 444"/>
                <a:gd name="T28" fmla="*/ 305 w 704"/>
                <a:gd name="T29" fmla="*/ 0 h 444"/>
                <a:gd name="T30" fmla="*/ 302 w 704"/>
                <a:gd name="T31" fmla="*/ 27 h 444"/>
                <a:gd name="T32" fmla="*/ 290 w 704"/>
                <a:gd name="T33" fmla="*/ 60 h 444"/>
                <a:gd name="T34" fmla="*/ 278 w 704"/>
                <a:gd name="T35" fmla="*/ 76 h 444"/>
                <a:gd name="T36" fmla="*/ 262 w 704"/>
                <a:gd name="T37" fmla="*/ 92 h 444"/>
                <a:gd name="T38" fmla="*/ 241 w 704"/>
                <a:gd name="T39" fmla="*/ 105 h 444"/>
                <a:gd name="T40" fmla="*/ 215 w 704"/>
                <a:gd name="T41" fmla="*/ 116 h 444"/>
                <a:gd name="T42" fmla="*/ 189 w 704"/>
                <a:gd name="T43" fmla="*/ 125 h 444"/>
                <a:gd name="T44" fmla="*/ 164 w 704"/>
                <a:gd name="T45" fmla="*/ 132 h 444"/>
                <a:gd name="T46" fmla="*/ 111 w 704"/>
                <a:gd name="T47" fmla="*/ 149 h 444"/>
                <a:gd name="T48" fmla="*/ 91 w 704"/>
                <a:gd name="T49" fmla="*/ 158 h 444"/>
                <a:gd name="T50" fmla="*/ 76 w 704"/>
                <a:gd name="T51" fmla="*/ 168 h 444"/>
                <a:gd name="T52" fmla="*/ 65 w 704"/>
                <a:gd name="T53" fmla="*/ 181 h 444"/>
                <a:gd name="T54" fmla="*/ 58 w 704"/>
                <a:gd name="T55" fmla="*/ 195 h 444"/>
                <a:gd name="T56" fmla="*/ 53 w 704"/>
                <a:gd name="T57" fmla="*/ 214 h 444"/>
                <a:gd name="T58" fmla="*/ 52 w 704"/>
                <a:gd name="T59" fmla="*/ 237 h 444"/>
                <a:gd name="T60" fmla="*/ 652 w 704"/>
                <a:gd name="T61" fmla="*/ 393 h 444"/>
                <a:gd name="T62" fmla="*/ 652 w 704"/>
                <a:gd name="T63" fmla="*/ 224 h 444"/>
                <a:gd name="T64" fmla="*/ 650 w 704"/>
                <a:gd name="T65" fmla="*/ 204 h 444"/>
                <a:gd name="T66" fmla="*/ 644 w 704"/>
                <a:gd name="T67" fmla="*/ 187 h 444"/>
                <a:gd name="T68" fmla="*/ 634 w 704"/>
                <a:gd name="T69" fmla="*/ 174 h 444"/>
                <a:gd name="T70" fmla="*/ 621 w 704"/>
                <a:gd name="T71" fmla="*/ 164 h 444"/>
                <a:gd name="T72" fmla="*/ 603 w 704"/>
                <a:gd name="T73" fmla="*/ 154 h 444"/>
                <a:gd name="T74" fmla="*/ 570 w 704"/>
                <a:gd name="T75" fmla="*/ 141 h 444"/>
                <a:gd name="T76" fmla="*/ 529 w 704"/>
                <a:gd name="T77" fmla="*/ 129 h 444"/>
                <a:gd name="T78" fmla="*/ 503 w 704"/>
                <a:gd name="T79" fmla="*/ 120 h 444"/>
                <a:gd name="T80" fmla="*/ 475 w 704"/>
                <a:gd name="T81" fmla="*/ 112 h 444"/>
                <a:gd name="T82" fmla="*/ 452 w 704"/>
                <a:gd name="T83" fmla="*/ 99 h 444"/>
                <a:gd name="T84" fmla="*/ 434 w 704"/>
                <a:gd name="T85" fmla="*/ 84 h 444"/>
                <a:gd name="T86" fmla="*/ 421 w 704"/>
                <a:gd name="T87" fmla="*/ 67 h 444"/>
                <a:gd name="T88" fmla="*/ 406 w 704"/>
                <a:gd name="T89" fmla="*/ 43 h 444"/>
                <a:gd name="T90" fmla="*/ 399 w 704"/>
                <a:gd name="T91" fmla="*/ 11 h 444"/>
                <a:gd name="T92" fmla="*/ 451 w 704"/>
                <a:gd name="T93" fmla="*/ 2 h 444"/>
                <a:gd name="T94" fmla="*/ 451 w 704"/>
                <a:gd name="T95" fmla="*/ 13 h 444"/>
                <a:gd name="T96" fmla="*/ 458 w 704"/>
                <a:gd name="T97" fmla="*/ 30 h 444"/>
                <a:gd name="T98" fmla="*/ 474 w 704"/>
                <a:gd name="T99" fmla="*/ 50 h 444"/>
                <a:gd name="T100" fmla="*/ 487 w 704"/>
                <a:gd name="T101" fmla="*/ 59 h 444"/>
                <a:gd name="T102" fmla="*/ 506 w 704"/>
                <a:gd name="T103" fmla="*/ 67 h 444"/>
                <a:gd name="T104" fmla="*/ 531 w 704"/>
                <a:gd name="T105" fmla="*/ 74 h 444"/>
                <a:gd name="T106" fmla="*/ 554 w 704"/>
                <a:gd name="T107" fmla="*/ 82 h 444"/>
                <a:gd name="T108" fmla="*/ 612 w 704"/>
                <a:gd name="T109" fmla="*/ 100 h 444"/>
                <a:gd name="T110" fmla="*/ 638 w 704"/>
                <a:gd name="T111" fmla="*/ 112 h 444"/>
                <a:gd name="T112" fmla="*/ 660 w 704"/>
                <a:gd name="T113" fmla="*/ 126 h 444"/>
                <a:gd name="T114" fmla="*/ 678 w 704"/>
                <a:gd name="T115" fmla="*/ 145 h 444"/>
                <a:gd name="T116" fmla="*/ 693 w 704"/>
                <a:gd name="T117" fmla="*/ 169 h 444"/>
                <a:gd name="T118" fmla="*/ 701 w 704"/>
                <a:gd name="T119" fmla="*/ 200 h 444"/>
                <a:gd name="T120" fmla="*/ 704 w 704"/>
                <a:gd name="T121" fmla="*/ 2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4">
                  <a:moveTo>
                    <a:pt x="704" y="444"/>
                  </a:moveTo>
                  <a:lnTo>
                    <a:pt x="0" y="444"/>
                  </a:lnTo>
                  <a:lnTo>
                    <a:pt x="0" y="237"/>
                  </a:lnTo>
                  <a:lnTo>
                    <a:pt x="0" y="217"/>
                  </a:lnTo>
                  <a:lnTo>
                    <a:pt x="3" y="200"/>
                  </a:lnTo>
                  <a:lnTo>
                    <a:pt x="6" y="184"/>
                  </a:lnTo>
                  <a:lnTo>
                    <a:pt x="12" y="169"/>
                  </a:lnTo>
                  <a:lnTo>
                    <a:pt x="17" y="156"/>
                  </a:lnTo>
                  <a:lnTo>
                    <a:pt x="26" y="145"/>
                  </a:lnTo>
                  <a:lnTo>
                    <a:pt x="35" y="136"/>
                  </a:lnTo>
                  <a:lnTo>
                    <a:pt x="45" y="126"/>
                  </a:lnTo>
                  <a:lnTo>
                    <a:pt x="55" y="119"/>
                  </a:lnTo>
                  <a:lnTo>
                    <a:pt x="66" y="112"/>
                  </a:lnTo>
                  <a:lnTo>
                    <a:pt x="79" y="106"/>
                  </a:lnTo>
                  <a:lnTo>
                    <a:pt x="92" y="100"/>
                  </a:lnTo>
                  <a:lnTo>
                    <a:pt x="120" y="92"/>
                  </a:lnTo>
                  <a:lnTo>
                    <a:pt x="148" y="82"/>
                  </a:lnTo>
                  <a:lnTo>
                    <a:pt x="161" y="79"/>
                  </a:lnTo>
                  <a:lnTo>
                    <a:pt x="173" y="74"/>
                  </a:lnTo>
                  <a:lnTo>
                    <a:pt x="186" y="72"/>
                  </a:lnTo>
                  <a:lnTo>
                    <a:pt x="199" y="67"/>
                  </a:lnTo>
                  <a:lnTo>
                    <a:pt x="209" y="63"/>
                  </a:lnTo>
                  <a:lnTo>
                    <a:pt x="218" y="59"/>
                  </a:lnTo>
                  <a:lnTo>
                    <a:pt x="225" y="54"/>
                  </a:lnTo>
                  <a:lnTo>
                    <a:pt x="232" y="49"/>
                  </a:lnTo>
                  <a:lnTo>
                    <a:pt x="241" y="38"/>
                  </a:lnTo>
                  <a:lnTo>
                    <a:pt x="248" y="28"/>
                  </a:lnTo>
                  <a:lnTo>
                    <a:pt x="254" y="10"/>
                  </a:lnTo>
                  <a:lnTo>
                    <a:pt x="254" y="2"/>
                  </a:lnTo>
                  <a:lnTo>
                    <a:pt x="305" y="0"/>
                  </a:lnTo>
                  <a:lnTo>
                    <a:pt x="305" y="11"/>
                  </a:lnTo>
                  <a:lnTo>
                    <a:pt x="302" y="27"/>
                  </a:lnTo>
                  <a:lnTo>
                    <a:pt x="298" y="43"/>
                  </a:lnTo>
                  <a:lnTo>
                    <a:pt x="290" y="60"/>
                  </a:lnTo>
                  <a:lnTo>
                    <a:pt x="284" y="67"/>
                  </a:lnTo>
                  <a:lnTo>
                    <a:pt x="278" y="76"/>
                  </a:lnTo>
                  <a:lnTo>
                    <a:pt x="271" y="84"/>
                  </a:lnTo>
                  <a:lnTo>
                    <a:pt x="262" y="92"/>
                  </a:lnTo>
                  <a:lnTo>
                    <a:pt x="252" y="99"/>
                  </a:lnTo>
                  <a:lnTo>
                    <a:pt x="241" y="105"/>
                  </a:lnTo>
                  <a:lnTo>
                    <a:pt x="229" y="112"/>
                  </a:lnTo>
                  <a:lnTo>
                    <a:pt x="215" y="116"/>
                  </a:lnTo>
                  <a:lnTo>
                    <a:pt x="202" y="120"/>
                  </a:lnTo>
                  <a:lnTo>
                    <a:pt x="189" y="125"/>
                  </a:lnTo>
                  <a:lnTo>
                    <a:pt x="176" y="129"/>
                  </a:lnTo>
                  <a:lnTo>
                    <a:pt x="164" y="132"/>
                  </a:lnTo>
                  <a:lnTo>
                    <a:pt x="134" y="141"/>
                  </a:lnTo>
                  <a:lnTo>
                    <a:pt x="111" y="149"/>
                  </a:lnTo>
                  <a:lnTo>
                    <a:pt x="99" y="154"/>
                  </a:lnTo>
                  <a:lnTo>
                    <a:pt x="91" y="158"/>
                  </a:lnTo>
                  <a:lnTo>
                    <a:pt x="82" y="164"/>
                  </a:lnTo>
                  <a:lnTo>
                    <a:pt x="76" y="168"/>
                  </a:lnTo>
                  <a:lnTo>
                    <a:pt x="69" y="174"/>
                  </a:lnTo>
                  <a:lnTo>
                    <a:pt x="65" y="181"/>
                  </a:lnTo>
                  <a:lnTo>
                    <a:pt x="61" y="187"/>
                  </a:lnTo>
                  <a:lnTo>
                    <a:pt x="58" y="195"/>
                  </a:lnTo>
                  <a:lnTo>
                    <a:pt x="55" y="204"/>
                  </a:lnTo>
                  <a:lnTo>
                    <a:pt x="53" y="214"/>
                  </a:lnTo>
                  <a:lnTo>
                    <a:pt x="52" y="224"/>
                  </a:lnTo>
                  <a:lnTo>
                    <a:pt x="52" y="237"/>
                  </a:lnTo>
                  <a:lnTo>
                    <a:pt x="52" y="393"/>
                  </a:lnTo>
                  <a:lnTo>
                    <a:pt x="652" y="393"/>
                  </a:lnTo>
                  <a:lnTo>
                    <a:pt x="652" y="237"/>
                  </a:lnTo>
                  <a:lnTo>
                    <a:pt x="652" y="224"/>
                  </a:lnTo>
                  <a:lnTo>
                    <a:pt x="651" y="214"/>
                  </a:lnTo>
                  <a:lnTo>
                    <a:pt x="650" y="204"/>
                  </a:lnTo>
                  <a:lnTo>
                    <a:pt x="647" y="195"/>
                  </a:lnTo>
                  <a:lnTo>
                    <a:pt x="644" y="187"/>
                  </a:lnTo>
                  <a:lnTo>
                    <a:pt x="639" y="181"/>
                  </a:lnTo>
                  <a:lnTo>
                    <a:pt x="634" y="174"/>
                  </a:lnTo>
                  <a:lnTo>
                    <a:pt x="628" y="168"/>
                  </a:lnTo>
                  <a:lnTo>
                    <a:pt x="621" y="164"/>
                  </a:lnTo>
                  <a:lnTo>
                    <a:pt x="614" y="158"/>
                  </a:lnTo>
                  <a:lnTo>
                    <a:pt x="603" y="154"/>
                  </a:lnTo>
                  <a:lnTo>
                    <a:pt x="593" y="149"/>
                  </a:lnTo>
                  <a:lnTo>
                    <a:pt x="570" y="141"/>
                  </a:lnTo>
                  <a:lnTo>
                    <a:pt x="540" y="132"/>
                  </a:lnTo>
                  <a:lnTo>
                    <a:pt x="529" y="129"/>
                  </a:lnTo>
                  <a:lnTo>
                    <a:pt x="516" y="125"/>
                  </a:lnTo>
                  <a:lnTo>
                    <a:pt x="503" y="120"/>
                  </a:lnTo>
                  <a:lnTo>
                    <a:pt x="488" y="116"/>
                  </a:lnTo>
                  <a:lnTo>
                    <a:pt x="475" y="112"/>
                  </a:lnTo>
                  <a:lnTo>
                    <a:pt x="464" y="105"/>
                  </a:lnTo>
                  <a:lnTo>
                    <a:pt x="452" y="99"/>
                  </a:lnTo>
                  <a:lnTo>
                    <a:pt x="442" y="92"/>
                  </a:lnTo>
                  <a:lnTo>
                    <a:pt x="434" y="84"/>
                  </a:lnTo>
                  <a:lnTo>
                    <a:pt x="426" y="76"/>
                  </a:lnTo>
                  <a:lnTo>
                    <a:pt x="421" y="67"/>
                  </a:lnTo>
                  <a:lnTo>
                    <a:pt x="415" y="60"/>
                  </a:lnTo>
                  <a:lnTo>
                    <a:pt x="406" y="43"/>
                  </a:lnTo>
                  <a:lnTo>
                    <a:pt x="402" y="27"/>
                  </a:lnTo>
                  <a:lnTo>
                    <a:pt x="399" y="11"/>
                  </a:lnTo>
                  <a:lnTo>
                    <a:pt x="399" y="0"/>
                  </a:lnTo>
                  <a:lnTo>
                    <a:pt x="451" y="2"/>
                  </a:lnTo>
                  <a:lnTo>
                    <a:pt x="451" y="5"/>
                  </a:lnTo>
                  <a:lnTo>
                    <a:pt x="451" y="13"/>
                  </a:lnTo>
                  <a:lnTo>
                    <a:pt x="454" y="20"/>
                  </a:lnTo>
                  <a:lnTo>
                    <a:pt x="458" y="30"/>
                  </a:lnTo>
                  <a:lnTo>
                    <a:pt x="464" y="40"/>
                  </a:lnTo>
                  <a:lnTo>
                    <a:pt x="474" y="50"/>
                  </a:lnTo>
                  <a:lnTo>
                    <a:pt x="480" y="54"/>
                  </a:lnTo>
                  <a:lnTo>
                    <a:pt x="487" y="59"/>
                  </a:lnTo>
                  <a:lnTo>
                    <a:pt x="495" y="63"/>
                  </a:lnTo>
                  <a:lnTo>
                    <a:pt x="506" y="67"/>
                  </a:lnTo>
                  <a:lnTo>
                    <a:pt x="518" y="72"/>
                  </a:lnTo>
                  <a:lnTo>
                    <a:pt x="531" y="74"/>
                  </a:lnTo>
                  <a:lnTo>
                    <a:pt x="543" y="79"/>
                  </a:lnTo>
                  <a:lnTo>
                    <a:pt x="554" y="82"/>
                  </a:lnTo>
                  <a:lnTo>
                    <a:pt x="585" y="92"/>
                  </a:lnTo>
                  <a:lnTo>
                    <a:pt x="612" y="100"/>
                  </a:lnTo>
                  <a:lnTo>
                    <a:pt x="625" y="106"/>
                  </a:lnTo>
                  <a:lnTo>
                    <a:pt x="638" y="112"/>
                  </a:lnTo>
                  <a:lnTo>
                    <a:pt x="650" y="119"/>
                  </a:lnTo>
                  <a:lnTo>
                    <a:pt x="660" y="126"/>
                  </a:lnTo>
                  <a:lnTo>
                    <a:pt x="670" y="136"/>
                  </a:lnTo>
                  <a:lnTo>
                    <a:pt x="678" y="145"/>
                  </a:lnTo>
                  <a:lnTo>
                    <a:pt x="686" y="156"/>
                  </a:lnTo>
                  <a:lnTo>
                    <a:pt x="693" y="169"/>
                  </a:lnTo>
                  <a:lnTo>
                    <a:pt x="698" y="184"/>
                  </a:lnTo>
                  <a:lnTo>
                    <a:pt x="701" y="200"/>
                  </a:lnTo>
                  <a:lnTo>
                    <a:pt x="704" y="217"/>
                  </a:lnTo>
                  <a:lnTo>
                    <a:pt x="704" y="237"/>
                  </a:lnTo>
                  <a:lnTo>
                    <a:pt x="70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8"/>
            <p:cNvSpPr>
              <a:spLocks/>
            </p:cNvSpPr>
            <p:nvPr/>
          </p:nvSpPr>
          <p:spPr bwMode="auto">
            <a:xfrm>
              <a:off x="2016125" y="1082676"/>
              <a:ext cx="195263" cy="50800"/>
            </a:xfrm>
            <a:custGeom>
              <a:avLst/>
              <a:gdLst>
                <a:gd name="T0" fmla="*/ 90 w 369"/>
                <a:gd name="T1" fmla="*/ 98 h 98"/>
                <a:gd name="T2" fmla="*/ 68 w 369"/>
                <a:gd name="T3" fmla="*/ 98 h 98"/>
                <a:gd name="T4" fmla="*/ 46 w 369"/>
                <a:gd name="T5" fmla="*/ 96 h 98"/>
                <a:gd name="T6" fmla="*/ 23 w 369"/>
                <a:gd name="T7" fmla="*/ 92 h 98"/>
                <a:gd name="T8" fmla="*/ 0 w 369"/>
                <a:gd name="T9" fmla="*/ 88 h 98"/>
                <a:gd name="T10" fmla="*/ 13 w 369"/>
                <a:gd name="T11" fmla="*/ 37 h 98"/>
                <a:gd name="T12" fmla="*/ 38 w 369"/>
                <a:gd name="T13" fmla="*/ 42 h 98"/>
                <a:gd name="T14" fmla="*/ 61 w 369"/>
                <a:gd name="T15" fmla="*/ 45 h 98"/>
                <a:gd name="T16" fmla="*/ 84 w 369"/>
                <a:gd name="T17" fmla="*/ 46 h 98"/>
                <a:gd name="T18" fmla="*/ 105 w 369"/>
                <a:gd name="T19" fmla="*/ 46 h 98"/>
                <a:gd name="T20" fmla="*/ 126 w 369"/>
                <a:gd name="T21" fmla="*/ 45 h 98"/>
                <a:gd name="T22" fmla="*/ 144 w 369"/>
                <a:gd name="T23" fmla="*/ 42 h 98"/>
                <a:gd name="T24" fmla="*/ 163 w 369"/>
                <a:gd name="T25" fmla="*/ 37 h 98"/>
                <a:gd name="T26" fmla="*/ 179 w 369"/>
                <a:gd name="T27" fmla="*/ 33 h 98"/>
                <a:gd name="T28" fmla="*/ 206 w 369"/>
                <a:gd name="T29" fmla="*/ 23 h 98"/>
                <a:gd name="T30" fmla="*/ 228 w 369"/>
                <a:gd name="T31" fmla="*/ 14 h 98"/>
                <a:gd name="T32" fmla="*/ 241 w 369"/>
                <a:gd name="T33" fmla="*/ 7 h 98"/>
                <a:gd name="T34" fmla="*/ 246 w 369"/>
                <a:gd name="T35" fmla="*/ 4 h 98"/>
                <a:gd name="T36" fmla="*/ 251 w 369"/>
                <a:gd name="T37" fmla="*/ 1 h 98"/>
                <a:gd name="T38" fmla="*/ 255 w 369"/>
                <a:gd name="T39" fmla="*/ 0 h 98"/>
                <a:gd name="T40" fmla="*/ 259 w 369"/>
                <a:gd name="T41" fmla="*/ 0 h 98"/>
                <a:gd name="T42" fmla="*/ 264 w 369"/>
                <a:gd name="T43" fmla="*/ 0 h 98"/>
                <a:gd name="T44" fmla="*/ 268 w 369"/>
                <a:gd name="T45" fmla="*/ 1 h 98"/>
                <a:gd name="T46" fmla="*/ 272 w 369"/>
                <a:gd name="T47" fmla="*/ 3 h 98"/>
                <a:gd name="T48" fmla="*/ 275 w 369"/>
                <a:gd name="T49" fmla="*/ 4 h 98"/>
                <a:gd name="T50" fmla="*/ 280 w 369"/>
                <a:gd name="T51" fmla="*/ 7 h 98"/>
                <a:gd name="T52" fmla="*/ 285 w 369"/>
                <a:gd name="T53" fmla="*/ 13 h 98"/>
                <a:gd name="T54" fmla="*/ 303 w 369"/>
                <a:gd name="T55" fmla="*/ 22 h 98"/>
                <a:gd name="T56" fmla="*/ 316 w 369"/>
                <a:gd name="T57" fmla="*/ 27 h 98"/>
                <a:gd name="T58" fmla="*/ 330 w 369"/>
                <a:gd name="T59" fmla="*/ 32 h 98"/>
                <a:gd name="T60" fmla="*/ 349 w 369"/>
                <a:gd name="T61" fmla="*/ 34 h 98"/>
                <a:gd name="T62" fmla="*/ 369 w 369"/>
                <a:gd name="T63" fmla="*/ 36 h 98"/>
                <a:gd name="T64" fmla="*/ 369 w 369"/>
                <a:gd name="T65" fmla="*/ 88 h 98"/>
                <a:gd name="T66" fmla="*/ 350 w 369"/>
                <a:gd name="T67" fmla="*/ 88 h 98"/>
                <a:gd name="T68" fmla="*/ 331 w 369"/>
                <a:gd name="T69" fmla="*/ 85 h 98"/>
                <a:gd name="T70" fmla="*/ 316 w 369"/>
                <a:gd name="T71" fmla="*/ 82 h 98"/>
                <a:gd name="T72" fmla="*/ 301 w 369"/>
                <a:gd name="T73" fmla="*/ 78 h 98"/>
                <a:gd name="T74" fmla="*/ 288 w 369"/>
                <a:gd name="T75" fmla="*/ 73 h 98"/>
                <a:gd name="T76" fmla="*/ 277 w 369"/>
                <a:gd name="T77" fmla="*/ 68 h 98"/>
                <a:gd name="T78" fmla="*/ 267 w 369"/>
                <a:gd name="T79" fmla="*/ 62 h 98"/>
                <a:gd name="T80" fmla="*/ 258 w 369"/>
                <a:gd name="T81" fmla="*/ 58 h 98"/>
                <a:gd name="T82" fmla="*/ 246 w 369"/>
                <a:gd name="T83" fmla="*/ 63 h 98"/>
                <a:gd name="T84" fmla="*/ 232 w 369"/>
                <a:gd name="T85" fmla="*/ 70 h 98"/>
                <a:gd name="T86" fmla="*/ 213 w 369"/>
                <a:gd name="T87" fmla="*/ 76 h 98"/>
                <a:gd name="T88" fmla="*/ 193 w 369"/>
                <a:gd name="T89" fmla="*/ 83 h 98"/>
                <a:gd name="T90" fmla="*/ 170 w 369"/>
                <a:gd name="T91" fmla="*/ 89 h 98"/>
                <a:gd name="T92" fmla="*/ 146 w 369"/>
                <a:gd name="T93" fmla="*/ 94 h 98"/>
                <a:gd name="T94" fmla="*/ 118 w 369"/>
                <a:gd name="T95" fmla="*/ 98 h 98"/>
                <a:gd name="T96" fmla="*/ 90 w 369"/>
                <a:gd name="T9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9" h="98">
                  <a:moveTo>
                    <a:pt x="90" y="98"/>
                  </a:moveTo>
                  <a:lnTo>
                    <a:pt x="68" y="98"/>
                  </a:lnTo>
                  <a:lnTo>
                    <a:pt x="46" y="96"/>
                  </a:lnTo>
                  <a:lnTo>
                    <a:pt x="23" y="92"/>
                  </a:lnTo>
                  <a:lnTo>
                    <a:pt x="0" y="88"/>
                  </a:lnTo>
                  <a:lnTo>
                    <a:pt x="13" y="37"/>
                  </a:lnTo>
                  <a:lnTo>
                    <a:pt x="38" y="42"/>
                  </a:lnTo>
                  <a:lnTo>
                    <a:pt x="61" y="45"/>
                  </a:lnTo>
                  <a:lnTo>
                    <a:pt x="84" y="46"/>
                  </a:lnTo>
                  <a:lnTo>
                    <a:pt x="105" y="46"/>
                  </a:lnTo>
                  <a:lnTo>
                    <a:pt x="126" y="45"/>
                  </a:lnTo>
                  <a:lnTo>
                    <a:pt x="144" y="42"/>
                  </a:lnTo>
                  <a:lnTo>
                    <a:pt x="163" y="37"/>
                  </a:lnTo>
                  <a:lnTo>
                    <a:pt x="179" y="33"/>
                  </a:lnTo>
                  <a:lnTo>
                    <a:pt x="206" y="23"/>
                  </a:lnTo>
                  <a:lnTo>
                    <a:pt x="228" y="14"/>
                  </a:lnTo>
                  <a:lnTo>
                    <a:pt x="241" y="7"/>
                  </a:lnTo>
                  <a:lnTo>
                    <a:pt x="246" y="4"/>
                  </a:lnTo>
                  <a:lnTo>
                    <a:pt x="251" y="1"/>
                  </a:lnTo>
                  <a:lnTo>
                    <a:pt x="255" y="0"/>
                  </a:lnTo>
                  <a:lnTo>
                    <a:pt x="259" y="0"/>
                  </a:lnTo>
                  <a:lnTo>
                    <a:pt x="264" y="0"/>
                  </a:lnTo>
                  <a:lnTo>
                    <a:pt x="268" y="1"/>
                  </a:lnTo>
                  <a:lnTo>
                    <a:pt x="272" y="3"/>
                  </a:lnTo>
                  <a:lnTo>
                    <a:pt x="275" y="4"/>
                  </a:lnTo>
                  <a:lnTo>
                    <a:pt x="280" y="7"/>
                  </a:lnTo>
                  <a:lnTo>
                    <a:pt x="285" y="13"/>
                  </a:lnTo>
                  <a:lnTo>
                    <a:pt x="303" y="22"/>
                  </a:lnTo>
                  <a:lnTo>
                    <a:pt x="316" y="27"/>
                  </a:lnTo>
                  <a:lnTo>
                    <a:pt x="330" y="32"/>
                  </a:lnTo>
                  <a:lnTo>
                    <a:pt x="349" y="34"/>
                  </a:lnTo>
                  <a:lnTo>
                    <a:pt x="369" y="36"/>
                  </a:lnTo>
                  <a:lnTo>
                    <a:pt x="369" y="88"/>
                  </a:lnTo>
                  <a:lnTo>
                    <a:pt x="350" y="88"/>
                  </a:lnTo>
                  <a:lnTo>
                    <a:pt x="331" y="85"/>
                  </a:lnTo>
                  <a:lnTo>
                    <a:pt x="316" y="82"/>
                  </a:lnTo>
                  <a:lnTo>
                    <a:pt x="301" y="78"/>
                  </a:lnTo>
                  <a:lnTo>
                    <a:pt x="288" y="73"/>
                  </a:lnTo>
                  <a:lnTo>
                    <a:pt x="277" y="68"/>
                  </a:lnTo>
                  <a:lnTo>
                    <a:pt x="267" y="62"/>
                  </a:lnTo>
                  <a:lnTo>
                    <a:pt x="258" y="58"/>
                  </a:lnTo>
                  <a:lnTo>
                    <a:pt x="246" y="63"/>
                  </a:lnTo>
                  <a:lnTo>
                    <a:pt x="232" y="70"/>
                  </a:lnTo>
                  <a:lnTo>
                    <a:pt x="213" y="76"/>
                  </a:lnTo>
                  <a:lnTo>
                    <a:pt x="193" y="83"/>
                  </a:lnTo>
                  <a:lnTo>
                    <a:pt x="170" y="89"/>
                  </a:lnTo>
                  <a:lnTo>
                    <a:pt x="146" y="94"/>
                  </a:lnTo>
                  <a:lnTo>
                    <a:pt x="118" y="98"/>
                  </a:lnTo>
                  <a:lnTo>
                    <a:pt x="9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5"/>
            <p:cNvSpPr>
              <a:spLocks noEditPoints="1"/>
            </p:cNvSpPr>
            <p:nvPr/>
          </p:nvSpPr>
          <p:spPr bwMode="auto">
            <a:xfrm>
              <a:off x="1782763" y="1108076"/>
              <a:ext cx="180975" cy="196850"/>
            </a:xfrm>
            <a:custGeom>
              <a:avLst/>
              <a:gdLst>
                <a:gd name="T0" fmla="*/ 146 w 342"/>
                <a:gd name="T1" fmla="*/ 55 h 372"/>
                <a:gd name="T2" fmla="*/ 115 w 342"/>
                <a:gd name="T3" fmla="*/ 69 h 372"/>
                <a:gd name="T4" fmla="*/ 87 w 342"/>
                <a:gd name="T5" fmla="*/ 92 h 372"/>
                <a:gd name="T6" fmla="*/ 66 w 342"/>
                <a:gd name="T7" fmla="*/ 123 h 372"/>
                <a:gd name="T8" fmla="*/ 54 w 342"/>
                <a:gd name="T9" fmla="*/ 160 h 372"/>
                <a:gd name="T10" fmla="*/ 53 w 342"/>
                <a:gd name="T11" fmla="*/ 200 h 372"/>
                <a:gd name="T12" fmla="*/ 62 w 342"/>
                <a:gd name="T13" fmla="*/ 238 h 372"/>
                <a:gd name="T14" fmla="*/ 79 w 342"/>
                <a:gd name="T15" fmla="*/ 271 h 372"/>
                <a:gd name="T16" fmla="*/ 105 w 342"/>
                <a:gd name="T17" fmla="*/ 297 h 372"/>
                <a:gd name="T18" fmla="*/ 135 w 342"/>
                <a:gd name="T19" fmla="*/ 314 h 372"/>
                <a:gd name="T20" fmla="*/ 171 w 342"/>
                <a:gd name="T21" fmla="*/ 320 h 372"/>
                <a:gd name="T22" fmla="*/ 207 w 342"/>
                <a:gd name="T23" fmla="*/ 314 h 372"/>
                <a:gd name="T24" fmla="*/ 237 w 342"/>
                <a:gd name="T25" fmla="*/ 297 h 372"/>
                <a:gd name="T26" fmla="*/ 263 w 342"/>
                <a:gd name="T27" fmla="*/ 271 h 372"/>
                <a:gd name="T28" fmla="*/ 280 w 342"/>
                <a:gd name="T29" fmla="*/ 238 h 372"/>
                <a:gd name="T30" fmla="*/ 289 w 342"/>
                <a:gd name="T31" fmla="*/ 200 h 372"/>
                <a:gd name="T32" fmla="*/ 288 w 342"/>
                <a:gd name="T33" fmla="*/ 160 h 372"/>
                <a:gd name="T34" fmla="*/ 276 w 342"/>
                <a:gd name="T35" fmla="*/ 123 h 372"/>
                <a:gd name="T36" fmla="*/ 254 w 342"/>
                <a:gd name="T37" fmla="*/ 92 h 372"/>
                <a:gd name="T38" fmla="*/ 227 w 342"/>
                <a:gd name="T39" fmla="*/ 69 h 372"/>
                <a:gd name="T40" fmla="*/ 195 w 342"/>
                <a:gd name="T41" fmla="*/ 55 h 372"/>
                <a:gd name="T42" fmla="*/ 171 w 342"/>
                <a:gd name="T43" fmla="*/ 372 h 372"/>
                <a:gd name="T44" fmla="*/ 121 w 342"/>
                <a:gd name="T45" fmla="*/ 363 h 372"/>
                <a:gd name="T46" fmla="*/ 76 w 342"/>
                <a:gd name="T47" fmla="*/ 340 h 372"/>
                <a:gd name="T48" fmla="*/ 38 w 342"/>
                <a:gd name="T49" fmla="*/ 304 h 372"/>
                <a:gd name="T50" fmla="*/ 13 w 342"/>
                <a:gd name="T51" fmla="*/ 258 h 372"/>
                <a:gd name="T52" fmla="*/ 1 w 342"/>
                <a:gd name="T53" fmla="*/ 205 h 372"/>
                <a:gd name="T54" fmla="*/ 4 w 342"/>
                <a:gd name="T55" fmla="*/ 149 h 372"/>
                <a:gd name="T56" fmla="*/ 20 w 342"/>
                <a:gd name="T57" fmla="*/ 98 h 372"/>
                <a:gd name="T58" fmla="*/ 50 w 342"/>
                <a:gd name="T59" fmla="*/ 55 h 372"/>
                <a:gd name="T60" fmla="*/ 89 w 342"/>
                <a:gd name="T61" fmla="*/ 23 h 372"/>
                <a:gd name="T62" fmla="*/ 136 w 342"/>
                <a:gd name="T63" fmla="*/ 5 h 372"/>
                <a:gd name="T64" fmla="*/ 188 w 342"/>
                <a:gd name="T65" fmla="*/ 2 h 372"/>
                <a:gd name="T66" fmla="*/ 237 w 342"/>
                <a:gd name="T67" fmla="*/ 15 h 372"/>
                <a:gd name="T68" fmla="*/ 280 w 342"/>
                <a:gd name="T69" fmla="*/ 44 h 372"/>
                <a:gd name="T70" fmla="*/ 314 w 342"/>
                <a:gd name="T71" fmla="*/ 82 h 372"/>
                <a:gd name="T72" fmla="*/ 335 w 342"/>
                <a:gd name="T73" fmla="*/ 131 h 372"/>
                <a:gd name="T74" fmla="*/ 342 w 342"/>
                <a:gd name="T75" fmla="*/ 186 h 372"/>
                <a:gd name="T76" fmla="*/ 335 w 342"/>
                <a:gd name="T77" fmla="*/ 241 h 372"/>
                <a:gd name="T78" fmla="*/ 314 w 342"/>
                <a:gd name="T79" fmla="*/ 290 h 372"/>
                <a:gd name="T80" fmla="*/ 280 w 342"/>
                <a:gd name="T81" fmla="*/ 330 h 372"/>
                <a:gd name="T82" fmla="*/ 237 w 342"/>
                <a:gd name="T83" fmla="*/ 357 h 372"/>
                <a:gd name="T84" fmla="*/ 188 w 342"/>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72">
                  <a:moveTo>
                    <a:pt x="171" y="52"/>
                  </a:moveTo>
                  <a:lnTo>
                    <a:pt x="159" y="54"/>
                  </a:lnTo>
                  <a:lnTo>
                    <a:pt x="146" y="55"/>
                  </a:lnTo>
                  <a:lnTo>
                    <a:pt x="135" y="59"/>
                  </a:lnTo>
                  <a:lnTo>
                    <a:pt x="125" y="64"/>
                  </a:lnTo>
                  <a:lnTo>
                    <a:pt x="115" y="69"/>
                  </a:lnTo>
                  <a:lnTo>
                    <a:pt x="105" y="75"/>
                  </a:lnTo>
                  <a:lnTo>
                    <a:pt x="95" y="84"/>
                  </a:lnTo>
                  <a:lnTo>
                    <a:pt x="87" y="92"/>
                  </a:lnTo>
                  <a:lnTo>
                    <a:pt x="79" y="101"/>
                  </a:lnTo>
                  <a:lnTo>
                    <a:pt x="73" y="111"/>
                  </a:lnTo>
                  <a:lnTo>
                    <a:pt x="66" y="123"/>
                  </a:lnTo>
                  <a:lnTo>
                    <a:pt x="62" y="134"/>
                  </a:lnTo>
                  <a:lnTo>
                    <a:pt x="57" y="147"/>
                  </a:lnTo>
                  <a:lnTo>
                    <a:pt x="54" y="160"/>
                  </a:lnTo>
                  <a:lnTo>
                    <a:pt x="53" y="173"/>
                  </a:lnTo>
                  <a:lnTo>
                    <a:pt x="51" y="186"/>
                  </a:lnTo>
                  <a:lnTo>
                    <a:pt x="53" y="200"/>
                  </a:lnTo>
                  <a:lnTo>
                    <a:pt x="54" y="213"/>
                  </a:lnTo>
                  <a:lnTo>
                    <a:pt x="57" y="226"/>
                  </a:lnTo>
                  <a:lnTo>
                    <a:pt x="62" y="238"/>
                  </a:lnTo>
                  <a:lnTo>
                    <a:pt x="66" y="249"/>
                  </a:lnTo>
                  <a:lnTo>
                    <a:pt x="73" y="261"/>
                  </a:lnTo>
                  <a:lnTo>
                    <a:pt x="79" y="271"/>
                  </a:lnTo>
                  <a:lnTo>
                    <a:pt x="87" y="281"/>
                  </a:lnTo>
                  <a:lnTo>
                    <a:pt x="95" y="290"/>
                  </a:lnTo>
                  <a:lnTo>
                    <a:pt x="105" y="297"/>
                  </a:lnTo>
                  <a:lnTo>
                    <a:pt x="115" y="304"/>
                  </a:lnTo>
                  <a:lnTo>
                    <a:pt x="125" y="310"/>
                  </a:lnTo>
                  <a:lnTo>
                    <a:pt x="135" y="314"/>
                  </a:lnTo>
                  <a:lnTo>
                    <a:pt x="146" y="317"/>
                  </a:lnTo>
                  <a:lnTo>
                    <a:pt x="159" y="319"/>
                  </a:lnTo>
                  <a:lnTo>
                    <a:pt x="171" y="320"/>
                  </a:lnTo>
                  <a:lnTo>
                    <a:pt x="182" y="319"/>
                  </a:lnTo>
                  <a:lnTo>
                    <a:pt x="195" y="317"/>
                  </a:lnTo>
                  <a:lnTo>
                    <a:pt x="207" y="314"/>
                  </a:lnTo>
                  <a:lnTo>
                    <a:pt x="217" y="310"/>
                  </a:lnTo>
                  <a:lnTo>
                    <a:pt x="227" y="304"/>
                  </a:lnTo>
                  <a:lnTo>
                    <a:pt x="237" y="297"/>
                  </a:lnTo>
                  <a:lnTo>
                    <a:pt x="247" y="290"/>
                  </a:lnTo>
                  <a:lnTo>
                    <a:pt x="254" y="281"/>
                  </a:lnTo>
                  <a:lnTo>
                    <a:pt x="263" y="271"/>
                  </a:lnTo>
                  <a:lnTo>
                    <a:pt x="270" y="261"/>
                  </a:lnTo>
                  <a:lnTo>
                    <a:pt x="276" y="249"/>
                  </a:lnTo>
                  <a:lnTo>
                    <a:pt x="280" y="238"/>
                  </a:lnTo>
                  <a:lnTo>
                    <a:pt x="285" y="226"/>
                  </a:lnTo>
                  <a:lnTo>
                    <a:pt x="288" y="213"/>
                  </a:lnTo>
                  <a:lnTo>
                    <a:pt x="289" y="200"/>
                  </a:lnTo>
                  <a:lnTo>
                    <a:pt x="290" y="186"/>
                  </a:lnTo>
                  <a:lnTo>
                    <a:pt x="289" y="173"/>
                  </a:lnTo>
                  <a:lnTo>
                    <a:pt x="288" y="160"/>
                  </a:lnTo>
                  <a:lnTo>
                    <a:pt x="285" y="147"/>
                  </a:lnTo>
                  <a:lnTo>
                    <a:pt x="280" y="134"/>
                  </a:lnTo>
                  <a:lnTo>
                    <a:pt x="276" y="123"/>
                  </a:lnTo>
                  <a:lnTo>
                    <a:pt x="270" y="111"/>
                  </a:lnTo>
                  <a:lnTo>
                    <a:pt x="263" y="101"/>
                  </a:lnTo>
                  <a:lnTo>
                    <a:pt x="254" y="92"/>
                  </a:lnTo>
                  <a:lnTo>
                    <a:pt x="247" y="84"/>
                  </a:lnTo>
                  <a:lnTo>
                    <a:pt x="237" y="75"/>
                  </a:lnTo>
                  <a:lnTo>
                    <a:pt x="227" y="69"/>
                  </a:lnTo>
                  <a:lnTo>
                    <a:pt x="217" y="64"/>
                  </a:lnTo>
                  <a:lnTo>
                    <a:pt x="207" y="59"/>
                  </a:lnTo>
                  <a:lnTo>
                    <a:pt x="195" y="55"/>
                  </a:lnTo>
                  <a:lnTo>
                    <a:pt x="182" y="54"/>
                  </a:lnTo>
                  <a:lnTo>
                    <a:pt x="171" y="52"/>
                  </a:lnTo>
                  <a:close/>
                  <a:moveTo>
                    <a:pt x="171" y="372"/>
                  </a:moveTo>
                  <a:lnTo>
                    <a:pt x="154" y="370"/>
                  </a:lnTo>
                  <a:lnTo>
                    <a:pt x="136" y="369"/>
                  </a:lnTo>
                  <a:lnTo>
                    <a:pt x="121" y="363"/>
                  </a:lnTo>
                  <a:lnTo>
                    <a:pt x="105" y="357"/>
                  </a:lnTo>
                  <a:lnTo>
                    <a:pt x="89" y="350"/>
                  </a:lnTo>
                  <a:lnTo>
                    <a:pt x="76" y="340"/>
                  </a:lnTo>
                  <a:lnTo>
                    <a:pt x="62" y="330"/>
                  </a:lnTo>
                  <a:lnTo>
                    <a:pt x="50" y="317"/>
                  </a:lnTo>
                  <a:lnTo>
                    <a:pt x="38" y="304"/>
                  </a:lnTo>
                  <a:lnTo>
                    <a:pt x="28" y="290"/>
                  </a:lnTo>
                  <a:lnTo>
                    <a:pt x="20" y="275"/>
                  </a:lnTo>
                  <a:lnTo>
                    <a:pt x="13" y="258"/>
                  </a:lnTo>
                  <a:lnTo>
                    <a:pt x="7" y="241"/>
                  </a:lnTo>
                  <a:lnTo>
                    <a:pt x="4" y="224"/>
                  </a:lnTo>
                  <a:lnTo>
                    <a:pt x="1" y="205"/>
                  </a:lnTo>
                  <a:lnTo>
                    <a:pt x="0" y="186"/>
                  </a:lnTo>
                  <a:lnTo>
                    <a:pt x="1" y="167"/>
                  </a:lnTo>
                  <a:lnTo>
                    <a:pt x="4" y="149"/>
                  </a:lnTo>
                  <a:lnTo>
                    <a:pt x="7" y="131"/>
                  </a:lnTo>
                  <a:lnTo>
                    <a:pt x="13" y="114"/>
                  </a:lnTo>
                  <a:lnTo>
                    <a:pt x="20" y="98"/>
                  </a:lnTo>
                  <a:lnTo>
                    <a:pt x="28" y="82"/>
                  </a:lnTo>
                  <a:lnTo>
                    <a:pt x="38" y="68"/>
                  </a:lnTo>
                  <a:lnTo>
                    <a:pt x="50" y="55"/>
                  </a:lnTo>
                  <a:lnTo>
                    <a:pt x="62" y="44"/>
                  </a:lnTo>
                  <a:lnTo>
                    <a:pt x="76" y="32"/>
                  </a:lnTo>
                  <a:lnTo>
                    <a:pt x="89" y="23"/>
                  </a:lnTo>
                  <a:lnTo>
                    <a:pt x="105" y="15"/>
                  </a:lnTo>
                  <a:lnTo>
                    <a:pt x="121" y="9"/>
                  </a:lnTo>
                  <a:lnTo>
                    <a:pt x="136" y="5"/>
                  </a:lnTo>
                  <a:lnTo>
                    <a:pt x="154" y="2"/>
                  </a:lnTo>
                  <a:lnTo>
                    <a:pt x="171" y="0"/>
                  </a:lnTo>
                  <a:lnTo>
                    <a:pt x="188" y="2"/>
                  </a:lnTo>
                  <a:lnTo>
                    <a:pt x="206" y="5"/>
                  </a:lnTo>
                  <a:lnTo>
                    <a:pt x="221" y="9"/>
                  </a:lnTo>
                  <a:lnTo>
                    <a:pt x="237" y="15"/>
                  </a:lnTo>
                  <a:lnTo>
                    <a:pt x="253" y="23"/>
                  </a:lnTo>
                  <a:lnTo>
                    <a:pt x="266" y="32"/>
                  </a:lnTo>
                  <a:lnTo>
                    <a:pt x="280" y="44"/>
                  </a:lnTo>
                  <a:lnTo>
                    <a:pt x="292" y="55"/>
                  </a:lnTo>
                  <a:lnTo>
                    <a:pt x="303" y="68"/>
                  </a:lnTo>
                  <a:lnTo>
                    <a:pt x="314" y="82"/>
                  </a:lnTo>
                  <a:lnTo>
                    <a:pt x="322" y="98"/>
                  </a:lnTo>
                  <a:lnTo>
                    <a:pt x="329" y="114"/>
                  </a:lnTo>
                  <a:lnTo>
                    <a:pt x="335" y="131"/>
                  </a:lnTo>
                  <a:lnTo>
                    <a:pt x="339" y="149"/>
                  </a:lnTo>
                  <a:lnTo>
                    <a:pt x="341" y="167"/>
                  </a:lnTo>
                  <a:lnTo>
                    <a:pt x="342" y="186"/>
                  </a:lnTo>
                  <a:lnTo>
                    <a:pt x="341" y="205"/>
                  </a:lnTo>
                  <a:lnTo>
                    <a:pt x="339" y="224"/>
                  </a:lnTo>
                  <a:lnTo>
                    <a:pt x="335" y="241"/>
                  </a:lnTo>
                  <a:lnTo>
                    <a:pt x="329" y="258"/>
                  </a:lnTo>
                  <a:lnTo>
                    <a:pt x="322" y="275"/>
                  </a:lnTo>
                  <a:lnTo>
                    <a:pt x="314" y="290"/>
                  </a:lnTo>
                  <a:lnTo>
                    <a:pt x="303" y="304"/>
                  </a:lnTo>
                  <a:lnTo>
                    <a:pt x="292" y="317"/>
                  </a:lnTo>
                  <a:lnTo>
                    <a:pt x="280" y="330"/>
                  </a:lnTo>
                  <a:lnTo>
                    <a:pt x="266" y="340"/>
                  </a:lnTo>
                  <a:lnTo>
                    <a:pt x="253" y="350"/>
                  </a:lnTo>
                  <a:lnTo>
                    <a:pt x="237" y="357"/>
                  </a:lnTo>
                  <a:lnTo>
                    <a:pt x="221" y="363"/>
                  </a:lnTo>
                  <a:lnTo>
                    <a:pt x="206" y="369"/>
                  </a:lnTo>
                  <a:lnTo>
                    <a:pt x="188"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6"/>
            <p:cNvSpPr>
              <a:spLocks/>
            </p:cNvSpPr>
            <p:nvPr/>
          </p:nvSpPr>
          <p:spPr bwMode="auto">
            <a:xfrm>
              <a:off x="1890713" y="1282701"/>
              <a:ext cx="68263" cy="58738"/>
            </a:xfrm>
            <a:custGeom>
              <a:avLst/>
              <a:gdLst>
                <a:gd name="T0" fmla="*/ 115 w 129"/>
                <a:gd name="T1" fmla="*/ 111 h 111"/>
                <a:gd name="T2" fmla="*/ 96 w 129"/>
                <a:gd name="T3" fmla="*/ 105 h 111"/>
                <a:gd name="T4" fmla="*/ 76 w 129"/>
                <a:gd name="T5" fmla="*/ 99 h 111"/>
                <a:gd name="T6" fmla="*/ 64 w 129"/>
                <a:gd name="T7" fmla="*/ 95 h 111"/>
                <a:gd name="T8" fmla="*/ 54 w 129"/>
                <a:gd name="T9" fmla="*/ 89 h 111"/>
                <a:gd name="T10" fmla="*/ 44 w 129"/>
                <a:gd name="T11" fmla="*/ 84 h 111"/>
                <a:gd name="T12" fmla="*/ 37 w 129"/>
                <a:gd name="T13" fmla="*/ 78 h 111"/>
                <a:gd name="T14" fmla="*/ 30 w 129"/>
                <a:gd name="T15" fmla="*/ 72 h 111"/>
                <a:gd name="T16" fmla="*/ 23 w 129"/>
                <a:gd name="T17" fmla="*/ 65 h 111"/>
                <a:gd name="T18" fmla="*/ 18 w 129"/>
                <a:gd name="T19" fmla="*/ 58 h 111"/>
                <a:gd name="T20" fmla="*/ 13 w 129"/>
                <a:gd name="T21" fmla="*/ 50 h 111"/>
                <a:gd name="T22" fmla="*/ 7 w 129"/>
                <a:gd name="T23" fmla="*/ 36 h 111"/>
                <a:gd name="T24" fmla="*/ 3 w 129"/>
                <a:gd name="T25" fmla="*/ 23 h 111"/>
                <a:gd name="T26" fmla="*/ 0 w 129"/>
                <a:gd name="T27" fmla="*/ 10 h 111"/>
                <a:gd name="T28" fmla="*/ 0 w 129"/>
                <a:gd name="T29" fmla="*/ 0 h 111"/>
                <a:gd name="T30" fmla="*/ 51 w 129"/>
                <a:gd name="T31" fmla="*/ 3 h 111"/>
                <a:gd name="T32" fmla="*/ 53 w 129"/>
                <a:gd name="T33" fmla="*/ 10 h 111"/>
                <a:gd name="T34" fmla="*/ 57 w 129"/>
                <a:gd name="T35" fmla="*/ 23 h 111"/>
                <a:gd name="T36" fmla="*/ 63 w 129"/>
                <a:gd name="T37" fmla="*/ 30 h 111"/>
                <a:gd name="T38" fmla="*/ 69 w 129"/>
                <a:gd name="T39" fmla="*/ 37 h 111"/>
                <a:gd name="T40" fmla="*/ 79 w 129"/>
                <a:gd name="T41" fmla="*/ 43 h 111"/>
                <a:gd name="T42" fmla="*/ 92 w 129"/>
                <a:gd name="T43" fmla="*/ 49 h 111"/>
                <a:gd name="T44" fmla="*/ 112 w 129"/>
                <a:gd name="T45" fmla="*/ 55 h 111"/>
                <a:gd name="T46" fmla="*/ 129 w 129"/>
                <a:gd name="T47" fmla="*/ 61 h 111"/>
                <a:gd name="T48" fmla="*/ 115 w 129"/>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11">
                  <a:moveTo>
                    <a:pt x="115" y="111"/>
                  </a:moveTo>
                  <a:lnTo>
                    <a:pt x="96" y="105"/>
                  </a:lnTo>
                  <a:lnTo>
                    <a:pt x="76" y="99"/>
                  </a:lnTo>
                  <a:lnTo>
                    <a:pt x="64" y="95"/>
                  </a:lnTo>
                  <a:lnTo>
                    <a:pt x="54" y="89"/>
                  </a:lnTo>
                  <a:lnTo>
                    <a:pt x="44" y="84"/>
                  </a:lnTo>
                  <a:lnTo>
                    <a:pt x="37" y="78"/>
                  </a:lnTo>
                  <a:lnTo>
                    <a:pt x="30" y="72"/>
                  </a:lnTo>
                  <a:lnTo>
                    <a:pt x="23" y="65"/>
                  </a:lnTo>
                  <a:lnTo>
                    <a:pt x="18" y="58"/>
                  </a:lnTo>
                  <a:lnTo>
                    <a:pt x="13" y="50"/>
                  </a:lnTo>
                  <a:lnTo>
                    <a:pt x="7" y="36"/>
                  </a:lnTo>
                  <a:lnTo>
                    <a:pt x="3" y="23"/>
                  </a:lnTo>
                  <a:lnTo>
                    <a:pt x="0" y="10"/>
                  </a:lnTo>
                  <a:lnTo>
                    <a:pt x="0" y="0"/>
                  </a:lnTo>
                  <a:lnTo>
                    <a:pt x="51" y="3"/>
                  </a:lnTo>
                  <a:lnTo>
                    <a:pt x="53" y="10"/>
                  </a:lnTo>
                  <a:lnTo>
                    <a:pt x="57" y="23"/>
                  </a:lnTo>
                  <a:lnTo>
                    <a:pt x="63" y="30"/>
                  </a:lnTo>
                  <a:lnTo>
                    <a:pt x="69" y="37"/>
                  </a:lnTo>
                  <a:lnTo>
                    <a:pt x="79" y="43"/>
                  </a:lnTo>
                  <a:lnTo>
                    <a:pt x="92" y="49"/>
                  </a:lnTo>
                  <a:lnTo>
                    <a:pt x="112" y="55"/>
                  </a:lnTo>
                  <a:lnTo>
                    <a:pt x="129" y="61"/>
                  </a:lnTo>
                  <a:lnTo>
                    <a:pt x="11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
            <p:cNvSpPr>
              <a:spLocks/>
            </p:cNvSpPr>
            <p:nvPr/>
          </p:nvSpPr>
          <p:spPr bwMode="auto">
            <a:xfrm>
              <a:off x="1720850" y="1282701"/>
              <a:ext cx="223838" cy="192088"/>
            </a:xfrm>
            <a:custGeom>
              <a:avLst/>
              <a:gdLst>
                <a:gd name="T0" fmla="*/ 423 w 423"/>
                <a:gd name="T1" fmla="*/ 361 h 361"/>
                <a:gd name="T2" fmla="*/ 0 w 423"/>
                <a:gd name="T3" fmla="*/ 361 h 361"/>
                <a:gd name="T4" fmla="*/ 0 w 423"/>
                <a:gd name="T5" fmla="*/ 190 h 361"/>
                <a:gd name="T6" fmla="*/ 1 w 423"/>
                <a:gd name="T7" fmla="*/ 174 h 361"/>
                <a:gd name="T8" fmla="*/ 3 w 423"/>
                <a:gd name="T9" fmla="*/ 158 h 361"/>
                <a:gd name="T10" fmla="*/ 7 w 423"/>
                <a:gd name="T11" fmla="*/ 145 h 361"/>
                <a:gd name="T12" fmla="*/ 11 w 423"/>
                <a:gd name="T13" fmla="*/ 134 h 361"/>
                <a:gd name="T14" fmla="*/ 16 w 423"/>
                <a:gd name="T15" fmla="*/ 122 h 361"/>
                <a:gd name="T16" fmla="*/ 23 w 423"/>
                <a:gd name="T17" fmla="*/ 114 h 361"/>
                <a:gd name="T18" fmla="*/ 30 w 423"/>
                <a:gd name="T19" fmla="*/ 105 h 361"/>
                <a:gd name="T20" fmla="*/ 39 w 423"/>
                <a:gd name="T21" fmla="*/ 98 h 361"/>
                <a:gd name="T22" fmla="*/ 47 w 423"/>
                <a:gd name="T23" fmla="*/ 92 h 361"/>
                <a:gd name="T24" fmla="*/ 58 w 423"/>
                <a:gd name="T25" fmla="*/ 86 h 361"/>
                <a:gd name="T26" fmla="*/ 68 w 423"/>
                <a:gd name="T27" fmla="*/ 81 h 361"/>
                <a:gd name="T28" fmla="*/ 78 w 423"/>
                <a:gd name="T29" fmla="*/ 76 h 361"/>
                <a:gd name="T30" fmla="*/ 101 w 423"/>
                <a:gd name="T31" fmla="*/ 69 h 361"/>
                <a:gd name="T32" fmla="*/ 124 w 423"/>
                <a:gd name="T33" fmla="*/ 62 h 361"/>
                <a:gd name="T34" fmla="*/ 144 w 423"/>
                <a:gd name="T35" fmla="*/ 56 h 361"/>
                <a:gd name="T36" fmla="*/ 164 w 423"/>
                <a:gd name="T37" fmla="*/ 49 h 361"/>
                <a:gd name="T38" fmla="*/ 177 w 423"/>
                <a:gd name="T39" fmla="*/ 43 h 361"/>
                <a:gd name="T40" fmla="*/ 187 w 423"/>
                <a:gd name="T41" fmla="*/ 37 h 361"/>
                <a:gd name="T42" fmla="*/ 193 w 423"/>
                <a:gd name="T43" fmla="*/ 30 h 361"/>
                <a:gd name="T44" fmla="*/ 199 w 423"/>
                <a:gd name="T45" fmla="*/ 23 h 361"/>
                <a:gd name="T46" fmla="*/ 203 w 423"/>
                <a:gd name="T47" fmla="*/ 10 h 361"/>
                <a:gd name="T48" fmla="*/ 204 w 423"/>
                <a:gd name="T49" fmla="*/ 3 h 361"/>
                <a:gd name="T50" fmla="*/ 256 w 423"/>
                <a:gd name="T51" fmla="*/ 0 h 361"/>
                <a:gd name="T52" fmla="*/ 256 w 423"/>
                <a:gd name="T53" fmla="*/ 10 h 361"/>
                <a:gd name="T54" fmla="*/ 253 w 423"/>
                <a:gd name="T55" fmla="*/ 23 h 361"/>
                <a:gd name="T56" fmla="*/ 249 w 423"/>
                <a:gd name="T57" fmla="*/ 36 h 361"/>
                <a:gd name="T58" fmla="*/ 243 w 423"/>
                <a:gd name="T59" fmla="*/ 50 h 361"/>
                <a:gd name="T60" fmla="*/ 238 w 423"/>
                <a:gd name="T61" fmla="*/ 58 h 361"/>
                <a:gd name="T62" fmla="*/ 233 w 423"/>
                <a:gd name="T63" fmla="*/ 65 h 361"/>
                <a:gd name="T64" fmla="*/ 226 w 423"/>
                <a:gd name="T65" fmla="*/ 72 h 361"/>
                <a:gd name="T66" fmla="*/ 219 w 423"/>
                <a:gd name="T67" fmla="*/ 78 h 361"/>
                <a:gd name="T68" fmla="*/ 212 w 423"/>
                <a:gd name="T69" fmla="*/ 84 h 361"/>
                <a:gd name="T70" fmla="*/ 202 w 423"/>
                <a:gd name="T71" fmla="*/ 89 h 361"/>
                <a:gd name="T72" fmla="*/ 191 w 423"/>
                <a:gd name="T73" fmla="*/ 95 h 361"/>
                <a:gd name="T74" fmla="*/ 180 w 423"/>
                <a:gd name="T75" fmla="*/ 99 h 361"/>
                <a:gd name="T76" fmla="*/ 158 w 423"/>
                <a:gd name="T77" fmla="*/ 105 h 361"/>
                <a:gd name="T78" fmla="*/ 138 w 423"/>
                <a:gd name="T79" fmla="*/ 111 h 361"/>
                <a:gd name="T80" fmla="*/ 117 w 423"/>
                <a:gd name="T81" fmla="*/ 118 h 361"/>
                <a:gd name="T82" fmla="*/ 98 w 423"/>
                <a:gd name="T83" fmla="*/ 125 h 361"/>
                <a:gd name="T84" fmla="*/ 82 w 423"/>
                <a:gd name="T85" fmla="*/ 131 h 361"/>
                <a:gd name="T86" fmla="*/ 71 w 423"/>
                <a:gd name="T87" fmla="*/ 140 h 361"/>
                <a:gd name="T88" fmla="*/ 66 w 423"/>
                <a:gd name="T89" fmla="*/ 143 h 361"/>
                <a:gd name="T90" fmla="*/ 62 w 423"/>
                <a:gd name="T91" fmla="*/ 148 h 361"/>
                <a:gd name="T92" fmla="*/ 59 w 423"/>
                <a:gd name="T93" fmla="*/ 153 h 361"/>
                <a:gd name="T94" fmla="*/ 58 w 423"/>
                <a:gd name="T95" fmla="*/ 158 h 361"/>
                <a:gd name="T96" fmla="*/ 53 w 423"/>
                <a:gd name="T97" fmla="*/ 173 h 361"/>
                <a:gd name="T98" fmla="*/ 53 w 423"/>
                <a:gd name="T99" fmla="*/ 190 h 361"/>
                <a:gd name="T100" fmla="*/ 53 w 423"/>
                <a:gd name="T101" fmla="*/ 310 h 361"/>
                <a:gd name="T102" fmla="*/ 423 w 423"/>
                <a:gd name="T103" fmla="*/ 310 h 361"/>
                <a:gd name="T104" fmla="*/ 423 w 423"/>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3" h="361">
                  <a:moveTo>
                    <a:pt x="423" y="361"/>
                  </a:moveTo>
                  <a:lnTo>
                    <a:pt x="0" y="361"/>
                  </a:lnTo>
                  <a:lnTo>
                    <a:pt x="0" y="190"/>
                  </a:lnTo>
                  <a:lnTo>
                    <a:pt x="1" y="174"/>
                  </a:lnTo>
                  <a:lnTo>
                    <a:pt x="3" y="158"/>
                  </a:lnTo>
                  <a:lnTo>
                    <a:pt x="7" y="145"/>
                  </a:lnTo>
                  <a:lnTo>
                    <a:pt x="11" y="134"/>
                  </a:lnTo>
                  <a:lnTo>
                    <a:pt x="16" y="122"/>
                  </a:lnTo>
                  <a:lnTo>
                    <a:pt x="23" y="114"/>
                  </a:lnTo>
                  <a:lnTo>
                    <a:pt x="30" y="105"/>
                  </a:lnTo>
                  <a:lnTo>
                    <a:pt x="39" y="98"/>
                  </a:lnTo>
                  <a:lnTo>
                    <a:pt x="47" y="92"/>
                  </a:lnTo>
                  <a:lnTo>
                    <a:pt x="58" y="86"/>
                  </a:lnTo>
                  <a:lnTo>
                    <a:pt x="68" y="81"/>
                  </a:lnTo>
                  <a:lnTo>
                    <a:pt x="78" y="76"/>
                  </a:lnTo>
                  <a:lnTo>
                    <a:pt x="101" y="69"/>
                  </a:lnTo>
                  <a:lnTo>
                    <a:pt x="124" y="62"/>
                  </a:lnTo>
                  <a:lnTo>
                    <a:pt x="144" y="56"/>
                  </a:lnTo>
                  <a:lnTo>
                    <a:pt x="164" y="49"/>
                  </a:lnTo>
                  <a:lnTo>
                    <a:pt x="177" y="43"/>
                  </a:lnTo>
                  <a:lnTo>
                    <a:pt x="187" y="37"/>
                  </a:lnTo>
                  <a:lnTo>
                    <a:pt x="193" y="30"/>
                  </a:lnTo>
                  <a:lnTo>
                    <a:pt x="199" y="23"/>
                  </a:lnTo>
                  <a:lnTo>
                    <a:pt x="203" y="10"/>
                  </a:lnTo>
                  <a:lnTo>
                    <a:pt x="204" y="3"/>
                  </a:lnTo>
                  <a:lnTo>
                    <a:pt x="256" y="0"/>
                  </a:lnTo>
                  <a:lnTo>
                    <a:pt x="256" y="10"/>
                  </a:lnTo>
                  <a:lnTo>
                    <a:pt x="253" y="23"/>
                  </a:lnTo>
                  <a:lnTo>
                    <a:pt x="249" y="36"/>
                  </a:lnTo>
                  <a:lnTo>
                    <a:pt x="243" y="50"/>
                  </a:lnTo>
                  <a:lnTo>
                    <a:pt x="238" y="58"/>
                  </a:lnTo>
                  <a:lnTo>
                    <a:pt x="233" y="65"/>
                  </a:lnTo>
                  <a:lnTo>
                    <a:pt x="226" y="72"/>
                  </a:lnTo>
                  <a:lnTo>
                    <a:pt x="219" y="78"/>
                  </a:lnTo>
                  <a:lnTo>
                    <a:pt x="212" y="84"/>
                  </a:lnTo>
                  <a:lnTo>
                    <a:pt x="202" y="89"/>
                  </a:lnTo>
                  <a:lnTo>
                    <a:pt x="191" y="95"/>
                  </a:lnTo>
                  <a:lnTo>
                    <a:pt x="180" y="99"/>
                  </a:lnTo>
                  <a:lnTo>
                    <a:pt x="158" y="105"/>
                  </a:lnTo>
                  <a:lnTo>
                    <a:pt x="138" y="111"/>
                  </a:lnTo>
                  <a:lnTo>
                    <a:pt x="117" y="118"/>
                  </a:lnTo>
                  <a:lnTo>
                    <a:pt x="98" y="125"/>
                  </a:lnTo>
                  <a:lnTo>
                    <a:pt x="82" y="131"/>
                  </a:lnTo>
                  <a:lnTo>
                    <a:pt x="71" y="140"/>
                  </a:lnTo>
                  <a:lnTo>
                    <a:pt x="66" y="143"/>
                  </a:lnTo>
                  <a:lnTo>
                    <a:pt x="62" y="148"/>
                  </a:lnTo>
                  <a:lnTo>
                    <a:pt x="59" y="153"/>
                  </a:lnTo>
                  <a:lnTo>
                    <a:pt x="58" y="158"/>
                  </a:lnTo>
                  <a:lnTo>
                    <a:pt x="53" y="173"/>
                  </a:lnTo>
                  <a:lnTo>
                    <a:pt x="53" y="190"/>
                  </a:lnTo>
                  <a:lnTo>
                    <a:pt x="53" y="310"/>
                  </a:lnTo>
                  <a:lnTo>
                    <a:pt x="423" y="310"/>
                  </a:lnTo>
                  <a:lnTo>
                    <a:pt x="423"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8"/>
            <p:cNvSpPr>
              <a:spLocks/>
            </p:cNvSpPr>
            <p:nvPr/>
          </p:nvSpPr>
          <p:spPr bwMode="auto">
            <a:xfrm>
              <a:off x="1793875" y="1155701"/>
              <a:ext cx="157163" cy="46038"/>
            </a:xfrm>
            <a:custGeom>
              <a:avLst/>
              <a:gdLst>
                <a:gd name="T0" fmla="*/ 72 w 296"/>
                <a:gd name="T1" fmla="*/ 89 h 89"/>
                <a:gd name="T2" fmla="*/ 54 w 296"/>
                <a:gd name="T3" fmla="*/ 88 h 89"/>
                <a:gd name="T4" fmla="*/ 37 w 296"/>
                <a:gd name="T5" fmla="*/ 87 h 89"/>
                <a:gd name="T6" fmla="*/ 18 w 296"/>
                <a:gd name="T7" fmla="*/ 84 h 89"/>
                <a:gd name="T8" fmla="*/ 0 w 296"/>
                <a:gd name="T9" fmla="*/ 81 h 89"/>
                <a:gd name="T10" fmla="*/ 13 w 296"/>
                <a:gd name="T11" fmla="*/ 29 h 89"/>
                <a:gd name="T12" fmla="*/ 31 w 296"/>
                <a:gd name="T13" fmla="*/ 33 h 89"/>
                <a:gd name="T14" fmla="*/ 50 w 296"/>
                <a:gd name="T15" fmla="*/ 36 h 89"/>
                <a:gd name="T16" fmla="*/ 67 w 296"/>
                <a:gd name="T17" fmla="*/ 36 h 89"/>
                <a:gd name="T18" fmla="*/ 83 w 296"/>
                <a:gd name="T19" fmla="*/ 36 h 89"/>
                <a:gd name="T20" fmla="*/ 101 w 296"/>
                <a:gd name="T21" fmla="*/ 35 h 89"/>
                <a:gd name="T22" fmla="*/ 115 w 296"/>
                <a:gd name="T23" fmla="*/ 33 h 89"/>
                <a:gd name="T24" fmla="*/ 129 w 296"/>
                <a:gd name="T25" fmla="*/ 30 h 89"/>
                <a:gd name="T26" fmla="*/ 142 w 296"/>
                <a:gd name="T27" fmla="*/ 26 h 89"/>
                <a:gd name="T28" fmla="*/ 164 w 296"/>
                <a:gd name="T29" fmla="*/ 19 h 89"/>
                <a:gd name="T30" fmla="*/ 180 w 296"/>
                <a:gd name="T31" fmla="*/ 12 h 89"/>
                <a:gd name="T32" fmla="*/ 191 w 296"/>
                <a:gd name="T33" fmla="*/ 6 h 89"/>
                <a:gd name="T34" fmla="*/ 194 w 296"/>
                <a:gd name="T35" fmla="*/ 4 h 89"/>
                <a:gd name="T36" fmla="*/ 198 w 296"/>
                <a:gd name="T37" fmla="*/ 2 h 89"/>
                <a:gd name="T38" fmla="*/ 203 w 296"/>
                <a:gd name="T39" fmla="*/ 0 h 89"/>
                <a:gd name="T40" fmla="*/ 207 w 296"/>
                <a:gd name="T41" fmla="*/ 0 h 89"/>
                <a:gd name="T42" fmla="*/ 211 w 296"/>
                <a:gd name="T43" fmla="*/ 0 h 89"/>
                <a:gd name="T44" fmla="*/ 216 w 296"/>
                <a:gd name="T45" fmla="*/ 0 h 89"/>
                <a:gd name="T46" fmla="*/ 220 w 296"/>
                <a:gd name="T47" fmla="*/ 2 h 89"/>
                <a:gd name="T48" fmla="*/ 224 w 296"/>
                <a:gd name="T49" fmla="*/ 4 h 89"/>
                <a:gd name="T50" fmla="*/ 227 w 296"/>
                <a:gd name="T51" fmla="*/ 7 h 89"/>
                <a:gd name="T52" fmla="*/ 232 w 296"/>
                <a:gd name="T53" fmla="*/ 10 h 89"/>
                <a:gd name="T54" fmla="*/ 245 w 296"/>
                <a:gd name="T55" fmla="*/ 19 h 89"/>
                <a:gd name="T56" fmla="*/ 255 w 296"/>
                <a:gd name="T57" fmla="*/ 22 h 89"/>
                <a:gd name="T58" fmla="*/ 266 w 296"/>
                <a:gd name="T59" fmla="*/ 26 h 89"/>
                <a:gd name="T60" fmla="*/ 281 w 296"/>
                <a:gd name="T61" fmla="*/ 28 h 89"/>
                <a:gd name="T62" fmla="*/ 296 w 296"/>
                <a:gd name="T63" fmla="*/ 29 h 89"/>
                <a:gd name="T64" fmla="*/ 296 w 296"/>
                <a:gd name="T65" fmla="*/ 81 h 89"/>
                <a:gd name="T66" fmla="*/ 281 w 296"/>
                <a:gd name="T67" fmla="*/ 81 h 89"/>
                <a:gd name="T68" fmla="*/ 266 w 296"/>
                <a:gd name="T69" fmla="*/ 79 h 89"/>
                <a:gd name="T70" fmla="*/ 253 w 296"/>
                <a:gd name="T71" fmla="*/ 76 h 89"/>
                <a:gd name="T72" fmla="*/ 242 w 296"/>
                <a:gd name="T73" fmla="*/ 74 h 89"/>
                <a:gd name="T74" fmla="*/ 222 w 296"/>
                <a:gd name="T75" fmla="*/ 65 h 89"/>
                <a:gd name="T76" fmla="*/ 207 w 296"/>
                <a:gd name="T77" fmla="*/ 56 h 89"/>
                <a:gd name="T78" fmla="*/ 184 w 296"/>
                <a:gd name="T79" fmla="*/ 66 h 89"/>
                <a:gd name="T80" fmla="*/ 154 w 296"/>
                <a:gd name="T81" fmla="*/ 78 h 89"/>
                <a:gd name="T82" fmla="*/ 135 w 296"/>
                <a:gd name="T83" fmla="*/ 82 h 89"/>
                <a:gd name="T84" fmla="*/ 116 w 296"/>
                <a:gd name="T85" fmla="*/ 85 h 89"/>
                <a:gd name="T86" fmla="*/ 95 w 296"/>
                <a:gd name="T87" fmla="*/ 88 h 89"/>
                <a:gd name="T88" fmla="*/ 72 w 296"/>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6" h="89">
                  <a:moveTo>
                    <a:pt x="72" y="89"/>
                  </a:moveTo>
                  <a:lnTo>
                    <a:pt x="54" y="88"/>
                  </a:lnTo>
                  <a:lnTo>
                    <a:pt x="37" y="87"/>
                  </a:lnTo>
                  <a:lnTo>
                    <a:pt x="18" y="84"/>
                  </a:lnTo>
                  <a:lnTo>
                    <a:pt x="0" y="81"/>
                  </a:lnTo>
                  <a:lnTo>
                    <a:pt x="13" y="29"/>
                  </a:lnTo>
                  <a:lnTo>
                    <a:pt x="31" y="33"/>
                  </a:lnTo>
                  <a:lnTo>
                    <a:pt x="50" y="36"/>
                  </a:lnTo>
                  <a:lnTo>
                    <a:pt x="67" y="36"/>
                  </a:lnTo>
                  <a:lnTo>
                    <a:pt x="83" y="36"/>
                  </a:lnTo>
                  <a:lnTo>
                    <a:pt x="101" y="35"/>
                  </a:lnTo>
                  <a:lnTo>
                    <a:pt x="115" y="33"/>
                  </a:lnTo>
                  <a:lnTo>
                    <a:pt x="129" y="30"/>
                  </a:lnTo>
                  <a:lnTo>
                    <a:pt x="142" y="26"/>
                  </a:lnTo>
                  <a:lnTo>
                    <a:pt x="164" y="19"/>
                  </a:lnTo>
                  <a:lnTo>
                    <a:pt x="180" y="12"/>
                  </a:lnTo>
                  <a:lnTo>
                    <a:pt x="191" y="6"/>
                  </a:lnTo>
                  <a:lnTo>
                    <a:pt x="194" y="4"/>
                  </a:lnTo>
                  <a:lnTo>
                    <a:pt x="198" y="2"/>
                  </a:lnTo>
                  <a:lnTo>
                    <a:pt x="203" y="0"/>
                  </a:lnTo>
                  <a:lnTo>
                    <a:pt x="207" y="0"/>
                  </a:lnTo>
                  <a:lnTo>
                    <a:pt x="211" y="0"/>
                  </a:lnTo>
                  <a:lnTo>
                    <a:pt x="216" y="0"/>
                  </a:lnTo>
                  <a:lnTo>
                    <a:pt x="220" y="2"/>
                  </a:lnTo>
                  <a:lnTo>
                    <a:pt x="224" y="4"/>
                  </a:lnTo>
                  <a:lnTo>
                    <a:pt x="227" y="7"/>
                  </a:lnTo>
                  <a:lnTo>
                    <a:pt x="232" y="10"/>
                  </a:lnTo>
                  <a:lnTo>
                    <a:pt x="245" y="19"/>
                  </a:lnTo>
                  <a:lnTo>
                    <a:pt x="255" y="22"/>
                  </a:lnTo>
                  <a:lnTo>
                    <a:pt x="266" y="26"/>
                  </a:lnTo>
                  <a:lnTo>
                    <a:pt x="281" y="28"/>
                  </a:lnTo>
                  <a:lnTo>
                    <a:pt x="296" y="29"/>
                  </a:lnTo>
                  <a:lnTo>
                    <a:pt x="296" y="81"/>
                  </a:lnTo>
                  <a:lnTo>
                    <a:pt x="281" y="81"/>
                  </a:lnTo>
                  <a:lnTo>
                    <a:pt x="266" y="79"/>
                  </a:lnTo>
                  <a:lnTo>
                    <a:pt x="253" y="76"/>
                  </a:lnTo>
                  <a:lnTo>
                    <a:pt x="242" y="74"/>
                  </a:lnTo>
                  <a:lnTo>
                    <a:pt x="222" y="65"/>
                  </a:lnTo>
                  <a:lnTo>
                    <a:pt x="207" y="56"/>
                  </a:lnTo>
                  <a:lnTo>
                    <a:pt x="184" y="66"/>
                  </a:lnTo>
                  <a:lnTo>
                    <a:pt x="154" y="78"/>
                  </a:lnTo>
                  <a:lnTo>
                    <a:pt x="135" y="82"/>
                  </a:lnTo>
                  <a:lnTo>
                    <a:pt x="116"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9"/>
            <p:cNvSpPr>
              <a:spLocks noEditPoints="1"/>
            </p:cNvSpPr>
            <p:nvPr/>
          </p:nvSpPr>
          <p:spPr bwMode="auto">
            <a:xfrm>
              <a:off x="2266950" y="1108076"/>
              <a:ext cx="180975" cy="196850"/>
            </a:xfrm>
            <a:custGeom>
              <a:avLst/>
              <a:gdLst>
                <a:gd name="T0" fmla="*/ 147 w 343"/>
                <a:gd name="T1" fmla="*/ 55 h 372"/>
                <a:gd name="T2" fmla="*/ 115 w 343"/>
                <a:gd name="T3" fmla="*/ 69 h 372"/>
                <a:gd name="T4" fmla="*/ 86 w 343"/>
                <a:gd name="T5" fmla="*/ 92 h 372"/>
                <a:gd name="T6" fmla="*/ 66 w 343"/>
                <a:gd name="T7" fmla="*/ 123 h 372"/>
                <a:gd name="T8" fmla="*/ 55 w 343"/>
                <a:gd name="T9" fmla="*/ 160 h 372"/>
                <a:gd name="T10" fmla="*/ 53 w 343"/>
                <a:gd name="T11" fmla="*/ 200 h 372"/>
                <a:gd name="T12" fmla="*/ 62 w 343"/>
                <a:gd name="T13" fmla="*/ 238 h 372"/>
                <a:gd name="T14" fmla="*/ 79 w 343"/>
                <a:gd name="T15" fmla="*/ 271 h 372"/>
                <a:gd name="T16" fmla="*/ 105 w 343"/>
                <a:gd name="T17" fmla="*/ 297 h 372"/>
                <a:gd name="T18" fmla="*/ 135 w 343"/>
                <a:gd name="T19" fmla="*/ 314 h 372"/>
                <a:gd name="T20" fmla="*/ 171 w 343"/>
                <a:gd name="T21" fmla="*/ 320 h 372"/>
                <a:gd name="T22" fmla="*/ 206 w 343"/>
                <a:gd name="T23" fmla="*/ 314 h 372"/>
                <a:gd name="T24" fmla="*/ 238 w 343"/>
                <a:gd name="T25" fmla="*/ 297 h 372"/>
                <a:gd name="T26" fmla="*/ 264 w 343"/>
                <a:gd name="T27" fmla="*/ 271 h 372"/>
                <a:gd name="T28" fmla="*/ 281 w 343"/>
                <a:gd name="T29" fmla="*/ 238 h 372"/>
                <a:gd name="T30" fmla="*/ 289 w 343"/>
                <a:gd name="T31" fmla="*/ 200 h 372"/>
                <a:gd name="T32" fmla="*/ 288 w 343"/>
                <a:gd name="T33" fmla="*/ 160 h 372"/>
                <a:gd name="T34" fmla="*/ 276 w 343"/>
                <a:gd name="T35" fmla="*/ 123 h 372"/>
                <a:gd name="T36" fmla="*/ 255 w 343"/>
                <a:gd name="T37" fmla="*/ 92 h 372"/>
                <a:gd name="T38" fmla="*/ 228 w 343"/>
                <a:gd name="T39" fmla="*/ 69 h 372"/>
                <a:gd name="T40" fmla="*/ 196 w 343"/>
                <a:gd name="T41" fmla="*/ 55 h 372"/>
                <a:gd name="T42" fmla="*/ 171 w 343"/>
                <a:gd name="T43" fmla="*/ 372 h 372"/>
                <a:gd name="T44" fmla="*/ 121 w 343"/>
                <a:gd name="T45" fmla="*/ 363 h 372"/>
                <a:gd name="T46" fmla="*/ 75 w 343"/>
                <a:gd name="T47" fmla="*/ 340 h 372"/>
                <a:gd name="T48" fmla="*/ 39 w 343"/>
                <a:gd name="T49" fmla="*/ 304 h 372"/>
                <a:gd name="T50" fmla="*/ 13 w 343"/>
                <a:gd name="T51" fmla="*/ 258 h 372"/>
                <a:gd name="T52" fmla="*/ 1 w 343"/>
                <a:gd name="T53" fmla="*/ 205 h 372"/>
                <a:gd name="T54" fmla="*/ 3 w 343"/>
                <a:gd name="T55" fmla="*/ 149 h 372"/>
                <a:gd name="T56" fmla="*/ 20 w 343"/>
                <a:gd name="T57" fmla="*/ 98 h 372"/>
                <a:gd name="T58" fmla="*/ 50 w 343"/>
                <a:gd name="T59" fmla="*/ 55 h 372"/>
                <a:gd name="T60" fmla="*/ 89 w 343"/>
                <a:gd name="T61" fmla="*/ 23 h 372"/>
                <a:gd name="T62" fmla="*/ 137 w 343"/>
                <a:gd name="T63" fmla="*/ 5 h 372"/>
                <a:gd name="T64" fmla="*/ 189 w 343"/>
                <a:gd name="T65" fmla="*/ 2 h 372"/>
                <a:gd name="T66" fmla="*/ 238 w 343"/>
                <a:gd name="T67" fmla="*/ 15 h 372"/>
                <a:gd name="T68" fmla="*/ 279 w 343"/>
                <a:gd name="T69" fmla="*/ 44 h 372"/>
                <a:gd name="T70" fmla="*/ 312 w 343"/>
                <a:gd name="T71" fmla="*/ 82 h 372"/>
                <a:gd name="T72" fmla="*/ 334 w 343"/>
                <a:gd name="T73" fmla="*/ 131 h 372"/>
                <a:gd name="T74" fmla="*/ 343 w 343"/>
                <a:gd name="T75" fmla="*/ 186 h 372"/>
                <a:gd name="T76" fmla="*/ 334 w 343"/>
                <a:gd name="T77" fmla="*/ 241 h 372"/>
                <a:gd name="T78" fmla="*/ 312 w 343"/>
                <a:gd name="T79" fmla="*/ 290 h 372"/>
                <a:gd name="T80" fmla="*/ 279 w 343"/>
                <a:gd name="T81" fmla="*/ 330 h 372"/>
                <a:gd name="T82" fmla="*/ 238 w 343"/>
                <a:gd name="T83" fmla="*/ 357 h 372"/>
                <a:gd name="T84" fmla="*/ 189 w 343"/>
                <a:gd name="T85" fmla="*/ 37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2">
                  <a:moveTo>
                    <a:pt x="171" y="52"/>
                  </a:moveTo>
                  <a:lnTo>
                    <a:pt x="158" y="54"/>
                  </a:lnTo>
                  <a:lnTo>
                    <a:pt x="147" y="55"/>
                  </a:lnTo>
                  <a:lnTo>
                    <a:pt x="135" y="59"/>
                  </a:lnTo>
                  <a:lnTo>
                    <a:pt x="125" y="64"/>
                  </a:lnTo>
                  <a:lnTo>
                    <a:pt x="115" y="69"/>
                  </a:lnTo>
                  <a:lnTo>
                    <a:pt x="105" y="75"/>
                  </a:lnTo>
                  <a:lnTo>
                    <a:pt x="95" y="84"/>
                  </a:lnTo>
                  <a:lnTo>
                    <a:pt x="86" y="92"/>
                  </a:lnTo>
                  <a:lnTo>
                    <a:pt x="79" y="101"/>
                  </a:lnTo>
                  <a:lnTo>
                    <a:pt x="72" y="111"/>
                  </a:lnTo>
                  <a:lnTo>
                    <a:pt x="66" y="123"/>
                  </a:lnTo>
                  <a:lnTo>
                    <a:pt x="62" y="134"/>
                  </a:lnTo>
                  <a:lnTo>
                    <a:pt x="58" y="147"/>
                  </a:lnTo>
                  <a:lnTo>
                    <a:pt x="55" y="160"/>
                  </a:lnTo>
                  <a:lnTo>
                    <a:pt x="53" y="173"/>
                  </a:lnTo>
                  <a:lnTo>
                    <a:pt x="52" y="186"/>
                  </a:lnTo>
                  <a:lnTo>
                    <a:pt x="53" y="200"/>
                  </a:lnTo>
                  <a:lnTo>
                    <a:pt x="55" y="213"/>
                  </a:lnTo>
                  <a:lnTo>
                    <a:pt x="58" y="226"/>
                  </a:lnTo>
                  <a:lnTo>
                    <a:pt x="62" y="238"/>
                  </a:lnTo>
                  <a:lnTo>
                    <a:pt x="66" y="249"/>
                  </a:lnTo>
                  <a:lnTo>
                    <a:pt x="72" y="261"/>
                  </a:lnTo>
                  <a:lnTo>
                    <a:pt x="79" y="271"/>
                  </a:lnTo>
                  <a:lnTo>
                    <a:pt x="86" y="281"/>
                  </a:lnTo>
                  <a:lnTo>
                    <a:pt x="95" y="290"/>
                  </a:lnTo>
                  <a:lnTo>
                    <a:pt x="105" y="297"/>
                  </a:lnTo>
                  <a:lnTo>
                    <a:pt x="115" y="304"/>
                  </a:lnTo>
                  <a:lnTo>
                    <a:pt x="125" y="310"/>
                  </a:lnTo>
                  <a:lnTo>
                    <a:pt x="135" y="314"/>
                  </a:lnTo>
                  <a:lnTo>
                    <a:pt x="147" y="317"/>
                  </a:lnTo>
                  <a:lnTo>
                    <a:pt x="158" y="319"/>
                  </a:lnTo>
                  <a:lnTo>
                    <a:pt x="171" y="320"/>
                  </a:lnTo>
                  <a:lnTo>
                    <a:pt x="183" y="319"/>
                  </a:lnTo>
                  <a:lnTo>
                    <a:pt x="196" y="317"/>
                  </a:lnTo>
                  <a:lnTo>
                    <a:pt x="206" y="314"/>
                  </a:lnTo>
                  <a:lnTo>
                    <a:pt x="217" y="310"/>
                  </a:lnTo>
                  <a:lnTo>
                    <a:pt x="228" y="304"/>
                  </a:lnTo>
                  <a:lnTo>
                    <a:pt x="238" y="297"/>
                  </a:lnTo>
                  <a:lnTo>
                    <a:pt x="246" y="290"/>
                  </a:lnTo>
                  <a:lnTo>
                    <a:pt x="255" y="281"/>
                  </a:lnTo>
                  <a:lnTo>
                    <a:pt x="264" y="271"/>
                  </a:lnTo>
                  <a:lnTo>
                    <a:pt x="269" y="261"/>
                  </a:lnTo>
                  <a:lnTo>
                    <a:pt x="276" y="249"/>
                  </a:lnTo>
                  <a:lnTo>
                    <a:pt x="281" y="238"/>
                  </a:lnTo>
                  <a:lnTo>
                    <a:pt x="285" y="226"/>
                  </a:lnTo>
                  <a:lnTo>
                    <a:pt x="288" y="213"/>
                  </a:lnTo>
                  <a:lnTo>
                    <a:pt x="289" y="200"/>
                  </a:lnTo>
                  <a:lnTo>
                    <a:pt x="291" y="186"/>
                  </a:lnTo>
                  <a:lnTo>
                    <a:pt x="289" y="173"/>
                  </a:lnTo>
                  <a:lnTo>
                    <a:pt x="288" y="160"/>
                  </a:lnTo>
                  <a:lnTo>
                    <a:pt x="285" y="147"/>
                  </a:lnTo>
                  <a:lnTo>
                    <a:pt x="281" y="134"/>
                  </a:lnTo>
                  <a:lnTo>
                    <a:pt x="276" y="123"/>
                  </a:lnTo>
                  <a:lnTo>
                    <a:pt x="269" y="111"/>
                  </a:lnTo>
                  <a:lnTo>
                    <a:pt x="264" y="101"/>
                  </a:lnTo>
                  <a:lnTo>
                    <a:pt x="255" y="92"/>
                  </a:lnTo>
                  <a:lnTo>
                    <a:pt x="246" y="84"/>
                  </a:lnTo>
                  <a:lnTo>
                    <a:pt x="238" y="75"/>
                  </a:lnTo>
                  <a:lnTo>
                    <a:pt x="228" y="69"/>
                  </a:lnTo>
                  <a:lnTo>
                    <a:pt x="217" y="64"/>
                  </a:lnTo>
                  <a:lnTo>
                    <a:pt x="206" y="59"/>
                  </a:lnTo>
                  <a:lnTo>
                    <a:pt x="196" y="55"/>
                  </a:lnTo>
                  <a:lnTo>
                    <a:pt x="183" y="54"/>
                  </a:lnTo>
                  <a:lnTo>
                    <a:pt x="171" y="52"/>
                  </a:lnTo>
                  <a:close/>
                  <a:moveTo>
                    <a:pt x="171" y="372"/>
                  </a:moveTo>
                  <a:lnTo>
                    <a:pt x="154" y="370"/>
                  </a:lnTo>
                  <a:lnTo>
                    <a:pt x="137" y="369"/>
                  </a:lnTo>
                  <a:lnTo>
                    <a:pt x="121" y="363"/>
                  </a:lnTo>
                  <a:lnTo>
                    <a:pt x="105" y="357"/>
                  </a:lnTo>
                  <a:lnTo>
                    <a:pt x="89" y="350"/>
                  </a:lnTo>
                  <a:lnTo>
                    <a:pt x="75" y="340"/>
                  </a:lnTo>
                  <a:lnTo>
                    <a:pt x="62" y="330"/>
                  </a:lnTo>
                  <a:lnTo>
                    <a:pt x="50" y="317"/>
                  </a:lnTo>
                  <a:lnTo>
                    <a:pt x="39" y="304"/>
                  </a:lnTo>
                  <a:lnTo>
                    <a:pt x="29" y="290"/>
                  </a:lnTo>
                  <a:lnTo>
                    <a:pt x="20" y="275"/>
                  </a:lnTo>
                  <a:lnTo>
                    <a:pt x="13" y="258"/>
                  </a:lnTo>
                  <a:lnTo>
                    <a:pt x="7" y="241"/>
                  </a:lnTo>
                  <a:lnTo>
                    <a:pt x="3" y="224"/>
                  </a:lnTo>
                  <a:lnTo>
                    <a:pt x="1" y="205"/>
                  </a:lnTo>
                  <a:lnTo>
                    <a:pt x="0" y="186"/>
                  </a:lnTo>
                  <a:lnTo>
                    <a:pt x="1" y="167"/>
                  </a:lnTo>
                  <a:lnTo>
                    <a:pt x="3" y="149"/>
                  </a:lnTo>
                  <a:lnTo>
                    <a:pt x="7" y="131"/>
                  </a:lnTo>
                  <a:lnTo>
                    <a:pt x="13" y="114"/>
                  </a:lnTo>
                  <a:lnTo>
                    <a:pt x="20" y="98"/>
                  </a:lnTo>
                  <a:lnTo>
                    <a:pt x="29" y="82"/>
                  </a:lnTo>
                  <a:lnTo>
                    <a:pt x="39" y="68"/>
                  </a:lnTo>
                  <a:lnTo>
                    <a:pt x="50" y="55"/>
                  </a:lnTo>
                  <a:lnTo>
                    <a:pt x="62" y="44"/>
                  </a:lnTo>
                  <a:lnTo>
                    <a:pt x="75" y="32"/>
                  </a:lnTo>
                  <a:lnTo>
                    <a:pt x="89" y="23"/>
                  </a:lnTo>
                  <a:lnTo>
                    <a:pt x="105" y="15"/>
                  </a:lnTo>
                  <a:lnTo>
                    <a:pt x="121" y="9"/>
                  </a:lnTo>
                  <a:lnTo>
                    <a:pt x="137" y="5"/>
                  </a:lnTo>
                  <a:lnTo>
                    <a:pt x="154" y="2"/>
                  </a:lnTo>
                  <a:lnTo>
                    <a:pt x="171" y="0"/>
                  </a:lnTo>
                  <a:lnTo>
                    <a:pt x="189" y="2"/>
                  </a:lnTo>
                  <a:lnTo>
                    <a:pt x="206" y="5"/>
                  </a:lnTo>
                  <a:lnTo>
                    <a:pt x="222" y="9"/>
                  </a:lnTo>
                  <a:lnTo>
                    <a:pt x="238" y="15"/>
                  </a:lnTo>
                  <a:lnTo>
                    <a:pt x="253" y="23"/>
                  </a:lnTo>
                  <a:lnTo>
                    <a:pt x="266" y="32"/>
                  </a:lnTo>
                  <a:lnTo>
                    <a:pt x="279" y="44"/>
                  </a:lnTo>
                  <a:lnTo>
                    <a:pt x="292" y="55"/>
                  </a:lnTo>
                  <a:lnTo>
                    <a:pt x="304" y="68"/>
                  </a:lnTo>
                  <a:lnTo>
                    <a:pt x="312" y="82"/>
                  </a:lnTo>
                  <a:lnTo>
                    <a:pt x="321" y="98"/>
                  </a:lnTo>
                  <a:lnTo>
                    <a:pt x="328" y="114"/>
                  </a:lnTo>
                  <a:lnTo>
                    <a:pt x="334" y="131"/>
                  </a:lnTo>
                  <a:lnTo>
                    <a:pt x="338" y="149"/>
                  </a:lnTo>
                  <a:lnTo>
                    <a:pt x="341" y="167"/>
                  </a:lnTo>
                  <a:lnTo>
                    <a:pt x="343" y="186"/>
                  </a:lnTo>
                  <a:lnTo>
                    <a:pt x="341" y="205"/>
                  </a:lnTo>
                  <a:lnTo>
                    <a:pt x="338" y="224"/>
                  </a:lnTo>
                  <a:lnTo>
                    <a:pt x="334" y="241"/>
                  </a:lnTo>
                  <a:lnTo>
                    <a:pt x="328" y="258"/>
                  </a:lnTo>
                  <a:lnTo>
                    <a:pt x="321" y="275"/>
                  </a:lnTo>
                  <a:lnTo>
                    <a:pt x="312" y="290"/>
                  </a:lnTo>
                  <a:lnTo>
                    <a:pt x="304" y="304"/>
                  </a:lnTo>
                  <a:lnTo>
                    <a:pt x="292" y="317"/>
                  </a:lnTo>
                  <a:lnTo>
                    <a:pt x="279" y="330"/>
                  </a:lnTo>
                  <a:lnTo>
                    <a:pt x="266" y="340"/>
                  </a:lnTo>
                  <a:lnTo>
                    <a:pt x="253" y="350"/>
                  </a:lnTo>
                  <a:lnTo>
                    <a:pt x="238" y="357"/>
                  </a:lnTo>
                  <a:lnTo>
                    <a:pt x="222" y="363"/>
                  </a:lnTo>
                  <a:lnTo>
                    <a:pt x="206" y="369"/>
                  </a:lnTo>
                  <a:lnTo>
                    <a:pt x="189" y="370"/>
                  </a:lnTo>
                  <a:lnTo>
                    <a:pt x="17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30"/>
            <p:cNvSpPr>
              <a:spLocks/>
            </p:cNvSpPr>
            <p:nvPr/>
          </p:nvSpPr>
          <p:spPr bwMode="auto">
            <a:xfrm>
              <a:off x="2290763" y="1282701"/>
              <a:ext cx="219075" cy="192088"/>
            </a:xfrm>
            <a:custGeom>
              <a:avLst/>
              <a:gdLst>
                <a:gd name="T0" fmla="*/ 412 w 412"/>
                <a:gd name="T1" fmla="*/ 361 h 361"/>
                <a:gd name="T2" fmla="*/ 0 w 412"/>
                <a:gd name="T3" fmla="*/ 361 h 361"/>
                <a:gd name="T4" fmla="*/ 0 w 412"/>
                <a:gd name="T5" fmla="*/ 310 h 361"/>
                <a:gd name="T6" fmla="*/ 360 w 412"/>
                <a:gd name="T7" fmla="*/ 310 h 361"/>
                <a:gd name="T8" fmla="*/ 360 w 412"/>
                <a:gd name="T9" fmla="*/ 190 h 361"/>
                <a:gd name="T10" fmla="*/ 359 w 412"/>
                <a:gd name="T11" fmla="*/ 173 h 361"/>
                <a:gd name="T12" fmla="*/ 356 w 412"/>
                <a:gd name="T13" fmla="*/ 158 h 361"/>
                <a:gd name="T14" fmla="*/ 354 w 412"/>
                <a:gd name="T15" fmla="*/ 153 h 361"/>
                <a:gd name="T16" fmla="*/ 350 w 412"/>
                <a:gd name="T17" fmla="*/ 148 h 361"/>
                <a:gd name="T18" fmla="*/ 347 w 412"/>
                <a:gd name="T19" fmla="*/ 143 h 361"/>
                <a:gd name="T20" fmla="*/ 343 w 412"/>
                <a:gd name="T21" fmla="*/ 140 h 361"/>
                <a:gd name="T22" fmla="*/ 331 w 412"/>
                <a:gd name="T23" fmla="*/ 131 h 361"/>
                <a:gd name="T24" fmla="*/ 315 w 412"/>
                <a:gd name="T25" fmla="*/ 125 h 361"/>
                <a:gd name="T26" fmla="*/ 297 w 412"/>
                <a:gd name="T27" fmla="*/ 118 h 361"/>
                <a:gd name="T28" fmla="*/ 274 w 412"/>
                <a:gd name="T29" fmla="*/ 111 h 361"/>
                <a:gd name="T30" fmla="*/ 255 w 412"/>
                <a:gd name="T31" fmla="*/ 105 h 361"/>
                <a:gd name="T32" fmla="*/ 233 w 412"/>
                <a:gd name="T33" fmla="*/ 99 h 361"/>
                <a:gd name="T34" fmla="*/ 222 w 412"/>
                <a:gd name="T35" fmla="*/ 95 h 361"/>
                <a:gd name="T36" fmla="*/ 212 w 412"/>
                <a:gd name="T37" fmla="*/ 89 h 361"/>
                <a:gd name="T38" fmla="*/ 202 w 412"/>
                <a:gd name="T39" fmla="*/ 84 h 361"/>
                <a:gd name="T40" fmla="*/ 194 w 412"/>
                <a:gd name="T41" fmla="*/ 78 h 361"/>
                <a:gd name="T42" fmla="*/ 187 w 412"/>
                <a:gd name="T43" fmla="*/ 72 h 361"/>
                <a:gd name="T44" fmla="*/ 180 w 412"/>
                <a:gd name="T45" fmla="*/ 65 h 361"/>
                <a:gd name="T46" fmla="*/ 176 w 412"/>
                <a:gd name="T47" fmla="*/ 58 h 361"/>
                <a:gd name="T48" fmla="*/ 170 w 412"/>
                <a:gd name="T49" fmla="*/ 50 h 361"/>
                <a:gd name="T50" fmla="*/ 164 w 412"/>
                <a:gd name="T51" fmla="*/ 36 h 361"/>
                <a:gd name="T52" fmla="*/ 160 w 412"/>
                <a:gd name="T53" fmla="*/ 23 h 361"/>
                <a:gd name="T54" fmla="*/ 157 w 412"/>
                <a:gd name="T55" fmla="*/ 10 h 361"/>
                <a:gd name="T56" fmla="*/ 157 w 412"/>
                <a:gd name="T57" fmla="*/ 0 h 361"/>
                <a:gd name="T58" fmla="*/ 209 w 412"/>
                <a:gd name="T59" fmla="*/ 3 h 361"/>
                <a:gd name="T60" fmla="*/ 210 w 412"/>
                <a:gd name="T61" fmla="*/ 10 h 361"/>
                <a:gd name="T62" fmla="*/ 215 w 412"/>
                <a:gd name="T63" fmla="*/ 23 h 361"/>
                <a:gd name="T64" fmla="*/ 219 w 412"/>
                <a:gd name="T65" fmla="*/ 30 h 361"/>
                <a:gd name="T66" fmla="*/ 226 w 412"/>
                <a:gd name="T67" fmla="*/ 37 h 361"/>
                <a:gd name="T68" fmla="*/ 236 w 412"/>
                <a:gd name="T69" fmla="*/ 43 h 361"/>
                <a:gd name="T70" fmla="*/ 249 w 412"/>
                <a:gd name="T71" fmla="*/ 49 h 361"/>
                <a:gd name="T72" fmla="*/ 269 w 412"/>
                <a:gd name="T73" fmla="*/ 56 h 361"/>
                <a:gd name="T74" fmla="*/ 290 w 412"/>
                <a:gd name="T75" fmla="*/ 62 h 361"/>
                <a:gd name="T76" fmla="*/ 313 w 412"/>
                <a:gd name="T77" fmla="*/ 69 h 361"/>
                <a:gd name="T78" fmla="*/ 336 w 412"/>
                <a:gd name="T79" fmla="*/ 76 h 361"/>
                <a:gd name="T80" fmla="*/ 346 w 412"/>
                <a:gd name="T81" fmla="*/ 81 h 361"/>
                <a:gd name="T82" fmla="*/ 356 w 412"/>
                <a:gd name="T83" fmla="*/ 86 h 361"/>
                <a:gd name="T84" fmla="*/ 366 w 412"/>
                <a:gd name="T85" fmla="*/ 92 h 361"/>
                <a:gd name="T86" fmla="*/ 374 w 412"/>
                <a:gd name="T87" fmla="*/ 98 h 361"/>
                <a:gd name="T88" fmla="*/ 383 w 412"/>
                <a:gd name="T89" fmla="*/ 105 h 361"/>
                <a:gd name="T90" fmla="*/ 390 w 412"/>
                <a:gd name="T91" fmla="*/ 114 h 361"/>
                <a:gd name="T92" fmla="*/ 396 w 412"/>
                <a:gd name="T93" fmla="*/ 122 h 361"/>
                <a:gd name="T94" fmla="*/ 402 w 412"/>
                <a:gd name="T95" fmla="*/ 134 h 361"/>
                <a:gd name="T96" fmla="*/ 406 w 412"/>
                <a:gd name="T97" fmla="*/ 145 h 361"/>
                <a:gd name="T98" fmla="*/ 410 w 412"/>
                <a:gd name="T99" fmla="*/ 158 h 361"/>
                <a:gd name="T100" fmla="*/ 412 w 412"/>
                <a:gd name="T101" fmla="*/ 174 h 361"/>
                <a:gd name="T102" fmla="*/ 412 w 412"/>
                <a:gd name="T103" fmla="*/ 190 h 361"/>
                <a:gd name="T104" fmla="*/ 412 w 412"/>
                <a:gd name="T105"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1">
                  <a:moveTo>
                    <a:pt x="412" y="361"/>
                  </a:moveTo>
                  <a:lnTo>
                    <a:pt x="0" y="361"/>
                  </a:lnTo>
                  <a:lnTo>
                    <a:pt x="0" y="310"/>
                  </a:lnTo>
                  <a:lnTo>
                    <a:pt x="360" y="310"/>
                  </a:lnTo>
                  <a:lnTo>
                    <a:pt x="360" y="190"/>
                  </a:lnTo>
                  <a:lnTo>
                    <a:pt x="359" y="173"/>
                  </a:lnTo>
                  <a:lnTo>
                    <a:pt x="356" y="158"/>
                  </a:lnTo>
                  <a:lnTo>
                    <a:pt x="354" y="153"/>
                  </a:lnTo>
                  <a:lnTo>
                    <a:pt x="350" y="148"/>
                  </a:lnTo>
                  <a:lnTo>
                    <a:pt x="347" y="143"/>
                  </a:lnTo>
                  <a:lnTo>
                    <a:pt x="343" y="140"/>
                  </a:lnTo>
                  <a:lnTo>
                    <a:pt x="331" y="131"/>
                  </a:lnTo>
                  <a:lnTo>
                    <a:pt x="315" y="125"/>
                  </a:lnTo>
                  <a:lnTo>
                    <a:pt x="297" y="118"/>
                  </a:lnTo>
                  <a:lnTo>
                    <a:pt x="274" y="111"/>
                  </a:lnTo>
                  <a:lnTo>
                    <a:pt x="255" y="105"/>
                  </a:lnTo>
                  <a:lnTo>
                    <a:pt x="233" y="99"/>
                  </a:lnTo>
                  <a:lnTo>
                    <a:pt x="222" y="95"/>
                  </a:lnTo>
                  <a:lnTo>
                    <a:pt x="212" y="89"/>
                  </a:lnTo>
                  <a:lnTo>
                    <a:pt x="202" y="84"/>
                  </a:lnTo>
                  <a:lnTo>
                    <a:pt x="194" y="78"/>
                  </a:lnTo>
                  <a:lnTo>
                    <a:pt x="187" y="72"/>
                  </a:lnTo>
                  <a:lnTo>
                    <a:pt x="180" y="65"/>
                  </a:lnTo>
                  <a:lnTo>
                    <a:pt x="176" y="58"/>
                  </a:lnTo>
                  <a:lnTo>
                    <a:pt x="170" y="50"/>
                  </a:lnTo>
                  <a:lnTo>
                    <a:pt x="164" y="36"/>
                  </a:lnTo>
                  <a:lnTo>
                    <a:pt x="160" y="23"/>
                  </a:lnTo>
                  <a:lnTo>
                    <a:pt x="157" y="10"/>
                  </a:lnTo>
                  <a:lnTo>
                    <a:pt x="157" y="0"/>
                  </a:lnTo>
                  <a:lnTo>
                    <a:pt x="209" y="3"/>
                  </a:lnTo>
                  <a:lnTo>
                    <a:pt x="210" y="10"/>
                  </a:lnTo>
                  <a:lnTo>
                    <a:pt x="215" y="23"/>
                  </a:lnTo>
                  <a:lnTo>
                    <a:pt x="219" y="30"/>
                  </a:lnTo>
                  <a:lnTo>
                    <a:pt x="226" y="37"/>
                  </a:lnTo>
                  <a:lnTo>
                    <a:pt x="236" y="43"/>
                  </a:lnTo>
                  <a:lnTo>
                    <a:pt x="249" y="49"/>
                  </a:lnTo>
                  <a:lnTo>
                    <a:pt x="269" y="56"/>
                  </a:lnTo>
                  <a:lnTo>
                    <a:pt x="290" y="62"/>
                  </a:lnTo>
                  <a:lnTo>
                    <a:pt x="313" y="69"/>
                  </a:lnTo>
                  <a:lnTo>
                    <a:pt x="336" y="76"/>
                  </a:lnTo>
                  <a:lnTo>
                    <a:pt x="346" y="81"/>
                  </a:lnTo>
                  <a:lnTo>
                    <a:pt x="356" y="86"/>
                  </a:lnTo>
                  <a:lnTo>
                    <a:pt x="366" y="92"/>
                  </a:lnTo>
                  <a:lnTo>
                    <a:pt x="374" y="98"/>
                  </a:lnTo>
                  <a:lnTo>
                    <a:pt x="383" y="105"/>
                  </a:lnTo>
                  <a:lnTo>
                    <a:pt x="390" y="114"/>
                  </a:lnTo>
                  <a:lnTo>
                    <a:pt x="396" y="122"/>
                  </a:lnTo>
                  <a:lnTo>
                    <a:pt x="402" y="134"/>
                  </a:lnTo>
                  <a:lnTo>
                    <a:pt x="406" y="145"/>
                  </a:lnTo>
                  <a:lnTo>
                    <a:pt x="410" y="158"/>
                  </a:lnTo>
                  <a:lnTo>
                    <a:pt x="412" y="174"/>
                  </a:lnTo>
                  <a:lnTo>
                    <a:pt x="412" y="190"/>
                  </a:lnTo>
                  <a:lnTo>
                    <a:pt x="412"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1"/>
            <p:cNvSpPr>
              <a:spLocks/>
            </p:cNvSpPr>
            <p:nvPr/>
          </p:nvSpPr>
          <p:spPr bwMode="auto">
            <a:xfrm>
              <a:off x="2276475" y="1282701"/>
              <a:ext cx="65088" cy="57150"/>
            </a:xfrm>
            <a:custGeom>
              <a:avLst/>
              <a:gdLst>
                <a:gd name="T0" fmla="*/ 14 w 121"/>
                <a:gd name="T1" fmla="*/ 108 h 108"/>
                <a:gd name="T2" fmla="*/ 0 w 121"/>
                <a:gd name="T3" fmla="*/ 58 h 108"/>
                <a:gd name="T4" fmla="*/ 14 w 121"/>
                <a:gd name="T5" fmla="*/ 53 h 108"/>
                <a:gd name="T6" fmla="*/ 29 w 121"/>
                <a:gd name="T7" fmla="*/ 49 h 108"/>
                <a:gd name="T8" fmla="*/ 41 w 121"/>
                <a:gd name="T9" fmla="*/ 43 h 108"/>
                <a:gd name="T10" fmla="*/ 50 w 121"/>
                <a:gd name="T11" fmla="*/ 37 h 108"/>
                <a:gd name="T12" fmla="*/ 57 w 121"/>
                <a:gd name="T13" fmla="*/ 30 h 108"/>
                <a:gd name="T14" fmla="*/ 63 w 121"/>
                <a:gd name="T15" fmla="*/ 23 h 108"/>
                <a:gd name="T16" fmla="*/ 67 w 121"/>
                <a:gd name="T17" fmla="*/ 10 h 108"/>
                <a:gd name="T18" fmla="*/ 67 w 121"/>
                <a:gd name="T19" fmla="*/ 3 h 108"/>
                <a:gd name="T20" fmla="*/ 121 w 121"/>
                <a:gd name="T21" fmla="*/ 0 h 108"/>
                <a:gd name="T22" fmla="*/ 121 w 121"/>
                <a:gd name="T23" fmla="*/ 10 h 108"/>
                <a:gd name="T24" fmla="*/ 118 w 121"/>
                <a:gd name="T25" fmla="*/ 23 h 108"/>
                <a:gd name="T26" fmla="*/ 113 w 121"/>
                <a:gd name="T27" fmla="*/ 36 h 108"/>
                <a:gd name="T28" fmla="*/ 106 w 121"/>
                <a:gd name="T29" fmla="*/ 50 h 108"/>
                <a:gd name="T30" fmla="*/ 102 w 121"/>
                <a:gd name="T31" fmla="*/ 58 h 108"/>
                <a:gd name="T32" fmla="*/ 96 w 121"/>
                <a:gd name="T33" fmla="*/ 65 h 108"/>
                <a:gd name="T34" fmla="*/ 90 w 121"/>
                <a:gd name="T35" fmla="*/ 72 h 108"/>
                <a:gd name="T36" fmla="*/ 83 w 121"/>
                <a:gd name="T37" fmla="*/ 78 h 108"/>
                <a:gd name="T38" fmla="*/ 75 w 121"/>
                <a:gd name="T39" fmla="*/ 84 h 108"/>
                <a:gd name="T40" fmla="*/ 66 w 121"/>
                <a:gd name="T41" fmla="*/ 89 h 108"/>
                <a:gd name="T42" fmla="*/ 56 w 121"/>
                <a:gd name="T43" fmla="*/ 95 h 108"/>
                <a:gd name="T44" fmla="*/ 44 w 121"/>
                <a:gd name="T45" fmla="*/ 99 h 108"/>
                <a:gd name="T46" fmla="*/ 29 w 121"/>
                <a:gd name="T47" fmla="*/ 104 h 108"/>
                <a:gd name="T48" fmla="*/ 14 w 121"/>
                <a:gd name="T4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8">
                  <a:moveTo>
                    <a:pt x="14" y="108"/>
                  </a:moveTo>
                  <a:lnTo>
                    <a:pt x="0" y="58"/>
                  </a:lnTo>
                  <a:lnTo>
                    <a:pt x="14" y="53"/>
                  </a:lnTo>
                  <a:lnTo>
                    <a:pt x="29" y="49"/>
                  </a:lnTo>
                  <a:lnTo>
                    <a:pt x="41" y="43"/>
                  </a:lnTo>
                  <a:lnTo>
                    <a:pt x="50" y="37"/>
                  </a:lnTo>
                  <a:lnTo>
                    <a:pt x="57" y="30"/>
                  </a:lnTo>
                  <a:lnTo>
                    <a:pt x="63" y="23"/>
                  </a:lnTo>
                  <a:lnTo>
                    <a:pt x="67" y="10"/>
                  </a:lnTo>
                  <a:lnTo>
                    <a:pt x="67" y="3"/>
                  </a:lnTo>
                  <a:lnTo>
                    <a:pt x="121" y="0"/>
                  </a:lnTo>
                  <a:lnTo>
                    <a:pt x="121" y="10"/>
                  </a:lnTo>
                  <a:lnTo>
                    <a:pt x="118" y="23"/>
                  </a:lnTo>
                  <a:lnTo>
                    <a:pt x="113" y="36"/>
                  </a:lnTo>
                  <a:lnTo>
                    <a:pt x="106" y="50"/>
                  </a:lnTo>
                  <a:lnTo>
                    <a:pt x="102" y="58"/>
                  </a:lnTo>
                  <a:lnTo>
                    <a:pt x="96" y="65"/>
                  </a:lnTo>
                  <a:lnTo>
                    <a:pt x="90" y="72"/>
                  </a:lnTo>
                  <a:lnTo>
                    <a:pt x="83" y="78"/>
                  </a:lnTo>
                  <a:lnTo>
                    <a:pt x="75" y="84"/>
                  </a:lnTo>
                  <a:lnTo>
                    <a:pt x="66" y="89"/>
                  </a:lnTo>
                  <a:lnTo>
                    <a:pt x="56" y="95"/>
                  </a:lnTo>
                  <a:lnTo>
                    <a:pt x="44" y="99"/>
                  </a:lnTo>
                  <a:lnTo>
                    <a:pt x="29" y="104"/>
                  </a:lnTo>
                  <a:lnTo>
                    <a:pt x="1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32"/>
            <p:cNvSpPr>
              <a:spLocks/>
            </p:cNvSpPr>
            <p:nvPr/>
          </p:nvSpPr>
          <p:spPr bwMode="auto">
            <a:xfrm>
              <a:off x="2278063" y="1155701"/>
              <a:ext cx="157163" cy="46038"/>
            </a:xfrm>
            <a:custGeom>
              <a:avLst/>
              <a:gdLst>
                <a:gd name="T0" fmla="*/ 72 w 297"/>
                <a:gd name="T1" fmla="*/ 89 h 89"/>
                <a:gd name="T2" fmla="*/ 55 w 297"/>
                <a:gd name="T3" fmla="*/ 88 h 89"/>
                <a:gd name="T4" fmla="*/ 38 w 297"/>
                <a:gd name="T5" fmla="*/ 87 h 89"/>
                <a:gd name="T6" fmla="*/ 19 w 297"/>
                <a:gd name="T7" fmla="*/ 84 h 89"/>
                <a:gd name="T8" fmla="*/ 0 w 297"/>
                <a:gd name="T9" fmla="*/ 81 h 89"/>
                <a:gd name="T10" fmla="*/ 13 w 297"/>
                <a:gd name="T11" fmla="*/ 29 h 89"/>
                <a:gd name="T12" fmla="*/ 32 w 297"/>
                <a:gd name="T13" fmla="*/ 33 h 89"/>
                <a:gd name="T14" fmla="*/ 49 w 297"/>
                <a:gd name="T15" fmla="*/ 36 h 89"/>
                <a:gd name="T16" fmla="*/ 68 w 297"/>
                <a:gd name="T17" fmla="*/ 36 h 89"/>
                <a:gd name="T18" fmla="*/ 84 w 297"/>
                <a:gd name="T19" fmla="*/ 36 h 89"/>
                <a:gd name="T20" fmla="*/ 100 w 297"/>
                <a:gd name="T21" fmla="*/ 35 h 89"/>
                <a:gd name="T22" fmla="*/ 115 w 297"/>
                <a:gd name="T23" fmla="*/ 33 h 89"/>
                <a:gd name="T24" fmla="*/ 128 w 297"/>
                <a:gd name="T25" fmla="*/ 30 h 89"/>
                <a:gd name="T26" fmla="*/ 141 w 297"/>
                <a:gd name="T27" fmla="*/ 26 h 89"/>
                <a:gd name="T28" fmla="*/ 164 w 297"/>
                <a:gd name="T29" fmla="*/ 19 h 89"/>
                <a:gd name="T30" fmla="*/ 180 w 297"/>
                <a:gd name="T31" fmla="*/ 12 h 89"/>
                <a:gd name="T32" fmla="*/ 192 w 297"/>
                <a:gd name="T33" fmla="*/ 6 h 89"/>
                <a:gd name="T34" fmla="*/ 195 w 297"/>
                <a:gd name="T35" fmla="*/ 4 h 89"/>
                <a:gd name="T36" fmla="*/ 199 w 297"/>
                <a:gd name="T37" fmla="*/ 2 h 89"/>
                <a:gd name="T38" fmla="*/ 203 w 297"/>
                <a:gd name="T39" fmla="*/ 0 h 89"/>
                <a:gd name="T40" fmla="*/ 208 w 297"/>
                <a:gd name="T41" fmla="*/ 0 h 89"/>
                <a:gd name="T42" fmla="*/ 212 w 297"/>
                <a:gd name="T43" fmla="*/ 0 h 89"/>
                <a:gd name="T44" fmla="*/ 216 w 297"/>
                <a:gd name="T45" fmla="*/ 0 h 89"/>
                <a:gd name="T46" fmla="*/ 220 w 297"/>
                <a:gd name="T47" fmla="*/ 2 h 89"/>
                <a:gd name="T48" fmla="*/ 225 w 297"/>
                <a:gd name="T49" fmla="*/ 4 h 89"/>
                <a:gd name="T50" fmla="*/ 228 w 297"/>
                <a:gd name="T51" fmla="*/ 7 h 89"/>
                <a:gd name="T52" fmla="*/ 232 w 297"/>
                <a:gd name="T53" fmla="*/ 10 h 89"/>
                <a:gd name="T54" fmla="*/ 245 w 297"/>
                <a:gd name="T55" fmla="*/ 19 h 89"/>
                <a:gd name="T56" fmla="*/ 255 w 297"/>
                <a:gd name="T57" fmla="*/ 22 h 89"/>
                <a:gd name="T58" fmla="*/ 267 w 297"/>
                <a:gd name="T59" fmla="*/ 26 h 89"/>
                <a:gd name="T60" fmla="*/ 281 w 297"/>
                <a:gd name="T61" fmla="*/ 28 h 89"/>
                <a:gd name="T62" fmla="*/ 297 w 297"/>
                <a:gd name="T63" fmla="*/ 29 h 89"/>
                <a:gd name="T64" fmla="*/ 297 w 297"/>
                <a:gd name="T65" fmla="*/ 81 h 89"/>
                <a:gd name="T66" fmla="*/ 281 w 297"/>
                <a:gd name="T67" fmla="*/ 81 h 89"/>
                <a:gd name="T68" fmla="*/ 267 w 297"/>
                <a:gd name="T69" fmla="*/ 79 h 89"/>
                <a:gd name="T70" fmla="*/ 254 w 297"/>
                <a:gd name="T71" fmla="*/ 76 h 89"/>
                <a:gd name="T72" fmla="*/ 242 w 297"/>
                <a:gd name="T73" fmla="*/ 74 h 89"/>
                <a:gd name="T74" fmla="*/ 222 w 297"/>
                <a:gd name="T75" fmla="*/ 65 h 89"/>
                <a:gd name="T76" fmla="*/ 208 w 297"/>
                <a:gd name="T77" fmla="*/ 56 h 89"/>
                <a:gd name="T78" fmla="*/ 184 w 297"/>
                <a:gd name="T79" fmla="*/ 66 h 89"/>
                <a:gd name="T80" fmla="*/ 154 w 297"/>
                <a:gd name="T81" fmla="*/ 78 h 89"/>
                <a:gd name="T82" fmla="*/ 136 w 297"/>
                <a:gd name="T83" fmla="*/ 82 h 89"/>
                <a:gd name="T84" fmla="*/ 117 w 297"/>
                <a:gd name="T85" fmla="*/ 85 h 89"/>
                <a:gd name="T86" fmla="*/ 95 w 297"/>
                <a:gd name="T87" fmla="*/ 88 h 89"/>
                <a:gd name="T88" fmla="*/ 72 w 297"/>
                <a:gd name="T8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89">
                  <a:moveTo>
                    <a:pt x="72" y="89"/>
                  </a:moveTo>
                  <a:lnTo>
                    <a:pt x="55" y="88"/>
                  </a:lnTo>
                  <a:lnTo>
                    <a:pt x="38" y="87"/>
                  </a:lnTo>
                  <a:lnTo>
                    <a:pt x="19" y="84"/>
                  </a:lnTo>
                  <a:lnTo>
                    <a:pt x="0" y="81"/>
                  </a:lnTo>
                  <a:lnTo>
                    <a:pt x="13" y="29"/>
                  </a:lnTo>
                  <a:lnTo>
                    <a:pt x="32" y="33"/>
                  </a:lnTo>
                  <a:lnTo>
                    <a:pt x="49" y="36"/>
                  </a:lnTo>
                  <a:lnTo>
                    <a:pt x="68" y="36"/>
                  </a:lnTo>
                  <a:lnTo>
                    <a:pt x="84" y="36"/>
                  </a:lnTo>
                  <a:lnTo>
                    <a:pt x="100" y="35"/>
                  </a:lnTo>
                  <a:lnTo>
                    <a:pt x="115" y="33"/>
                  </a:lnTo>
                  <a:lnTo>
                    <a:pt x="128" y="30"/>
                  </a:lnTo>
                  <a:lnTo>
                    <a:pt x="141" y="26"/>
                  </a:lnTo>
                  <a:lnTo>
                    <a:pt x="164" y="19"/>
                  </a:lnTo>
                  <a:lnTo>
                    <a:pt x="180" y="12"/>
                  </a:lnTo>
                  <a:lnTo>
                    <a:pt x="192" y="6"/>
                  </a:lnTo>
                  <a:lnTo>
                    <a:pt x="195" y="4"/>
                  </a:lnTo>
                  <a:lnTo>
                    <a:pt x="199" y="2"/>
                  </a:lnTo>
                  <a:lnTo>
                    <a:pt x="203" y="0"/>
                  </a:lnTo>
                  <a:lnTo>
                    <a:pt x="208" y="0"/>
                  </a:lnTo>
                  <a:lnTo>
                    <a:pt x="212" y="0"/>
                  </a:lnTo>
                  <a:lnTo>
                    <a:pt x="216" y="0"/>
                  </a:lnTo>
                  <a:lnTo>
                    <a:pt x="220" y="2"/>
                  </a:lnTo>
                  <a:lnTo>
                    <a:pt x="225" y="4"/>
                  </a:lnTo>
                  <a:lnTo>
                    <a:pt x="228" y="7"/>
                  </a:lnTo>
                  <a:lnTo>
                    <a:pt x="232" y="10"/>
                  </a:lnTo>
                  <a:lnTo>
                    <a:pt x="245" y="19"/>
                  </a:lnTo>
                  <a:lnTo>
                    <a:pt x="255" y="22"/>
                  </a:lnTo>
                  <a:lnTo>
                    <a:pt x="267" y="26"/>
                  </a:lnTo>
                  <a:lnTo>
                    <a:pt x="281" y="28"/>
                  </a:lnTo>
                  <a:lnTo>
                    <a:pt x="297" y="29"/>
                  </a:lnTo>
                  <a:lnTo>
                    <a:pt x="297" y="81"/>
                  </a:lnTo>
                  <a:lnTo>
                    <a:pt x="281" y="81"/>
                  </a:lnTo>
                  <a:lnTo>
                    <a:pt x="267" y="79"/>
                  </a:lnTo>
                  <a:lnTo>
                    <a:pt x="254" y="76"/>
                  </a:lnTo>
                  <a:lnTo>
                    <a:pt x="242" y="74"/>
                  </a:lnTo>
                  <a:lnTo>
                    <a:pt x="222" y="65"/>
                  </a:lnTo>
                  <a:lnTo>
                    <a:pt x="208" y="56"/>
                  </a:lnTo>
                  <a:lnTo>
                    <a:pt x="184" y="66"/>
                  </a:lnTo>
                  <a:lnTo>
                    <a:pt x="154" y="78"/>
                  </a:lnTo>
                  <a:lnTo>
                    <a:pt x="136" y="82"/>
                  </a:lnTo>
                  <a:lnTo>
                    <a:pt x="117" y="85"/>
                  </a:lnTo>
                  <a:lnTo>
                    <a:pt x="95" y="88"/>
                  </a:lnTo>
                  <a:lnTo>
                    <a:pt x="72"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3478499" y="4060914"/>
            <a:ext cx="380443" cy="380443"/>
            <a:chOff x="884238" y="2681288"/>
            <a:chExt cx="685800" cy="685800"/>
          </a:xfrm>
          <a:solidFill>
            <a:schemeClr val="bg1"/>
          </a:solidFill>
        </p:grpSpPr>
        <p:sp>
          <p:nvSpPr>
            <p:cNvPr id="276" name="Freeform 112"/>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13"/>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8" name="Group 277"/>
          <p:cNvGrpSpPr/>
          <p:nvPr/>
        </p:nvGrpSpPr>
        <p:grpSpPr>
          <a:xfrm>
            <a:off x="3516078" y="2362433"/>
            <a:ext cx="322321" cy="413909"/>
            <a:chOff x="6248400" y="1760538"/>
            <a:chExt cx="581025" cy="746125"/>
          </a:xfrm>
          <a:solidFill>
            <a:schemeClr val="bg1"/>
          </a:solidFill>
        </p:grpSpPr>
        <p:sp>
          <p:nvSpPr>
            <p:cNvPr id="279" name="Freeform 119"/>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0"/>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5"/>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6"/>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7"/>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8"/>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29"/>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0"/>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16"/>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18"/>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19"/>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8" name="Group 297"/>
          <p:cNvGrpSpPr/>
          <p:nvPr/>
        </p:nvGrpSpPr>
        <p:grpSpPr>
          <a:xfrm>
            <a:off x="5217413" y="2391507"/>
            <a:ext cx="384610" cy="322613"/>
            <a:chOff x="7434263" y="5710238"/>
            <a:chExt cx="531813" cy="446088"/>
          </a:xfrm>
          <a:solidFill>
            <a:schemeClr val="bg1"/>
          </a:solidFill>
        </p:grpSpPr>
        <p:sp>
          <p:nvSpPr>
            <p:cNvPr id="299" name="Freeform 17"/>
            <p:cNvSpPr>
              <a:spLocks noEditPoints="1"/>
            </p:cNvSpPr>
            <p:nvPr/>
          </p:nvSpPr>
          <p:spPr bwMode="auto">
            <a:xfrm>
              <a:off x="7434263" y="5710238"/>
              <a:ext cx="531813" cy="446088"/>
            </a:xfrm>
            <a:custGeom>
              <a:avLst/>
              <a:gdLst>
                <a:gd name="T0" fmla="*/ 54 w 1341"/>
                <a:gd name="T1" fmla="*/ 1073 h 1127"/>
                <a:gd name="T2" fmla="*/ 1288 w 1341"/>
                <a:gd name="T3" fmla="*/ 1073 h 1127"/>
                <a:gd name="T4" fmla="*/ 1288 w 1341"/>
                <a:gd name="T5" fmla="*/ 54 h 1127"/>
                <a:gd name="T6" fmla="*/ 54 w 1341"/>
                <a:gd name="T7" fmla="*/ 54 h 1127"/>
                <a:gd name="T8" fmla="*/ 54 w 1341"/>
                <a:gd name="T9" fmla="*/ 1073 h 1127"/>
                <a:gd name="T10" fmla="*/ 1314 w 1341"/>
                <a:gd name="T11" fmla="*/ 1127 h 1127"/>
                <a:gd name="T12" fmla="*/ 27 w 1341"/>
                <a:gd name="T13" fmla="*/ 1127 h 1127"/>
                <a:gd name="T14" fmla="*/ 21 w 1341"/>
                <a:gd name="T15" fmla="*/ 1127 h 1127"/>
                <a:gd name="T16" fmla="*/ 17 w 1341"/>
                <a:gd name="T17" fmla="*/ 1124 h 1127"/>
                <a:gd name="T18" fmla="*/ 12 w 1341"/>
                <a:gd name="T19" fmla="*/ 1122 h 1127"/>
                <a:gd name="T20" fmla="*/ 8 w 1341"/>
                <a:gd name="T21" fmla="*/ 1119 h 1127"/>
                <a:gd name="T22" fmla="*/ 4 w 1341"/>
                <a:gd name="T23" fmla="*/ 1115 h 1127"/>
                <a:gd name="T24" fmla="*/ 2 w 1341"/>
                <a:gd name="T25" fmla="*/ 1111 h 1127"/>
                <a:gd name="T26" fmla="*/ 0 w 1341"/>
                <a:gd name="T27" fmla="*/ 1105 h 1127"/>
                <a:gd name="T28" fmla="*/ 0 w 1341"/>
                <a:gd name="T29" fmla="*/ 1100 h 1127"/>
                <a:gd name="T30" fmla="*/ 0 w 1341"/>
                <a:gd name="T31" fmla="*/ 27 h 1127"/>
                <a:gd name="T32" fmla="*/ 0 w 1341"/>
                <a:gd name="T33" fmla="*/ 21 h 1127"/>
                <a:gd name="T34" fmla="*/ 2 w 1341"/>
                <a:gd name="T35" fmla="*/ 17 h 1127"/>
                <a:gd name="T36" fmla="*/ 4 w 1341"/>
                <a:gd name="T37" fmla="*/ 12 h 1127"/>
                <a:gd name="T38" fmla="*/ 8 w 1341"/>
                <a:gd name="T39" fmla="*/ 8 h 1127"/>
                <a:gd name="T40" fmla="*/ 12 w 1341"/>
                <a:gd name="T41" fmla="*/ 4 h 1127"/>
                <a:gd name="T42" fmla="*/ 17 w 1341"/>
                <a:gd name="T43" fmla="*/ 2 h 1127"/>
                <a:gd name="T44" fmla="*/ 21 w 1341"/>
                <a:gd name="T45" fmla="*/ 1 h 1127"/>
                <a:gd name="T46" fmla="*/ 27 w 1341"/>
                <a:gd name="T47" fmla="*/ 0 h 1127"/>
                <a:gd name="T48" fmla="*/ 1314 w 1341"/>
                <a:gd name="T49" fmla="*/ 0 h 1127"/>
                <a:gd name="T50" fmla="*/ 1319 w 1341"/>
                <a:gd name="T51" fmla="*/ 1 h 1127"/>
                <a:gd name="T52" fmla="*/ 1325 w 1341"/>
                <a:gd name="T53" fmla="*/ 2 h 1127"/>
                <a:gd name="T54" fmla="*/ 1329 w 1341"/>
                <a:gd name="T55" fmla="*/ 4 h 1127"/>
                <a:gd name="T56" fmla="*/ 1333 w 1341"/>
                <a:gd name="T57" fmla="*/ 8 h 1127"/>
                <a:gd name="T58" fmla="*/ 1336 w 1341"/>
                <a:gd name="T59" fmla="*/ 12 h 1127"/>
                <a:gd name="T60" fmla="*/ 1338 w 1341"/>
                <a:gd name="T61" fmla="*/ 17 h 1127"/>
                <a:gd name="T62" fmla="*/ 1341 w 1341"/>
                <a:gd name="T63" fmla="*/ 21 h 1127"/>
                <a:gd name="T64" fmla="*/ 1341 w 1341"/>
                <a:gd name="T65" fmla="*/ 27 h 1127"/>
                <a:gd name="T66" fmla="*/ 1341 w 1341"/>
                <a:gd name="T67" fmla="*/ 1100 h 1127"/>
                <a:gd name="T68" fmla="*/ 1341 w 1341"/>
                <a:gd name="T69" fmla="*/ 1105 h 1127"/>
                <a:gd name="T70" fmla="*/ 1338 w 1341"/>
                <a:gd name="T71" fmla="*/ 1111 h 1127"/>
                <a:gd name="T72" fmla="*/ 1336 w 1341"/>
                <a:gd name="T73" fmla="*/ 1115 h 1127"/>
                <a:gd name="T74" fmla="*/ 1333 w 1341"/>
                <a:gd name="T75" fmla="*/ 1119 h 1127"/>
                <a:gd name="T76" fmla="*/ 1329 w 1341"/>
                <a:gd name="T77" fmla="*/ 1122 h 1127"/>
                <a:gd name="T78" fmla="*/ 1325 w 1341"/>
                <a:gd name="T79" fmla="*/ 1124 h 1127"/>
                <a:gd name="T80" fmla="*/ 1319 w 1341"/>
                <a:gd name="T81" fmla="*/ 1127 h 1127"/>
                <a:gd name="T82" fmla="*/ 1314 w 1341"/>
                <a:gd name="T83" fmla="*/ 112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41" h="1127">
                  <a:moveTo>
                    <a:pt x="54" y="1073"/>
                  </a:moveTo>
                  <a:lnTo>
                    <a:pt x="1288" y="1073"/>
                  </a:lnTo>
                  <a:lnTo>
                    <a:pt x="1288" y="54"/>
                  </a:lnTo>
                  <a:lnTo>
                    <a:pt x="54" y="54"/>
                  </a:lnTo>
                  <a:lnTo>
                    <a:pt x="54" y="1073"/>
                  </a:lnTo>
                  <a:close/>
                  <a:moveTo>
                    <a:pt x="1314" y="1127"/>
                  </a:moveTo>
                  <a:lnTo>
                    <a:pt x="27" y="1127"/>
                  </a:lnTo>
                  <a:lnTo>
                    <a:pt x="21" y="1127"/>
                  </a:lnTo>
                  <a:lnTo>
                    <a:pt x="17" y="1124"/>
                  </a:lnTo>
                  <a:lnTo>
                    <a:pt x="12" y="1122"/>
                  </a:lnTo>
                  <a:lnTo>
                    <a:pt x="8" y="1119"/>
                  </a:lnTo>
                  <a:lnTo>
                    <a:pt x="4" y="1115"/>
                  </a:lnTo>
                  <a:lnTo>
                    <a:pt x="2" y="1111"/>
                  </a:lnTo>
                  <a:lnTo>
                    <a:pt x="0" y="1105"/>
                  </a:lnTo>
                  <a:lnTo>
                    <a:pt x="0" y="1100"/>
                  </a:lnTo>
                  <a:lnTo>
                    <a:pt x="0" y="27"/>
                  </a:lnTo>
                  <a:lnTo>
                    <a:pt x="0" y="21"/>
                  </a:lnTo>
                  <a:lnTo>
                    <a:pt x="2" y="17"/>
                  </a:lnTo>
                  <a:lnTo>
                    <a:pt x="4" y="12"/>
                  </a:lnTo>
                  <a:lnTo>
                    <a:pt x="8" y="8"/>
                  </a:lnTo>
                  <a:lnTo>
                    <a:pt x="12" y="4"/>
                  </a:lnTo>
                  <a:lnTo>
                    <a:pt x="17" y="2"/>
                  </a:lnTo>
                  <a:lnTo>
                    <a:pt x="21" y="1"/>
                  </a:lnTo>
                  <a:lnTo>
                    <a:pt x="27" y="0"/>
                  </a:lnTo>
                  <a:lnTo>
                    <a:pt x="1314" y="0"/>
                  </a:lnTo>
                  <a:lnTo>
                    <a:pt x="1319" y="1"/>
                  </a:lnTo>
                  <a:lnTo>
                    <a:pt x="1325" y="2"/>
                  </a:lnTo>
                  <a:lnTo>
                    <a:pt x="1329" y="4"/>
                  </a:lnTo>
                  <a:lnTo>
                    <a:pt x="1333" y="8"/>
                  </a:lnTo>
                  <a:lnTo>
                    <a:pt x="1336" y="12"/>
                  </a:lnTo>
                  <a:lnTo>
                    <a:pt x="1338" y="17"/>
                  </a:lnTo>
                  <a:lnTo>
                    <a:pt x="1341" y="21"/>
                  </a:lnTo>
                  <a:lnTo>
                    <a:pt x="1341" y="27"/>
                  </a:lnTo>
                  <a:lnTo>
                    <a:pt x="1341" y="1100"/>
                  </a:lnTo>
                  <a:lnTo>
                    <a:pt x="1341" y="1105"/>
                  </a:lnTo>
                  <a:lnTo>
                    <a:pt x="1338" y="1111"/>
                  </a:lnTo>
                  <a:lnTo>
                    <a:pt x="1336" y="1115"/>
                  </a:lnTo>
                  <a:lnTo>
                    <a:pt x="1333" y="1119"/>
                  </a:lnTo>
                  <a:lnTo>
                    <a:pt x="1329" y="1122"/>
                  </a:lnTo>
                  <a:lnTo>
                    <a:pt x="1325" y="1124"/>
                  </a:lnTo>
                  <a:lnTo>
                    <a:pt x="1319" y="1127"/>
                  </a:lnTo>
                  <a:lnTo>
                    <a:pt x="1314" y="1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18"/>
            <p:cNvSpPr>
              <a:spLocks noChangeArrowheads="1"/>
            </p:cNvSpPr>
            <p:nvPr/>
          </p:nvSpPr>
          <p:spPr bwMode="auto">
            <a:xfrm>
              <a:off x="7443788" y="5795963"/>
              <a:ext cx="51117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19"/>
            <p:cNvSpPr>
              <a:spLocks noChangeArrowheads="1"/>
            </p:cNvSpPr>
            <p:nvPr/>
          </p:nvSpPr>
          <p:spPr bwMode="auto">
            <a:xfrm>
              <a:off x="7689850" y="5719763"/>
              <a:ext cx="20638" cy="427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2" name="Group 301"/>
          <p:cNvGrpSpPr/>
          <p:nvPr/>
        </p:nvGrpSpPr>
        <p:grpSpPr>
          <a:xfrm>
            <a:off x="3098981" y="3213544"/>
            <a:ext cx="417097" cy="372408"/>
            <a:chOff x="6543675" y="4589463"/>
            <a:chExt cx="711200" cy="635000"/>
          </a:xfrm>
          <a:solidFill>
            <a:schemeClr val="bg1"/>
          </a:solidFill>
        </p:grpSpPr>
        <p:sp>
          <p:nvSpPr>
            <p:cNvPr id="303" name="Freeform 37"/>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8"/>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9"/>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0"/>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Oval 307"/>
          <p:cNvSpPr/>
          <p:nvPr/>
        </p:nvSpPr>
        <p:spPr>
          <a:xfrm>
            <a:off x="381676"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1</a:t>
            </a:r>
            <a:endParaRPr lang="id-ID" sz="1000" dirty="0">
              <a:solidFill>
                <a:srgbClr val="7F8C8D"/>
              </a:solidFill>
              <a:latin typeface="Calibri Light" panose="020F0302020204030204" pitchFamily="34" charset="0"/>
            </a:endParaRPr>
          </a:p>
        </p:txBody>
      </p:sp>
      <p:sp>
        <p:nvSpPr>
          <p:cNvPr id="309" name="Oval 308"/>
          <p:cNvSpPr/>
          <p:nvPr/>
        </p:nvSpPr>
        <p:spPr>
          <a:xfrm>
            <a:off x="381676"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2</a:t>
            </a:r>
            <a:endParaRPr lang="id-ID" sz="1000" dirty="0">
              <a:solidFill>
                <a:srgbClr val="7F8C8D"/>
              </a:solidFill>
              <a:latin typeface="Calibri Light" panose="020F0302020204030204" pitchFamily="34" charset="0"/>
            </a:endParaRPr>
          </a:p>
        </p:txBody>
      </p:sp>
      <p:sp>
        <p:nvSpPr>
          <p:cNvPr id="310" name="Oval 309"/>
          <p:cNvSpPr/>
          <p:nvPr/>
        </p:nvSpPr>
        <p:spPr>
          <a:xfrm>
            <a:off x="381676"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3</a:t>
            </a:r>
            <a:endParaRPr lang="id-ID" sz="1000" dirty="0">
              <a:solidFill>
                <a:srgbClr val="7F8C8D"/>
              </a:solidFill>
              <a:latin typeface="Calibri Light" panose="020F0302020204030204" pitchFamily="34" charset="0"/>
            </a:endParaRPr>
          </a:p>
        </p:txBody>
      </p:sp>
      <p:sp>
        <p:nvSpPr>
          <p:cNvPr id="311" name="Oval 310"/>
          <p:cNvSpPr/>
          <p:nvPr/>
        </p:nvSpPr>
        <p:spPr>
          <a:xfrm>
            <a:off x="381676"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4</a:t>
            </a:r>
            <a:endParaRPr lang="id-ID" sz="1000" dirty="0">
              <a:solidFill>
                <a:srgbClr val="7F8C8D"/>
              </a:solidFill>
              <a:latin typeface="Calibri Light" panose="020F0302020204030204" pitchFamily="34" charset="0"/>
            </a:endParaRPr>
          </a:p>
        </p:txBody>
      </p:sp>
      <p:sp>
        <p:nvSpPr>
          <p:cNvPr id="312" name="Oval 311"/>
          <p:cNvSpPr/>
          <p:nvPr/>
        </p:nvSpPr>
        <p:spPr>
          <a:xfrm>
            <a:off x="8499857" y="151328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5</a:t>
            </a:r>
            <a:endParaRPr lang="id-ID" sz="1000" dirty="0">
              <a:solidFill>
                <a:srgbClr val="7F8C8D"/>
              </a:solidFill>
              <a:latin typeface="Calibri Light" panose="020F0302020204030204" pitchFamily="34" charset="0"/>
            </a:endParaRPr>
          </a:p>
        </p:txBody>
      </p:sp>
      <p:sp>
        <p:nvSpPr>
          <p:cNvPr id="313" name="Oval 312"/>
          <p:cNvSpPr/>
          <p:nvPr/>
        </p:nvSpPr>
        <p:spPr>
          <a:xfrm>
            <a:off x="8499857" y="238669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6</a:t>
            </a:r>
            <a:endParaRPr lang="id-ID" sz="1000" dirty="0">
              <a:solidFill>
                <a:srgbClr val="7F8C8D"/>
              </a:solidFill>
              <a:latin typeface="Calibri Light" panose="020F0302020204030204" pitchFamily="34" charset="0"/>
            </a:endParaRPr>
          </a:p>
        </p:txBody>
      </p:sp>
      <p:sp>
        <p:nvSpPr>
          <p:cNvPr id="314" name="Oval 313"/>
          <p:cNvSpPr/>
          <p:nvPr/>
        </p:nvSpPr>
        <p:spPr>
          <a:xfrm>
            <a:off x="8499857" y="3260117"/>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7</a:t>
            </a:r>
            <a:endParaRPr lang="id-ID" sz="1000" dirty="0">
              <a:solidFill>
                <a:srgbClr val="7F8C8D"/>
              </a:solidFill>
              <a:latin typeface="Calibri Light" panose="020F0302020204030204" pitchFamily="34" charset="0"/>
            </a:endParaRPr>
          </a:p>
        </p:txBody>
      </p:sp>
      <p:sp>
        <p:nvSpPr>
          <p:cNvPr id="315" name="Oval 314"/>
          <p:cNvSpPr/>
          <p:nvPr/>
        </p:nvSpPr>
        <p:spPr>
          <a:xfrm>
            <a:off x="8499857" y="413353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dirty="0" smtClean="0">
                <a:solidFill>
                  <a:srgbClr val="7F8C8D"/>
                </a:solidFill>
                <a:latin typeface="Calibri Light" panose="020F0302020204030204" pitchFamily="34" charset="0"/>
              </a:rPr>
              <a:t>8</a:t>
            </a:r>
            <a:endParaRPr lang="id-ID" sz="1000" dirty="0">
              <a:solidFill>
                <a:srgbClr val="7F8C8D"/>
              </a:solidFill>
              <a:latin typeface="Calibri Light" panose="020F0302020204030204" pitchFamily="34" charset="0"/>
            </a:endParaRPr>
          </a:p>
        </p:txBody>
      </p:sp>
      <p:sp>
        <p:nvSpPr>
          <p:cNvPr id="95" name="Rectangle 94"/>
          <p:cNvSpPr/>
          <p:nvPr/>
        </p:nvSpPr>
        <p:spPr>
          <a:xfrm>
            <a:off x="1633446" y="5715000"/>
            <a:ext cx="6008376" cy="923330"/>
          </a:xfrm>
          <a:prstGeom prst="rect">
            <a:avLst/>
          </a:prstGeom>
          <a:noFill/>
        </p:spPr>
        <p:txBody>
          <a:bodyPr wrap="none" lIns="91440" tIns="45720" rIns="91440" bIns="45720">
            <a:spAutoFit/>
          </a:bodyPr>
          <a:lstStyle/>
          <a:p>
            <a:pPr algn="ctr"/>
            <a:r>
              <a:rPr lang="fr-FR" sz="5400" b="1"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uthenticity</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 </a:t>
            </a:r>
            <a:r>
              <a:rPr lang="fr-FR" sz="5400" b="1" cap="none" spc="0" dirty="0" err="1"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effectiv</a:t>
            </a:r>
            <a:r>
              <a:rPr lang="fr-FR" sz="5400" b="1" cap="none" spc="0" dirty="0" smtClean="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rPr>
              <a:t>.</a:t>
            </a:r>
            <a:endParaRPr lang="fr-FR" sz="5400" b="1" cap="none" spc="0" dirty="0">
              <a:ln w="17780" cmpd="sng">
                <a:solidFill>
                  <a:schemeClr val="accent1">
                    <a:tint val="3000"/>
                  </a:schemeClr>
                </a:solidFill>
                <a:prstDash val="solid"/>
                <a:miter lim="800000"/>
              </a:ln>
              <a:solidFill>
                <a:schemeClr val="tx2">
                  <a:lumMod val="60000"/>
                  <a:lumOff val="40000"/>
                </a:schemeClr>
              </a:solidFill>
              <a:effectLst>
                <a:glow rad="139700">
                  <a:schemeClr val="accent3">
                    <a:satMod val="175000"/>
                    <a:alpha val="40000"/>
                  </a:schemeClr>
                </a:glow>
              </a:effectLst>
              <a:latin typeface="Yu Gothic Light" pitchFamily="34" charset="-128"/>
              <a:ea typeface="Yu Gothic Light" pitchFamily="34" charset="-128"/>
            </a:endParaRPr>
          </a:p>
        </p:txBody>
      </p:sp>
    </p:spTree>
    <p:extLst>
      <p:ext uri="{BB962C8B-B14F-4D97-AF65-F5344CB8AC3E}">
        <p14:creationId xmlns:p14="http://schemas.microsoft.com/office/powerpoint/2010/main" val="22830290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pCZf64M1kutlMnNi0ET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5XerFSzT30Gl5CQ_JfIJ3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QtBts37YkeNhDCge2m7I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v1wiV4YrwUGMFMAr.ruM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440ujVgJkSXoMikXCFTc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Rtf16E3Hky1_vUmmigKBw"/>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IezUfXodECErDmrI9nO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mWhbnjDjKE6Kn21eSQSF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tjCMG6ls0KWuJjlhgP6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1CWVGXI7UGPmDKztMh9Z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yTzZPcInEky5x8wFyCjg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5Q_sJ5ufpk.be99R5R48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PLnpM8wc0KUA0TBbuSS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BOrV_eFREGfSM7hHfxG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6TvobsvPUeeWEOHurQJ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11IQTuLkzEeB3oZmTfiy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TjxuI6qUXEWH04SIr_t4o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qCRn8sXCEO4DNbc8KN81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UABivpW5UWBnLOvOsThW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_F5WzzrJ_0K6bs8q7hZUZ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UABivpW5UWBnLOvOsThW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gEjjtOG0OLJyRO7hYh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Hv16HvPJ0Sc54fAhGQX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4BFaDNgNsESfF7AUgJmF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IezUfXodECErDmrI9nOb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3sl_DJ3aeE.x8W3P1RZEXA"/>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nqgR0z3hke_jkT3bJhsL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_3e9mTmmka5z3c3eu1xz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5kYIs0GXykGkz4nxI3XB_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7D6dtyQ3bECk90GoEwE0v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KZPoidQ6LUSYIsSWCXwwZ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eG1W03hm0qYIJqOdsO7y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WgIfwxapkW2d4mGhcS3P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ezTCEUXuGkihror0l5S5D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lweZbI60U0iImbmDiPM35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glqZvRVJoUqtJUkMh7Bt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dPv6WMXWyk2jArXZhwBe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HIHWDBybN0SnGogv2kgBkQ"/>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kDb7D5PqEaAy7wBu.yRe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Mmo5aNd0kyuV0hakdJ_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6WzKZuQyka7HEmn3qX9wQ"/>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xY3r1vTck2hXbVIcZxf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xY3r1vTck2hXbVIcZxf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5lsn5c9AUSAyPKEprGR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xY3r1vTck2hXbVIcZxf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xY3r1vTck2hXbVIcZxfP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5lsn5c9AUSAyPKEprGRL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5lsn5c9AUSAyPKEprGR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xY3r1vTck2hXbVIcZxf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5lsn5c9AUSAyPKEprGRL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xY3r1vTck2hXbVIcZxf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OyOmGT0TE.aY6zMxQrW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0oEuEfrq0.VYgxTJTyH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hPwDaUH20mX2QIkxJe_9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ve7q79xhE.8LsAW_Y4T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e6X2PnoQEOrhH_e7cLTZ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zgZtGLaw0WzjSci4zJo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oAXH6fHI0CMUCph1eXq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kZja6pVzk2V2t5jpPbAC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1AM.uCUakKJA9TWWEGph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3atKx4BPE6tjT5DZEBzJ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5VwdqlSQkSd.WDVeZaS8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hasIGKs_UGOEWoccXLpaQ"/>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e55k4Ps20W5H1NGyY3d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9CfaHwhC_UGPhSo2PrwP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bg2IXHoBU2j9yXHijKI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oKnOnwbw0Kx4zXcdAHs_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tpKfV1takGfaenIkJfM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2afDQTw8EGAioVNh3C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TnSk6KB1kOgvlFz_.gZUw"/>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460</TotalTime>
  <Words>4925</Words>
  <Application>Microsoft Office PowerPoint</Application>
  <PresentationFormat>Affichage à l'écran (4:3)</PresentationFormat>
  <Paragraphs>1110</Paragraphs>
  <Slides>57</Slides>
  <Notes>7</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57</vt:i4>
      </vt:variant>
    </vt:vector>
  </HeadingPairs>
  <TitlesOfParts>
    <vt:vector size="59" baseType="lpstr">
      <vt:lpstr>Office Theme</vt:lpstr>
      <vt:lpstr>think-cell Slide</vt:lpstr>
      <vt:lpstr>Présentation PowerPoint</vt:lpstr>
      <vt:lpstr>GOAL</vt:lpstr>
      <vt:lpstr>GOALS</vt:lpstr>
      <vt:lpstr>DataNest : La smart data !</vt:lpstr>
      <vt:lpstr>DataNest, c’est pour qui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L’offre DataNest.</vt:lpstr>
      <vt:lpstr>Présentation PowerPoint</vt:lpstr>
      <vt:lpstr>Présentation PowerPoint</vt:lpstr>
      <vt:lpstr>Présentation PowerPoint</vt:lpstr>
      <vt:lpstr>Présentation PowerPoint</vt:lpstr>
      <vt:lpstr>Présentation PowerPoint</vt:lpstr>
      <vt:lpstr>Présentation PowerPoint</vt:lpstr>
      <vt:lpstr>BUSINESS PLAN</vt:lpstr>
      <vt:lpstr>BUSINESS PLAN</vt:lpstr>
      <vt:lpstr>BUSINESS PLAN</vt:lpstr>
      <vt:lpstr>BUSINESS PLAN</vt:lpstr>
      <vt:lpstr>BUSINESS PLAN</vt:lpstr>
      <vt:lpstr>BUSINESS PLAN</vt:lpstr>
      <vt:lpstr>BUSINESS PLAN</vt:lpstr>
      <vt:lpstr>BUSINESS PLAN</vt:lpstr>
      <vt:lpstr>BUSINESS PLAN</vt:lpstr>
      <vt:lpstr>BUSINESS PLAN</vt:lpstr>
      <vt:lpstr>BUSINESS PLAN</vt:lpstr>
      <vt:lpstr>BUSINESS PLAN</vt:lpstr>
      <vt:lpstr>BUSINESS PLA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ALES METHOD</vt:lpstr>
      <vt:lpstr>SALES METHOD</vt:lpstr>
      <vt:lpstr>SALES METHOD</vt:lpstr>
      <vt:lpstr>SALES METHOD</vt:lpstr>
      <vt:lpstr>SALES METHOD</vt:lpstr>
      <vt:lpstr>SALES METHOD</vt:lpstr>
      <vt:lpstr>PORTERS 5 FORCES</vt:lpstr>
      <vt:lpstr>PORTERS 5 FORCES</vt:lpstr>
      <vt:lpstr>PORTERS 5 FORCES</vt:lpstr>
      <vt:lpstr>PORTERS 5 FORCES</vt:lpstr>
      <vt:lpstr>PORTERS 5 FORCES</vt:lpstr>
      <vt:lpstr>PORTERS 5 FORCES</vt:lpstr>
      <vt:lpstr>PORTERS 5 FORC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fi</dc:creator>
  <cp:lastModifiedBy>Ayman</cp:lastModifiedBy>
  <cp:revision>516</cp:revision>
  <dcterms:created xsi:type="dcterms:W3CDTF">2014-04-01T03:27:05Z</dcterms:created>
  <dcterms:modified xsi:type="dcterms:W3CDTF">2015-02-07T08:29:59Z</dcterms:modified>
</cp:coreProperties>
</file>